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101.xml" ContentType="application/vnd.openxmlformats-officedocument.presentationml.slideLayout+xml"/>
  <Override PartName="/ppt/theme/theme9.xml" ContentType="application/vnd.openxmlformats-officedocument.theme+xml"/>
  <Override PartName="/ppt/slideLayouts/slideLayout102.xml" ContentType="application/vnd.openxmlformats-officedocument.presentationml.slideLayout+xml"/>
  <Override PartName="/ppt/theme/theme10.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1.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2.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3.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1.xml" ContentType="application/vnd.openxmlformats-officedocument.drawingml.chartshapes+xml"/>
  <Override PartName="/ppt/notesSlides/notesSlide9.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10.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 id="2147483708" r:id="rId2"/>
    <p:sldMasterId id="2147483720" r:id="rId3"/>
    <p:sldMasterId id="2147483746" r:id="rId4"/>
    <p:sldMasterId id="2147483767" r:id="rId5"/>
    <p:sldMasterId id="2147483779" r:id="rId6"/>
    <p:sldMasterId id="2147483792" r:id="rId7"/>
    <p:sldMasterId id="2147483826" r:id="rId8"/>
    <p:sldMasterId id="2147483862" r:id="rId9"/>
    <p:sldMasterId id="2147483864" r:id="rId10"/>
    <p:sldMasterId id="2147483866" r:id="rId11"/>
    <p:sldMasterId id="2147483872" r:id="rId12"/>
    <p:sldMasterId id="2147483888" r:id="rId13"/>
    <p:sldMasterId id="2147483895" r:id="rId14"/>
  </p:sldMasterIdLst>
  <p:notesMasterIdLst>
    <p:notesMasterId r:id="rId75"/>
  </p:notesMasterIdLst>
  <p:handoutMasterIdLst>
    <p:handoutMasterId r:id="rId76"/>
  </p:handoutMasterIdLst>
  <p:sldIdLst>
    <p:sldId id="458" r:id="rId15"/>
    <p:sldId id="459" r:id="rId16"/>
    <p:sldId id="494" r:id="rId17"/>
    <p:sldId id="498" r:id="rId18"/>
    <p:sldId id="460" r:id="rId19"/>
    <p:sldId id="554" r:id="rId20"/>
    <p:sldId id="456" r:id="rId21"/>
    <p:sldId id="2146848048" r:id="rId22"/>
    <p:sldId id="2146848049" r:id="rId23"/>
    <p:sldId id="519" r:id="rId24"/>
    <p:sldId id="500" r:id="rId25"/>
    <p:sldId id="2146848037" r:id="rId26"/>
    <p:sldId id="586" r:id="rId27"/>
    <p:sldId id="587" r:id="rId28"/>
    <p:sldId id="588" r:id="rId29"/>
    <p:sldId id="589" r:id="rId30"/>
    <p:sldId id="590" r:id="rId31"/>
    <p:sldId id="591" r:id="rId32"/>
    <p:sldId id="592" r:id="rId33"/>
    <p:sldId id="2146848051" r:id="rId34"/>
    <p:sldId id="2146848050" r:id="rId35"/>
    <p:sldId id="564" r:id="rId36"/>
    <p:sldId id="461" r:id="rId37"/>
    <p:sldId id="501" r:id="rId38"/>
    <p:sldId id="495" r:id="rId39"/>
    <p:sldId id="2146848039" r:id="rId40"/>
    <p:sldId id="2146848040" r:id="rId41"/>
    <p:sldId id="2146848041" r:id="rId42"/>
    <p:sldId id="505" r:id="rId43"/>
    <p:sldId id="506" r:id="rId44"/>
    <p:sldId id="513" r:id="rId45"/>
    <p:sldId id="508" r:id="rId46"/>
    <p:sldId id="509" r:id="rId47"/>
    <p:sldId id="2146848042" r:id="rId48"/>
    <p:sldId id="524" r:id="rId49"/>
    <p:sldId id="525" r:id="rId50"/>
    <p:sldId id="526" r:id="rId51"/>
    <p:sldId id="527" r:id="rId52"/>
    <p:sldId id="528" r:id="rId53"/>
    <p:sldId id="593" r:id="rId54"/>
    <p:sldId id="2146848045" r:id="rId55"/>
    <p:sldId id="2342" r:id="rId56"/>
    <p:sldId id="2410" r:id="rId57"/>
    <p:sldId id="2411" r:id="rId58"/>
    <p:sldId id="2378" r:id="rId59"/>
    <p:sldId id="2405" r:id="rId60"/>
    <p:sldId id="2146848047" r:id="rId61"/>
    <p:sldId id="2407" r:id="rId62"/>
    <p:sldId id="2413" r:id="rId63"/>
    <p:sldId id="542" r:id="rId64"/>
    <p:sldId id="2412" r:id="rId65"/>
    <p:sldId id="636" r:id="rId66"/>
    <p:sldId id="637" r:id="rId67"/>
    <p:sldId id="702" r:id="rId68"/>
    <p:sldId id="2146848043" r:id="rId69"/>
    <p:sldId id="2146848044" r:id="rId70"/>
    <p:sldId id="529" r:id="rId71"/>
    <p:sldId id="332" r:id="rId72"/>
    <p:sldId id="335" r:id="rId73"/>
    <p:sldId id="2391" r:id="rId74"/>
  </p:sldIdLst>
  <p:sldSz cx="9904413" cy="7759700"/>
  <p:notesSz cx="6735763" cy="9866313"/>
  <p:defaultTextStyle>
    <a:defPPr>
      <a:defRPr lang="ja-JP"/>
    </a:defPPr>
    <a:lvl1pPr algn="l" rtl="0" fontAlgn="base">
      <a:spcBef>
        <a:spcPct val="0"/>
      </a:spcBef>
      <a:spcAft>
        <a:spcPct val="0"/>
      </a:spcAft>
      <a:defRPr kumimoji="1" kern="1200">
        <a:solidFill>
          <a:schemeClr val="tx1"/>
        </a:solidFill>
        <a:latin typeface="Arial" charset="0"/>
        <a:ea typeface="ＭＳ Ｐゴシック" pitchFamily="50" charset="-128"/>
        <a:cs typeface="+mn-cs"/>
      </a:defRPr>
    </a:lvl1pPr>
    <a:lvl2pPr marL="503238" indent="-46038" algn="l" rtl="0" fontAlgn="base">
      <a:spcBef>
        <a:spcPct val="0"/>
      </a:spcBef>
      <a:spcAft>
        <a:spcPct val="0"/>
      </a:spcAft>
      <a:defRPr kumimoji="1" kern="1200">
        <a:solidFill>
          <a:schemeClr val="tx1"/>
        </a:solidFill>
        <a:latin typeface="Arial" charset="0"/>
        <a:ea typeface="ＭＳ Ｐゴシック" pitchFamily="50" charset="-128"/>
        <a:cs typeface="+mn-cs"/>
      </a:defRPr>
    </a:lvl2pPr>
    <a:lvl3pPr marL="1008063" indent="-93663" algn="l" rtl="0" fontAlgn="base">
      <a:spcBef>
        <a:spcPct val="0"/>
      </a:spcBef>
      <a:spcAft>
        <a:spcPct val="0"/>
      </a:spcAft>
      <a:defRPr kumimoji="1" kern="1200">
        <a:solidFill>
          <a:schemeClr val="tx1"/>
        </a:solidFill>
        <a:latin typeface="Arial" charset="0"/>
        <a:ea typeface="ＭＳ Ｐゴシック" pitchFamily="50" charset="-128"/>
        <a:cs typeface="+mn-cs"/>
      </a:defRPr>
    </a:lvl3pPr>
    <a:lvl4pPr marL="1512888" indent="-141288" algn="l" rtl="0" fontAlgn="base">
      <a:spcBef>
        <a:spcPct val="0"/>
      </a:spcBef>
      <a:spcAft>
        <a:spcPct val="0"/>
      </a:spcAft>
      <a:defRPr kumimoji="1" kern="1200">
        <a:solidFill>
          <a:schemeClr val="tx1"/>
        </a:solidFill>
        <a:latin typeface="Arial" charset="0"/>
        <a:ea typeface="ＭＳ Ｐゴシック" pitchFamily="50" charset="-128"/>
        <a:cs typeface="+mn-cs"/>
      </a:defRPr>
    </a:lvl4pPr>
    <a:lvl5pPr marL="2017713" indent="-188913" algn="l" rtl="0" fontAlgn="base">
      <a:spcBef>
        <a:spcPct val="0"/>
      </a:spcBef>
      <a:spcAft>
        <a:spcPct val="0"/>
      </a:spcAft>
      <a:defRPr kumimoji="1" kern="1200">
        <a:solidFill>
          <a:schemeClr val="tx1"/>
        </a:solidFill>
        <a:latin typeface="Arial" charset="0"/>
        <a:ea typeface="ＭＳ Ｐゴシック" pitchFamily="50" charset="-128"/>
        <a:cs typeface="+mn-cs"/>
      </a:defRPr>
    </a:lvl5pPr>
    <a:lvl6pPr marL="2286000" algn="l" defTabSz="914400" rtl="0" eaLnBrk="1" latinLnBrk="0" hangingPunct="1">
      <a:defRPr kumimoji="1" kern="1200">
        <a:solidFill>
          <a:schemeClr val="tx1"/>
        </a:solidFill>
        <a:latin typeface="Arial" charset="0"/>
        <a:ea typeface="ＭＳ Ｐゴシック" pitchFamily="50" charset="-128"/>
        <a:cs typeface="+mn-cs"/>
      </a:defRPr>
    </a:lvl6pPr>
    <a:lvl7pPr marL="2743200" algn="l" defTabSz="914400" rtl="0" eaLnBrk="1" latinLnBrk="0" hangingPunct="1">
      <a:defRPr kumimoji="1" kern="1200">
        <a:solidFill>
          <a:schemeClr val="tx1"/>
        </a:solidFill>
        <a:latin typeface="Arial" charset="0"/>
        <a:ea typeface="ＭＳ Ｐゴシック" pitchFamily="50" charset="-128"/>
        <a:cs typeface="+mn-cs"/>
      </a:defRPr>
    </a:lvl7pPr>
    <a:lvl8pPr marL="3200400" algn="l" defTabSz="914400" rtl="0" eaLnBrk="1" latinLnBrk="0" hangingPunct="1">
      <a:defRPr kumimoji="1" kern="1200">
        <a:solidFill>
          <a:schemeClr val="tx1"/>
        </a:solidFill>
        <a:latin typeface="Arial" charset="0"/>
        <a:ea typeface="ＭＳ Ｐゴシック" pitchFamily="50" charset="-128"/>
        <a:cs typeface="+mn-cs"/>
      </a:defRPr>
    </a:lvl8pPr>
    <a:lvl9pPr marL="3657600" algn="l" defTabSz="914400" rtl="0" eaLnBrk="1" latinLnBrk="0" hangingPunct="1">
      <a:defRPr kumimoji="1" kern="1200">
        <a:solidFill>
          <a:schemeClr val="tx1"/>
        </a:solidFill>
        <a:latin typeface="Arial" charset="0"/>
        <a:ea typeface="ＭＳ Ｐゴシック" pitchFamily="50" charset="-128"/>
        <a:cs typeface="+mn-cs"/>
      </a:defRPr>
    </a:lvl9pPr>
  </p:defaultTextStyle>
  <p:extLst>
    <p:ext uri="{EFAFB233-063F-42B5-8137-9DF3F51BA10A}">
      <p15:sldGuideLst xmlns:p15="http://schemas.microsoft.com/office/powerpoint/2012/main">
        <p15:guide id="1" orient="horz" pos="2444">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5B9BD5"/>
    <a:srgbClr val="99FFCC"/>
    <a:srgbClr val="00FF99"/>
    <a:srgbClr val="66FF33"/>
    <a:srgbClr val="0066FF"/>
    <a:srgbClr val="66CCFF"/>
    <a:srgbClr val="66FF99"/>
    <a:srgbClr val="00FF00"/>
    <a:srgbClr val="008000"/>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044" autoAdjust="0"/>
    <p:restoredTop sz="95186" autoAdjust="0"/>
  </p:normalViewPr>
  <p:slideViewPr>
    <p:cSldViewPr>
      <p:cViewPr varScale="1">
        <p:scale>
          <a:sx n="112" d="100"/>
          <a:sy n="112" d="100"/>
        </p:scale>
        <p:origin x="1410" y="96"/>
      </p:cViewPr>
      <p:guideLst>
        <p:guide orient="horz" pos="2444"/>
        <p:guide pos="3120"/>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0"/>
    </p:cViewPr>
  </p:sorterViewPr>
  <p:notesViewPr>
    <p:cSldViewPr>
      <p:cViewPr varScale="1">
        <p:scale>
          <a:sx n="52" d="100"/>
          <a:sy n="52" d="100"/>
        </p:scale>
        <p:origin x="2964"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slide" Target="slides/slide54.xml"/><Relationship Id="rId76"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57.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slide" Target="slides/slide60.xml"/><Relationship Id="rId79"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47.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slide" Target="slides/slide55.xml"/><Relationship Id="rId77"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7.xml"/><Relationship Id="rId72" Type="http://schemas.openxmlformats.org/officeDocument/2006/relationships/slide" Target="slides/slide58.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s>
</file>

<file path=ppt/charts/_rels/chart1.xml.rels><?xml version="1.0" encoding="UTF-8" standalone="yes"?>
<Relationships xmlns="http://schemas.openxmlformats.org/package/2006/relationships"><Relationship Id="rId3" Type="http://schemas.openxmlformats.org/officeDocument/2006/relationships/oleObject" Target="file:///\\filesv\NRBSKK-HD-U\01%20&#20316;&#26989;&#20013;&#12501;&#12457;&#12523;&#12480;&#65288;H30.4.1&#20197;&#38477;&#12398;&#25991;&#26360;&#12434;&#20445;&#23384;&#12377;&#12427;&#12501;&#12457;&#12523;&#12480;&#65289;\&#20196;&#21644;&#65300;&#24180;&#24230;\100320000%20&#20154;&#21475;&#12539;&#31038;&#20250;&#32076;&#28168;\01%20&#20225;&#30011;\05%20&#12381;&#12398;&#20182;\&#26082;&#23384;&#20316;&#25104;&#36039;&#26009;&#65288;&#9733;&#20351;&#29992;&#38971;&#24230;&#12398;&#39640;&#12356;&#36039;&#26009;&#65289;\01&#12288;&#20154;&#21475;\01&#12288;&#25105;&#12364;&#22269;&#12398;&#20154;&#21475;&#12398;&#38263;&#26399;&#30340;&#25512;&#31227;&#65288;P1&#65289;\230427%20&#25105;&#12364;&#22269;&#12398;&#20154;&#21475;&#12398;&#38263;&#26399;&#30340;&#25512;&#31227;.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oleObject" Target="../embeddings/oleObject2.bin"/></Relationships>
</file>

<file path=ppt/charts/_rels/chart4.xml.rels><?xml version="1.0" encoding="UTF-8" standalone="yes"?>
<Relationships xmlns="http://schemas.openxmlformats.org/package/2006/relationships"><Relationship Id="rId1" Type="http://schemas.openxmlformats.org/officeDocument/2006/relationships/oleObject" Target="file:///F:\000&#27726;&#29992;&#12503;&#12525;&#12464;&#12521;&#12512;\&#20013;&#23665;&#38291;&#22320;&#12398;&#20154;&#21475;&#25512;&#35336;.xlsm"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F:\000&#27726;&#29992;&#12503;&#12525;&#12464;&#12521;&#12512;\&#20013;&#23665;&#38291;&#22320;&#12398;&#20154;&#21475;&#25512;&#35336;.xlsm"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U:\01%20&#20316;&#26989;&#20013;&#12501;&#12457;&#12523;&#12480;&#65288;H30.4.1&#20197;&#38477;&#12398;&#25991;&#26360;&#12434;&#20445;&#23384;&#12377;&#12427;&#12501;&#12457;&#12523;&#12480;&#65289;\&#20196;&#21644;&#65300;&#24180;&#24230;\100320000%20&#20154;&#21475;&#12539;&#31038;&#20250;&#32076;&#28168;\01%20&#20225;&#30011;\05%20&#12381;&#12398;&#20182;\&#26082;&#23384;&#20316;&#25104;&#36039;&#26009;&#65288;&#9733;&#20351;&#29992;&#38971;&#24230;&#12398;&#39640;&#12356;&#36039;&#26009;&#65289;\01&#12288;&#20154;&#21475;\24&#12288;&#26481;&#20140;&#22287;&#12398;&#36578;&#20837;&#36229;&#36942;&#25968;&#12398;&#25512;&#31227;&#65288;&#30007;&#22899;&#21029;&#65289;&#25240;&#12428;&#32218;&#65288;P32&#65289;\&#26481;&#20140;&#22287;&#12408;&#12398;&#36578;&#20837;&#36229;&#36942;&#25968;&#12398;&#25512;&#31227;&#65288;&#30007;&#22899;&#21029;&#65289;.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485396405626364E-2"/>
          <c:y val="3.4600232605588227E-2"/>
          <c:w val="0.86954915220510276"/>
          <c:h val="0.90146208938585137"/>
        </c:manualLayout>
      </c:layout>
      <c:lineChart>
        <c:grouping val="standard"/>
        <c:varyColors val="0"/>
        <c:ser>
          <c:idx val="1"/>
          <c:order val="0"/>
          <c:spPr>
            <a:ln w="25400" cap="rnd">
              <a:solidFill>
                <a:schemeClr val="tx1">
                  <a:lumMod val="50000"/>
                  <a:lumOff val="50000"/>
                </a:schemeClr>
              </a:solidFill>
              <a:round/>
            </a:ln>
            <a:effectLst/>
          </c:spPr>
          <c:marker>
            <c:symbol val="none"/>
          </c:marker>
          <c:cat>
            <c:numRef>
              <c:f>'総人口推移（グラフ作成）'!$B$8:$B$152</c:f>
              <c:numCache>
                <c:formatCode>General</c:formatCode>
                <c:ptCount val="145"/>
                <c:pt idx="0">
                  <c:v>800</c:v>
                </c:pt>
                <c:pt idx="1">
                  <c:v>820</c:v>
                </c:pt>
                <c:pt idx="2">
                  <c:v>840</c:v>
                </c:pt>
                <c:pt idx="3">
                  <c:v>860</c:v>
                </c:pt>
                <c:pt idx="4">
                  <c:v>880</c:v>
                </c:pt>
                <c:pt idx="5">
                  <c:v>900</c:v>
                </c:pt>
                <c:pt idx="6">
                  <c:v>920</c:v>
                </c:pt>
                <c:pt idx="7">
                  <c:v>940</c:v>
                </c:pt>
                <c:pt idx="8">
                  <c:v>960</c:v>
                </c:pt>
                <c:pt idx="9">
                  <c:v>980</c:v>
                </c:pt>
                <c:pt idx="10">
                  <c:v>1000</c:v>
                </c:pt>
                <c:pt idx="11">
                  <c:v>1020</c:v>
                </c:pt>
                <c:pt idx="12">
                  <c:v>1040</c:v>
                </c:pt>
                <c:pt idx="13">
                  <c:v>1060</c:v>
                </c:pt>
                <c:pt idx="14">
                  <c:v>1080</c:v>
                </c:pt>
                <c:pt idx="15">
                  <c:v>1100</c:v>
                </c:pt>
                <c:pt idx="16">
                  <c:v>1120</c:v>
                </c:pt>
                <c:pt idx="17">
                  <c:v>1140</c:v>
                </c:pt>
                <c:pt idx="18">
                  <c:v>1160</c:v>
                </c:pt>
                <c:pt idx="19">
                  <c:v>1180</c:v>
                </c:pt>
                <c:pt idx="20">
                  <c:v>1200</c:v>
                </c:pt>
                <c:pt idx="21">
                  <c:v>1220</c:v>
                </c:pt>
                <c:pt idx="22">
                  <c:v>1240</c:v>
                </c:pt>
                <c:pt idx="23">
                  <c:v>1260</c:v>
                </c:pt>
                <c:pt idx="24">
                  <c:v>1280</c:v>
                </c:pt>
                <c:pt idx="25">
                  <c:v>1300</c:v>
                </c:pt>
                <c:pt idx="26">
                  <c:v>1320</c:v>
                </c:pt>
                <c:pt idx="27">
                  <c:v>1340</c:v>
                </c:pt>
                <c:pt idx="28">
                  <c:v>1360</c:v>
                </c:pt>
                <c:pt idx="29">
                  <c:v>1380</c:v>
                </c:pt>
                <c:pt idx="30">
                  <c:v>1400</c:v>
                </c:pt>
                <c:pt idx="31">
                  <c:v>1420</c:v>
                </c:pt>
                <c:pt idx="32">
                  <c:v>1440</c:v>
                </c:pt>
                <c:pt idx="33">
                  <c:v>1460</c:v>
                </c:pt>
                <c:pt idx="34">
                  <c:v>1480</c:v>
                </c:pt>
                <c:pt idx="35">
                  <c:v>1500</c:v>
                </c:pt>
                <c:pt idx="36">
                  <c:v>1520</c:v>
                </c:pt>
                <c:pt idx="37">
                  <c:v>1540</c:v>
                </c:pt>
                <c:pt idx="38">
                  <c:v>1560</c:v>
                </c:pt>
                <c:pt idx="39">
                  <c:v>1580</c:v>
                </c:pt>
                <c:pt idx="40">
                  <c:v>1600</c:v>
                </c:pt>
                <c:pt idx="41">
                  <c:v>1605</c:v>
                </c:pt>
                <c:pt idx="42">
                  <c:v>1610</c:v>
                </c:pt>
                <c:pt idx="43">
                  <c:v>1615</c:v>
                </c:pt>
                <c:pt idx="44">
                  <c:v>1620</c:v>
                </c:pt>
                <c:pt idx="45">
                  <c:v>1625</c:v>
                </c:pt>
                <c:pt idx="46">
                  <c:v>1630</c:v>
                </c:pt>
                <c:pt idx="47">
                  <c:v>1635</c:v>
                </c:pt>
                <c:pt idx="48">
                  <c:v>1640</c:v>
                </c:pt>
                <c:pt idx="49">
                  <c:v>1645</c:v>
                </c:pt>
                <c:pt idx="50">
                  <c:v>1650</c:v>
                </c:pt>
                <c:pt idx="51">
                  <c:v>1655</c:v>
                </c:pt>
                <c:pt idx="52">
                  <c:v>1660</c:v>
                </c:pt>
                <c:pt idx="53">
                  <c:v>1665</c:v>
                </c:pt>
                <c:pt idx="54">
                  <c:v>1670</c:v>
                </c:pt>
                <c:pt idx="55">
                  <c:v>1675</c:v>
                </c:pt>
                <c:pt idx="56">
                  <c:v>1680</c:v>
                </c:pt>
                <c:pt idx="57">
                  <c:v>1685</c:v>
                </c:pt>
                <c:pt idx="58">
                  <c:v>1690</c:v>
                </c:pt>
                <c:pt idx="59">
                  <c:v>1695</c:v>
                </c:pt>
                <c:pt idx="60">
                  <c:v>1700</c:v>
                </c:pt>
                <c:pt idx="61">
                  <c:v>1705</c:v>
                </c:pt>
                <c:pt idx="62">
                  <c:v>1710</c:v>
                </c:pt>
                <c:pt idx="63">
                  <c:v>1715</c:v>
                </c:pt>
                <c:pt idx="64">
                  <c:v>1720</c:v>
                </c:pt>
                <c:pt idx="65">
                  <c:v>1725</c:v>
                </c:pt>
                <c:pt idx="66">
                  <c:v>1730</c:v>
                </c:pt>
                <c:pt idx="67">
                  <c:v>1735</c:v>
                </c:pt>
                <c:pt idx="68">
                  <c:v>1740</c:v>
                </c:pt>
                <c:pt idx="69">
                  <c:v>1745</c:v>
                </c:pt>
                <c:pt idx="70">
                  <c:v>1750</c:v>
                </c:pt>
                <c:pt idx="71">
                  <c:v>1755</c:v>
                </c:pt>
                <c:pt idx="72">
                  <c:v>1760</c:v>
                </c:pt>
                <c:pt idx="73">
                  <c:v>1765</c:v>
                </c:pt>
                <c:pt idx="74">
                  <c:v>1770</c:v>
                </c:pt>
                <c:pt idx="75">
                  <c:v>1775</c:v>
                </c:pt>
                <c:pt idx="76">
                  <c:v>1780</c:v>
                </c:pt>
                <c:pt idx="77">
                  <c:v>1785</c:v>
                </c:pt>
                <c:pt idx="78">
                  <c:v>1790</c:v>
                </c:pt>
                <c:pt idx="79">
                  <c:v>1795</c:v>
                </c:pt>
                <c:pt idx="80">
                  <c:v>1800</c:v>
                </c:pt>
                <c:pt idx="81">
                  <c:v>1805</c:v>
                </c:pt>
                <c:pt idx="82">
                  <c:v>1810</c:v>
                </c:pt>
                <c:pt idx="83">
                  <c:v>1815</c:v>
                </c:pt>
                <c:pt idx="84">
                  <c:v>1820</c:v>
                </c:pt>
                <c:pt idx="85">
                  <c:v>1825</c:v>
                </c:pt>
                <c:pt idx="86">
                  <c:v>1830</c:v>
                </c:pt>
                <c:pt idx="87">
                  <c:v>1835</c:v>
                </c:pt>
                <c:pt idx="88">
                  <c:v>1840</c:v>
                </c:pt>
                <c:pt idx="89">
                  <c:v>1845</c:v>
                </c:pt>
                <c:pt idx="90">
                  <c:v>1850</c:v>
                </c:pt>
                <c:pt idx="91">
                  <c:v>1855</c:v>
                </c:pt>
                <c:pt idx="92">
                  <c:v>1860</c:v>
                </c:pt>
                <c:pt idx="93">
                  <c:v>1865</c:v>
                </c:pt>
                <c:pt idx="94">
                  <c:v>1870</c:v>
                </c:pt>
                <c:pt idx="95">
                  <c:v>1875</c:v>
                </c:pt>
                <c:pt idx="96">
                  <c:v>1880</c:v>
                </c:pt>
                <c:pt idx="97">
                  <c:v>1885</c:v>
                </c:pt>
                <c:pt idx="98">
                  <c:v>1890</c:v>
                </c:pt>
                <c:pt idx="99">
                  <c:v>1895</c:v>
                </c:pt>
                <c:pt idx="100">
                  <c:v>1900</c:v>
                </c:pt>
                <c:pt idx="101">
                  <c:v>1905</c:v>
                </c:pt>
                <c:pt idx="102">
                  <c:v>1910</c:v>
                </c:pt>
                <c:pt idx="103">
                  <c:v>1915</c:v>
                </c:pt>
                <c:pt idx="104">
                  <c:v>1920</c:v>
                </c:pt>
                <c:pt idx="105">
                  <c:v>1925</c:v>
                </c:pt>
                <c:pt idx="106">
                  <c:v>1930</c:v>
                </c:pt>
                <c:pt idx="107">
                  <c:v>1935</c:v>
                </c:pt>
                <c:pt idx="108">
                  <c:v>1940</c:v>
                </c:pt>
                <c:pt idx="109">
                  <c:v>1945</c:v>
                </c:pt>
                <c:pt idx="110">
                  <c:v>1950</c:v>
                </c:pt>
                <c:pt idx="111">
                  <c:v>1955</c:v>
                </c:pt>
                <c:pt idx="112">
                  <c:v>1960</c:v>
                </c:pt>
                <c:pt idx="113">
                  <c:v>1965</c:v>
                </c:pt>
                <c:pt idx="114">
                  <c:v>1970</c:v>
                </c:pt>
                <c:pt idx="115">
                  <c:v>1975</c:v>
                </c:pt>
                <c:pt idx="116">
                  <c:v>1980</c:v>
                </c:pt>
                <c:pt idx="117">
                  <c:v>1985</c:v>
                </c:pt>
                <c:pt idx="118">
                  <c:v>1990</c:v>
                </c:pt>
                <c:pt idx="119">
                  <c:v>1995</c:v>
                </c:pt>
                <c:pt idx="120">
                  <c:v>2000</c:v>
                </c:pt>
                <c:pt idx="121">
                  <c:v>2005</c:v>
                </c:pt>
                <c:pt idx="122">
                  <c:v>2010</c:v>
                </c:pt>
                <c:pt idx="123">
                  <c:v>2015</c:v>
                </c:pt>
                <c:pt idx="124">
                  <c:v>2020</c:v>
                </c:pt>
                <c:pt idx="125">
                  <c:v>2025</c:v>
                </c:pt>
                <c:pt idx="126">
                  <c:v>2030</c:v>
                </c:pt>
                <c:pt idx="127">
                  <c:v>2035</c:v>
                </c:pt>
                <c:pt idx="128">
                  <c:v>2040</c:v>
                </c:pt>
                <c:pt idx="129">
                  <c:v>2045</c:v>
                </c:pt>
                <c:pt idx="130">
                  <c:v>2050</c:v>
                </c:pt>
                <c:pt idx="131">
                  <c:v>2055</c:v>
                </c:pt>
                <c:pt idx="132">
                  <c:v>2060</c:v>
                </c:pt>
                <c:pt idx="133">
                  <c:v>2065</c:v>
                </c:pt>
                <c:pt idx="134">
                  <c:v>2070</c:v>
                </c:pt>
                <c:pt idx="135">
                  <c:v>2075</c:v>
                </c:pt>
                <c:pt idx="136">
                  <c:v>2080</c:v>
                </c:pt>
                <c:pt idx="137">
                  <c:v>2085</c:v>
                </c:pt>
                <c:pt idx="138">
                  <c:v>2090</c:v>
                </c:pt>
                <c:pt idx="139">
                  <c:v>2095</c:v>
                </c:pt>
                <c:pt idx="140">
                  <c:v>2100</c:v>
                </c:pt>
                <c:pt idx="141">
                  <c:v>2105</c:v>
                </c:pt>
                <c:pt idx="142">
                  <c:v>2110</c:v>
                </c:pt>
                <c:pt idx="143">
                  <c:v>2115</c:v>
                </c:pt>
                <c:pt idx="144">
                  <c:v>2120</c:v>
                </c:pt>
              </c:numCache>
            </c:numRef>
          </c:cat>
          <c:val>
            <c:numRef>
              <c:f>'総人口推移（グラフ作成）'!$C$8:$C$152</c:f>
              <c:numCache>
                <c:formatCode>#,##0</c:formatCode>
                <c:ptCount val="145"/>
                <c:pt idx="0">
                  <c:v>5614950</c:v>
                </c:pt>
                <c:pt idx="1">
                  <c:v>5691940</c:v>
                </c:pt>
                <c:pt idx="2">
                  <c:v>5768930</c:v>
                </c:pt>
                <c:pt idx="3">
                  <c:v>5845920</c:v>
                </c:pt>
                <c:pt idx="4">
                  <c:v>5922910</c:v>
                </c:pt>
                <c:pt idx="5">
                  <c:v>5999900</c:v>
                </c:pt>
                <c:pt idx="6">
                  <c:v>6096280</c:v>
                </c:pt>
                <c:pt idx="7">
                  <c:v>6192660</c:v>
                </c:pt>
                <c:pt idx="8">
                  <c:v>6289040</c:v>
                </c:pt>
                <c:pt idx="9">
                  <c:v>6385420</c:v>
                </c:pt>
                <c:pt idx="10">
                  <c:v>6481800</c:v>
                </c:pt>
                <c:pt idx="11">
                  <c:v>6578180</c:v>
                </c:pt>
                <c:pt idx="12">
                  <c:v>6674560</c:v>
                </c:pt>
                <c:pt idx="13">
                  <c:v>6770940</c:v>
                </c:pt>
                <c:pt idx="14">
                  <c:v>6867320</c:v>
                </c:pt>
                <c:pt idx="15">
                  <c:v>6963700</c:v>
                </c:pt>
                <c:pt idx="16">
                  <c:v>7085330</c:v>
                </c:pt>
                <c:pt idx="17">
                  <c:v>7206960</c:v>
                </c:pt>
                <c:pt idx="18">
                  <c:v>7328590</c:v>
                </c:pt>
                <c:pt idx="19">
                  <c:v>7450220</c:v>
                </c:pt>
                <c:pt idx="20">
                  <c:v>7571850</c:v>
                </c:pt>
                <c:pt idx="21">
                  <c:v>7693480</c:v>
                </c:pt>
                <c:pt idx="22">
                  <c:v>7815110</c:v>
                </c:pt>
                <c:pt idx="23">
                  <c:v>7936740</c:v>
                </c:pt>
                <c:pt idx="24">
                  <c:v>8058370</c:v>
                </c:pt>
                <c:pt idx="25">
                  <c:v>8180000</c:v>
                </c:pt>
                <c:pt idx="26">
                  <c:v>8325480</c:v>
                </c:pt>
                <c:pt idx="27">
                  <c:v>8470960</c:v>
                </c:pt>
                <c:pt idx="28">
                  <c:v>8616440</c:v>
                </c:pt>
                <c:pt idx="29">
                  <c:v>8761920</c:v>
                </c:pt>
                <c:pt idx="30">
                  <c:v>8907400</c:v>
                </c:pt>
                <c:pt idx="31">
                  <c:v>9031920</c:v>
                </c:pt>
                <c:pt idx="32">
                  <c:v>9156440</c:v>
                </c:pt>
                <c:pt idx="33">
                  <c:v>9280960</c:v>
                </c:pt>
                <c:pt idx="34">
                  <c:v>9405480</c:v>
                </c:pt>
                <c:pt idx="35">
                  <c:v>9530000</c:v>
                </c:pt>
                <c:pt idx="36">
                  <c:v>9910050</c:v>
                </c:pt>
                <c:pt idx="37">
                  <c:v>10290100</c:v>
                </c:pt>
                <c:pt idx="38">
                  <c:v>10951066.666666666</c:v>
                </c:pt>
                <c:pt idx="39">
                  <c:v>11612033.333333332</c:v>
                </c:pt>
                <c:pt idx="40">
                  <c:v>12273000</c:v>
                </c:pt>
                <c:pt idx="41">
                  <c:v>12795490</c:v>
                </c:pt>
                <c:pt idx="42">
                  <c:v>13317980</c:v>
                </c:pt>
                <c:pt idx="43">
                  <c:v>13840470</c:v>
                </c:pt>
                <c:pt idx="44">
                  <c:v>14362960</c:v>
                </c:pt>
                <c:pt idx="45">
                  <c:v>14885450</c:v>
                </c:pt>
                <c:pt idx="46">
                  <c:v>15407940</c:v>
                </c:pt>
                <c:pt idx="47">
                  <c:v>15930430</c:v>
                </c:pt>
                <c:pt idx="48">
                  <c:v>16452920</c:v>
                </c:pt>
                <c:pt idx="49">
                  <c:v>16975410</c:v>
                </c:pt>
                <c:pt idx="50">
                  <c:v>17497900</c:v>
                </c:pt>
                <c:pt idx="51">
                  <c:v>18576830</c:v>
                </c:pt>
                <c:pt idx="52">
                  <c:v>19655760</c:v>
                </c:pt>
                <c:pt idx="53">
                  <c:v>20734690</c:v>
                </c:pt>
                <c:pt idx="54">
                  <c:v>21813620</c:v>
                </c:pt>
                <c:pt idx="55">
                  <c:v>22892550</c:v>
                </c:pt>
                <c:pt idx="56">
                  <c:v>23971480</c:v>
                </c:pt>
                <c:pt idx="57">
                  <c:v>25050410</c:v>
                </c:pt>
                <c:pt idx="58">
                  <c:v>26129340</c:v>
                </c:pt>
                <c:pt idx="59">
                  <c:v>27208270</c:v>
                </c:pt>
                <c:pt idx="60">
                  <c:v>28287200</c:v>
                </c:pt>
                <c:pt idx="61">
                  <c:v>29034875</c:v>
                </c:pt>
                <c:pt idx="62">
                  <c:v>29782550</c:v>
                </c:pt>
                <c:pt idx="63">
                  <c:v>30530225</c:v>
                </c:pt>
                <c:pt idx="64">
                  <c:v>31277900</c:v>
                </c:pt>
                <c:pt idx="65">
                  <c:v>31232566.666666668</c:v>
                </c:pt>
                <c:pt idx="66">
                  <c:v>31187233.333333336</c:v>
                </c:pt>
                <c:pt idx="67">
                  <c:v>31141900.000000004</c:v>
                </c:pt>
                <c:pt idx="68">
                  <c:v>31096566.666666672</c:v>
                </c:pt>
                <c:pt idx="69">
                  <c:v>31051233.33333334</c:v>
                </c:pt>
                <c:pt idx="70">
                  <c:v>31005900</c:v>
                </c:pt>
                <c:pt idx="71">
                  <c:v>30877057.142857142</c:v>
                </c:pt>
                <c:pt idx="72">
                  <c:v>30748214.285714284</c:v>
                </c:pt>
                <c:pt idx="73">
                  <c:v>30619371.428571425</c:v>
                </c:pt>
                <c:pt idx="74">
                  <c:v>30490528.571428567</c:v>
                </c:pt>
                <c:pt idx="75">
                  <c:v>30361685.714285709</c:v>
                </c:pt>
                <c:pt idx="76">
                  <c:v>30232842.857142851</c:v>
                </c:pt>
                <c:pt idx="77">
                  <c:v>30104000</c:v>
                </c:pt>
                <c:pt idx="78">
                  <c:v>30264650</c:v>
                </c:pt>
                <c:pt idx="79">
                  <c:v>30425300</c:v>
                </c:pt>
                <c:pt idx="80">
                  <c:v>30585950</c:v>
                </c:pt>
                <c:pt idx="81">
                  <c:v>30746600</c:v>
                </c:pt>
                <c:pt idx="82">
                  <c:v>31135500</c:v>
                </c:pt>
                <c:pt idx="83">
                  <c:v>31524400</c:v>
                </c:pt>
                <c:pt idx="84">
                  <c:v>31913300</c:v>
                </c:pt>
                <c:pt idx="85">
                  <c:v>32015400</c:v>
                </c:pt>
                <c:pt idx="86">
                  <c:v>32117500</c:v>
                </c:pt>
                <c:pt idx="87">
                  <c:v>32219600</c:v>
                </c:pt>
                <c:pt idx="88">
                  <c:v>32321700</c:v>
                </c:pt>
                <c:pt idx="89">
                  <c:v>32423800</c:v>
                </c:pt>
                <c:pt idx="90">
                  <c:v>32586783.333333332</c:v>
                </c:pt>
                <c:pt idx="91">
                  <c:v>32749766.666666664</c:v>
                </c:pt>
                <c:pt idx="92">
                  <c:v>32912749.999999996</c:v>
                </c:pt>
                <c:pt idx="93">
                  <c:v>33075733.333333328</c:v>
                </c:pt>
                <c:pt idx="94">
                  <c:v>33238716.66666666</c:v>
                </c:pt>
                <c:pt idx="95">
                  <c:v>33401700</c:v>
                </c:pt>
                <c:pt idx="96">
                  <c:v>35360850</c:v>
                </c:pt>
                <c:pt idx="97">
                  <c:v>37320000</c:v>
                </c:pt>
                <c:pt idx="98">
                  <c:v>39479750</c:v>
                </c:pt>
                <c:pt idx="99">
                  <c:v>41639500</c:v>
                </c:pt>
                <c:pt idx="100">
                  <c:v>43694433.333333336</c:v>
                </c:pt>
                <c:pt idx="101">
                  <c:v>45749366.666666672</c:v>
                </c:pt>
                <c:pt idx="102">
                  <c:v>47804300</c:v>
                </c:pt>
                <c:pt idx="103">
                  <c:v>50700600</c:v>
                </c:pt>
                <c:pt idx="104">
                  <c:v>55963053</c:v>
                </c:pt>
                <c:pt idx="105">
                  <c:v>59736822</c:v>
                </c:pt>
                <c:pt idx="106">
                  <c:v>64450005</c:v>
                </c:pt>
                <c:pt idx="107">
                  <c:v>69254148</c:v>
                </c:pt>
                <c:pt idx="108">
                  <c:v>73114308</c:v>
                </c:pt>
                <c:pt idx="109">
                  <c:v>71998104</c:v>
                </c:pt>
                <c:pt idx="110">
                  <c:v>84114574</c:v>
                </c:pt>
                <c:pt idx="111">
                  <c:v>90076594</c:v>
                </c:pt>
                <c:pt idx="112">
                  <c:v>94301623</c:v>
                </c:pt>
                <c:pt idx="113">
                  <c:v>99209137</c:v>
                </c:pt>
                <c:pt idx="114">
                  <c:v>104665171</c:v>
                </c:pt>
                <c:pt idx="115">
                  <c:v>111939643</c:v>
                </c:pt>
                <c:pt idx="116">
                  <c:v>117060396</c:v>
                </c:pt>
                <c:pt idx="117">
                  <c:v>121048923</c:v>
                </c:pt>
                <c:pt idx="118">
                  <c:v>123611167</c:v>
                </c:pt>
                <c:pt idx="119">
                  <c:v>125570246</c:v>
                </c:pt>
                <c:pt idx="120">
                  <c:v>126925843</c:v>
                </c:pt>
                <c:pt idx="121">
                  <c:v>127767994</c:v>
                </c:pt>
                <c:pt idx="122">
                  <c:v>128057352</c:v>
                </c:pt>
                <c:pt idx="123">
                  <c:v>127094745</c:v>
                </c:pt>
                <c:pt idx="124">
                  <c:v>126146099</c:v>
                </c:pt>
                <c:pt idx="125">
                  <c:v>123262448</c:v>
                </c:pt>
                <c:pt idx="126">
                  <c:v>120115780</c:v>
                </c:pt>
                <c:pt idx="127">
                  <c:v>116638903</c:v>
                </c:pt>
                <c:pt idx="128">
                  <c:v>112837405</c:v>
                </c:pt>
                <c:pt idx="129">
                  <c:v>108801339</c:v>
                </c:pt>
                <c:pt idx="130">
                  <c:v>104686383</c:v>
                </c:pt>
                <c:pt idx="131">
                  <c:v>100508401</c:v>
                </c:pt>
                <c:pt idx="132">
                  <c:v>96147841</c:v>
                </c:pt>
                <c:pt idx="133">
                  <c:v>91586513</c:v>
                </c:pt>
                <c:pt idx="134">
                  <c:v>86996009</c:v>
                </c:pt>
                <c:pt idx="135">
                  <c:v>82517035</c:v>
                </c:pt>
                <c:pt idx="136">
                  <c:v>78270029</c:v>
                </c:pt>
                <c:pt idx="137">
                  <c:v>74246043</c:v>
                </c:pt>
                <c:pt idx="138">
                  <c:v>70343345</c:v>
                </c:pt>
                <c:pt idx="139">
                  <c:v>66511451</c:v>
                </c:pt>
                <c:pt idx="140">
                  <c:v>62778703</c:v>
                </c:pt>
                <c:pt idx="141">
                  <c:v>59200017</c:v>
                </c:pt>
                <c:pt idx="142">
                  <c:v>55817024</c:v>
                </c:pt>
                <c:pt idx="143">
                  <c:v>52664796</c:v>
                </c:pt>
                <c:pt idx="144">
                  <c:v>49733000</c:v>
                </c:pt>
              </c:numCache>
            </c:numRef>
          </c:val>
          <c:smooth val="0"/>
          <c:extLst>
            <c:ext xmlns:c16="http://schemas.microsoft.com/office/drawing/2014/chart" uri="{C3380CC4-5D6E-409C-BE32-E72D297353CC}">
              <c16:uniqueId val="{00000000-AB0C-4F95-8CBB-4AEF0B7A4A7E}"/>
            </c:ext>
          </c:extLst>
        </c:ser>
        <c:ser>
          <c:idx val="0"/>
          <c:order val="1"/>
          <c:spPr>
            <a:ln w="28575" cap="rnd">
              <a:solidFill>
                <a:schemeClr val="tx1">
                  <a:lumMod val="50000"/>
                  <a:lumOff val="50000"/>
                </a:schemeClr>
              </a:solidFill>
              <a:prstDash val="sysDot"/>
              <a:round/>
            </a:ln>
            <a:effectLst/>
          </c:spPr>
          <c:marker>
            <c:symbol val="none"/>
          </c:marker>
          <c:dPt>
            <c:idx val="138"/>
            <c:marker>
              <c:symbol val="none"/>
            </c:marker>
            <c:bubble3D val="0"/>
            <c:spPr>
              <a:ln w="25400" cap="rnd">
                <a:solidFill>
                  <a:schemeClr val="tx1">
                    <a:lumMod val="50000"/>
                    <a:lumOff val="50000"/>
                  </a:schemeClr>
                </a:solidFill>
                <a:prstDash val="sysDot"/>
                <a:round/>
              </a:ln>
              <a:effectLst/>
            </c:spPr>
            <c:extLst>
              <c:ext xmlns:c16="http://schemas.microsoft.com/office/drawing/2014/chart" uri="{C3380CC4-5D6E-409C-BE32-E72D297353CC}">
                <c16:uniqueId val="{00000002-AB0C-4F95-8CBB-4AEF0B7A4A7E}"/>
              </c:ext>
            </c:extLst>
          </c:dPt>
          <c:cat>
            <c:numRef>
              <c:f>'総人口推移（グラフ作成）'!$B$8:$B$152</c:f>
              <c:numCache>
                <c:formatCode>General</c:formatCode>
                <c:ptCount val="145"/>
                <c:pt idx="0">
                  <c:v>800</c:v>
                </c:pt>
                <c:pt idx="1">
                  <c:v>820</c:v>
                </c:pt>
                <c:pt idx="2">
                  <c:v>840</c:v>
                </c:pt>
                <c:pt idx="3">
                  <c:v>860</c:v>
                </c:pt>
                <c:pt idx="4">
                  <c:v>880</c:v>
                </c:pt>
                <c:pt idx="5">
                  <c:v>900</c:v>
                </c:pt>
                <c:pt idx="6">
                  <c:v>920</c:v>
                </c:pt>
                <c:pt idx="7">
                  <c:v>940</c:v>
                </c:pt>
                <c:pt idx="8">
                  <c:v>960</c:v>
                </c:pt>
                <c:pt idx="9">
                  <c:v>980</c:v>
                </c:pt>
                <c:pt idx="10">
                  <c:v>1000</c:v>
                </c:pt>
                <c:pt idx="11">
                  <c:v>1020</c:v>
                </c:pt>
                <c:pt idx="12">
                  <c:v>1040</c:v>
                </c:pt>
                <c:pt idx="13">
                  <c:v>1060</c:v>
                </c:pt>
                <c:pt idx="14">
                  <c:v>1080</c:v>
                </c:pt>
                <c:pt idx="15">
                  <c:v>1100</c:v>
                </c:pt>
                <c:pt idx="16">
                  <c:v>1120</c:v>
                </c:pt>
                <c:pt idx="17">
                  <c:v>1140</c:v>
                </c:pt>
                <c:pt idx="18">
                  <c:v>1160</c:v>
                </c:pt>
                <c:pt idx="19">
                  <c:v>1180</c:v>
                </c:pt>
                <c:pt idx="20">
                  <c:v>1200</c:v>
                </c:pt>
                <c:pt idx="21">
                  <c:v>1220</c:v>
                </c:pt>
                <c:pt idx="22">
                  <c:v>1240</c:v>
                </c:pt>
                <c:pt idx="23">
                  <c:v>1260</c:v>
                </c:pt>
                <c:pt idx="24">
                  <c:v>1280</c:v>
                </c:pt>
                <c:pt idx="25">
                  <c:v>1300</c:v>
                </c:pt>
                <c:pt idx="26">
                  <c:v>1320</c:v>
                </c:pt>
                <c:pt idx="27">
                  <c:v>1340</c:v>
                </c:pt>
                <c:pt idx="28">
                  <c:v>1360</c:v>
                </c:pt>
                <c:pt idx="29">
                  <c:v>1380</c:v>
                </c:pt>
                <c:pt idx="30">
                  <c:v>1400</c:v>
                </c:pt>
                <c:pt idx="31">
                  <c:v>1420</c:v>
                </c:pt>
                <c:pt idx="32">
                  <c:v>1440</c:v>
                </c:pt>
                <c:pt idx="33">
                  <c:v>1460</c:v>
                </c:pt>
                <c:pt idx="34">
                  <c:v>1480</c:v>
                </c:pt>
                <c:pt idx="35">
                  <c:v>1500</c:v>
                </c:pt>
                <c:pt idx="36">
                  <c:v>1520</c:v>
                </c:pt>
                <c:pt idx="37">
                  <c:v>1540</c:v>
                </c:pt>
                <c:pt idx="38">
                  <c:v>1560</c:v>
                </c:pt>
                <c:pt idx="39">
                  <c:v>1580</c:v>
                </c:pt>
                <c:pt idx="40">
                  <c:v>1600</c:v>
                </c:pt>
                <c:pt idx="41">
                  <c:v>1605</c:v>
                </c:pt>
                <c:pt idx="42">
                  <c:v>1610</c:v>
                </c:pt>
                <c:pt idx="43">
                  <c:v>1615</c:v>
                </c:pt>
                <c:pt idx="44">
                  <c:v>1620</c:v>
                </c:pt>
                <c:pt idx="45">
                  <c:v>1625</c:v>
                </c:pt>
                <c:pt idx="46">
                  <c:v>1630</c:v>
                </c:pt>
                <c:pt idx="47">
                  <c:v>1635</c:v>
                </c:pt>
                <c:pt idx="48">
                  <c:v>1640</c:v>
                </c:pt>
                <c:pt idx="49">
                  <c:v>1645</c:v>
                </c:pt>
                <c:pt idx="50">
                  <c:v>1650</c:v>
                </c:pt>
                <c:pt idx="51">
                  <c:v>1655</c:v>
                </c:pt>
                <c:pt idx="52">
                  <c:v>1660</c:v>
                </c:pt>
                <c:pt idx="53">
                  <c:v>1665</c:v>
                </c:pt>
                <c:pt idx="54">
                  <c:v>1670</c:v>
                </c:pt>
                <c:pt idx="55">
                  <c:v>1675</c:v>
                </c:pt>
                <c:pt idx="56">
                  <c:v>1680</c:v>
                </c:pt>
                <c:pt idx="57">
                  <c:v>1685</c:v>
                </c:pt>
                <c:pt idx="58">
                  <c:v>1690</c:v>
                </c:pt>
                <c:pt idx="59">
                  <c:v>1695</c:v>
                </c:pt>
                <c:pt idx="60">
                  <c:v>1700</c:v>
                </c:pt>
                <c:pt idx="61">
                  <c:v>1705</c:v>
                </c:pt>
                <c:pt idx="62">
                  <c:v>1710</c:v>
                </c:pt>
                <c:pt idx="63">
                  <c:v>1715</c:v>
                </c:pt>
                <c:pt idx="64">
                  <c:v>1720</c:v>
                </c:pt>
                <c:pt idx="65">
                  <c:v>1725</c:v>
                </c:pt>
                <c:pt idx="66">
                  <c:v>1730</c:v>
                </c:pt>
                <c:pt idx="67">
                  <c:v>1735</c:v>
                </c:pt>
                <c:pt idx="68">
                  <c:v>1740</c:v>
                </c:pt>
                <c:pt idx="69">
                  <c:v>1745</c:v>
                </c:pt>
                <c:pt idx="70">
                  <c:v>1750</c:v>
                </c:pt>
                <c:pt idx="71">
                  <c:v>1755</c:v>
                </c:pt>
                <c:pt idx="72">
                  <c:v>1760</c:v>
                </c:pt>
                <c:pt idx="73">
                  <c:v>1765</c:v>
                </c:pt>
                <c:pt idx="74">
                  <c:v>1770</c:v>
                </c:pt>
                <c:pt idx="75">
                  <c:v>1775</c:v>
                </c:pt>
                <c:pt idx="76">
                  <c:v>1780</c:v>
                </c:pt>
                <c:pt idx="77">
                  <c:v>1785</c:v>
                </c:pt>
                <c:pt idx="78">
                  <c:v>1790</c:v>
                </c:pt>
                <c:pt idx="79">
                  <c:v>1795</c:v>
                </c:pt>
                <c:pt idx="80">
                  <c:v>1800</c:v>
                </c:pt>
                <c:pt idx="81">
                  <c:v>1805</c:v>
                </c:pt>
                <c:pt idx="82">
                  <c:v>1810</c:v>
                </c:pt>
                <c:pt idx="83">
                  <c:v>1815</c:v>
                </c:pt>
                <c:pt idx="84">
                  <c:v>1820</c:v>
                </c:pt>
                <c:pt idx="85">
                  <c:v>1825</c:v>
                </c:pt>
                <c:pt idx="86">
                  <c:v>1830</c:v>
                </c:pt>
                <c:pt idx="87">
                  <c:v>1835</c:v>
                </c:pt>
                <c:pt idx="88">
                  <c:v>1840</c:v>
                </c:pt>
                <c:pt idx="89">
                  <c:v>1845</c:v>
                </c:pt>
                <c:pt idx="90">
                  <c:v>1850</c:v>
                </c:pt>
                <c:pt idx="91">
                  <c:v>1855</c:v>
                </c:pt>
                <c:pt idx="92">
                  <c:v>1860</c:v>
                </c:pt>
                <c:pt idx="93">
                  <c:v>1865</c:v>
                </c:pt>
                <c:pt idx="94">
                  <c:v>1870</c:v>
                </c:pt>
                <c:pt idx="95">
                  <c:v>1875</c:v>
                </c:pt>
                <c:pt idx="96">
                  <c:v>1880</c:v>
                </c:pt>
                <c:pt idx="97">
                  <c:v>1885</c:v>
                </c:pt>
                <c:pt idx="98">
                  <c:v>1890</c:v>
                </c:pt>
                <c:pt idx="99">
                  <c:v>1895</c:v>
                </c:pt>
                <c:pt idx="100">
                  <c:v>1900</c:v>
                </c:pt>
                <c:pt idx="101">
                  <c:v>1905</c:v>
                </c:pt>
                <c:pt idx="102">
                  <c:v>1910</c:v>
                </c:pt>
                <c:pt idx="103">
                  <c:v>1915</c:v>
                </c:pt>
                <c:pt idx="104">
                  <c:v>1920</c:v>
                </c:pt>
                <c:pt idx="105">
                  <c:v>1925</c:v>
                </c:pt>
                <c:pt idx="106">
                  <c:v>1930</c:v>
                </c:pt>
                <c:pt idx="107">
                  <c:v>1935</c:v>
                </c:pt>
                <c:pt idx="108">
                  <c:v>1940</c:v>
                </c:pt>
                <c:pt idx="109">
                  <c:v>1945</c:v>
                </c:pt>
                <c:pt idx="110">
                  <c:v>1950</c:v>
                </c:pt>
                <c:pt idx="111">
                  <c:v>1955</c:v>
                </c:pt>
                <c:pt idx="112">
                  <c:v>1960</c:v>
                </c:pt>
                <c:pt idx="113">
                  <c:v>1965</c:v>
                </c:pt>
                <c:pt idx="114">
                  <c:v>1970</c:v>
                </c:pt>
                <c:pt idx="115">
                  <c:v>1975</c:v>
                </c:pt>
                <c:pt idx="116">
                  <c:v>1980</c:v>
                </c:pt>
                <c:pt idx="117">
                  <c:v>1985</c:v>
                </c:pt>
                <c:pt idx="118">
                  <c:v>1990</c:v>
                </c:pt>
                <c:pt idx="119">
                  <c:v>1995</c:v>
                </c:pt>
                <c:pt idx="120">
                  <c:v>2000</c:v>
                </c:pt>
                <c:pt idx="121">
                  <c:v>2005</c:v>
                </c:pt>
                <c:pt idx="122">
                  <c:v>2010</c:v>
                </c:pt>
                <c:pt idx="123">
                  <c:v>2015</c:v>
                </c:pt>
                <c:pt idx="124">
                  <c:v>2020</c:v>
                </c:pt>
                <c:pt idx="125">
                  <c:v>2025</c:v>
                </c:pt>
                <c:pt idx="126">
                  <c:v>2030</c:v>
                </c:pt>
                <c:pt idx="127">
                  <c:v>2035</c:v>
                </c:pt>
                <c:pt idx="128">
                  <c:v>2040</c:v>
                </c:pt>
                <c:pt idx="129">
                  <c:v>2045</c:v>
                </c:pt>
                <c:pt idx="130">
                  <c:v>2050</c:v>
                </c:pt>
                <c:pt idx="131">
                  <c:v>2055</c:v>
                </c:pt>
                <c:pt idx="132">
                  <c:v>2060</c:v>
                </c:pt>
                <c:pt idx="133">
                  <c:v>2065</c:v>
                </c:pt>
                <c:pt idx="134">
                  <c:v>2070</c:v>
                </c:pt>
                <c:pt idx="135">
                  <c:v>2075</c:v>
                </c:pt>
                <c:pt idx="136">
                  <c:v>2080</c:v>
                </c:pt>
                <c:pt idx="137">
                  <c:v>2085</c:v>
                </c:pt>
                <c:pt idx="138">
                  <c:v>2090</c:v>
                </c:pt>
                <c:pt idx="139">
                  <c:v>2095</c:v>
                </c:pt>
                <c:pt idx="140">
                  <c:v>2100</c:v>
                </c:pt>
                <c:pt idx="141">
                  <c:v>2105</c:v>
                </c:pt>
                <c:pt idx="142">
                  <c:v>2110</c:v>
                </c:pt>
                <c:pt idx="143">
                  <c:v>2115</c:v>
                </c:pt>
                <c:pt idx="144">
                  <c:v>2120</c:v>
                </c:pt>
              </c:numCache>
            </c:numRef>
          </c:cat>
          <c:val>
            <c:numRef>
              <c:f>'総人口推移（グラフ作成）'!$D$8:$D$152</c:f>
              <c:numCache>
                <c:formatCode>General</c:formatCode>
                <c:ptCount val="145"/>
                <c:pt idx="125" formatCode="#,##0">
                  <c:v>123713087</c:v>
                </c:pt>
                <c:pt idx="126" formatCode="#,##0">
                  <c:v>121140113</c:v>
                </c:pt>
                <c:pt idx="127" formatCode="#,##0">
                  <c:v>118350000</c:v>
                </c:pt>
                <c:pt idx="128" formatCode="#,##0">
                  <c:v>115290017</c:v>
                </c:pt>
                <c:pt idx="129" formatCode="#,##0">
                  <c:v>112032205</c:v>
                </c:pt>
                <c:pt idx="130" formatCode="#,##0">
                  <c:v>108753332</c:v>
                </c:pt>
                <c:pt idx="131" formatCode="#,##0">
                  <c:v>105520267</c:v>
                </c:pt>
                <c:pt idx="132" formatCode="#,##0">
                  <c:v>102235967</c:v>
                </c:pt>
                <c:pt idx="133" formatCode="#,##0">
                  <c:v>98851855</c:v>
                </c:pt>
                <c:pt idx="134" formatCode="#,##0">
                  <c:v>95490477</c:v>
                </c:pt>
                <c:pt idx="135" formatCode="#,##0">
                  <c:v>92259896</c:v>
                </c:pt>
                <c:pt idx="136" formatCode="#,##0">
                  <c:v>89272748</c:v>
                </c:pt>
                <c:pt idx="137" formatCode="#,##0">
                  <c:v>86533774</c:v>
                </c:pt>
                <c:pt idx="138" formatCode="#,##0">
                  <c:v>83955480</c:v>
                </c:pt>
                <c:pt idx="139" formatCode="#,##0">
                  <c:v>81480688</c:v>
                </c:pt>
                <c:pt idx="140" formatCode="#,##0">
                  <c:v>79105964</c:v>
                </c:pt>
                <c:pt idx="141" formatCode="#,##0">
                  <c:v>76841986</c:v>
                </c:pt>
                <c:pt idx="142" formatCode="#,##0">
                  <c:v>74684407</c:v>
                </c:pt>
                <c:pt idx="143" formatCode="#,##0">
                  <c:v>72624077</c:v>
                </c:pt>
                <c:pt idx="144" formatCode="#,##0">
                  <c:v>70623904</c:v>
                </c:pt>
              </c:numCache>
            </c:numRef>
          </c:val>
          <c:smooth val="0"/>
          <c:extLst>
            <c:ext xmlns:c16="http://schemas.microsoft.com/office/drawing/2014/chart" uri="{C3380CC4-5D6E-409C-BE32-E72D297353CC}">
              <c16:uniqueId val="{00000003-AB0C-4F95-8CBB-4AEF0B7A4A7E}"/>
            </c:ext>
          </c:extLst>
        </c:ser>
        <c:ser>
          <c:idx val="2"/>
          <c:order val="2"/>
          <c:spPr>
            <a:ln w="25400" cap="rnd">
              <a:solidFill>
                <a:schemeClr val="tx1">
                  <a:lumMod val="50000"/>
                  <a:lumOff val="50000"/>
                </a:schemeClr>
              </a:solidFill>
              <a:prstDash val="sysDash"/>
              <a:round/>
            </a:ln>
            <a:effectLst/>
          </c:spPr>
          <c:marker>
            <c:symbol val="none"/>
          </c:marker>
          <c:cat>
            <c:numRef>
              <c:f>'総人口推移（グラフ作成）'!$B$8:$B$152</c:f>
              <c:numCache>
                <c:formatCode>General</c:formatCode>
                <c:ptCount val="145"/>
                <c:pt idx="0">
                  <c:v>800</c:v>
                </c:pt>
                <c:pt idx="1">
                  <c:v>820</c:v>
                </c:pt>
                <c:pt idx="2">
                  <c:v>840</c:v>
                </c:pt>
                <c:pt idx="3">
                  <c:v>860</c:v>
                </c:pt>
                <c:pt idx="4">
                  <c:v>880</c:v>
                </c:pt>
                <c:pt idx="5">
                  <c:v>900</c:v>
                </c:pt>
                <c:pt idx="6">
                  <c:v>920</c:v>
                </c:pt>
                <c:pt idx="7">
                  <c:v>940</c:v>
                </c:pt>
                <c:pt idx="8">
                  <c:v>960</c:v>
                </c:pt>
                <c:pt idx="9">
                  <c:v>980</c:v>
                </c:pt>
                <c:pt idx="10">
                  <c:v>1000</c:v>
                </c:pt>
                <c:pt idx="11">
                  <c:v>1020</c:v>
                </c:pt>
                <c:pt idx="12">
                  <c:v>1040</c:v>
                </c:pt>
                <c:pt idx="13">
                  <c:v>1060</c:v>
                </c:pt>
                <c:pt idx="14">
                  <c:v>1080</c:v>
                </c:pt>
                <c:pt idx="15">
                  <c:v>1100</c:v>
                </c:pt>
                <c:pt idx="16">
                  <c:v>1120</c:v>
                </c:pt>
                <c:pt idx="17">
                  <c:v>1140</c:v>
                </c:pt>
                <c:pt idx="18">
                  <c:v>1160</c:v>
                </c:pt>
                <c:pt idx="19">
                  <c:v>1180</c:v>
                </c:pt>
                <c:pt idx="20">
                  <c:v>1200</c:v>
                </c:pt>
                <c:pt idx="21">
                  <c:v>1220</c:v>
                </c:pt>
                <c:pt idx="22">
                  <c:v>1240</c:v>
                </c:pt>
                <c:pt idx="23">
                  <c:v>1260</c:v>
                </c:pt>
                <c:pt idx="24">
                  <c:v>1280</c:v>
                </c:pt>
                <c:pt idx="25">
                  <c:v>1300</c:v>
                </c:pt>
                <c:pt idx="26">
                  <c:v>1320</c:v>
                </c:pt>
                <c:pt idx="27">
                  <c:v>1340</c:v>
                </c:pt>
                <c:pt idx="28">
                  <c:v>1360</c:v>
                </c:pt>
                <c:pt idx="29">
                  <c:v>1380</c:v>
                </c:pt>
                <c:pt idx="30">
                  <c:v>1400</c:v>
                </c:pt>
                <c:pt idx="31">
                  <c:v>1420</c:v>
                </c:pt>
                <c:pt idx="32">
                  <c:v>1440</c:v>
                </c:pt>
                <c:pt idx="33">
                  <c:v>1460</c:v>
                </c:pt>
                <c:pt idx="34">
                  <c:v>1480</c:v>
                </c:pt>
                <c:pt idx="35">
                  <c:v>1500</c:v>
                </c:pt>
                <c:pt idx="36">
                  <c:v>1520</c:v>
                </c:pt>
                <c:pt idx="37">
                  <c:v>1540</c:v>
                </c:pt>
                <c:pt idx="38">
                  <c:v>1560</c:v>
                </c:pt>
                <c:pt idx="39">
                  <c:v>1580</c:v>
                </c:pt>
                <c:pt idx="40">
                  <c:v>1600</c:v>
                </c:pt>
                <c:pt idx="41">
                  <c:v>1605</c:v>
                </c:pt>
                <c:pt idx="42">
                  <c:v>1610</c:v>
                </c:pt>
                <c:pt idx="43">
                  <c:v>1615</c:v>
                </c:pt>
                <c:pt idx="44">
                  <c:v>1620</c:v>
                </c:pt>
                <c:pt idx="45">
                  <c:v>1625</c:v>
                </c:pt>
                <c:pt idx="46">
                  <c:v>1630</c:v>
                </c:pt>
                <c:pt idx="47">
                  <c:v>1635</c:v>
                </c:pt>
                <c:pt idx="48">
                  <c:v>1640</c:v>
                </c:pt>
                <c:pt idx="49">
                  <c:v>1645</c:v>
                </c:pt>
                <c:pt idx="50">
                  <c:v>1650</c:v>
                </c:pt>
                <c:pt idx="51">
                  <c:v>1655</c:v>
                </c:pt>
                <c:pt idx="52">
                  <c:v>1660</c:v>
                </c:pt>
                <c:pt idx="53">
                  <c:v>1665</c:v>
                </c:pt>
                <c:pt idx="54">
                  <c:v>1670</c:v>
                </c:pt>
                <c:pt idx="55">
                  <c:v>1675</c:v>
                </c:pt>
                <c:pt idx="56">
                  <c:v>1680</c:v>
                </c:pt>
                <c:pt idx="57">
                  <c:v>1685</c:v>
                </c:pt>
                <c:pt idx="58">
                  <c:v>1690</c:v>
                </c:pt>
                <c:pt idx="59">
                  <c:v>1695</c:v>
                </c:pt>
                <c:pt idx="60">
                  <c:v>1700</c:v>
                </c:pt>
                <c:pt idx="61">
                  <c:v>1705</c:v>
                </c:pt>
                <c:pt idx="62">
                  <c:v>1710</c:v>
                </c:pt>
                <c:pt idx="63">
                  <c:v>1715</c:v>
                </c:pt>
                <c:pt idx="64">
                  <c:v>1720</c:v>
                </c:pt>
                <c:pt idx="65">
                  <c:v>1725</c:v>
                </c:pt>
                <c:pt idx="66">
                  <c:v>1730</c:v>
                </c:pt>
                <c:pt idx="67">
                  <c:v>1735</c:v>
                </c:pt>
                <c:pt idx="68">
                  <c:v>1740</c:v>
                </c:pt>
                <c:pt idx="69">
                  <c:v>1745</c:v>
                </c:pt>
                <c:pt idx="70">
                  <c:v>1750</c:v>
                </c:pt>
                <c:pt idx="71">
                  <c:v>1755</c:v>
                </c:pt>
                <c:pt idx="72">
                  <c:v>1760</c:v>
                </c:pt>
                <c:pt idx="73">
                  <c:v>1765</c:v>
                </c:pt>
                <c:pt idx="74">
                  <c:v>1770</c:v>
                </c:pt>
                <c:pt idx="75">
                  <c:v>1775</c:v>
                </c:pt>
                <c:pt idx="76">
                  <c:v>1780</c:v>
                </c:pt>
                <c:pt idx="77">
                  <c:v>1785</c:v>
                </c:pt>
                <c:pt idx="78">
                  <c:v>1790</c:v>
                </c:pt>
                <c:pt idx="79">
                  <c:v>1795</c:v>
                </c:pt>
                <c:pt idx="80">
                  <c:v>1800</c:v>
                </c:pt>
                <c:pt idx="81">
                  <c:v>1805</c:v>
                </c:pt>
                <c:pt idx="82">
                  <c:v>1810</c:v>
                </c:pt>
                <c:pt idx="83">
                  <c:v>1815</c:v>
                </c:pt>
                <c:pt idx="84">
                  <c:v>1820</c:v>
                </c:pt>
                <c:pt idx="85">
                  <c:v>1825</c:v>
                </c:pt>
                <c:pt idx="86">
                  <c:v>1830</c:v>
                </c:pt>
                <c:pt idx="87">
                  <c:v>1835</c:v>
                </c:pt>
                <c:pt idx="88">
                  <c:v>1840</c:v>
                </c:pt>
                <c:pt idx="89">
                  <c:v>1845</c:v>
                </c:pt>
                <c:pt idx="90">
                  <c:v>1850</c:v>
                </c:pt>
                <c:pt idx="91">
                  <c:v>1855</c:v>
                </c:pt>
                <c:pt idx="92">
                  <c:v>1860</c:v>
                </c:pt>
                <c:pt idx="93">
                  <c:v>1865</c:v>
                </c:pt>
                <c:pt idx="94">
                  <c:v>1870</c:v>
                </c:pt>
                <c:pt idx="95">
                  <c:v>1875</c:v>
                </c:pt>
                <c:pt idx="96">
                  <c:v>1880</c:v>
                </c:pt>
                <c:pt idx="97">
                  <c:v>1885</c:v>
                </c:pt>
                <c:pt idx="98">
                  <c:v>1890</c:v>
                </c:pt>
                <c:pt idx="99">
                  <c:v>1895</c:v>
                </c:pt>
                <c:pt idx="100">
                  <c:v>1900</c:v>
                </c:pt>
                <c:pt idx="101">
                  <c:v>1905</c:v>
                </c:pt>
                <c:pt idx="102">
                  <c:v>1910</c:v>
                </c:pt>
                <c:pt idx="103">
                  <c:v>1915</c:v>
                </c:pt>
                <c:pt idx="104">
                  <c:v>1920</c:v>
                </c:pt>
                <c:pt idx="105">
                  <c:v>1925</c:v>
                </c:pt>
                <c:pt idx="106">
                  <c:v>1930</c:v>
                </c:pt>
                <c:pt idx="107">
                  <c:v>1935</c:v>
                </c:pt>
                <c:pt idx="108">
                  <c:v>1940</c:v>
                </c:pt>
                <c:pt idx="109">
                  <c:v>1945</c:v>
                </c:pt>
                <c:pt idx="110">
                  <c:v>1950</c:v>
                </c:pt>
                <c:pt idx="111">
                  <c:v>1955</c:v>
                </c:pt>
                <c:pt idx="112">
                  <c:v>1960</c:v>
                </c:pt>
                <c:pt idx="113">
                  <c:v>1965</c:v>
                </c:pt>
                <c:pt idx="114">
                  <c:v>1970</c:v>
                </c:pt>
                <c:pt idx="115">
                  <c:v>1975</c:v>
                </c:pt>
                <c:pt idx="116">
                  <c:v>1980</c:v>
                </c:pt>
                <c:pt idx="117">
                  <c:v>1985</c:v>
                </c:pt>
                <c:pt idx="118">
                  <c:v>1990</c:v>
                </c:pt>
                <c:pt idx="119">
                  <c:v>1995</c:v>
                </c:pt>
                <c:pt idx="120">
                  <c:v>2000</c:v>
                </c:pt>
                <c:pt idx="121">
                  <c:v>2005</c:v>
                </c:pt>
                <c:pt idx="122">
                  <c:v>2010</c:v>
                </c:pt>
                <c:pt idx="123">
                  <c:v>2015</c:v>
                </c:pt>
                <c:pt idx="124">
                  <c:v>2020</c:v>
                </c:pt>
                <c:pt idx="125">
                  <c:v>2025</c:v>
                </c:pt>
                <c:pt idx="126">
                  <c:v>2030</c:v>
                </c:pt>
                <c:pt idx="127">
                  <c:v>2035</c:v>
                </c:pt>
                <c:pt idx="128">
                  <c:v>2040</c:v>
                </c:pt>
                <c:pt idx="129">
                  <c:v>2045</c:v>
                </c:pt>
                <c:pt idx="130">
                  <c:v>2050</c:v>
                </c:pt>
                <c:pt idx="131">
                  <c:v>2055</c:v>
                </c:pt>
                <c:pt idx="132">
                  <c:v>2060</c:v>
                </c:pt>
                <c:pt idx="133">
                  <c:v>2065</c:v>
                </c:pt>
                <c:pt idx="134">
                  <c:v>2070</c:v>
                </c:pt>
                <c:pt idx="135">
                  <c:v>2075</c:v>
                </c:pt>
                <c:pt idx="136">
                  <c:v>2080</c:v>
                </c:pt>
                <c:pt idx="137">
                  <c:v>2085</c:v>
                </c:pt>
                <c:pt idx="138">
                  <c:v>2090</c:v>
                </c:pt>
                <c:pt idx="139">
                  <c:v>2095</c:v>
                </c:pt>
                <c:pt idx="140">
                  <c:v>2100</c:v>
                </c:pt>
                <c:pt idx="141">
                  <c:v>2105</c:v>
                </c:pt>
                <c:pt idx="142">
                  <c:v>2110</c:v>
                </c:pt>
                <c:pt idx="143">
                  <c:v>2115</c:v>
                </c:pt>
                <c:pt idx="144">
                  <c:v>2120</c:v>
                </c:pt>
              </c:numCache>
            </c:numRef>
          </c:cat>
          <c:val>
            <c:numRef>
              <c:f>'総人口推移（グラフ作成）'!$E$8:$E$152</c:f>
              <c:numCache>
                <c:formatCode>General</c:formatCode>
                <c:ptCount val="145"/>
                <c:pt idx="125" formatCode="#,##0">
                  <c:v>122847542</c:v>
                </c:pt>
                <c:pt idx="126" formatCode="#,##0">
                  <c:v>119179824</c:v>
                </c:pt>
                <c:pt idx="127" formatCode="#,##0">
                  <c:v>115102872</c:v>
                </c:pt>
                <c:pt idx="128" formatCode="#,##0">
                  <c:v>110677624</c:v>
                </c:pt>
                <c:pt idx="129" formatCode="#,##0">
                  <c:v>105999512</c:v>
                </c:pt>
                <c:pt idx="130" formatCode="#,##0">
                  <c:v>101206655</c:v>
                </c:pt>
                <c:pt idx="131" formatCode="#,##0">
                  <c:v>96288753</c:v>
                </c:pt>
                <c:pt idx="132" formatCode="#,##0">
                  <c:v>91118287</c:v>
                </c:pt>
                <c:pt idx="133" formatCode="#,##0">
                  <c:v>85699563</c:v>
                </c:pt>
                <c:pt idx="134" formatCode="#,##0">
                  <c:v>80237219</c:v>
                </c:pt>
                <c:pt idx="135" formatCode="#,##0">
                  <c:v>74893859</c:v>
                </c:pt>
                <c:pt idx="136" formatCode="#,##0">
                  <c:v>69797247</c:v>
                </c:pt>
                <c:pt idx="137" formatCode="#,##0">
                  <c:v>64935324</c:v>
                </c:pt>
                <c:pt idx="138" formatCode="#,##0">
                  <c:v>60202998</c:v>
                </c:pt>
                <c:pt idx="139" formatCode="#,##0">
                  <c:v>55556008</c:v>
                </c:pt>
                <c:pt idx="140" formatCode="#,##0">
                  <c:v>51042087</c:v>
                </c:pt>
                <c:pt idx="141" formatCode="#,##0">
                  <c:v>46745128</c:v>
                </c:pt>
                <c:pt idx="142" formatCode="#,##0">
                  <c:v>42742684</c:v>
                </c:pt>
                <c:pt idx="143" formatCode="#,##0">
                  <c:v>39110727</c:v>
                </c:pt>
                <c:pt idx="144" formatCode="#,##0">
                  <c:v>35865390</c:v>
                </c:pt>
              </c:numCache>
            </c:numRef>
          </c:val>
          <c:smooth val="0"/>
          <c:extLst>
            <c:ext xmlns:c16="http://schemas.microsoft.com/office/drawing/2014/chart" uri="{C3380CC4-5D6E-409C-BE32-E72D297353CC}">
              <c16:uniqueId val="{00000004-AB0C-4F95-8CBB-4AEF0B7A4A7E}"/>
            </c:ext>
          </c:extLst>
        </c:ser>
        <c:dLbls>
          <c:showLegendKey val="0"/>
          <c:showVal val="0"/>
          <c:showCatName val="0"/>
          <c:showSerName val="0"/>
          <c:showPercent val="0"/>
          <c:showBubbleSize val="0"/>
        </c:dLbls>
        <c:smooth val="0"/>
        <c:axId val="298880816"/>
        <c:axId val="298881600"/>
      </c:lineChart>
      <c:catAx>
        <c:axId val="298880816"/>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300" b="0" i="0" u="none" strike="noStrike" kern="1200" baseline="0">
                <a:solidFill>
                  <a:schemeClr val="tx1"/>
                </a:solidFill>
                <a:latin typeface="ＭＳ 明朝" panose="02020609040205080304" pitchFamily="17" charset="-128"/>
                <a:ea typeface="+mn-ea"/>
                <a:cs typeface="+mn-cs"/>
              </a:defRPr>
            </a:pPr>
            <a:endParaRPr lang="ja-JP"/>
          </a:p>
        </c:txPr>
        <c:crossAx val="298881600"/>
        <c:crosses val="autoZero"/>
        <c:auto val="1"/>
        <c:lblAlgn val="ctr"/>
        <c:lblOffset val="100"/>
        <c:tickLblSkip val="10"/>
        <c:tickMarkSkip val="200"/>
        <c:noMultiLvlLbl val="0"/>
      </c:catAx>
      <c:valAx>
        <c:axId val="298881600"/>
        <c:scaling>
          <c:orientation val="minMax"/>
          <c:max val="130000000"/>
          <c:min val="0"/>
        </c:scaling>
        <c:delete val="0"/>
        <c:axPos val="l"/>
        <c:majorGridlines>
          <c:spPr>
            <a:ln w="9525" cap="flat" cmpd="sng" algn="ctr">
              <a:solidFill>
                <a:schemeClr val="tx1">
                  <a:alpha val="54000"/>
                </a:schemeClr>
              </a:solidFill>
              <a:prstDash val="sysDash"/>
              <a:round/>
            </a:ln>
            <a:effectLst/>
          </c:spPr>
        </c:majorGridlines>
        <c:numFmt formatCode="#,##0_);[Red]\(#,##0\)" sourceLinked="0"/>
        <c:majorTickMark val="none"/>
        <c:minorTickMark val="none"/>
        <c:tickLblPos val="nextTo"/>
        <c:spPr>
          <a:noFill/>
          <a:ln w="12700">
            <a:solidFill>
              <a:schemeClr val="tx1"/>
            </a:solidFill>
          </a:ln>
          <a:effectLst/>
        </c:spPr>
        <c:txPr>
          <a:bodyPr rot="-60000000" spcFirstLastPara="1" vertOverflow="ellipsis" vert="horz" wrap="square" anchor="ctr" anchorCtr="1"/>
          <a:lstStyle/>
          <a:p>
            <a:pPr>
              <a:defRPr sz="1300" b="0" i="0" u="none" strike="noStrike" kern="1200" baseline="0">
                <a:solidFill>
                  <a:schemeClr val="tx1"/>
                </a:solidFill>
                <a:latin typeface="ＭＳ 明朝" panose="02020609040205080304" pitchFamily="17" charset="-128"/>
                <a:ea typeface="+mn-ea"/>
                <a:cs typeface="+mn-cs"/>
              </a:defRPr>
            </a:pPr>
            <a:endParaRPr lang="ja-JP"/>
          </a:p>
        </c:txPr>
        <c:crossAx val="298880816"/>
        <c:crosses val="autoZero"/>
        <c:crossBetween val="between"/>
        <c:majorUnit val="10000000"/>
        <c:minorUnit val="10000000"/>
        <c:dispUnits>
          <c:builtInUnit val="tenThousands"/>
        </c:dispUnits>
      </c:valAx>
      <c:spPr>
        <a:noFill/>
        <a:ln>
          <a:noFill/>
        </a:ln>
        <a:effectLst/>
      </c:spPr>
    </c:plotArea>
    <c:plotVisOnly val="1"/>
    <c:dispBlanksAs val="gap"/>
    <c:showDLblsOverMax val="0"/>
  </c:chart>
  <c:spPr>
    <a:noFill/>
    <a:ln>
      <a:noFill/>
    </a:ln>
    <a:effectLst/>
  </c:spPr>
  <c:txPr>
    <a:bodyPr/>
    <a:lstStyle/>
    <a:p>
      <a:pPr>
        <a:defRPr sz="1300" b="0" i="0" baseline="0">
          <a:latin typeface="ＭＳ 明朝" panose="02020609040205080304" pitchFamily="17" charset="-128"/>
        </a:defRPr>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238479825659792E-2"/>
          <c:y val="2.9396676589049625E-2"/>
          <c:w val="0.8892920483198159"/>
          <c:h val="0.90689545326508381"/>
        </c:manualLayout>
      </c:layout>
      <c:areaChart>
        <c:grouping val="stacked"/>
        <c:varyColors val="0"/>
        <c:ser>
          <c:idx val="3"/>
          <c:order val="0"/>
          <c:tx>
            <c:strRef>
              <c:f>年齢階層別人口の推移!$E$3</c:f>
              <c:strCache>
                <c:ptCount val="1"/>
                <c:pt idx="0">
                  <c:v>若年人口</c:v>
                </c:pt>
              </c:strCache>
            </c:strRef>
          </c:tx>
          <c:spPr>
            <a:solidFill>
              <a:srgbClr val="DAEDEF"/>
            </a:solidFill>
            <a:ln>
              <a:solidFill>
                <a:schemeClr val="bg1">
                  <a:lumMod val="50000"/>
                </a:schemeClr>
              </a:solidFill>
            </a:ln>
            <a:effectLst/>
          </c:spPr>
          <c:cat>
            <c:numRef>
              <c:f>年齢階層別人口の推移!$B$4:$B$124</c:f>
              <c:numCache>
                <c:formatCode>General</c:formatCode>
                <c:ptCount val="121"/>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pt idx="74">
                  <c:v>2024</c:v>
                </c:pt>
                <c:pt idx="75">
                  <c:v>2025</c:v>
                </c:pt>
                <c:pt idx="76">
                  <c:v>2026</c:v>
                </c:pt>
                <c:pt idx="77">
                  <c:v>2027</c:v>
                </c:pt>
                <c:pt idx="78">
                  <c:v>2028</c:v>
                </c:pt>
                <c:pt idx="79">
                  <c:v>2029</c:v>
                </c:pt>
                <c:pt idx="80">
                  <c:v>2030</c:v>
                </c:pt>
                <c:pt idx="81">
                  <c:v>2031</c:v>
                </c:pt>
                <c:pt idx="82">
                  <c:v>2032</c:v>
                </c:pt>
                <c:pt idx="83">
                  <c:v>2033</c:v>
                </c:pt>
                <c:pt idx="84">
                  <c:v>2034</c:v>
                </c:pt>
                <c:pt idx="85">
                  <c:v>2035</c:v>
                </c:pt>
                <c:pt idx="86">
                  <c:v>2036</c:v>
                </c:pt>
                <c:pt idx="87">
                  <c:v>2037</c:v>
                </c:pt>
                <c:pt idx="88">
                  <c:v>2038</c:v>
                </c:pt>
                <c:pt idx="89">
                  <c:v>2039</c:v>
                </c:pt>
                <c:pt idx="90">
                  <c:v>2040</c:v>
                </c:pt>
                <c:pt idx="91">
                  <c:v>2041</c:v>
                </c:pt>
                <c:pt idx="92">
                  <c:v>2042</c:v>
                </c:pt>
                <c:pt idx="93">
                  <c:v>2043</c:v>
                </c:pt>
                <c:pt idx="94">
                  <c:v>2044</c:v>
                </c:pt>
                <c:pt idx="95">
                  <c:v>2045</c:v>
                </c:pt>
                <c:pt idx="96">
                  <c:v>2046</c:v>
                </c:pt>
                <c:pt idx="97">
                  <c:v>2047</c:v>
                </c:pt>
                <c:pt idx="98">
                  <c:v>2048</c:v>
                </c:pt>
                <c:pt idx="99">
                  <c:v>2049</c:v>
                </c:pt>
                <c:pt idx="100">
                  <c:v>2050</c:v>
                </c:pt>
                <c:pt idx="101">
                  <c:v>2051</c:v>
                </c:pt>
                <c:pt idx="102">
                  <c:v>2052</c:v>
                </c:pt>
                <c:pt idx="103">
                  <c:v>2053</c:v>
                </c:pt>
                <c:pt idx="104">
                  <c:v>2054</c:v>
                </c:pt>
                <c:pt idx="105">
                  <c:v>2055</c:v>
                </c:pt>
                <c:pt idx="106">
                  <c:v>2056</c:v>
                </c:pt>
                <c:pt idx="107">
                  <c:v>2057</c:v>
                </c:pt>
                <c:pt idx="108">
                  <c:v>2058</c:v>
                </c:pt>
                <c:pt idx="109">
                  <c:v>2059</c:v>
                </c:pt>
                <c:pt idx="110">
                  <c:v>2060</c:v>
                </c:pt>
                <c:pt idx="111">
                  <c:v>2061</c:v>
                </c:pt>
                <c:pt idx="112">
                  <c:v>2062</c:v>
                </c:pt>
                <c:pt idx="113">
                  <c:v>2063</c:v>
                </c:pt>
                <c:pt idx="114">
                  <c:v>2064</c:v>
                </c:pt>
                <c:pt idx="115">
                  <c:v>2065</c:v>
                </c:pt>
                <c:pt idx="116">
                  <c:v>2066</c:v>
                </c:pt>
                <c:pt idx="117">
                  <c:v>2067</c:v>
                </c:pt>
                <c:pt idx="118">
                  <c:v>2068</c:v>
                </c:pt>
                <c:pt idx="119">
                  <c:v>2069</c:v>
                </c:pt>
                <c:pt idx="120">
                  <c:v>2070</c:v>
                </c:pt>
              </c:numCache>
            </c:numRef>
          </c:cat>
          <c:val>
            <c:numRef>
              <c:f>年齢階層別人口の推移!$E$4:$E$124</c:f>
              <c:numCache>
                <c:formatCode>#,##0_);[Red]\(#,##0\)</c:formatCode>
                <c:ptCount val="121"/>
                <c:pt idx="0">
                  <c:v>294300</c:v>
                </c:pt>
                <c:pt idx="1">
                  <c:v>296620</c:v>
                </c:pt>
                <c:pt idx="2">
                  <c:v>297000</c:v>
                </c:pt>
                <c:pt idx="3">
                  <c:v>297520</c:v>
                </c:pt>
                <c:pt idx="4">
                  <c:v>298880</c:v>
                </c:pt>
                <c:pt idx="5">
                  <c:v>297980</c:v>
                </c:pt>
                <c:pt idx="6">
                  <c:v>294140</c:v>
                </c:pt>
                <c:pt idx="7">
                  <c:v>289090</c:v>
                </c:pt>
                <c:pt idx="8">
                  <c:v>285130</c:v>
                </c:pt>
                <c:pt idx="9">
                  <c:v>281090</c:v>
                </c:pt>
                <c:pt idx="10">
                  <c:v>280670</c:v>
                </c:pt>
                <c:pt idx="11">
                  <c:v>280670</c:v>
                </c:pt>
                <c:pt idx="12">
                  <c:v>272740</c:v>
                </c:pt>
                <c:pt idx="13">
                  <c:v>264160</c:v>
                </c:pt>
                <c:pt idx="14">
                  <c:v>255900</c:v>
                </c:pt>
                <c:pt idx="15">
                  <c:v>251660</c:v>
                </c:pt>
                <c:pt idx="16">
                  <c:v>245210</c:v>
                </c:pt>
                <c:pt idx="17">
                  <c:v>244160</c:v>
                </c:pt>
                <c:pt idx="18">
                  <c:v>244220</c:v>
                </c:pt>
                <c:pt idx="19">
                  <c:v>246010</c:v>
                </c:pt>
                <c:pt idx="20">
                  <c:v>248230</c:v>
                </c:pt>
                <c:pt idx="21">
                  <c:v>251690</c:v>
                </c:pt>
                <c:pt idx="22">
                  <c:v>259700</c:v>
                </c:pt>
                <c:pt idx="23">
                  <c:v>264470</c:v>
                </c:pt>
                <c:pt idx="24">
                  <c:v>268500</c:v>
                </c:pt>
                <c:pt idx="25">
                  <c:v>272320</c:v>
                </c:pt>
                <c:pt idx="26">
                  <c:v>274920</c:v>
                </c:pt>
                <c:pt idx="27">
                  <c:v>276490</c:v>
                </c:pt>
                <c:pt idx="28">
                  <c:v>277080</c:v>
                </c:pt>
                <c:pt idx="29">
                  <c:v>276640</c:v>
                </c:pt>
                <c:pt idx="30">
                  <c:v>275240</c:v>
                </c:pt>
                <c:pt idx="31">
                  <c:v>276030</c:v>
                </c:pt>
                <c:pt idx="32">
                  <c:v>272540</c:v>
                </c:pt>
                <c:pt idx="33">
                  <c:v>269070</c:v>
                </c:pt>
                <c:pt idx="34">
                  <c:v>265040</c:v>
                </c:pt>
                <c:pt idx="35">
                  <c:v>260420</c:v>
                </c:pt>
                <c:pt idx="36">
                  <c:v>254340</c:v>
                </c:pt>
                <c:pt idx="37">
                  <c:v>247530</c:v>
                </c:pt>
                <c:pt idx="38">
                  <c:v>239850</c:v>
                </c:pt>
                <c:pt idx="39">
                  <c:v>232010</c:v>
                </c:pt>
                <c:pt idx="40">
                  <c:v>225440</c:v>
                </c:pt>
                <c:pt idx="41">
                  <c:v>219040</c:v>
                </c:pt>
                <c:pt idx="42">
                  <c:v>213640</c:v>
                </c:pt>
                <c:pt idx="43">
                  <c:v>208410</c:v>
                </c:pt>
                <c:pt idx="44">
                  <c:v>204150</c:v>
                </c:pt>
                <c:pt idx="45">
                  <c:v>200330</c:v>
                </c:pt>
                <c:pt idx="46">
                  <c:v>196860</c:v>
                </c:pt>
                <c:pt idx="47">
                  <c:v>193660</c:v>
                </c:pt>
                <c:pt idx="48">
                  <c:v>190590</c:v>
                </c:pt>
                <c:pt idx="49">
                  <c:v>187420</c:v>
                </c:pt>
                <c:pt idx="50">
                  <c:v>185050</c:v>
                </c:pt>
                <c:pt idx="51">
                  <c:v>182830</c:v>
                </c:pt>
                <c:pt idx="52">
                  <c:v>181020</c:v>
                </c:pt>
                <c:pt idx="53">
                  <c:v>179050</c:v>
                </c:pt>
                <c:pt idx="54">
                  <c:v>177340</c:v>
                </c:pt>
                <c:pt idx="55">
                  <c:v>175850</c:v>
                </c:pt>
                <c:pt idx="56">
                  <c:v>174350</c:v>
                </c:pt>
                <c:pt idx="57">
                  <c:v>172930</c:v>
                </c:pt>
                <c:pt idx="58">
                  <c:v>171760</c:v>
                </c:pt>
                <c:pt idx="59">
                  <c:v>170110</c:v>
                </c:pt>
                <c:pt idx="60">
                  <c:v>168390</c:v>
                </c:pt>
                <c:pt idx="61">
                  <c:v>167050</c:v>
                </c:pt>
                <c:pt idx="62">
                  <c:v>165470</c:v>
                </c:pt>
                <c:pt idx="63">
                  <c:v>163900</c:v>
                </c:pt>
                <c:pt idx="64">
                  <c:v>162330</c:v>
                </c:pt>
                <c:pt idx="65">
                  <c:v>159450</c:v>
                </c:pt>
                <c:pt idx="66">
                  <c:v>158090</c:v>
                </c:pt>
                <c:pt idx="67">
                  <c:v>156410</c:v>
                </c:pt>
                <c:pt idx="68">
                  <c:v>154730</c:v>
                </c:pt>
                <c:pt idx="69">
                  <c:v>152590</c:v>
                </c:pt>
                <c:pt idx="70">
                  <c:v>150320</c:v>
                </c:pt>
                <c:pt idx="71">
                  <c:v>147924.34</c:v>
                </c:pt>
                <c:pt idx="72">
                  <c:v>145153.25</c:v>
                </c:pt>
                <c:pt idx="73">
                  <c:v>142020.24</c:v>
                </c:pt>
                <c:pt idx="74">
                  <c:v>139148.31</c:v>
                </c:pt>
                <c:pt idx="75">
                  <c:v>136325.22</c:v>
                </c:pt>
                <c:pt idx="76">
                  <c:v>133545.93</c:v>
                </c:pt>
                <c:pt idx="77">
                  <c:v>131002.98000000001</c:v>
                </c:pt>
                <c:pt idx="78">
                  <c:v>128503.32</c:v>
                </c:pt>
                <c:pt idx="79">
                  <c:v>126249.75</c:v>
                </c:pt>
                <c:pt idx="80">
                  <c:v>123970.06</c:v>
                </c:pt>
                <c:pt idx="81">
                  <c:v>121928.16999999998</c:v>
                </c:pt>
                <c:pt idx="82">
                  <c:v>120261.27</c:v>
                </c:pt>
                <c:pt idx="83">
                  <c:v>118793.60000000001</c:v>
                </c:pt>
                <c:pt idx="84">
                  <c:v>117710</c:v>
                </c:pt>
                <c:pt idx="85">
                  <c:v>116911.91999999998</c:v>
                </c:pt>
                <c:pt idx="86">
                  <c:v>116047.35</c:v>
                </c:pt>
                <c:pt idx="87">
                  <c:v>115512.94</c:v>
                </c:pt>
                <c:pt idx="88">
                  <c:v>115198.42000000001</c:v>
                </c:pt>
                <c:pt idx="89">
                  <c:v>114736.5</c:v>
                </c:pt>
                <c:pt idx="90">
                  <c:v>114190.45</c:v>
                </c:pt>
                <c:pt idx="91">
                  <c:v>113597.99</c:v>
                </c:pt>
                <c:pt idx="92">
                  <c:v>112922.44</c:v>
                </c:pt>
                <c:pt idx="93">
                  <c:v>112141.99</c:v>
                </c:pt>
                <c:pt idx="94">
                  <c:v>111256.28</c:v>
                </c:pt>
                <c:pt idx="95">
                  <c:v>110269.3</c:v>
                </c:pt>
                <c:pt idx="96">
                  <c:v>109185.84000000001</c:v>
                </c:pt>
                <c:pt idx="97">
                  <c:v>108012.72</c:v>
                </c:pt>
                <c:pt idx="98">
                  <c:v>106762</c:v>
                </c:pt>
                <c:pt idx="99">
                  <c:v>105442.17000000001</c:v>
                </c:pt>
                <c:pt idx="100">
                  <c:v>104061.23999999999</c:v>
                </c:pt>
                <c:pt idx="101">
                  <c:v>102628.58</c:v>
                </c:pt>
                <c:pt idx="102">
                  <c:v>101154.15000000001</c:v>
                </c:pt>
                <c:pt idx="103">
                  <c:v>99649.069999999992</c:v>
                </c:pt>
                <c:pt idx="104">
                  <c:v>98125.21</c:v>
                </c:pt>
                <c:pt idx="105">
                  <c:v>96594.83</c:v>
                </c:pt>
                <c:pt idx="106">
                  <c:v>95070.98</c:v>
                </c:pt>
                <c:pt idx="107">
                  <c:v>93566.659999999989</c:v>
                </c:pt>
                <c:pt idx="108">
                  <c:v>92094.670000000013</c:v>
                </c:pt>
                <c:pt idx="109">
                  <c:v>90667.75</c:v>
                </c:pt>
                <c:pt idx="110">
                  <c:v>89298</c:v>
                </c:pt>
                <c:pt idx="111">
                  <c:v>87996.14</c:v>
                </c:pt>
                <c:pt idx="112">
                  <c:v>86770.7</c:v>
                </c:pt>
                <c:pt idx="113">
                  <c:v>85627.72</c:v>
                </c:pt>
                <c:pt idx="114">
                  <c:v>84570.16</c:v>
                </c:pt>
                <c:pt idx="115">
                  <c:v>83597.119999999995</c:v>
                </c:pt>
                <c:pt idx="116">
                  <c:v>82704.349999999991</c:v>
                </c:pt>
                <c:pt idx="117">
                  <c:v>81884.5</c:v>
                </c:pt>
                <c:pt idx="118">
                  <c:v>81127.100000000006</c:v>
                </c:pt>
                <c:pt idx="119">
                  <c:v>80419.94</c:v>
                </c:pt>
                <c:pt idx="120">
                  <c:v>79749.87</c:v>
                </c:pt>
              </c:numCache>
            </c:numRef>
          </c:val>
          <c:extLst>
            <c:ext xmlns:c16="http://schemas.microsoft.com/office/drawing/2014/chart" uri="{C3380CC4-5D6E-409C-BE32-E72D297353CC}">
              <c16:uniqueId val="{00000000-F103-4115-AE43-4B3AC009EF68}"/>
            </c:ext>
          </c:extLst>
        </c:ser>
        <c:ser>
          <c:idx val="4"/>
          <c:order val="1"/>
          <c:tx>
            <c:strRef>
              <c:f>年齢階層別人口の推移!$F$3</c:f>
              <c:strCache>
                <c:ptCount val="1"/>
                <c:pt idx="0">
                  <c:v>生産年齢
人口</c:v>
                </c:pt>
              </c:strCache>
            </c:strRef>
          </c:tx>
          <c:spPr>
            <a:solidFill>
              <a:srgbClr val="B9FD8B"/>
            </a:solidFill>
            <a:ln>
              <a:solidFill>
                <a:schemeClr val="bg1">
                  <a:lumMod val="50000"/>
                </a:schemeClr>
              </a:solidFill>
            </a:ln>
            <a:effectLst/>
          </c:spPr>
          <c:cat>
            <c:numRef>
              <c:f>年齢階層別人口の推移!$B$4:$B$124</c:f>
              <c:numCache>
                <c:formatCode>General</c:formatCode>
                <c:ptCount val="121"/>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pt idx="74">
                  <c:v>2024</c:v>
                </c:pt>
                <c:pt idx="75">
                  <c:v>2025</c:v>
                </c:pt>
                <c:pt idx="76">
                  <c:v>2026</c:v>
                </c:pt>
                <c:pt idx="77">
                  <c:v>2027</c:v>
                </c:pt>
                <c:pt idx="78">
                  <c:v>2028</c:v>
                </c:pt>
                <c:pt idx="79">
                  <c:v>2029</c:v>
                </c:pt>
                <c:pt idx="80">
                  <c:v>2030</c:v>
                </c:pt>
                <c:pt idx="81">
                  <c:v>2031</c:v>
                </c:pt>
                <c:pt idx="82">
                  <c:v>2032</c:v>
                </c:pt>
                <c:pt idx="83">
                  <c:v>2033</c:v>
                </c:pt>
                <c:pt idx="84">
                  <c:v>2034</c:v>
                </c:pt>
                <c:pt idx="85">
                  <c:v>2035</c:v>
                </c:pt>
                <c:pt idx="86">
                  <c:v>2036</c:v>
                </c:pt>
                <c:pt idx="87">
                  <c:v>2037</c:v>
                </c:pt>
                <c:pt idx="88">
                  <c:v>2038</c:v>
                </c:pt>
                <c:pt idx="89">
                  <c:v>2039</c:v>
                </c:pt>
                <c:pt idx="90">
                  <c:v>2040</c:v>
                </c:pt>
                <c:pt idx="91">
                  <c:v>2041</c:v>
                </c:pt>
                <c:pt idx="92">
                  <c:v>2042</c:v>
                </c:pt>
                <c:pt idx="93">
                  <c:v>2043</c:v>
                </c:pt>
                <c:pt idx="94">
                  <c:v>2044</c:v>
                </c:pt>
                <c:pt idx="95">
                  <c:v>2045</c:v>
                </c:pt>
                <c:pt idx="96">
                  <c:v>2046</c:v>
                </c:pt>
                <c:pt idx="97">
                  <c:v>2047</c:v>
                </c:pt>
                <c:pt idx="98">
                  <c:v>2048</c:v>
                </c:pt>
                <c:pt idx="99">
                  <c:v>2049</c:v>
                </c:pt>
                <c:pt idx="100">
                  <c:v>2050</c:v>
                </c:pt>
                <c:pt idx="101">
                  <c:v>2051</c:v>
                </c:pt>
                <c:pt idx="102">
                  <c:v>2052</c:v>
                </c:pt>
                <c:pt idx="103">
                  <c:v>2053</c:v>
                </c:pt>
                <c:pt idx="104">
                  <c:v>2054</c:v>
                </c:pt>
                <c:pt idx="105">
                  <c:v>2055</c:v>
                </c:pt>
                <c:pt idx="106">
                  <c:v>2056</c:v>
                </c:pt>
                <c:pt idx="107">
                  <c:v>2057</c:v>
                </c:pt>
                <c:pt idx="108">
                  <c:v>2058</c:v>
                </c:pt>
                <c:pt idx="109">
                  <c:v>2059</c:v>
                </c:pt>
                <c:pt idx="110">
                  <c:v>2060</c:v>
                </c:pt>
                <c:pt idx="111">
                  <c:v>2061</c:v>
                </c:pt>
                <c:pt idx="112">
                  <c:v>2062</c:v>
                </c:pt>
                <c:pt idx="113">
                  <c:v>2063</c:v>
                </c:pt>
                <c:pt idx="114">
                  <c:v>2064</c:v>
                </c:pt>
                <c:pt idx="115">
                  <c:v>2065</c:v>
                </c:pt>
                <c:pt idx="116">
                  <c:v>2066</c:v>
                </c:pt>
                <c:pt idx="117">
                  <c:v>2067</c:v>
                </c:pt>
                <c:pt idx="118">
                  <c:v>2068</c:v>
                </c:pt>
                <c:pt idx="119">
                  <c:v>2069</c:v>
                </c:pt>
                <c:pt idx="120">
                  <c:v>2070</c:v>
                </c:pt>
              </c:numCache>
            </c:numRef>
          </c:cat>
          <c:val>
            <c:numRef>
              <c:f>年齢階層別人口の推移!$F$4:$F$124</c:f>
              <c:numCache>
                <c:formatCode>#,##0_);[Red]\(#,##0\)</c:formatCode>
                <c:ptCount val="121"/>
                <c:pt idx="0">
                  <c:v>496610</c:v>
                </c:pt>
                <c:pt idx="1">
                  <c:v>507340</c:v>
                </c:pt>
                <c:pt idx="2">
                  <c:v>518450</c:v>
                </c:pt>
                <c:pt idx="3">
                  <c:v>528540</c:v>
                </c:pt>
                <c:pt idx="4">
                  <c:v>538050</c:v>
                </c:pt>
                <c:pt idx="5">
                  <c:v>547300</c:v>
                </c:pt>
                <c:pt idx="6">
                  <c:v>560020</c:v>
                </c:pt>
                <c:pt idx="7">
                  <c:v>572410</c:v>
                </c:pt>
                <c:pt idx="8">
                  <c:v>584330</c:v>
                </c:pt>
                <c:pt idx="9">
                  <c:v>596560</c:v>
                </c:pt>
                <c:pt idx="10">
                  <c:v>600020</c:v>
                </c:pt>
                <c:pt idx="11">
                  <c:v>607150</c:v>
                </c:pt>
                <c:pt idx="12">
                  <c:v>622610</c:v>
                </c:pt>
                <c:pt idx="13">
                  <c:v>639030</c:v>
                </c:pt>
                <c:pt idx="14">
                  <c:v>655800</c:v>
                </c:pt>
                <c:pt idx="15">
                  <c:v>669280</c:v>
                </c:pt>
                <c:pt idx="16">
                  <c:v>681120</c:v>
                </c:pt>
                <c:pt idx="17">
                  <c:v>691610</c:v>
                </c:pt>
                <c:pt idx="18">
                  <c:v>700860</c:v>
                </c:pt>
                <c:pt idx="19">
                  <c:v>709380</c:v>
                </c:pt>
                <c:pt idx="20">
                  <c:v>715660</c:v>
                </c:pt>
                <c:pt idx="21">
                  <c:v>723210</c:v>
                </c:pt>
                <c:pt idx="22">
                  <c:v>734830</c:v>
                </c:pt>
                <c:pt idx="23">
                  <c:v>741040</c:v>
                </c:pt>
                <c:pt idx="24">
                  <c:v>747420</c:v>
                </c:pt>
                <c:pt idx="25">
                  <c:v>758390</c:v>
                </c:pt>
                <c:pt idx="26">
                  <c:v>763950</c:v>
                </c:pt>
                <c:pt idx="27">
                  <c:v>769440</c:v>
                </c:pt>
                <c:pt idx="28">
                  <c:v>775450</c:v>
                </c:pt>
                <c:pt idx="29">
                  <c:v>781610</c:v>
                </c:pt>
                <c:pt idx="30">
                  <c:v>788840</c:v>
                </c:pt>
                <c:pt idx="31">
                  <c:v>792720</c:v>
                </c:pt>
                <c:pt idx="32">
                  <c:v>800890</c:v>
                </c:pt>
                <c:pt idx="33">
                  <c:v>809040</c:v>
                </c:pt>
                <c:pt idx="34">
                  <c:v>817760</c:v>
                </c:pt>
                <c:pt idx="35">
                  <c:v>825350</c:v>
                </c:pt>
                <c:pt idx="36">
                  <c:v>833680</c:v>
                </c:pt>
                <c:pt idx="37">
                  <c:v>841890</c:v>
                </c:pt>
                <c:pt idx="38">
                  <c:v>850130</c:v>
                </c:pt>
                <c:pt idx="39">
                  <c:v>857450</c:v>
                </c:pt>
                <c:pt idx="40">
                  <c:v>861400</c:v>
                </c:pt>
                <c:pt idx="41">
                  <c:v>865570</c:v>
                </c:pt>
                <c:pt idx="42">
                  <c:v>868450</c:v>
                </c:pt>
                <c:pt idx="43">
                  <c:v>870230</c:v>
                </c:pt>
                <c:pt idx="44">
                  <c:v>870340</c:v>
                </c:pt>
                <c:pt idx="45">
                  <c:v>872600</c:v>
                </c:pt>
                <c:pt idx="46">
                  <c:v>871610</c:v>
                </c:pt>
                <c:pt idx="47">
                  <c:v>870420</c:v>
                </c:pt>
                <c:pt idx="48">
                  <c:v>869200</c:v>
                </c:pt>
                <c:pt idx="49">
                  <c:v>867580</c:v>
                </c:pt>
                <c:pt idx="50">
                  <c:v>863800</c:v>
                </c:pt>
                <c:pt idx="51">
                  <c:v>861390</c:v>
                </c:pt>
                <c:pt idx="52">
                  <c:v>857060</c:v>
                </c:pt>
                <c:pt idx="53">
                  <c:v>854040</c:v>
                </c:pt>
                <c:pt idx="54">
                  <c:v>850770</c:v>
                </c:pt>
                <c:pt idx="55">
                  <c:v>844220</c:v>
                </c:pt>
                <c:pt idx="56">
                  <c:v>837310</c:v>
                </c:pt>
                <c:pt idx="57">
                  <c:v>830150</c:v>
                </c:pt>
                <c:pt idx="58">
                  <c:v>823000</c:v>
                </c:pt>
                <c:pt idx="59">
                  <c:v>814930</c:v>
                </c:pt>
                <c:pt idx="60">
                  <c:v>817350</c:v>
                </c:pt>
                <c:pt idx="61">
                  <c:v>813420</c:v>
                </c:pt>
                <c:pt idx="62">
                  <c:v>801750</c:v>
                </c:pt>
                <c:pt idx="63">
                  <c:v>790100</c:v>
                </c:pt>
                <c:pt idx="64">
                  <c:v>778500</c:v>
                </c:pt>
                <c:pt idx="65">
                  <c:v>772820</c:v>
                </c:pt>
                <c:pt idx="66">
                  <c:v>766730</c:v>
                </c:pt>
                <c:pt idx="67">
                  <c:v>761900</c:v>
                </c:pt>
                <c:pt idx="68">
                  <c:v>757960</c:v>
                </c:pt>
                <c:pt idx="69">
                  <c:v>755420</c:v>
                </c:pt>
                <c:pt idx="70">
                  <c:v>750880</c:v>
                </c:pt>
                <c:pt idx="71">
                  <c:v>745080.70000000007</c:v>
                </c:pt>
                <c:pt idx="72">
                  <c:v>741960.42</c:v>
                </c:pt>
                <c:pt idx="73">
                  <c:v>738581.19000000006</c:v>
                </c:pt>
                <c:pt idx="74">
                  <c:v>734657.88</c:v>
                </c:pt>
                <c:pt idx="75">
                  <c:v>731010.25</c:v>
                </c:pt>
                <c:pt idx="76">
                  <c:v>727424.19</c:v>
                </c:pt>
                <c:pt idx="77">
                  <c:v>723349.58</c:v>
                </c:pt>
                <c:pt idx="78">
                  <c:v>718801.25</c:v>
                </c:pt>
                <c:pt idx="79">
                  <c:v>713667.01</c:v>
                </c:pt>
                <c:pt idx="80">
                  <c:v>707568.29</c:v>
                </c:pt>
                <c:pt idx="81">
                  <c:v>704376.67</c:v>
                </c:pt>
                <c:pt idx="82">
                  <c:v>697052.65</c:v>
                </c:pt>
                <c:pt idx="83">
                  <c:v>689487.01</c:v>
                </c:pt>
                <c:pt idx="84">
                  <c:v>681112.23</c:v>
                </c:pt>
                <c:pt idx="85">
                  <c:v>672155.54999999993</c:v>
                </c:pt>
                <c:pt idx="86">
                  <c:v>662678.24</c:v>
                </c:pt>
                <c:pt idx="87">
                  <c:v>652298.32999999996</c:v>
                </c:pt>
                <c:pt idx="88">
                  <c:v>641320</c:v>
                </c:pt>
                <c:pt idx="89">
                  <c:v>630795.26</c:v>
                </c:pt>
                <c:pt idx="90">
                  <c:v>621333.74</c:v>
                </c:pt>
                <c:pt idx="91">
                  <c:v>612539.91</c:v>
                </c:pt>
                <c:pt idx="92">
                  <c:v>604512.4</c:v>
                </c:pt>
                <c:pt idx="93">
                  <c:v>596907.58000000007</c:v>
                </c:pt>
                <c:pt idx="94">
                  <c:v>589886.04</c:v>
                </c:pt>
                <c:pt idx="95">
                  <c:v>583229.15999999992</c:v>
                </c:pt>
                <c:pt idx="96">
                  <c:v>577198.87</c:v>
                </c:pt>
                <c:pt idx="97">
                  <c:v>571253.6</c:v>
                </c:pt>
                <c:pt idx="98">
                  <c:v>565286.37</c:v>
                </c:pt>
                <c:pt idx="99">
                  <c:v>559454.06000000006</c:v>
                </c:pt>
                <c:pt idx="100">
                  <c:v>554020.35000000009</c:v>
                </c:pt>
                <c:pt idx="101">
                  <c:v>549003.68000000005</c:v>
                </c:pt>
                <c:pt idx="102">
                  <c:v>544085.67000000004</c:v>
                </c:pt>
                <c:pt idx="103">
                  <c:v>539412</c:v>
                </c:pt>
                <c:pt idx="104">
                  <c:v>535002.73</c:v>
                </c:pt>
                <c:pt idx="105">
                  <c:v>530696.84</c:v>
                </c:pt>
                <c:pt idx="106">
                  <c:v>526517.01</c:v>
                </c:pt>
                <c:pt idx="107">
                  <c:v>522131.25</c:v>
                </c:pt>
                <c:pt idx="108">
                  <c:v>517711.03</c:v>
                </c:pt>
                <c:pt idx="109">
                  <c:v>512863.22</c:v>
                </c:pt>
                <c:pt idx="110">
                  <c:v>507806.44</c:v>
                </c:pt>
                <c:pt idx="111">
                  <c:v>502726.76</c:v>
                </c:pt>
                <c:pt idx="112">
                  <c:v>497484.83999999997</c:v>
                </c:pt>
                <c:pt idx="113">
                  <c:v>492049.06000000006</c:v>
                </c:pt>
                <c:pt idx="114">
                  <c:v>486594.38</c:v>
                </c:pt>
                <c:pt idx="115">
                  <c:v>480925.74</c:v>
                </c:pt>
                <c:pt idx="116">
                  <c:v>475311.02</c:v>
                </c:pt>
                <c:pt idx="117">
                  <c:v>469756.27</c:v>
                </c:pt>
                <c:pt idx="118">
                  <c:v>464335.14</c:v>
                </c:pt>
                <c:pt idx="119">
                  <c:v>458793.23</c:v>
                </c:pt>
                <c:pt idx="120">
                  <c:v>453495.72</c:v>
                </c:pt>
              </c:numCache>
            </c:numRef>
          </c:val>
          <c:extLst>
            <c:ext xmlns:c16="http://schemas.microsoft.com/office/drawing/2014/chart" uri="{C3380CC4-5D6E-409C-BE32-E72D297353CC}">
              <c16:uniqueId val="{00000001-F103-4115-AE43-4B3AC009EF68}"/>
            </c:ext>
          </c:extLst>
        </c:ser>
        <c:ser>
          <c:idx val="5"/>
          <c:order val="2"/>
          <c:tx>
            <c:strRef>
              <c:f>年齢階層別人口の推移!$G$3</c:f>
              <c:strCache>
                <c:ptCount val="1"/>
                <c:pt idx="0">
                  <c:v>高齢人口</c:v>
                </c:pt>
              </c:strCache>
            </c:strRef>
          </c:tx>
          <c:spPr>
            <a:solidFill>
              <a:srgbClr val="FFFFCC"/>
            </a:solidFill>
            <a:ln>
              <a:solidFill>
                <a:schemeClr val="bg1">
                  <a:lumMod val="50000"/>
                </a:schemeClr>
              </a:solidFill>
            </a:ln>
            <a:effectLst/>
          </c:spPr>
          <c:cat>
            <c:numRef>
              <c:f>年齢階層別人口の推移!$B$4:$B$124</c:f>
              <c:numCache>
                <c:formatCode>General</c:formatCode>
                <c:ptCount val="121"/>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pt idx="74">
                  <c:v>2024</c:v>
                </c:pt>
                <c:pt idx="75">
                  <c:v>2025</c:v>
                </c:pt>
                <c:pt idx="76">
                  <c:v>2026</c:v>
                </c:pt>
                <c:pt idx="77">
                  <c:v>2027</c:v>
                </c:pt>
                <c:pt idx="78">
                  <c:v>2028</c:v>
                </c:pt>
                <c:pt idx="79">
                  <c:v>2029</c:v>
                </c:pt>
                <c:pt idx="80">
                  <c:v>2030</c:v>
                </c:pt>
                <c:pt idx="81">
                  <c:v>2031</c:v>
                </c:pt>
                <c:pt idx="82">
                  <c:v>2032</c:v>
                </c:pt>
                <c:pt idx="83">
                  <c:v>2033</c:v>
                </c:pt>
                <c:pt idx="84">
                  <c:v>2034</c:v>
                </c:pt>
                <c:pt idx="85">
                  <c:v>2035</c:v>
                </c:pt>
                <c:pt idx="86">
                  <c:v>2036</c:v>
                </c:pt>
                <c:pt idx="87">
                  <c:v>2037</c:v>
                </c:pt>
                <c:pt idx="88">
                  <c:v>2038</c:v>
                </c:pt>
                <c:pt idx="89">
                  <c:v>2039</c:v>
                </c:pt>
                <c:pt idx="90">
                  <c:v>2040</c:v>
                </c:pt>
                <c:pt idx="91">
                  <c:v>2041</c:v>
                </c:pt>
                <c:pt idx="92">
                  <c:v>2042</c:v>
                </c:pt>
                <c:pt idx="93">
                  <c:v>2043</c:v>
                </c:pt>
                <c:pt idx="94">
                  <c:v>2044</c:v>
                </c:pt>
                <c:pt idx="95">
                  <c:v>2045</c:v>
                </c:pt>
                <c:pt idx="96">
                  <c:v>2046</c:v>
                </c:pt>
                <c:pt idx="97">
                  <c:v>2047</c:v>
                </c:pt>
                <c:pt idx="98">
                  <c:v>2048</c:v>
                </c:pt>
                <c:pt idx="99">
                  <c:v>2049</c:v>
                </c:pt>
                <c:pt idx="100">
                  <c:v>2050</c:v>
                </c:pt>
                <c:pt idx="101">
                  <c:v>2051</c:v>
                </c:pt>
                <c:pt idx="102">
                  <c:v>2052</c:v>
                </c:pt>
                <c:pt idx="103">
                  <c:v>2053</c:v>
                </c:pt>
                <c:pt idx="104">
                  <c:v>2054</c:v>
                </c:pt>
                <c:pt idx="105">
                  <c:v>2055</c:v>
                </c:pt>
                <c:pt idx="106">
                  <c:v>2056</c:v>
                </c:pt>
                <c:pt idx="107">
                  <c:v>2057</c:v>
                </c:pt>
                <c:pt idx="108">
                  <c:v>2058</c:v>
                </c:pt>
                <c:pt idx="109">
                  <c:v>2059</c:v>
                </c:pt>
                <c:pt idx="110">
                  <c:v>2060</c:v>
                </c:pt>
                <c:pt idx="111">
                  <c:v>2061</c:v>
                </c:pt>
                <c:pt idx="112">
                  <c:v>2062</c:v>
                </c:pt>
                <c:pt idx="113">
                  <c:v>2063</c:v>
                </c:pt>
                <c:pt idx="114">
                  <c:v>2064</c:v>
                </c:pt>
                <c:pt idx="115">
                  <c:v>2065</c:v>
                </c:pt>
                <c:pt idx="116">
                  <c:v>2066</c:v>
                </c:pt>
                <c:pt idx="117">
                  <c:v>2067</c:v>
                </c:pt>
                <c:pt idx="118">
                  <c:v>2068</c:v>
                </c:pt>
                <c:pt idx="119">
                  <c:v>2069</c:v>
                </c:pt>
                <c:pt idx="120">
                  <c:v>2070</c:v>
                </c:pt>
              </c:numCache>
            </c:numRef>
          </c:cat>
          <c:val>
            <c:numRef>
              <c:f>年齢階層別人口の推移!$G$4:$G$124</c:f>
              <c:numCache>
                <c:formatCode>#,##0_);[Red]\(#,##0\)</c:formatCode>
                <c:ptCount val="121"/>
                <c:pt idx="0">
                  <c:v>41090</c:v>
                </c:pt>
                <c:pt idx="1">
                  <c:v>41770</c:v>
                </c:pt>
                <c:pt idx="2">
                  <c:v>43060</c:v>
                </c:pt>
                <c:pt idx="3">
                  <c:v>44280</c:v>
                </c:pt>
                <c:pt idx="4">
                  <c:v>46000</c:v>
                </c:pt>
                <c:pt idx="5">
                  <c:v>47470</c:v>
                </c:pt>
                <c:pt idx="6">
                  <c:v>48430</c:v>
                </c:pt>
                <c:pt idx="7">
                  <c:v>49380</c:v>
                </c:pt>
                <c:pt idx="8">
                  <c:v>50650</c:v>
                </c:pt>
                <c:pt idx="9">
                  <c:v>52090</c:v>
                </c:pt>
                <c:pt idx="10">
                  <c:v>53500</c:v>
                </c:pt>
                <c:pt idx="11">
                  <c:v>55030</c:v>
                </c:pt>
                <c:pt idx="12">
                  <c:v>56420</c:v>
                </c:pt>
                <c:pt idx="13">
                  <c:v>58360</c:v>
                </c:pt>
                <c:pt idx="14">
                  <c:v>60160</c:v>
                </c:pt>
                <c:pt idx="15">
                  <c:v>61810</c:v>
                </c:pt>
                <c:pt idx="16">
                  <c:v>64200</c:v>
                </c:pt>
                <c:pt idx="17">
                  <c:v>66660</c:v>
                </c:pt>
                <c:pt idx="18">
                  <c:v>68990</c:v>
                </c:pt>
                <c:pt idx="19">
                  <c:v>71090</c:v>
                </c:pt>
                <c:pt idx="20">
                  <c:v>73310</c:v>
                </c:pt>
                <c:pt idx="21">
                  <c:v>75240</c:v>
                </c:pt>
                <c:pt idx="22">
                  <c:v>78790</c:v>
                </c:pt>
                <c:pt idx="23">
                  <c:v>81600</c:v>
                </c:pt>
                <c:pt idx="24">
                  <c:v>84570</c:v>
                </c:pt>
                <c:pt idx="25">
                  <c:v>88690</c:v>
                </c:pt>
                <c:pt idx="26">
                  <c:v>92010</c:v>
                </c:pt>
                <c:pt idx="27">
                  <c:v>95610</c:v>
                </c:pt>
                <c:pt idx="28">
                  <c:v>99210</c:v>
                </c:pt>
                <c:pt idx="29">
                  <c:v>103090</c:v>
                </c:pt>
                <c:pt idx="30">
                  <c:v>106530</c:v>
                </c:pt>
                <c:pt idx="31">
                  <c:v>110090</c:v>
                </c:pt>
                <c:pt idx="32">
                  <c:v>113500</c:v>
                </c:pt>
                <c:pt idx="33">
                  <c:v>116720</c:v>
                </c:pt>
                <c:pt idx="34">
                  <c:v>119560</c:v>
                </c:pt>
                <c:pt idx="35">
                  <c:v>124720</c:v>
                </c:pt>
                <c:pt idx="36">
                  <c:v>128700</c:v>
                </c:pt>
                <c:pt idx="37">
                  <c:v>133220</c:v>
                </c:pt>
                <c:pt idx="38">
                  <c:v>137850</c:v>
                </c:pt>
                <c:pt idx="39">
                  <c:v>143090</c:v>
                </c:pt>
                <c:pt idx="40">
                  <c:v>149280</c:v>
                </c:pt>
                <c:pt idx="41">
                  <c:v>155820</c:v>
                </c:pt>
                <c:pt idx="42">
                  <c:v>162420</c:v>
                </c:pt>
                <c:pt idx="43">
                  <c:v>169000</c:v>
                </c:pt>
                <c:pt idx="44">
                  <c:v>175850</c:v>
                </c:pt>
                <c:pt idx="45">
                  <c:v>182770</c:v>
                </c:pt>
                <c:pt idx="46">
                  <c:v>190170</c:v>
                </c:pt>
                <c:pt idx="47">
                  <c:v>197580</c:v>
                </c:pt>
                <c:pt idx="48">
                  <c:v>205080</c:v>
                </c:pt>
                <c:pt idx="49">
                  <c:v>211860</c:v>
                </c:pt>
                <c:pt idx="50">
                  <c:v>220410</c:v>
                </c:pt>
                <c:pt idx="51">
                  <c:v>228690</c:v>
                </c:pt>
                <c:pt idx="52">
                  <c:v>236280</c:v>
                </c:pt>
                <c:pt idx="53">
                  <c:v>243110</c:v>
                </c:pt>
                <c:pt idx="54">
                  <c:v>248760</c:v>
                </c:pt>
                <c:pt idx="55">
                  <c:v>257610</c:v>
                </c:pt>
                <c:pt idx="56">
                  <c:v>266040</c:v>
                </c:pt>
                <c:pt idx="57">
                  <c:v>274640</c:v>
                </c:pt>
                <c:pt idx="58">
                  <c:v>282160</c:v>
                </c:pt>
                <c:pt idx="59">
                  <c:v>290050</c:v>
                </c:pt>
                <c:pt idx="60">
                  <c:v>294840</c:v>
                </c:pt>
                <c:pt idx="61">
                  <c:v>297520</c:v>
                </c:pt>
                <c:pt idx="62">
                  <c:v>307930</c:v>
                </c:pt>
                <c:pt idx="63">
                  <c:v>318980</c:v>
                </c:pt>
                <c:pt idx="64">
                  <c:v>330000</c:v>
                </c:pt>
                <c:pt idx="65">
                  <c:v>338680</c:v>
                </c:pt>
                <c:pt idx="66">
                  <c:v>345600</c:v>
                </c:pt>
                <c:pt idx="67">
                  <c:v>350870</c:v>
                </c:pt>
                <c:pt idx="68">
                  <c:v>354790</c:v>
                </c:pt>
                <c:pt idx="69">
                  <c:v>357540</c:v>
                </c:pt>
                <c:pt idx="70">
                  <c:v>360270</c:v>
                </c:pt>
                <c:pt idx="71">
                  <c:v>362261.25999999995</c:v>
                </c:pt>
                <c:pt idx="72">
                  <c:v>362662.77</c:v>
                </c:pt>
                <c:pt idx="73">
                  <c:v>363478.56</c:v>
                </c:pt>
                <c:pt idx="74">
                  <c:v>364630.5</c:v>
                </c:pt>
                <c:pt idx="75">
                  <c:v>365289.01</c:v>
                </c:pt>
                <c:pt idx="76">
                  <c:v>365641.24000000005</c:v>
                </c:pt>
                <c:pt idx="77">
                  <c:v>366087.62</c:v>
                </c:pt>
                <c:pt idx="78">
                  <c:v>366833.79000000004</c:v>
                </c:pt>
                <c:pt idx="79">
                  <c:v>367794.22</c:v>
                </c:pt>
                <c:pt idx="80">
                  <c:v>369619.46</c:v>
                </c:pt>
                <c:pt idx="81">
                  <c:v>368172.17</c:v>
                </c:pt>
                <c:pt idx="82">
                  <c:v>370351</c:v>
                </c:pt>
                <c:pt idx="83">
                  <c:v>372433.02</c:v>
                </c:pt>
                <c:pt idx="84">
                  <c:v>374798.83999999997</c:v>
                </c:pt>
                <c:pt idx="85">
                  <c:v>377321.57</c:v>
                </c:pt>
                <c:pt idx="86">
                  <c:v>380295.71</c:v>
                </c:pt>
                <c:pt idx="87">
                  <c:v>383713.58</c:v>
                </c:pt>
                <c:pt idx="88">
                  <c:v>387391.12</c:v>
                </c:pt>
                <c:pt idx="89">
                  <c:v>390655.95</c:v>
                </c:pt>
                <c:pt idx="90">
                  <c:v>392849.85</c:v>
                </c:pt>
                <c:pt idx="91">
                  <c:v>394310.82</c:v>
                </c:pt>
                <c:pt idx="92">
                  <c:v>394995.88</c:v>
                </c:pt>
                <c:pt idx="93">
                  <c:v>395290.22</c:v>
                </c:pt>
                <c:pt idx="94">
                  <c:v>395052.85000000003</c:v>
                </c:pt>
                <c:pt idx="95">
                  <c:v>394514.92</c:v>
                </c:pt>
                <c:pt idx="96">
                  <c:v>393422.67</c:v>
                </c:pt>
                <c:pt idx="97">
                  <c:v>392320.22</c:v>
                </c:pt>
                <c:pt idx="98">
                  <c:v>391307.62</c:v>
                </c:pt>
                <c:pt idx="99">
                  <c:v>390220.02999999997</c:v>
                </c:pt>
                <c:pt idx="100">
                  <c:v>388782.24</c:v>
                </c:pt>
                <c:pt idx="101">
                  <c:v>386959.23000000004</c:v>
                </c:pt>
                <c:pt idx="102">
                  <c:v>385049.43</c:v>
                </c:pt>
                <c:pt idx="103">
                  <c:v>382884.51</c:v>
                </c:pt>
                <c:pt idx="104">
                  <c:v>380420.04000000004</c:v>
                </c:pt>
                <c:pt idx="105">
                  <c:v>377792.33</c:v>
                </c:pt>
                <c:pt idx="106">
                  <c:v>374954.80000000005</c:v>
                </c:pt>
                <c:pt idx="107">
                  <c:v>372217.63</c:v>
                </c:pt>
                <c:pt idx="108">
                  <c:v>369390.76999999996</c:v>
                </c:pt>
                <c:pt idx="109">
                  <c:v>366852.55</c:v>
                </c:pt>
                <c:pt idx="110">
                  <c:v>364373.97</c:v>
                </c:pt>
                <c:pt idx="111">
                  <c:v>361763.34</c:v>
                </c:pt>
                <c:pt idx="112">
                  <c:v>359159.98</c:v>
                </c:pt>
                <c:pt idx="113">
                  <c:v>356601.29000000004</c:v>
                </c:pt>
                <c:pt idx="114">
                  <c:v>353924.26</c:v>
                </c:pt>
                <c:pt idx="115">
                  <c:v>351342.26</c:v>
                </c:pt>
                <c:pt idx="116">
                  <c:v>348611.20999999996</c:v>
                </c:pt>
                <c:pt idx="117">
                  <c:v>345753.68000000005</c:v>
                </c:pt>
                <c:pt idx="118">
                  <c:v>342728.79000000004</c:v>
                </c:pt>
                <c:pt idx="119">
                  <c:v>339825.75</c:v>
                </c:pt>
                <c:pt idx="120">
                  <c:v>336714.5</c:v>
                </c:pt>
              </c:numCache>
            </c:numRef>
          </c:val>
          <c:extLst>
            <c:ext xmlns:c16="http://schemas.microsoft.com/office/drawing/2014/chart" uri="{C3380CC4-5D6E-409C-BE32-E72D297353CC}">
              <c16:uniqueId val="{00000002-F103-4115-AE43-4B3AC009EF68}"/>
            </c:ext>
          </c:extLst>
        </c:ser>
        <c:dLbls>
          <c:showLegendKey val="0"/>
          <c:showVal val="0"/>
          <c:showCatName val="0"/>
          <c:showSerName val="0"/>
          <c:showPercent val="0"/>
          <c:showBubbleSize val="0"/>
        </c:dLbls>
        <c:axId val="1"/>
        <c:axId val="2"/>
      </c:areaChart>
      <c:lineChart>
        <c:grouping val="standard"/>
        <c:varyColors val="0"/>
        <c:ser>
          <c:idx val="8"/>
          <c:order val="5"/>
          <c:tx>
            <c:strRef>
              <c:f>年齢階層別人口の推移!$J$3</c:f>
              <c:strCache>
                <c:ptCount val="1"/>
                <c:pt idx="0">
                  <c:v>高齢人口割合</c:v>
                </c:pt>
              </c:strCache>
            </c:strRef>
          </c:tx>
          <c:spPr>
            <a:ln w="38100" cap="rnd">
              <a:solidFill>
                <a:srgbClr val="FF0000"/>
              </a:solidFill>
              <a:round/>
            </a:ln>
            <a:effectLst/>
          </c:spPr>
          <c:marker>
            <c:symbol val="none"/>
          </c:marker>
          <c:cat>
            <c:numRef>
              <c:f>年齢階層別人口の推移!$B$4:$B$124</c:f>
              <c:numCache>
                <c:formatCode>General</c:formatCode>
                <c:ptCount val="121"/>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pt idx="74">
                  <c:v>2024</c:v>
                </c:pt>
                <c:pt idx="75">
                  <c:v>2025</c:v>
                </c:pt>
                <c:pt idx="76">
                  <c:v>2026</c:v>
                </c:pt>
                <c:pt idx="77">
                  <c:v>2027</c:v>
                </c:pt>
                <c:pt idx="78">
                  <c:v>2028</c:v>
                </c:pt>
                <c:pt idx="79">
                  <c:v>2029</c:v>
                </c:pt>
                <c:pt idx="80">
                  <c:v>2030</c:v>
                </c:pt>
                <c:pt idx="81">
                  <c:v>2031</c:v>
                </c:pt>
                <c:pt idx="82">
                  <c:v>2032</c:v>
                </c:pt>
                <c:pt idx="83">
                  <c:v>2033</c:v>
                </c:pt>
                <c:pt idx="84">
                  <c:v>2034</c:v>
                </c:pt>
                <c:pt idx="85">
                  <c:v>2035</c:v>
                </c:pt>
                <c:pt idx="86">
                  <c:v>2036</c:v>
                </c:pt>
                <c:pt idx="87">
                  <c:v>2037</c:v>
                </c:pt>
                <c:pt idx="88">
                  <c:v>2038</c:v>
                </c:pt>
                <c:pt idx="89">
                  <c:v>2039</c:v>
                </c:pt>
                <c:pt idx="90">
                  <c:v>2040</c:v>
                </c:pt>
                <c:pt idx="91">
                  <c:v>2041</c:v>
                </c:pt>
                <c:pt idx="92">
                  <c:v>2042</c:v>
                </c:pt>
                <c:pt idx="93">
                  <c:v>2043</c:v>
                </c:pt>
                <c:pt idx="94">
                  <c:v>2044</c:v>
                </c:pt>
                <c:pt idx="95">
                  <c:v>2045</c:v>
                </c:pt>
                <c:pt idx="96">
                  <c:v>2046</c:v>
                </c:pt>
                <c:pt idx="97">
                  <c:v>2047</c:v>
                </c:pt>
                <c:pt idx="98">
                  <c:v>2048</c:v>
                </c:pt>
                <c:pt idx="99">
                  <c:v>2049</c:v>
                </c:pt>
                <c:pt idx="100">
                  <c:v>2050</c:v>
                </c:pt>
                <c:pt idx="101">
                  <c:v>2051</c:v>
                </c:pt>
                <c:pt idx="102">
                  <c:v>2052</c:v>
                </c:pt>
                <c:pt idx="103">
                  <c:v>2053</c:v>
                </c:pt>
                <c:pt idx="104">
                  <c:v>2054</c:v>
                </c:pt>
                <c:pt idx="105">
                  <c:v>2055</c:v>
                </c:pt>
                <c:pt idx="106">
                  <c:v>2056</c:v>
                </c:pt>
                <c:pt idx="107">
                  <c:v>2057</c:v>
                </c:pt>
                <c:pt idx="108">
                  <c:v>2058</c:v>
                </c:pt>
                <c:pt idx="109">
                  <c:v>2059</c:v>
                </c:pt>
                <c:pt idx="110">
                  <c:v>2060</c:v>
                </c:pt>
                <c:pt idx="111">
                  <c:v>2061</c:v>
                </c:pt>
                <c:pt idx="112">
                  <c:v>2062</c:v>
                </c:pt>
                <c:pt idx="113">
                  <c:v>2063</c:v>
                </c:pt>
                <c:pt idx="114">
                  <c:v>2064</c:v>
                </c:pt>
                <c:pt idx="115">
                  <c:v>2065</c:v>
                </c:pt>
                <c:pt idx="116">
                  <c:v>2066</c:v>
                </c:pt>
                <c:pt idx="117">
                  <c:v>2067</c:v>
                </c:pt>
                <c:pt idx="118">
                  <c:v>2068</c:v>
                </c:pt>
                <c:pt idx="119">
                  <c:v>2069</c:v>
                </c:pt>
                <c:pt idx="120">
                  <c:v>2070</c:v>
                </c:pt>
              </c:numCache>
            </c:numRef>
          </c:cat>
          <c:val>
            <c:numRef>
              <c:f>年齢階層別人口の推移!$J$4:$J$124</c:f>
              <c:numCache>
                <c:formatCode>0.0%</c:formatCode>
                <c:ptCount val="121"/>
                <c:pt idx="0">
                  <c:v>4.9387019230769227E-2</c:v>
                </c:pt>
                <c:pt idx="1">
                  <c:v>4.9407979560213387E-2</c:v>
                </c:pt>
                <c:pt idx="2">
                  <c:v>5.0181801230654487E-2</c:v>
                </c:pt>
                <c:pt idx="3">
                  <c:v>5.0907669491038275E-2</c:v>
                </c:pt>
                <c:pt idx="4">
                  <c:v>5.2131143825292672E-2</c:v>
                </c:pt>
                <c:pt idx="5">
                  <c:v>5.3172185133742549E-2</c:v>
                </c:pt>
                <c:pt idx="6">
                  <c:v>5.3708468260657408E-2</c:v>
                </c:pt>
                <c:pt idx="7">
                  <c:v>5.4306704205525254E-2</c:v>
                </c:pt>
                <c:pt idx="8">
                  <c:v>5.5194132967188642E-2</c:v>
                </c:pt>
                <c:pt idx="9">
                  <c:v>5.6227804104014421E-2</c:v>
                </c:pt>
                <c:pt idx="10">
                  <c:v>5.7268863935601967E-2</c:v>
                </c:pt>
                <c:pt idx="11">
                  <c:v>5.8364355637574639E-2</c:v>
                </c:pt>
                <c:pt idx="12">
                  <c:v>5.9276536283501963E-2</c:v>
                </c:pt>
                <c:pt idx="13">
                  <c:v>6.0693040475893342E-2</c:v>
                </c:pt>
                <c:pt idx="14">
                  <c:v>6.190446790557922E-2</c:v>
                </c:pt>
                <c:pt idx="15">
                  <c:v>6.289493767489189E-2</c:v>
                </c:pt>
                <c:pt idx="16">
                  <c:v>6.482491215315643E-2</c:v>
                </c:pt>
                <c:pt idx="17">
                  <c:v>6.6529601980118966E-2</c:v>
                </c:pt>
                <c:pt idx="18">
                  <c:v>6.8083804561289235E-2</c:v>
                </c:pt>
                <c:pt idx="19">
                  <c:v>6.9331746898650223E-2</c:v>
                </c:pt>
                <c:pt idx="20">
                  <c:v>7.0680678750482062E-2</c:v>
                </c:pt>
                <c:pt idx="21">
                  <c:v>7.1558324218935751E-2</c:v>
                </c:pt>
                <c:pt idx="22">
                  <c:v>7.3228309865700073E-2</c:v>
                </c:pt>
                <c:pt idx="23">
                  <c:v>7.4791025076990758E-2</c:v>
                </c:pt>
                <c:pt idx="24">
                  <c:v>7.6483409150515949E-2</c:v>
                </c:pt>
                <c:pt idx="25">
                  <c:v>7.9229944613185638E-2</c:v>
                </c:pt>
                <c:pt idx="26">
                  <c:v>8.1357101172475993E-2</c:v>
                </c:pt>
                <c:pt idx="27">
                  <c:v>8.3747207988437794E-2</c:v>
                </c:pt>
                <c:pt idx="28">
                  <c:v>8.6127267992013201E-2</c:v>
                </c:pt>
                <c:pt idx="29">
                  <c:v>8.8752098489087855E-2</c:v>
                </c:pt>
                <c:pt idx="30">
                  <c:v>9.1004613018964634E-2</c:v>
                </c:pt>
                <c:pt idx="31">
                  <c:v>9.3374158199182378E-2</c:v>
                </c:pt>
                <c:pt idx="32">
                  <c:v>9.5596657907149107E-2</c:v>
                </c:pt>
                <c:pt idx="33">
                  <c:v>9.7644224334091825E-2</c:v>
                </c:pt>
                <c:pt idx="34">
                  <c:v>9.9380740617596941E-2</c:v>
                </c:pt>
                <c:pt idx="35">
                  <c:v>0.10303265619707722</c:v>
                </c:pt>
                <c:pt idx="36">
                  <c:v>0.1057866184448463</c:v>
                </c:pt>
                <c:pt idx="37">
                  <c:v>0.10898322139415408</c:v>
                </c:pt>
                <c:pt idx="38">
                  <c:v>0.11230600024440913</c:v>
                </c:pt>
                <c:pt idx="39">
                  <c:v>0.11613976705490849</c:v>
                </c:pt>
                <c:pt idx="40">
                  <c:v>0.12076595125029325</c:v>
                </c:pt>
                <c:pt idx="41">
                  <c:v>0.12555902047525805</c:v>
                </c:pt>
                <c:pt idx="42">
                  <c:v>0.13038766286416145</c:v>
                </c:pt>
                <c:pt idx="43">
                  <c:v>0.13526709247786903</c:v>
                </c:pt>
                <c:pt idx="44">
                  <c:v>0.14038238933461061</c:v>
                </c:pt>
                <c:pt idx="45">
                  <c:v>0.14555228159592259</c:v>
                </c:pt>
                <c:pt idx="46">
                  <c:v>0.15109765690177102</c:v>
                </c:pt>
                <c:pt idx="47">
                  <c:v>0.15661437732349373</c:v>
                </c:pt>
                <c:pt idx="48">
                  <c:v>0.1621544689733696</c:v>
                </c:pt>
                <c:pt idx="49">
                  <c:v>0.16725745458564584</c:v>
                </c:pt>
                <c:pt idx="50">
                  <c:v>0.17365236436979029</c:v>
                </c:pt>
                <c:pt idx="51">
                  <c:v>0.17962392786452605</c:v>
                </c:pt>
                <c:pt idx="52">
                  <c:v>0.18533799789780839</c:v>
                </c:pt>
                <c:pt idx="53">
                  <c:v>0.19038482622519459</c:v>
                </c:pt>
                <c:pt idx="54">
                  <c:v>0.19466768920156197</c:v>
                </c:pt>
                <c:pt idx="55">
                  <c:v>0.2016232546490514</c:v>
                </c:pt>
                <c:pt idx="56">
                  <c:v>0.20800462857991728</c:v>
                </c:pt>
                <c:pt idx="57">
                  <c:v>0.2145071973631798</c:v>
                </c:pt>
                <c:pt idx="58">
                  <c:v>0.22029293276287437</c:v>
                </c:pt>
                <c:pt idx="59">
                  <c:v>0.22654492626843289</c:v>
                </c:pt>
                <c:pt idx="60">
                  <c:v>0.23024122070640418</c:v>
                </c:pt>
                <c:pt idx="61">
                  <c:v>0.23273933382355241</c:v>
                </c:pt>
                <c:pt idx="62">
                  <c:v>0.24133769093915811</c:v>
                </c:pt>
                <c:pt idx="63">
                  <c:v>0.25034925518388873</c:v>
                </c:pt>
                <c:pt idx="64">
                  <c:v>0.25935851992737963</c:v>
                </c:pt>
                <c:pt idx="65">
                  <c:v>0.26647783154333371</c:v>
                </c:pt>
                <c:pt idx="66">
                  <c:v>0.27203601958407458</c:v>
                </c:pt>
                <c:pt idx="67">
                  <c:v>0.27645191027348154</c:v>
                </c:pt>
                <c:pt idx="68">
                  <c:v>0.27991542339584535</c:v>
                </c:pt>
                <c:pt idx="69">
                  <c:v>0.28251748251748254</c:v>
                </c:pt>
                <c:pt idx="70">
                  <c:v>0.28559764082888084</c:v>
                </c:pt>
                <c:pt idx="71">
                  <c:v>0.28859315120151668</c:v>
                </c:pt>
                <c:pt idx="72">
                  <c:v>0.29018211449081249</c:v>
                </c:pt>
                <c:pt idx="73">
                  <c:v>0.29216655347190779</c:v>
                </c:pt>
                <c:pt idx="74">
                  <c:v>0.29442805025422819</c:v>
                </c:pt>
                <c:pt idx="75">
                  <c:v>0.29635060468700086</c:v>
                </c:pt>
                <c:pt idx="76">
                  <c:v>0.29809053782120531</c:v>
                </c:pt>
                <c:pt idx="77">
                  <c:v>0.2999635918247136</c:v>
                </c:pt>
                <c:pt idx="78">
                  <c:v>0.3021350795637493</c:v>
                </c:pt>
                <c:pt idx="79">
                  <c:v>0.30453827620247353</c:v>
                </c:pt>
                <c:pt idx="80">
                  <c:v>0.30771931881056763</c:v>
                </c:pt>
                <c:pt idx="81">
                  <c:v>0.30822875939463446</c:v>
                </c:pt>
                <c:pt idx="82">
                  <c:v>0.31183122182165002</c:v>
                </c:pt>
                <c:pt idx="83">
                  <c:v>0.31543044281982624</c:v>
                </c:pt>
                <c:pt idx="84">
                  <c:v>0.31935251197089953</c:v>
                </c:pt>
                <c:pt idx="85">
                  <c:v>0.3234954721753513</c:v>
                </c:pt>
                <c:pt idx="86">
                  <c:v>0.32811796470004478</c:v>
                </c:pt>
                <c:pt idx="87">
                  <c:v>0.33322214742671125</c:v>
                </c:pt>
                <c:pt idx="88">
                  <c:v>0.33865538003992868</c:v>
                </c:pt>
                <c:pt idx="89">
                  <c:v>0.34383046618238816</c:v>
                </c:pt>
                <c:pt idx="90">
                  <c:v>0.34815569358405574</c:v>
                </c:pt>
                <c:pt idx="91">
                  <c:v>0.35192223701232844</c:v>
                </c:pt>
                <c:pt idx="92">
                  <c:v>0.35507458837526529</c:v>
                </c:pt>
                <c:pt idx="93">
                  <c:v>0.35794257089969173</c:v>
                </c:pt>
                <c:pt idx="94">
                  <c:v>0.36038550507388201</c:v>
                </c:pt>
                <c:pt idx="95">
                  <c:v>0.36260116247282576</c:v>
                </c:pt>
                <c:pt idx="96">
                  <c:v>0.36434523164677762</c:v>
                </c:pt>
                <c:pt idx="97">
                  <c:v>0.36611156015453494</c:v>
                </c:pt>
                <c:pt idx="98">
                  <c:v>0.36799305218572143</c:v>
                </c:pt>
                <c:pt idx="99">
                  <c:v>0.36983605010503767</c:v>
                </c:pt>
                <c:pt idx="100">
                  <c:v>0.37137804254828438</c:v>
                </c:pt>
                <c:pt idx="101">
                  <c:v>0.37258078245952125</c:v>
                </c:pt>
                <c:pt idx="102">
                  <c:v>0.37372944902346061</c:v>
                </c:pt>
                <c:pt idx="103">
                  <c:v>0.37466232790986775</c:v>
                </c:pt>
                <c:pt idx="104">
                  <c:v>0.37533500880737786</c:v>
                </c:pt>
                <c:pt idx="105">
                  <c:v>0.37588134548076235</c:v>
                </c:pt>
                <c:pt idx="106">
                  <c:v>0.37625559460422175</c:v>
                </c:pt>
                <c:pt idx="107">
                  <c:v>0.37677070045886712</c:v>
                </c:pt>
                <c:pt idx="108">
                  <c:v>0.37723866975581177</c:v>
                </c:pt>
                <c:pt idx="109">
                  <c:v>0.37804903158289416</c:v>
                </c:pt>
                <c:pt idx="110">
                  <c:v>0.37897259700298414</c:v>
                </c:pt>
                <c:pt idx="111">
                  <c:v>0.37980951829813314</c:v>
                </c:pt>
                <c:pt idx="112">
                  <c:v>0.38070179299149115</c:v>
                </c:pt>
                <c:pt idx="113">
                  <c:v>0.38168646086277075</c:v>
                </c:pt>
                <c:pt idx="114">
                  <c:v>0.38258409354864092</c:v>
                </c:pt>
                <c:pt idx="115">
                  <c:v>0.3836179023433286</c:v>
                </c:pt>
                <c:pt idx="116">
                  <c:v>0.38451465872531554</c:v>
                </c:pt>
                <c:pt idx="117">
                  <c:v>0.38528618474614129</c:v>
                </c:pt>
                <c:pt idx="118">
                  <c:v>0.38587283413569268</c:v>
                </c:pt>
                <c:pt idx="119">
                  <c:v>0.38658783162866095</c:v>
                </c:pt>
                <c:pt idx="120">
                  <c:v>0.38704591609484057</c:v>
                </c:pt>
              </c:numCache>
            </c:numRef>
          </c:val>
          <c:smooth val="0"/>
          <c:extLst>
            <c:ext xmlns:c16="http://schemas.microsoft.com/office/drawing/2014/chart" uri="{C3380CC4-5D6E-409C-BE32-E72D297353CC}">
              <c16:uniqueId val="{00000003-F103-4115-AE43-4B3AC009EF68}"/>
            </c:ext>
          </c:extLst>
        </c:ser>
        <c:dLbls>
          <c:showLegendKey val="0"/>
          <c:showVal val="0"/>
          <c:showCatName val="0"/>
          <c:showSerName val="0"/>
          <c:showPercent val="0"/>
          <c:showBubbleSize val="0"/>
        </c:dLbls>
        <c:marker val="1"/>
        <c:smooth val="0"/>
        <c:axId val="11"/>
        <c:axId val="12"/>
        <c:extLst>
          <c:ext xmlns:c15="http://schemas.microsoft.com/office/drawing/2012/chart" uri="{02D57815-91ED-43cb-92C2-25804820EDAC}">
            <c15:filteredLineSeries>
              <c15:ser>
                <c:idx val="6"/>
                <c:order val="3"/>
                <c:tx>
                  <c:strRef>
                    <c:extLst>
                      <c:ext uri="{02D57815-91ED-43cb-92C2-25804820EDAC}">
                        <c15:formulaRef>
                          <c15:sqref>年齢階層別人口の推移!$H$3</c15:sqref>
                        </c15:formulaRef>
                      </c:ext>
                    </c:extLst>
                    <c:strCache>
                      <c:ptCount val="1"/>
                      <c:pt idx="0">
                        <c:v>若年人口割合</c:v>
                      </c:pt>
                    </c:strCache>
                  </c:strRef>
                </c:tx>
                <c:spPr>
                  <a:ln w="28575" cap="rnd">
                    <a:solidFill>
                      <a:srgbClr val="00B0F0"/>
                    </a:solidFill>
                    <a:round/>
                  </a:ln>
                  <a:effectLst/>
                </c:spPr>
                <c:marker>
                  <c:symbol val="none"/>
                </c:marker>
                <c:cat>
                  <c:numRef>
                    <c:extLst>
                      <c:ext uri="{02D57815-91ED-43cb-92C2-25804820EDAC}">
                        <c15:formulaRef>
                          <c15:sqref>年齢階層別人口の推移!$B$4:$B$124</c15:sqref>
                        </c15:formulaRef>
                      </c:ext>
                    </c:extLst>
                    <c:numCache>
                      <c:formatCode>General</c:formatCode>
                      <c:ptCount val="121"/>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pt idx="74">
                        <c:v>2024</c:v>
                      </c:pt>
                      <c:pt idx="75">
                        <c:v>2025</c:v>
                      </c:pt>
                      <c:pt idx="76">
                        <c:v>2026</c:v>
                      </c:pt>
                      <c:pt idx="77">
                        <c:v>2027</c:v>
                      </c:pt>
                      <c:pt idx="78">
                        <c:v>2028</c:v>
                      </c:pt>
                      <c:pt idx="79">
                        <c:v>2029</c:v>
                      </c:pt>
                      <c:pt idx="80">
                        <c:v>2030</c:v>
                      </c:pt>
                      <c:pt idx="81">
                        <c:v>2031</c:v>
                      </c:pt>
                      <c:pt idx="82">
                        <c:v>2032</c:v>
                      </c:pt>
                      <c:pt idx="83">
                        <c:v>2033</c:v>
                      </c:pt>
                      <c:pt idx="84">
                        <c:v>2034</c:v>
                      </c:pt>
                      <c:pt idx="85">
                        <c:v>2035</c:v>
                      </c:pt>
                      <c:pt idx="86">
                        <c:v>2036</c:v>
                      </c:pt>
                      <c:pt idx="87">
                        <c:v>2037</c:v>
                      </c:pt>
                      <c:pt idx="88">
                        <c:v>2038</c:v>
                      </c:pt>
                      <c:pt idx="89">
                        <c:v>2039</c:v>
                      </c:pt>
                      <c:pt idx="90">
                        <c:v>2040</c:v>
                      </c:pt>
                      <c:pt idx="91">
                        <c:v>2041</c:v>
                      </c:pt>
                      <c:pt idx="92">
                        <c:v>2042</c:v>
                      </c:pt>
                      <c:pt idx="93">
                        <c:v>2043</c:v>
                      </c:pt>
                      <c:pt idx="94">
                        <c:v>2044</c:v>
                      </c:pt>
                      <c:pt idx="95">
                        <c:v>2045</c:v>
                      </c:pt>
                      <c:pt idx="96">
                        <c:v>2046</c:v>
                      </c:pt>
                      <c:pt idx="97">
                        <c:v>2047</c:v>
                      </c:pt>
                      <c:pt idx="98">
                        <c:v>2048</c:v>
                      </c:pt>
                      <c:pt idx="99">
                        <c:v>2049</c:v>
                      </c:pt>
                      <c:pt idx="100">
                        <c:v>2050</c:v>
                      </c:pt>
                      <c:pt idx="101">
                        <c:v>2051</c:v>
                      </c:pt>
                      <c:pt idx="102">
                        <c:v>2052</c:v>
                      </c:pt>
                      <c:pt idx="103">
                        <c:v>2053</c:v>
                      </c:pt>
                      <c:pt idx="104">
                        <c:v>2054</c:v>
                      </c:pt>
                      <c:pt idx="105">
                        <c:v>2055</c:v>
                      </c:pt>
                      <c:pt idx="106">
                        <c:v>2056</c:v>
                      </c:pt>
                      <c:pt idx="107">
                        <c:v>2057</c:v>
                      </c:pt>
                      <c:pt idx="108">
                        <c:v>2058</c:v>
                      </c:pt>
                      <c:pt idx="109">
                        <c:v>2059</c:v>
                      </c:pt>
                      <c:pt idx="110">
                        <c:v>2060</c:v>
                      </c:pt>
                      <c:pt idx="111">
                        <c:v>2061</c:v>
                      </c:pt>
                      <c:pt idx="112">
                        <c:v>2062</c:v>
                      </c:pt>
                      <c:pt idx="113">
                        <c:v>2063</c:v>
                      </c:pt>
                      <c:pt idx="114">
                        <c:v>2064</c:v>
                      </c:pt>
                      <c:pt idx="115">
                        <c:v>2065</c:v>
                      </c:pt>
                      <c:pt idx="116">
                        <c:v>2066</c:v>
                      </c:pt>
                      <c:pt idx="117">
                        <c:v>2067</c:v>
                      </c:pt>
                      <c:pt idx="118">
                        <c:v>2068</c:v>
                      </c:pt>
                      <c:pt idx="119">
                        <c:v>2069</c:v>
                      </c:pt>
                      <c:pt idx="120">
                        <c:v>2070</c:v>
                      </c:pt>
                    </c:numCache>
                  </c:numRef>
                </c:cat>
                <c:val>
                  <c:numRef>
                    <c:extLst>
                      <c:ext uri="{02D57815-91ED-43cb-92C2-25804820EDAC}">
                        <c15:formulaRef>
                          <c15:sqref>年齢階層別人口の推移!$H$4:$H$124</c15:sqref>
                        </c15:formulaRef>
                      </c:ext>
                    </c:extLst>
                    <c:numCache>
                      <c:formatCode>0.0%</c:formatCode>
                      <c:ptCount val="121"/>
                      <c:pt idx="0">
                        <c:v>0.35372596153846153</c:v>
                      </c:pt>
                      <c:pt idx="1">
                        <c:v>0.35085934635265731</c:v>
                      </c:pt>
                      <c:pt idx="2">
                        <c:v>0.34612157374603769</c:v>
                      </c:pt>
                      <c:pt idx="3">
                        <c:v>0.3420517124429473</c:v>
                      </c:pt>
                      <c:pt idx="4">
                        <c:v>0.33871644057616246</c:v>
                      </c:pt>
                      <c:pt idx="5">
                        <c:v>0.33377391460190869</c:v>
                      </c:pt>
                      <c:pt idx="6">
                        <c:v>0.32619882003282613</c:v>
                      </c:pt>
                      <c:pt idx="7">
                        <c:v>0.3179328699630477</c:v>
                      </c:pt>
                      <c:pt idx="8">
                        <c:v>0.3107108219730404</c:v>
                      </c:pt>
                      <c:pt idx="9">
                        <c:v>0.30341857277015577</c:v>
                      </c:pt>
                      <c:pt idx="10">
                        <c:v>0.30044209422066176</c:v>
                      </c:pt>
                      <c:pt idx="11">
                        <c:v>0.29767624380879654</c:v>
                      </c:pt>
                      <c:pt idx="12">
                        <c:v>0.28654878599720535</c:v>
                      </c:pt>
                      <c:pt idx="13">
                        <c:v>0.27472024626648361</c:v>
                      </c:pt>
                      <c:pt idx="14">
                        <c:v>0.26332036796937702</c:v>
                      </c:pt>
                      <c:pt idx="15">
                        <c:v>0.25607733401170185</c:v>
                      </c:pt>
                      <c:pt idx="16">
                        <c:v>0.24759683347469608</c:v>
                      </c:pt>
                      <c:pt idx="17">
                        <c:v>0.24368238253024072</c:v>
                      </c:pt>
                      <c:pt idx="18">
                        <c:v>0.24101212856874993</c:v>
                      </c:pt>
                      <c:pt idx="19">
                        <c:v>0.23992548958414606</c:v>
                      </c:pt>
                      <c:pt idx="20">
                        <c:v>0.23932703432317778</c:v>
                      </c:pt>
                      <c:pt idx="21">
                        <c:v>0.23937419753673497</c:v>
                      </c:pt>
                      <c:pt idx="22">
                        <c:v>0.24136809331288628</c:v>
                      </c:pt>
                      <c:pt idx="23">
                        <c:v>0.24240174512391846</c:v>
                      </c:pt>
                      <c:pt idx="24">
                        <c:v>0.24282600634874699</c:v>
                      </c:pt>
                      <c:pt idx="25">
                        <c:v>0.24327318206181883</c:v>
                      </c:pt>
                      <c:pt idx="26">
                        <c:v>0.24308981908854582</c:v>
                      </c:pt>
                      <c:pt idx="27">
                        <c:v>0.24218455743879472</c:v>
                      </c:pt>
                      <c:pt idx="28">
                        <c:v>0.24054171369042451</c:v>
                      </c:pt>
                      <c:pt idx="29">
                        <c:v>0.23816452154448797</c:v>
                      </c:pt>
                      <c:pt idx="30">
                        <c:v>0.23512728515291303</c:v>
                      </c:pt>
                      <c:pt idx="31">
                        <c:v>0.23411816593442011</c:v>
                      </c:pt>
                      <c:pt idx="32">
                        <c:v>0.2295498955595984</c:v>
                      </c:pt>
                      <c:pt idx="33">
                        <c:v>0.22509536875920225</c:v>
                      </c:pt>
                      <c:pt idx="34">
                        <c:v>0.2203067204189352</c:v>
                      </c:pt>
                      <c:pt idx="35">
                        <c:v>0.21513601929797024</c:v>
                      </c:pt>
                      <c:pt idx="36">
                        <c:v>0.20905803057701791</c:v>
                      </c:pt>
                      <c:pt idx="37">
                        <c:v>0.20249674817365979</c:v>
                      </c:pt>
                      <c:pt idx="38">
                        <c:v>0.19540510815104484</c:v>
                      </c:pt>
                      <c:pt idx="39">
                        <c:v>0.18831216265573639</c:v>
                      </c:pt>
                      <c:pt idx="40">
                        <c:v>0.18237859090210418</c:v>
                      </c:pt>
                      <c:pt idx="41">
                        <c:v>0.17650139805481019</c:v>
                      </c:pt>
                      <c:pt idx="42">
                        <c:v>0.17150609712042517</c:v>
                      </c:pt>
                      <c:pt idx="43">
                        <c:v>0.16681073812611055</c:v>
                      </c:pt>
                      <c:pt idx="44">
                        <c:v>0.16297449407256617</c:v>
                      </c:pt>
                      <c:pt idx="45">
                        <c:v>0.15953651349844708</c:v>
                      </c:pt>
                      <c:pt idx="46">
                        <c:v>0.15641312897766549</c:v>
                      </c:pt>
                      <c:pt idx="47">
                        <c:v>0.15350713793130782</c:v>
                      </c:pt>
                      <c:pt idx="48">
                        <c:v>0.1506973875640458</c:v>
                      </c:pt>
                      <c:pt idx="49">
                        <c:v>0.1479627685190302</c:v>
                      </c:pt>
                      <c:pt idx="50">
                        <c:v>0.14579361202590485</c:v>
                      </c:pt>
                      <c:pt idx="51">
                        <c:v>0.14360331772911497</c:v>
                      </c:pt>
                      <c:pt idx="52">
                        <c:v>0.14199206187346061</c:v>
                      </c:pt>
                      <c:pt idx="53">
                        <c:v>0.14021802120694785</c:v>
                      </c:pt>
                      <c:pt idx="54">
                        <c:v>0.13877780994936886</c:v>
                      </c:pt>
                      <c:pt idx="55">
                        <c:v>0.13763227099117151</c:v>
                      </c:pt>
                      <c:pt idx="56">
                        <c:v>0.1363163696921838</c:v>
                      </c:pt>
                      <c:pt idx="57">
                        <c:v>0.13506674060593754</c:v>
                      </c:pt>
                      <c:pt idx="58">
                        <c:v>0.13409949720495926</c:v>
                      </c:pt>
                      <c:pt idx="59">
                        <c:v>0.13286522119470132</c:v>
                      </c:pt>
                      <c:pt idx="60">
                        <c:v>0.13149613062932913</c:v>
                      </c:pt>
                      <c:pt idx="61">
                        <c:v>0.13067728460347011</c:v>
                      </c:pt>
                      <c:pt idx="62">
                        <c:v>0.12968579781022471</c:v>
                      </c:pt>
                      <c:pt idx="63">
                        <c:v>0.12863578570643727</c:v>
                      </c:pt>
                      <c:pt idx="64">
                        <c:v>0.12758081375700464</c:v>
                      </c:pt>
                      <c:pt idx="65">
                        <c:v>0.12545733506432197</c:v>
                      </c:pt>
                      <c:pt idx="66">
                        <c:v>0.12443916185198596</c:v>
                      </c:pt>
                      <c:pt idx="67">
                        <c:v>0.12323607970437839</c:v>
                      </c:pt>
                      <c:pt idx="68">
                        <c:v>0.12207591381391569</c:v>
                      </c:pt>
                      <c:pt idx="69">
                        <c:v>0.1205720832839477</c:v>
                      </c:pt>
                      <c:pt idx="70">
                        <c:v>0.11916350894994689</c:v>
                      </c:pt>
                      <c:pt idx="71">
                        <c:v>0.11784299381061218</c:v>
                      </c:pt>
                      <c:pt idx="72">
                        <c:v>0.11614337200979721</c:v>
                      </c:pt>
                      <c:pt idx="73">
                        <c:v>0.11415684062370331</c:v>
                      </c:pt>
                      <c:pt idx="74">
                        <c:v>0.11235803260964435</c:v>
                      </c:pt>
                      <c:pt idx="75">
                        <c:v>0.11059752764280652</c:v>
                      </c:pt>
                      <c:pt idx="76">
                        <c:v>0.10887387346551235</c:v>
                      </c:pt>
                      <c:pt idx="77">
                        <c:v>0.10734076290408598</c:v>
                      </c:pt>
                      <c:pt idx="78">
                        <c:v>0.10583910716732484</c:v>
                      </c:pt>
                      <c:pt idx="79">
                        <c:v>0.10453639330164904</c:v>
                      </c:pt>
                      <c:pt idx="80">
                        <c:v>0.10320880403890313</c:v>
                      </c:pt>
                      <c:pt idx="81">
                        <c:v>0.10207661424913807</c:v>
                      </c:pt>
                      <c:pt idx="82">
                        <c:v>0.10125858648126601</c:v>
                      </c:pt>
                      <c:pt idx="83">
                        <c:v>0.10061169617065993</c:v>
                      </c:pt>
                      <c:pt idx="84">
                        <c:v>0.10029642616848704</c:v>
                      </c:pt>
                      <c:pt idx="85">
                        <c:v>0.10023407027413485</c:v>
                      </c:pt>
                      <c:pt idx="86">
                        <c:v>0.10012529536773829</c:v>
                      </c:pt>
                      <c:pt idx="87">
                        <c:v>0.10031302494525435</c:v>
                      </c:pt>
                      <c:pt idx="88">
                        <c:v>0.10070588273964391</c:v>
                      </c:pt>
                      <c:pt idx="89">
                        <c:v>0.1009837538200444</c:v>
                      </c:pt>
                      <c:pt idx="90">
                        <c:v>0.10119911034820411</c:v>
                      </c:pt>
                      <c:pt idx="91">
                        <c:v>0.10138615714604057</c:v>
                      </c:pt>
                      <c:pt idx="92">
                        <c:v>0.10150963828111471</c:v>
                      </c:pt>
                      <c:pt idx="93">
                        <c:v>0.1015466363078943</c:v>
                      </c:pt>
                      <c:pt idx="94">
                        <c:v>0.10149313100877828</c:v>
                      </c:pt>
                      <c:pt idx="95">
                        <c:v>0.10134921225555872</c:v>
                      </c:pt>
                      <c:pt idx="96">
                        <c:v>0.10111603423195721</c:v>
                      </c:pt>
                      <c:pt idx="97">
                        <c:v>0.10079701075752594</c:v>
                      </c:pt>
                      <c:pt idx="98">
                        <c:v>0.10040099458694925</c:v>
                      </c:pt>
                      <c:pt idx="99">
                        <c:v>9.9934172183072989E-2</c:v>
                      </c:pt>
                      <c:pt idx="100">
                        <c:v>9.9402842106026318E-2</c:v>
                      </c:pt>
                      <c:pt idx="101">
                        <c:v>9.8815155899265067E-2</c:v>
                      </c:pt>
                      <c:pt idx="102">
                        <c:v>9.818034205617833E-2</c:v>
                      </c:pt>
                      <c:pt idx="103">
                        <c:v>9.7509174607908172E-2</c:v>
                      </c:pt>
                      <c:pt idx="104">
                        <c:v>9.68135815336537E-2</c:v>
                      </c:pt>
                      <c:pt idx="105">
                        <c:v>9.6106224991083081E-2</c:v>
                      </c:pt>
                      <c:pt idx="106">
                        <c:v>9.5400800601848718E-2</c:v>
                      </c:pt>
                      <c:pt idx="107">
                        <c:v>9.4711193630985888E-2</c:v>
                      </c:pt>
                      <c:pt idx="108">
                        <c:v>9.4051269343845473E-2</c:v>
                      </c:pt>
                      <c:pt idx="109">
                        <c:v>9.3434964765271356E-2</c:v>
                      </c:pt>
                      <c:pt idx="110">
                        <c:v>9.2875720423093014E-2</c:v>
                      </c:pt>
                      <c:pt idx="111">
                        <c:v>9.2385733572382112E-2</c:v>
                      </c:pt>
                      <c:pt idx="112">
                        <c:v>9.1975060999632485E-2</c:v>
                      </c:pt>
                      <c:pt idx="113">
                        <c:v>9.1651214718119198E-2</c:v>
                      </c:pt>
                      <c:pt idx="114">
                        <c:v>9.1418423831312198E-2</c:v>
                      </c:pt>
                      <c:pt idx="115">
                        <c:v>9.1276670834711207E-2</c:v>
                      </c:pt>
                      <c:pt idx="116">
                        <c:v>9.1222066310917102E-2</c:v>
                      </c:pt>
                      <c:pt idx="117">
                        <c:v>9.1246943763101537E-2</c:v>
                      </c:pt>
                      <c:pt idx="118">
                        <c:v>9.1339697497282768E-2</c:v>
                      </c:pt>
                      <c:pt idx="119">
                        <c:v>9.1486210872210302E-2</c:v>
                      </c:pt>
                      <c:pt idx="120">
                        <c:v>9.1670722504063357E-2</c:v>
                      </c:pt>
                    </c:numCache>
                  </c:numRef>
                </c:val>
                <c:smooth val="0"/>
                <c:extLst>
                  <c:ext xmlns:c16="http://schemas.microsoft.com/office/drawing/2014/chart" uri="{C3380CC4-5D6E-409C-BE32-E72D297353CC}">
                    <c16:uniqueId val="{00000004-F103-4115-AE43-4B3AC009EF68}"/>
                  </c:ext>
                </c:extLst>
              </c15:ser>
            </c15:filteredLineSeries>
            <c15:filteredLineSeries>
              <c15:ser>
                <c:idx val="7"/>
                <c:order val="4"/>
                <c:tx>
                  <c:strRef>
                    <c:extLst xmlns:c15="http://schemas.microsoft.com/office/drawing/2012/chart">
                      <c:ext xmlns:c15="http://schemas.microsoft.com/office/drawing/2012/chart" uri="{02D57815-91ED-43cb-92C2-25804820EDAC}">
                        <c15:formulaRef>
                          <c15:sqref>年齢階層別人口の推移!$I$3</c15:sqref>
                        </c15:formulaRef>
                      </c:ext>
                    </c:extLst>
                    <c:strCache>
                      <c:ptCount val="1"/>
                      <c:pt idx="0">
                        <c:v>生産年齢
人口割合</c:v>
                      </c:pt>
                    </c:strCache>
                  </c:strRef>
                </c:tx>
                <c:spPr>
                  <a:ln w="28575" cap="rnd">
                    <a:solidFill>
                      <a:srgbClr val="92D050"/>
                    </a:solidFill>
                    <a:round/>
                  </a:ln>
                  <a:effectLst/>
                </c:spPr>
                <c:marker>
                  <c:symbol val="none"/>
                </c:marker>
                <c:cat>
                  <c:numRef>
                    <c:extLst xmlns:c15="http://schemas.microsoft.com/office/drawing/2012/chart">
                      <c:ext xmlns:c15="http://schemas.microsoft.com/office/drawing/2012/chart" uri="{02D57815-91ED-43cb-92C2-25804820EDAC}">
                        <c15:formulaRef>
                          <c15:sqref>年齢階層別人口の推移!$B$4:$B$124</c15:sqref>
                        </c15:formulaRef>
                      </c:ext>
                    </c:extLst>
                    <c:numCache>
                      <c:formatCode>General</c:formatCode>
                      <c:ptCount val="121"/>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pt idx="74">
                        <c:v>2024</c:v>
                      </c:pt>
                      <c:pt idx="75">
                        <c:v>2025</c:v>
                      </c:pt>
                      <c:pt idx="76">
                        <c:v>2026</c:v>
                      </c:pt>
                      <c:pt idx="77">
                        <c:v>2027</c:v>
                      </c:pt>
                      <c:pt idx="78">
                        <c:v>2028</c:v>
                      </c:pt>
                      <c:pt idx="79">
                        <c:v>2029</c:v>
                      </c:pt>
                      <c:pt idx="80">
                        <c:v>2030</c:v>
                      </c:pt>
                      <c:pt idx="81">
                        <c:v>2031</c:v>
                      </c:pt>
                      <c:pt idx="82">
                        <c:v>2032</c:v>
                      </c:pt>
                      <c:pt idx="83">
                        <c:v>2033</c:v>
                      </c:pt>
                      <c:pt idx="84">
                        <c:v>2034</c:v>
                      </c:pt>
                      <c:pt idx="85">
                        <c:v>2035</c:v>
                      </c:pt>
                      <c:pt idx="86">
                        <c:v>2036</c:v>
                      </c:pt>
                      <c:pt idx="87">
                        <c:v>2037</c:v>
                      </c:pt>
                      <c:pt idx="88">
                        <c:v>2038</c:v>
                      </c:pt>
                      <c:pt idx="89">
                        <c:v>2039</c:v>
                      </c:pt>
                      <c:pt idx="90">
                        <c:v>2040</c:v>
                      </c:pt>
                      <c:pt idx="91">
                        <c:v>2041</c:v>
                      </c:pt>
                      <c:pt idx="92">
                        <c:v>2042</c:v>
                      </c:pt>
                      <c:pt idx="93">
                        <c:v>2043</c:v>
                      </c:pt>
                      <c:pt idx="94">
                        <c:v>2044</c:v>
                      </c:pt>
                      <c:pt idx="95">
                        <c:v>2045</c:v>
                      </c:pt>
                      <c:pt idx="96">
                        <c:v>2046</c:v>
                      </c:pt>
                      <c:pt idx="97">
                        <c:v>2047</c:v>
                      </c:pt>
                      <c:pt idx="98">
                        <c:v>2048</c:v>
                      </c:pt>
                      <c:pt idx="99">
                        <c:v>2049</c:v>
                      </c:pt>
                      <c:pt idx="100">
                        <c:v>2050</c:v>
                      </c:pt>
                      <c:pt idx="101">
                        <c:v>2051</c:v>
                      </c:pt>
                      <c:pt idx="102">
                        <c:v>2052</c:v>
                      </c:pt>
                      <c:pt idx="103">
                        <c:v>2053</c:v>
                      </c:pt>
                      <c:pt idx="104">
                        <c:v>2054</c:v>
                      </c:pt>
                      <c:pt idx="105">
                        <c:v>2055</c:v>
                      </c:pt>
                      <c:pt idx="106">
                        <c:v>2056</c:v>
                      </c:pt>
                      <c:pt idx="107">
                        <c:v>2057</c:v>
                      </c:pt>
                      <c:pt idx="108">
                        <c:v>2058</c:v>
                      </c:pt>
                      <c:pt idx="109">
                        <c:v>2059</c:v>
                      </c:pt>
                      <c:pt idx="110">
                        <c:v>2060</c:v>
                      </c:pt>
                      <c:pt idx="111">
                        <c:v>2061</c:v>
                      </c:pt>
                      <c:pt idx="112">
                        <c:v>2062</c:v>
                      </c:pt>
                      <c:pt idx="113">
                        <c:v>2063</c:v>
                      </c:pt>
                      <c:pt idx="114">
                        <c:v>2064</c:v>
                      </c:pt>
                      <c:pt idx="115">
                        <c:v>2065</c:v>
                      </c:pt>
                      <c:pt idx="116">
                        <c:v>2066</c:v>
                      </c:pt>
                      <c:pt idx="117">
                        <c:v>2067</c:v>
                      </c:pt>
                      <c:pt idx="118">
                        <c:v>2068</c:v>
                      </c:pt>
                      <c:pt idx="119">
                        <c:v>2069</c:v>
                      </c:pt>
                      <c:pt idx="120">
                        <c:v>2070</c:v>
                      </c:pt>
                    </c:numCache>
                  </c:numRef>
                </c:cat>
                <c:val>
                  <c:numRef>
                    <c:extLst xmlns:c15="http://schemas.microsoft.com/office/drawing/2012/chart">
                      <c:ext xmlns:c15="http://schemas.microsoft.com/office/drawing/2012/chart" uri="{02D57815-91ED-43cb-92C2-25804820EDAC}">
                        <c15:formulaRef>
                          <c15:sqref>年齢階層別人口の推移!$I$4:$I$124</c15:sqref>
                        </c15:formulaRef>
                      </c:ext>
                    </c:extLst>
                    <c:numCache>
                      <c:formatCode>0.0%</c:formatCode>
                      <c:ptCount val="121"/>
                      <c:pt idx="0">
                        <c:v>0.59688701923076926</c:v>
                      </c:pt>
                      <c:pt idx="1">
                        <c:v>0.60011118865402591</c:v>
                      </c:pt>
                      <c:pt idx="2">
                        <c:v>0.60419774380011193</c:v>
                      </c:pt>
                      <c:pt idx="3">
                        <c:v>0.607649946540049</c:v>
                      </c:pt>
                      <c:pt idx="4">
                        <c:v>0.60976438989562443</c:v>
                      </c:pt>
                      <c:pt idx="5">
                        <c:v>0.61304269904565611</c:v>
                      </c:pt>
                      <c:pt idx="6">
                        <c:v>0.62105753448964207</c:v>
                      </c:pt>
                      <c:pt idx="7">
                        <c:v>0.62952005982755588</c:v>
                      </c:pt>
                      <c:pt idx="8">
                        <c:v>0.6367539529460482</c:v>
                      </c:pt>
                      <c:pt idx="9">
                        <c:v>0.6439481439103637</c:v>
                      </c:pt>
                      <c:pt idx="10">
                        <c:v>0.64228904184373625</c:v>
                      </c:pt>
                      <c:pt idx="11">
                        <c:v>0.64393818872166897</c:v>
                      </c:pt>
                      <c:pt idx="12">
                        <c:v>0.65413265252518882</c:v>
                      </c:pt>
                      <c:pt idx="13">
                        <c:v>0.66457631349057777</c:v>
                      </c:pt>
                      <c:pt idx="14">
                        <c:v>0.6748163240106192</c:v>
                      </c:pt>
                      <c:pt idx="15">
                        <c:v>0.6810277283134063</c:v>
                      </c:pt>
                      <c:pt idx="16">
                        <c:v>0.68774990912395495</c:v>
                      </c:pt>
                      <c:pt idx="17">
                        <c:v>0.6902570960916603</c:v>
                      </c:pt>
                      <c:pt idx="18">
                        <c:v>0.69165408414009533</c:v>
                      </c:pt>
                      <c:pt idx="19">
                        <c:v>0.69183506280720919</c:v>
                      </c:pt>
                      <c:pt idx="20">
                        <c:v>0.68999228692634018</c:v>
                      </c:pt>
                      <c:pt idx="21">
                        <c:v>0.68782157972323932</c:v>
                      </c:pt>
                      <c:pt idx="22">
                        <c:v>0.68295924531809094</c:v>
                      </c:pt>
                      <c:pt idx="23">
                        <c:v>0.67920516204722103</c:v>
                      </c:pt>
                      <c:pt idx="24">
                        <c:v>0.67595163376231082</c:v>
                      </c:pt>
                      <c:pt idx="25">
                        <c:v>0.67749687332499553</c:v>
                      </c:pt>
                      <c:pt idx="26">
                        <c:v>0.67550002652660623</c:v>
                      </c:pt>
                      <c:pt idx="27">
                        <c:v>0.67397188280120879</c:v>
                      </c:pt>
                      <c:pt idx="28">
                        <c:v>0.67319211737129958</c:v>
                      </c:pt>
                      <c:pt idx="29">
                        <c:v>0.67290258706039341</c:v>
                      </c:pt>
                      <c:pt idx="30">
                        <c:v>0.67387664445583462</c:v>
                      </c:pt>
                      <c:pt idx="31">
                        <c:v>0.6723550067004801</c:v>
                      </c:pt>
                      <c:pt idx="32">
                        <c:v>0.67455865507715118</c:v>
                      </c:pt>
                      <c:pt idx="33">
                        <c:v>0.67681702583322179</c:v>
                      </c:pt>
                      <c:pt idx="34">
                        <c:v>0.67973899671667848</c:v>
                      </c:pt>
                      <c:pt idx="35">
                        <c:v>0.68183132450495254</c:v>
                      </c:pt>
                      <c:pt idx="36">
                        <c:v>0.68525398651980929</c:v>
                      </c:pt>
                      <c:pt idx="37">
                        <c:v>0.68872454781207304</c:v>
                      </c:pt>
                      <c:pt idx="38">
                        <c:v>0.69259847651635509</c:v>
                      </c:pt>
                      <c:pt idx="39">
                        <c:v>0.6959538979749198</c:v>
                      </c:pt>
                      <c:pt idx="40">
                        <c:v>0.6968635477425148</c:v>
                      </c:pt>
                      <c:pt idx="41">
                        <c:v>0.69747222020773403</c:v>
                      </c:pt>
                      <c:pt idx="42">
                        <c:v>0.69717501424935979</c:v>
                      </c:pt>
                      <c:pt idx="43">
                        <c:v>0.69652947862139625</c:v>
                      </c:pt>
                      <c:pt idx="44">
                        <c:v>0.69479902606474275</c:v>
                      </c:pt>
                      <c:pt idx="45">
                        <c:v>0.6949112049056303</c:v>
                      </c:pt>
                      <c:pt idx="46">
                        <c:v>0.69252894111664642</c:v>
                      </c:pt>
                      <c:pt idx="47">
                        <c:v>0.68994982442512109</c:v>
                      </c:pt>
                      <c:pt idx="48">
                        <c:v>0.68726674678980326</c:v>
                      </c:pt>
                      <c:pt idx="49">
                        <c:v>0.68492977650058817</c:v>
                      </c:pt>
                      <c:pt idx="50">
                        <c:v>0.68055402360430484</c:v>
                      </c:pt>
                      <c:pt idx="51">
                        <c:v>0.67657639259794522</c:v>
                      </c:pt>
                      <c:pt idx="52">
                        <c:v>0.67227774030089582</c:v>
                      </c:pt>
                      <c:pt idx="53">
                        <c:v>0.66881764217582662</c:v>
                      </c:pt>
                      <c:pt idx="54">
                        <c:v>0.6657719486332726</c:v>
                      </c:pt>
                      <c:pt idx="55">
                        <c:v>0.66074447435977712</c:v>
                      </c:pt>
                      <c:pt idx="56">
                        <c:v>0.65465477205025757</c:v>
                      </c:pt>
                      <c:pt idx="57">
                        <c:v>0.64838752509118747</c:v>
                      </c:pt>
                      <c:pt idx="58">
                        <c:v>0.64254707847974768</c:v>
                      </c:pt>
                      <c:pt idx="59">
                        <c:v>0.63650493626593352</c:v>
                      </c:pt>
                      <c:pt idx="60">
                        <c:v>0.63827045768681134</c:v>
                      </c:pt>
                      <c:pt idx="61">
                        <c:v>0.63630958899823209</c:v>
                      </c:pt>
                      <c:pt idx="62">
                        <c:v>0.6283651924478616</c:v>
                      </c:pt>
                      <c:pt idx="63">
                        <c:v>0.62010454110223368</c:v>
                      </c:pt>
                      <c:pt idx="64">
                        <c:v>0.61185032655595462</c:v>
                      </c:pt>
                      <c:pt idx="65">
                        <c:v>0.60806483339234429</c:v>
                      </c:pt>
                      <c:pt idx="66">
                        <c:v>0.60352481856393947</c:v>
                      </c:pt>
                      <c:pt idx="67">
                        <c:v>0.60030413098117696</c:v>
                      </c:pt>
                      <c:pt idx="68">
                        <c:v>0.59800077318164246</c:v>
                      </c:pt>
                      <c:pt idx="69">
                        <c:v>0.59691043419856982</c:v>
                      </c:pt>
                      <c:pt idx="70">
                        <c:v>0.59524677754348132</c:v>
                      </c:pt>
                      <c:pt idx="71">
                        <c:v>0.59356384702143405</c:v>
                      </c:pt>
                      <c:pt idx="72">
                        <c:v>0.59367451349939038</c:v>
                      </c:pt>
                      <c:pt idx="73">
                        <c:v>0.59367661394245741</c:v>
                      </c:pt>
                      <c:pt idx="74">
                        <c:v>0.59321391713612748</c:v>
                      </c:pt>
                      <c:pt idx="75">
                        <c:v>0.59305186767019269</c:v>
                      </c:pt>
                      <c:pt idx="76">
                        <c:v>0.59303558871328244</c:v>
                      </c:pt>
                      <c:pt idx="77">
                        <c:v>0.59269564527120044</c:v>
                      </c:pt>
                      <c:pt idx="78">
                        <c:v>0.592025813268926</c:v>
                      </c:pt>
                      <c:pt idx="79">
                        <c:v>0.59092533049587748</c:v>
                      </c:pt>
                      <c:pt idx="80">
                        <c:v>0.58907188547583011</c:v>
                      </c:pt>
                      <c:pt idx="81">
                        <c:v>0.58969461798436273</c:v>
                      </c:pt>
                      <c:pt idx="82">
                        <c:v>0.58691020011696737</c:v>
                      </c:pt>
                      <c:pt idx="83">
                        <c:v>0.58395786947896822</c:v>
                      </c:pt>
                      <c:pt idx="84">
                        <c:v>0.58035105333997583</c:v>
                      </c:pt>
                      <c:pt idx="85">
                        <c:v>0.57627046612398258</c:v>
                      </c:pt>
                      <c:pt idx="86">
                        <c:v>0.57175673993221687</c:v>
                      </c:pt>
                      <c:pt idx="87">
                        <c:v>0.56646483631217204</c:v>
                      </c:pt>
                      <c:pt idx="88">
                        <c:v>0.56063873722042734</c:v>
                      </c:pt>
                      <c:pt idx="89">
                        <c:v>0.55518577999756746</c:v>
                      </c:pt>
                      <c:pt idx="90">
                        <c:v>0.55064518720543065</c:v>
                      </c:pt>
                      <c:pt idx="91">
                        <c:v>0.54669160584163101</c:v>
                      </c:pt>
                      <c:pt idx="92">
                        <c:v>0.54341577334362001</c:v>
                      </c:pt>
                      <c:pt idx="93">
                        <c:v>0.54051080184759803</c:v>
                      </c:pt>
                      <c:pt idx="94">
                        <c:v>0.53812136391733956</c:v>
                      </c:pt>
                      <c:pt idx="95">
                        <c:v>0.53604961608055191</c:v>
                      </c:pt>
                      <c:pt idx="96">
                        <c:v>0.53453873412126529</c:v>
                      </c:pt>
                      <c:pt idx="97">
                        <c:v>0.53309142908793905</c:v>
                      </c:pt>
                      <c:pt idx="98">
                        <c:v>0.53160594382314108</c:v>
                      </c:pt>
                      <c:pt idx="99">
                        <c:v>0.53022977771188939</c:v>
                      </c:pt>
                      <c:pt idx="100">
                        <c:v>0.52921911534568933</c:v>
                      </c:pt>
                      <c:pt idx="101">
                        <c:v>0.52860406164121376</c:v>
                      </c:pt>
                      <c:pt idx="102">
                        <c:v>0.5280902186263734</c:v>
                      </c:pt>
                      <c:pt idx="103">
                        <c:v>0.52782849748222405</c:v>
                      </c:pt>
                      <c:pt idx="104">
                        <c:v>0.52785140965896848</c:v>
                      </c:pt>
                      <c:pt idx="105">
                        <c:v>0.52801241957873746</c:v>
                      </c:pt>
                      <c:pt idx="106">
                        <c:v>0.52834360479392972</c:v>
                      </c:pt>
                      <c:pt idx="107">
                        <c:v>0.52851810591014692</c:v>
                      </c:pt>
                      <c:pt idx="108">
                        <c:v>0.528710071112798</c:v>
                      </c:pt>
                      <c:pt idx="109">
                        <c:v>0.52851600365183449</c:v>
                      </c:pt>
                      <c:pt idx="110">
                        <c:v>0.52815168257392275</c:v>
                      </c:pt>
                      <c:pt idx="111">
                        <c:v>0.52780474812948486</c:v>
                      </c:pt>
                      <c:pt idx="112">
                        <c:v>0.52732314600887631</c:v>
                      </c:pt>
                      <c:pt idx="113">
                        <c:v>0.52666232441911009</c:v>
                      </c:pt>
                      <c:pt idx="114">
                        <c:v>0.52599748262004686</c:v>
                      </c:pt>
                      <c:pt idx="115">
                        <c:v>0.52510541590332183</c:v>
                      </c:pt>
                      <c:pt idx="116">
                        <c:v>0.52426327496376735</c:v>
                      </c:pt>
                      <c:pt idx="117">
                        <c:v>0.5234668826341291</c:v>
                      </c:pt>
                      <c:pt idx="118">
                        <c:v>0.52278746836702461</c:v>
                      </c:pt>
                      <c:pt idx="119">
                        <c:v>0.52192595749912862</c:v>
                      </c:pt>
                      <c:pt idx="120">
                        <c:v>0.52128336140109588</c:v>
                      </c:pt>
                    </c:numCache>
                  </c:numRef>
                </c:val>
                <c:smooth val="0"/>
                <c:extLst xmlns:c15="http://schemas.microsoft.com/office/drawing/2012/chart">
                  <c:ext xmlns:c16="http://schemas.microsoft.com/office/drawing/2014/chart" uri="{C3380CC4-5D6E-409C-BE32-E72D297353CC}">
                    <c16:uniqueId val="{00000005-F103-4115-AE43-4B3AC009EF68}"/>
                  </c:ext>
                </c:extLst>
              </c15:ser>
            </c15:filteredLineSeries>
          </c:ext>
        </c:extLst>
      </c:lineChart>
      <c:catAx>
        <c:axId val="1"/>
        <c:scaling>
          <c:orientation val="minMax"/>
        </c:scaling>
        <c:delete val="0"/>
        <c:axPos val="b"/>
        <c:numFmt formatCode="General" sourceLinked="1"/>
        <c:majorTickMark val="out"/>
        <c:minorTickMark val="none"/>
        <c:tickLblPos val="nextTo"/>
        <c:spPr>
          <a:noFill/>
          <a:ln w="9525" cap="flat" cmpd="sng" algn="ctr">
            <a:solidFill>
              <a:srgbClr val="000000"/>
            </a:solidFill>
            <a:round/>
          </a:ln>
          <a:effectLst/>
        </c:spPr>
        <c:txPr>
          <a:bodyPr horzOverflow="overflow" wrap="square" anchor="ctr" anchorCtr="1"/>
          <a:lstStyle/>
          <a:p>
            <a:pPr algn="ctr" rtl="0">
              <a:defRPr sz="900" b="0" i="0" u="none" strike="noStrike" kern="1200" baseline="0">
                <a:solidFill>
                  <a:schemeClr val="tx1"/>
                </a:solidFill>
                <a:latin typeface="+mn-lt"/>
                <a:ea typeface="+mn-ea"/>
                <a:cs typeface="+mn-cs"/>
              </a:defRPr>
            </a:pPr>
            <a:endParaRPr lang="ja-JP"/>
          </a:p>
        </c:txPr>
        <c:crossAx val="2"/>
        <c:crosses val="autoZero"/>
        <c:auto val="1"/>
        <c:lblAlgn val="ctr"/>
        <c:lblOffset val="100"/>
        <c:tickLblSkip val="5"/>
        <c:tickMarkSkip val="5"/>
        <c:noMultiLvlLbl val="0"/>
      </c:catAx>
      <c:valAx>
        <c:axId val="2"/>
        <c:scaling>
          <c:orientation val="minMax"/>
          <c:max val="1500000"/>
          <c:min val="0"/>
        </c:scaling>
        <c:delete val="0"/>
        <c:axPos val="l"/>
        <c:majorGridlines>
          <c:spPr>
            <a:ln w="9525" cap="flat" cmpd="sng" algn="ctr">
              <a:solidFill>
                <a:schemeClr val="tx1">
                  <a:lumMod val="15000"/>
                  <a:lumOff val="85000"/>
                </a:schemeClr>
              </a:solidFill>
              <a:round/>
            </a:ln>
            <a:effectLst/>
          </c:spPr>
        </c:majorGridlines>
        <c:numFmt formatCode="#,##0_);[Red]\(#,##0\)" sourceLinked="0"/>
        <c:majorTickMark val="none"/>
        <c:minorTickMark val="none"/>
        <c:tickLblPos val="nextTo"/>
        <c:spPr>
          <a:noFill/>
          <a:ln>
            <a:noFill/>
          </a:ln>
          <a:effectLst/>
        </c:spPr>
        <c:txPr>
          <a:bodyPr horzOverflow="overflow" wrap="square" anchor="ctr" anchorCtr="1"/>
          <a:lstStyle/>
          <a:p>
            <a:pPr algn="ctr" rtl="0">
              <a:defRPr sz="900" b="0" i="0" u="none" strike="noStrike" kern="1200" baseline="0">
                <a:solidFill>
                  <a:schemeClr val="tx1"/>
                </a:solidFill>
                <a:latin typeface="+mn-lt"/>
                <a:ea typeface="+mn-ea"/>
                <a:cs typeface="+mn-cs"/>
              </a:defRPr>
            </a:pPr>
            <a:endParaRPr lang="ja-JP"/>
          </a:p>
        </c:txPr>
        <c:crossAx val="1"/>
        <c:crosses val="autoZero"/>
        <c:crossBetween val="between"/>
        <c:majorUnit val="300000"/>
        <c:dispUnits>
          <c:builtInUnit val="hundreds"/>
        </c:dispUnits>
      </c:valAx>
      <c:catAx>
        <c:axId val="11"/>
        <c:scaling>
          <c:orientation val="minMax"/>
        </c:scaling>
        <c:delete val="1"/>
        <c:axPos val="b"/>
        <c:numFmt formatCode="General" sourceLinked="1"/>
        <c:majorTickMark val="out"/>
        <c:minorTickMark val="none"/>
        <c:tickLblPos val="nextTo"/>
        <c:crossAx val="12"/>
        <c:crosses val="autoZero"/>
        <c:auto val="1"/>
        <c:lblAlgn val="ctr"/>
        <c:lblOffset val="100"/>
        <c:noMultiLvlLbl val="0"/>
      </c:catAx>
      <c:valAx>
        <c:axId val="12"/>
        <c:scaling>
          <c:orientation val="minMax"/>
          <c:max val="0.4"/>
          <c:min val="0"/>
        </c:scaling>
        <c:delete val="0"/>
        <c:axPos val="r"/>
        <c:numFmt formatCode="0.0%" sourceLinked="1"/>
        <c:majorTickMark val="out"/>
        <c:minorTickMark val="none"/>
        <c:tickLblPos val="nextTo"/>
        <c:spPr>
          <a:noFill/>
          <a:ln>
            <a:noFill/>
          </a:ln>
          <a:effectLst/>
        </c:spPr>
        <c:txPr>
          <a:bodyPr horzOverflow="overflow" wrap="square" anchor="ctr" anchorCtr="1"/>
          <a:lstStyle/>
          <a:p>
            <a:pPr algn="ctr" rtl="0">
              <a:defRPr sz="900" b="0" i="0" u="none" strike="noStrike" kern="1200" baseline="0">
                <a:solidFill>
                  <a:schemeClr val="tx1"/>
                </a:solidFill>
                <a:latin typeface="+mn-lt"/>
                <a:ea typeface="+mn-ea"/>
                <a:cs typeface="+mn-cs"/>
              </a:defRPr>
            </a:pPr>
            <a:endParaRPr lang="ja-JP"/>
          </a:p>
        </c:txPr>
        <c:crossAx val="11"/>
        <c:crosses val="max"/>
        <c:crossBetween val="between"/>
        <c:majorUnit val="0.1"/>
      </c:valAx>
      <c:spPr>
        <a:noFill/>
        <a:ln>
          <a:solidFill>
            <a:srgbClr val="000000"/>
          </a:solidFill>
        </a:ln>
        <a:effectLst/>
      </c:spPr>
    </c:plotArea>
    <c:plotVisOnly val="1"/>
    <c:dispBlanksAs val="gap"/>
    <c:showDLblsOverMax val="0"/>
  </c:chart>
  <c:spPr>
    <a:noFill/>
    <a:ln>
      <a:noFill/>
    </a:ln>
    <a:effectLst/>
  </c:spPr>
  <c:txPr>
    <a:bodyPr horzOverflow="overflow" anchor="ctr" anchorCtr="1"/>
    <a:lstStyle/>
    <a:p>
      <a:pPr algn="ctr" rtl="0">
        <a:defRPr lang="ja-JP" altLang="en-US" sz="1000">
          <a:solidFill>
            <a:schemeClr val="tx1"/>
          </a:solidFill>
        </a:defRPr>
      </a:pPr>
      <a:endParaRPr lang="ja-JP"/>
    </a:p>
  </c:txPr>
  <c:externalData r:id="rId2">
    <c:autoUpdate val="0"/>
  </c:externalData>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ＭＳ ゴシック" panose="020B0609070205080204" pitchFamily="49" charset="-128"/>
                <a:ea typeface="ＭＳ ゴシック" panose="020B0609070205080204" pitchFamily="49" charset="-128"/>
                <a:cs typeface="+mn-cs"/>
              </a:defRPr>
            </a:pPr>
            <a:r>
              <a:rPr lang="ja-JP" dirty="0"/>
              <a:t>社人研推計</a:t>
            </a:r>
            <a:r>
              <a:rPr lang="ja-JP" altLang="en-US" dirty="0"/>
              <a:t>（</a:t>
            </a:r>
            <a:r>
              <a:rPr lang="en-US" altLang="ja-JP" dirty="0"/>
              <a:t>R5</a:t>
            </a:r>
            <a:r>
              <a:rPr lang="ja-JP" altLang="en-US" dirty="0"/>
              <a:t>）</a:t>
            </a:r>
            <a:r>
              <a:rPr lang="ja-JP" dirty="0"/>
              <a:t>　日本人人口及び外国人人口の推移</a:t>
            </a:r>
          </a:p>
        </c:rich>
      </c:tx>
      <c:layout>
        <c:manualLayout>
          <c:xMode val="edge"/>
          <c:yMode val="edge"/>
          <c:x val="0.29148673935729963"/>
          <c:y val="8.3882956094309291E-2"/>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ＭＳ ゴシック" panose="020B0609070205080204" pitchFamily="49" charset="-128"/>
              <a:ea typeface="ＭＳ ゴシック" panose="020B0609070205080204" pitchFamily="49" charset="-128"/>
              <a:cs typeface="+mn-cs"/>
            </a:defRPr>
          </a:pPr>
          <a:endParaRPr lang="ja-JP"/>
        </a:p>
      </c:txPr>
    </c:title>
    <c:autoTitleDeleted val="0"/>
    <c:plotArea>
      <c:layout>
        <c:manualLayout>
          <c:layoutTarget val="inner"/>
          <c:xMode val="edge"/>
          <c:yMode val="edge"/>
          <c:x val="7.0884872596762336E-2"/>
          <c:y val="0.14158100442964192"/>
          <c:w val="0.87282007089944236"/>
          <c:h val="0.67666326550257017"/>
        </c:manualLayout>
      </c:layout>
      <c:areaChart>
        <c:grouping val="stacked"/>
        <c:varyColors val="0"/>
        <c:ser>
          <c:idx val="0"/>
          <c:order val="0"/>
          <c:tx>
            <c:strRef>
              <c:f>'[1-1.xlsx]グラフ'!$C$1</c:f>
              <c:strCache>
                <c:ptCount val="1"/>
                <c:pt idx="0">
                  <c:v>日本人人口</c:v>
                </c:pt>
              </c:strCache>
            </c:strRef>
          </c:tx>
          <c:spPr>
            <a:solidFill>
              <a:srgbClr val="66FFFF"/>
            </a:solidFill>
            <a:ln w="15875">
              <a:solidFill>
                <a:schemeClr val="bg1">
                  <a:lumMod val="75000"/>
                </a:schemeClr>
              </a:solidFill>
            </a:ln>
            <a:effectLst/>
          </c:spPr>
          <c:cat>
            <c:numRef>
              <c:f>'[1-1.xlsx]グラフ'!$A$2:$A$52</c:f>
              <c:numCache>
                <c:formatCode>General</c:formatCode>
                <c:ptCount val="5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pt idx="31">
                  <c:v>2051</c:v>
                </c:pt>
                <c:pt idx="32">
                  <c:v>2052</c:v>
                </c:pt>
                <c:pt idx="33">
                  <c:v>2053</c:v>
                </c:pt>
                <c:pt idx="34">
                  <c:v>2054</c:v>
                </c:pt>
                <c:pt idx="35">
                  <c:v>2055</c:v>
                </c:pt>
                <c:pt idx="36">
                  <c:v>2056</c:v>
                </c:pt>
                <c:pt idx="37">
                  <c:v>2057</c:v>
                </c:pt>
                <c:pt idx="38">
                  <c:v>2058</c:v>
                </c:pt>
                <c:pt idx="39">
                  <c:v>2059</c:v>
                </c:pt>
                <c:pt idx="40">
                  <c:v>2060</c:v>
                </c:pt>
                <c:pt idx="41">
                  <c:v>2061</c:v>
                </c:pt>
                <c:pt idx="42">
                  <c:v>2062</c:v>
                </c:pt>
                <c:pt idx="43">
                  <c:v>2063</c:v>
                </c:pt>
                <c:pt idx="44">
                  <c:v>2064</c:v>
                </c:pt>
                <c:pt idx="45">
                  <c:v>2065</c:v>
                </c:pt>
                <c:pt idx="46">
                  <c:v>2066</c:v>
                </c:pt>
                <c:pt idx="47">
                  <c:v>2067</c:v>
                </c:pt>
                <c:pt idx="48">
                  <c:v>2068</c:v>
                </c:pt>
                <c:pt idx="49">
                  <c:v>2069</c:v>
                </c:pt>
                <c:pt idx="50">
                  <c:v>2070</c:v>
                </c:pt>
              </c:numCache>
            </c:numRef>
          </c:cat>
          <c:val>
            <c:numRef>
              <c:f>'[1-1.xlsx]グラフ'!$C$2:$C$52</c:f>
              <c:numCache>
                <c:formatCode>#,##0_);[Red]\(#,##0\)</c:formatCode>
                <c:ptCount val="51"/>
                <c:pt idx="0">
                  <c:v>12339.896199999999</c:v>
                </c:pt>
                <c:pt idx="1">
                  <c:v>12281.010899999999</c:v>
                </c:pt>
                <c:pt idx="2">
                  <c:v>12209.7279</c:v>
                </c:pt>
                <c:pt idx="3">
                  <c:v>12136.2829</c:v>
                </c:pt>
                <c:pt idx="4">
                  <c:v>12063.3462</c:v>
                </c:pt>
                <c:pt idx="5">
                  <c:v>11988.702300000001</c:v>
                </c:pt>
                <c:pt idx="6">
                  <c:v>11912.0317</c:v>
                </c:pt>
                <c:pt idx="7">
                  <c:v>11833.7636</c:v>
                </c:pt>
                <c:pt idx="8">
                  <c:v>11754.174300000001</c:v>
                </c:pt>
                <c:pt idx="9">
                  <c:v>11673.3176</c:v>
                </c:pt>
                <c:pt idx="10">
                  <c:v>11591.194800000001</c:v>
                </c:pt>
                <c:pt idx="11">
                  <c:v>11507.789500000001</c:v>
                </c:pt>
                <c:pt idx="12">
                  <c:v>11423.0671</c:v>
                </c:pt>
                <c:pt idx="13">
                  <c:v>11336.954600000001</c:v>
                </c:pt>
                <c:pt idx="14">
                  <c:v>11249.438899999999</c:v>
                </c:pt>
                <c:pt idx="15">
                  <c:v>11160.546</c:v>
                </c:pt>
                <c:pt idx="16">
                  <c:v>11070.3243</c:v>
                </c:pt>
                <c:pt idx="17">
                  <c:v>10978.854300000001</c:v>
                </c:pt>
                <c:pt idx="18">
                  <c:v>10886.244699999999</c:v>
                </c:pt>
                <c:pt idx="19">
                  <c:v>10792.6278</c:v>
                </c:pt>
                <c:pt idx="20">
                  <c:v>10698.1603</c:v>
                </c:pt>
                <c:pt idx="21">
                  <c:v>10603.0149</c:v>
                </c:pt>
                <c:pt idx="22">
                  <c:v>10507.367900000001</c:v>
                </c:pt>
                <c:pt idx="23">
                  <c:v>10411.3886</c:v>
                </c:pt>
                <c:pt idx="24">
                  <c:v>10315.2304</c:v>
                </c:pt>
                <c:pt idx="25">
                  <c:v>10219.023299999999</c:v>
                </c:pt>
                <c:pt idx="26">
                  <c:v>10122.867900000001</c:v>
                </c:pt>
                <c:pt idx="27">
                  <c:v>10026.831600000001</c:v>
                </c:pt>
                <c:pt idx="28">
                  <c:v>9930.9434000000001</c:v>
                </c:pt>
                <c:pt idx="29">
                  <c:v>9835.1942999999992</c:v>
                </c:pt>
                <c:pt idx="30">
                  <c:v>9739.5424999999996</c:v>
                </c:pt>
                <c:pt idx="31">
                  <c:v>9643.9128000000001</c:v>
                </c:pt>
                <c:pt idx="32">
                  <c:v>9548.2035999999989</c:v>
                </c:pt>
                <c:pt idx="33">
                  <c:v>9452.3001999999997</c:v>
                </c:pt>
                <c:pt idx="34">
                  <c:v>9356.0813999999991</c:v>
                </c:pt>
                <c:pt idx="35">
                  <c:v>9259.4293999999991</c:v>
                </c:pt>
                <c:pt idx="36">
                  <c:v>9162.2423999999992</c:v>
                </c:pt>
                <c:pt idx="37">
                  <c:v>9064.4384000000009</c:v>
                </c:pt>
                <c:pt idx="38">
                  <c:v>8965.9645999999993</c:v>
                </c:pt>
                <c:pt idx="39">
                  <c:v>8866.8063000000002</c:v>
                </c:pt>
                <c:pt idx="40">
                  <c:v>8766.9881999999998</c:v>
                </c:pt>
                <c:pt idx="41">
                  <c:v>8666.5698999999986</c:v>
                </c:pt>
                <c:pt idx="42">
                  <c:v>8565.6441000000013</c:v>
                </c:pt>
                <c:pt idx="43">
                  <c:v>8464.3377</c:v>
                </c:pt>
                <c:pt idx="44">
                  <c:v>8362.8096000000005</c:v>
                </c:pt>
                <c:pt idx="45">
                  <c:v>8261.246000000001</c:v>
                </c:pt>
                <c:pt idx="46">
                  <c:v>8159.8555999999999</c:v>
                </c:pt>
                <c:pt idx="47">
                  <c:v>8058.8639999999996</c:v>
                </c:pt>
                <c:pt idx="48">
                  <c:v>7958.5061000000005</c:v>
                </c:pt>
                <c:pt idx="49">
                  <c:v>7859.0179000000007</c:v>
                </c:pt>
                <c:pt idx="50">
                  <c:v>7760.6297000000004</c:v>
                </c:pt>
              </c:numCache>
            </c:numRef>
          </c:val>
          <c:extLst>
            <c:ext xmlns:c16="http://schemas.microsoft.com/office/drawing/2014/chart" uri="{C3380CC4-5D6E-409C-BE32-E72D297353CC}">
              <c16:uniqueId val="{00000000-D5F4-471C-885A-6ECC2F30E2C6}"/>
            </c:ext>
          </c:extLst>
        </c:ser>
        <c:ser>
          <c:idx val="1"/>
          <c:order val="1"/>
          <c:tx>
            <c:strRef>
              <c:f>'[1-1.xlsx]グラフ'!$D$1</c:f>
              <c:strCache>
                <c:ptCount val="1"/>
                <c:pt idx="0">
                  <c:v>外国人人口</c:v>
                </c:pt>
              </c:strCache>
            </c:strRef>
          </c:tx>
          <c:spPr>
            <a:solidFill>
              <a:srgbClr val="FF99FF"/>
            </a:solidFill>
            <a:ln w="15875">
              <a:solidFill>
                <a:schemeClr val="bg1">
                  <a:lumMod val="75000"/>
                </a:schemeClr>
              </a:solidFill>
            </a:ln>
            <a:effectLst/>
          </c:spPr>
          <c:cat>
            <c:numRef>
              <c:f>'[1-1.xlsx]グラフ'!$A$2:$A$52</c:f>
              <c:numCache>
                <c:formatCode>General</c:formatCode>
                <c:ptCount val="5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pt idx="31">
                  <c:v>2051</c:v>
                </c:pt>
                <c:pt idx="32">
                  <c:v>2052</c:v>
                </c:pt>
                <c:pt idx="33">
                  <c:v>2053</c:v>
                </c:pt>
                <c:pt idx="34">
                  <c:v>2054</c:v>
                </c:pt>
                <c:pt idx="35">
                  <c:v>2055</c:v>
                </c:pt>
                <c:pt idx="36">
                  <c:v>2056</c:v>
                </c:pt>
                <c:pt idx="37">
                  <c:v>2057</c:v>
                </c:pt>
                <c:pt idx="38">
                  <c:v>2058</c:v>
                </c:pt>
                <c:pt idx="39">
                  <c:v>2059</c:v>
                </c:pt>
                <c:pt idx="40">
                  <c:v>2060</c:v>
                </c:pt>
                <c:pt idx="41">
                  <c:v>2061</c:v>
                </c:pt>
                <c:pt idx="42">
                  <c:v>2062</c:v>
                </c:pt>
                <c:pt idx="43">
                  <c:v>2063</c:v>
                </c:pt>
                <c:pt idx="44">
                  <c:v>2064</c:v>
                </c:pt>
                <c:pt idx="45">
                  <c:v>2065</c:v>
                </c:pt>
                <c:pt idx="46">
                  <c:v>2066</c:v>
                </c:pt>
                <c:pt idx="47">
                  <c:v>2067</c:v>
                </c:pt>
                <c:pt idx="48">
                  <c:v>2068</c:v>
                </c:pt>
                <c:pt idx="49">
                  <c:v>2069</c:v>
                </c:pt>
                <c:pt idx="50">
                  <c:v>2070</c:v>
                </c:pt>
              </c:numCache>
            </c:numRef>
          </c:cat>
          <c:val>
            <c:numRef>
              <c:f>'[1-1.xlsx]グラフ'!$D$2:$D$52</c:f>
              <c:numCache>
                <c:formatCode>#,##0_);[Red]\(#,##0\)</c:formatCode>
                <c:ptCount val="51"/>
                <c:pt idx="0">
                  <c:v>274.71370000000024</c:v>
                </c:pt>
                <c:pt idx="1">
                  <c:v>271.65220000000045</c:v>
                </c:pt>
                <c:pt idx="2">
                  <c:v>288.03650000000016</c:v>
                </c:pt>
                <c:pt idx="3">
                  <c:v>304.51690000000053</c:v>
                </c:pt>
                <c:pt idx="4">
                  <c:v>321.02069999999912</c:v>
                </c:pt>
                <c:pt idx="5">
                  <c:v>337.54249999999956</c:v>
                </c:pt>
                <c:pt idx="6">
                  <c:v>354.08190000000104</c:v>
                </c:pt>
                <c:pt idx="7">
                  <c:v>370.63819999999942</c:v>
                </c:pt>
                <c:pt idx="8">
                  <c:v>387.20929999999862</c:v>
                </c:pt>
                <c:pt idx="9">
                  <c:v>403.79219999999987</c:v>
                </c:pt>
                <c:pt idx="10">
                  <c:v>420.3831999999984</c:v>
                </c:pt>
                <c:pt idx="11">
                  <c:v>436.98070000000007</c:v>
                </c:pt>
                <c:pt idx="12">
                  <c:v>453.58199999999852</c:v>
                </c:pt>
                <c:pt idx="13">
                  <c:v>470.18159999999807</c:v>
                </c:pt>
                <c:pt idx="14">
                  <c:v>486.77189999999973</c:v>
                </c:pt>
                <c:pt idx="15">
                  <c:v>503.34430000000066</c:v>
                </c:pt>
                <c:pt idx="16">
                  <c:v>519.88869999999952</c:v>
                </c:pt>
                <c:pt idx="17">
                  <c:v>536.39409999999953</c:v>
                </c:pt>
                <c:pt idx="18">
                  <c:v>552.85070000000087</c:v>
                </c:pt>
                <c:pt idx="19">
                  <c:v>569.24929999999949</c:v>
                </c:pt>
                <c:pt idx="20">
                  <c:v>585.58020000000033</c:v>
                </c:pt>
                <c:pt idx="21">
                  <c:v>601.47229999999945</c:v>
                </c:pt>
                <c:pt idx="22">
                  <c:v>616.93929999999818</c:v>
                </c:pt>
                <c:pt idx="23">
                  <c:v>632.00920000000042</c:v>
                </c:pt>
                <c:pt idx="24">
                  <c:v>646.72130000000107</c:v>
                </c:pt>
                <c:pt idx="25">
                  <c:v>661.1106000000018</c:v>
                </c:pt>
                <c:pt idx="26">
                  <c:v>675.20589999999902</c:v>
                </c:pt>
                <c:pt idx="27">
                  <c:v>689.03379999999743</c:v>
                </c:pt>
                <c:pt idx="28">
                  <c:v>702.6166000000012</c:v>
                </c:pt>
                <c:pt idx="29">
                  <c:v>715.96830000000045</c:v>
                </c:pt>
                <c:pt idx="30">
                  <c:v>729.09580000000096</c:v>
                </c:pt>
                <c:pt idx="31">
                  <c:v>742.0020999999997</c:v>
                </c:pt>
                <c:pt idx="32">
                  <c:v>754.68880000000172</c:v>
                </c:pt>
                <c:pt idx="33">
                  <c:v>767.15560000000005</c:v>
                </c:pt>
                <c:pt idx="34">
                  <c:v>779.39840000000004</c:v>
                </c:pt>
                <c:pt idx="35">
                  <c:v>791.41070000000036</c:v>
                </c:pt>
                <c:pt idx="36">
                  <c:v>803.18549999999959</c:v>
                </c:pt>
                <c:pt idx="37">
                  <c:v>814.71699999999873</c:v>
                </c:pt>
                <c:pt idx="38">
                  <c:v>826</c:v>
                </c:pt>
                <c:pt idx="39">
                  <c:v>837.02889999999934</c:v>
                </c:pt>
                <c:pt idx="40">
                  <c:v>847.79590000000098</c:v>
                </c:pt>
                <c:pt idx="41">
                  <c:v>858.29250000000138</c:v>
                </c:pt>
                <c:pt idx="42">
                  <c:v>868.5110999999979</c:v>
                </c:pt>
                <c:pt idx="43">
                  <c:v>878.4429999999993</c:v>
                </c:pt>
                <c:pt idx="44">
                  <c:v>888.07840000000033</c:v>
                </c:pt>
                <c:pt idx="45">
                  <c:v>897.40530000000035</c:v>
                </c:pt>
                <c:pt idx="46">
                  <c:v>906.41019999999935</c:v>
                </c:pt>
                <c:pt idx="47">
                  <c:v>915.08040000000074</c:v>
                </c:pt>
                <c:pt idx="48">
                  <c:v>923.40419999999904</c:v>
                </c:pt>
                <c:pt idx="49">
                  <c:v>931.3713000000007</c:v>
                </c:pt>
                <c:pt idx="50">
                  <c:v>938.97120000000086</c:v>
                </c:pt>
              </c:numCache>
            </c:numRef>
          </c:val>
          <c:extLst>
            <c:ext xmlns:c16="http://schemas.microsoft.com/office/drawing/2014/chart" uri="{C3380CC4-5D6E-409C-BE32-E72D297353CC}">
              <c16:uniqueId val="{00000001-D5F4-471C-885A-6ECC2F30E2C6}"/>
            </c:ext>
          </c:extLst>
        </c:ser>
        <c:dLbls>
          <c:showLegendKey val="0"/>
          <c:showVal val="0"/>
          <c:showCatName val="0"/>
          <c:showSerName val="0"/>
          <c:showPercent val="0"/>
          <c:showBubbleSize val="0"/>
        </c:dLbls>
        <c:axId val="743528616"/>
        <c:axId val="743529272"/>
      </c:areaChart>
      <c:catAx>
        <c:axId val="74352861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ＭＳ ゴシック" panose="020B0609070205080204" pitchFamily="49" charset="-128"/>
                <a:ea typeface="ＭＳ ゴシック" panose="020B0609070205080204" pitchFamily="49" charset="-128"/>
                <a:cs typeface="+mn-cs"/>
              </a:defRPr>
            </a:pPr>
            <a:endParaRPr lang="ja-JP"/>
          </a:p>
        </c:txPr>
        <c:crossAx val="743529272"/>
        <c:crosses val="autoZero"/>
        <c:auto val="1"/>
        <c:lblAlgn val="ctr"/>
        <c:lblOffset val="100"/>
        <c:tickLblSkip val="5"/>
        <c:tickMarkSkip val="5"/>
        <c:noMultiLvlLbl val="0"/>
      </c:catAx>
      <c:valAx>
        <c:axId val="743529272"/>
        <c:scaling>
          <c:orientation val="minMax"/>
        </c:scaling>
        <c:delete val="0"/>
        <c:axPos val="l"/>
        <c:majorGridlines>
          <c:spPr>
            <a:ln w="9525" cap="flat" cmpd="sng" algn="ctr">
              <a:solidFill>
                <a:schemeClr val="tx1">
                  <a:lumMod val="15000"/>
                  <a:lumOff val="85000"/>
                </a:schemeClr>
              </a:solidFill>
              <a:round/>
            </a:ln>
            <a:effectLst/>
          </c:spPr>
        </c:majorGridlines>
        <c:numFmt formatCode="#,##0_);[Red]\(#,##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ＭＳ ゴシック" panose="020B0609070205080204" pitchFamily="49" charset="-128"/>
                <a:ea typeface="ＭＳ ゴシック" panose="020B0609070205080204" pitchFamily="49" charset="-128"/>
                <a:cs typeface="+mn-cs"/>
              </a:defRPr>
            </a:pPr>
            <a:endParaRPr lang="ja-JP"/>
          </a:p>
        </c:txPr>
        <c:crossAx val="743528616"/>
        <c:crosses val="autoZero"/>
        <c:crossBetween val="between"/>
      </c:valAx>
      <c:spPr>
        <a:noFill/>
        <a:ln w="12700">
          <a:solidFill>
            <a:sysClr val="windowText" lastClr="000000"/>
          </a:solidFill>
        </a:ln>
        <a:effectLst/>
      </c:spPr>
    </c:plotArea>
    <c:legend>
      <c:legendPos val="b"/>
      <c:layout>
        <c:manualLayout>
          <c:xMode val="edge"/>
          <c:yMode val="edge"/>
          <c:x val="0.21477413125021858"/>
          <c:y val="0.65674274674087707"/>
          <c:w val="0.18200636942675158"/>
          <c:h val="8.5401757528296318E-2"/>
        </c:manualLayout>
      </c:layout>
      <c:overlay val="0"/>
      <c:spPr>
        <a:solidFill>
          <a:srgbClr val="FFFFFF"/>
        </a:solidFill>
        <a:ln>
          <a:solidFill>
            <a:srgbClr val="000000"/>
          </a:solid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ＭＳ ゴシック" panose="020B0609070205080204" pitchFamily="49" charset="-128"/>
              <a:ea typeface="ＭＳ ゴシック" panose="020B0609070205080204" pitchFamily="49" charset="-128"/>
              <a:cs typeface="+mn-cs"/>
            </a:defRPr>
          </a:pPr>
          <a:endParaRPr lang="ja-JP"/>
        </a:p>
      </c:txPr>
    </c:legend>
    <c:plotVisOnly val="1"/>
    <c:dispBlanksAs val="zero"/>
    <c:showDLblsOverMax val="0"/>
  </c:chart>
  <c:spPr>
    <a:noFill/>
    <a:ln w="9525" cap="flat" cmpd="sng" algn="ctr">
      <a:noFill/>
      <a:round/>
    </a:ln>
    <a:effectLst/>
  </c:spPr>
  <c:txPr>
    <a:bodyPr/>
    <a:lstStyle/>
    <a:p>
      <a:pPr>
        <a:defRPr sz="1200">
          <a:latin typeface="ＭＳ ゴシック" panose="020B0609070205080204" pitchFamily="49" charset="-128"/>
          <a:ea typeface="ＭＳ ゴシック" panose="020B0609070205080204" pitchFamily="49" charset="-128"/>
        </a:defRPr>
      </a:pPr>
      <a:endParaRPr lang="ja-JP"/>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ja-JP" altLang="en-US" sz="1000" dirty="0"/>
              <a:t>山間地域のモデル集落（人口</a:t>
            </a:r>
            <a:r>
              <a:rPr lang="en-US" altLang="ja-JP" sz="1000" dirty="0"/>
              <a:t>1000</a:t>
            </a:r>
            <a:r>
              <a:rPr lang="ja-JP" altLang="en-US" sz="1000" dirty="0"/>
              <a:t>人）の将来推計人口</a:t>
            </a:r>
            <a:endParaRPr lang="en-US" altLang="ja-JP" sz="1000" dirty="0"/>
          </a:p>
          <a:p>
            <a:pPr>
              <a:defRPr/>
            </a:pPr>
            <a:r>
              <a:rPr lang="ja-JP" altLang="en-US" sz="1000" dirty="0"/>
              <a:t>（趨勢推計人口と移住人口を見込んだ推計人口）</a:t>
            </a:r>
          </a:p>
        </c:rich>
      </c:tx>
      <c:overlay val="0"/>
    </c:title>
    <c:autoTitleDeleted val="0"/>
    <c:plotArea>
      <c:layout>
        <c:manualLayout>
          <c:layoutTarget val="inner"/>
          <c:xMode val="edge"/>
          <c:yMode val="edge"/>
          <c:x val="9.2793744531933509E-2"/>
          <c:y val="0.14732965009208104"/>
          <c:w val="0.82663451443570068"/>
          <c:h val="0.54217253230086571"/>
        </c:manualLayout>
      </c:layout>
      <c:barChart>
        <c:barDir val="col"/>
        <c:grouping val="clustered"/>
        <c:varyColors val="0"/>
        <c:ser>
          <c:idx val="0"/>
          <c:order val="0"/>
          <c:tx>
            <c:strRef>
              <c:f>'グラフ(5人あり)'!$A$131</c:f>
              <c:strCache>
                <c:ptCount val="1"/>
                <c:pt idx="0">
                  <c:v>趨勢推計人口（左目盛り）</c:v>
                </c:pt>
              </c:strCache>
            </c:strRef>
          </c:tx>
          <c:spPr>
            <a:solidFill>
              <a:srgbClr val="FF9900"/>
            </a:solidFill>
          </c:spPr>
          <c:invertIfNegative val="0"/>
          <c:cat>
            <c:strRef>
              <c:f>'グラフ(5人あり)'!$B$130:$J$130</c:f>
              <c:strCache>
                <c:ptCount val="9"/>
                <c:pt idx="0">
                  <c:v>2010年</c:v>
                </c:pt>
                <c:pt idx="1">
                  <c:v>2015年</c:v>
                </c:pt>
                <c:pt idx="2">
                  <c:v>2020年</c:v>
                </c:pt>
                <c:pt idx="3">
                  <c:v>2025年</c:v>
                </c:pt>
                <c:pt idx="4">
                  <c:v>2030年</c:v>
                </c:pt>
                <c:pt idx="5">
                  <c:v>2035年</c:v>
                </c:pt>
                <c:pt idx="6">
                  <c:v>2040年</c:v>
                </c:pt>
                <c:pt idx="7">
                  <c:v>2045年</c:v>
                </c:pt>
                <c:pt idx="8">
                  <c:v>2050年</c:v>
                </c:pt>
              </c:strCache>
            </c:strRef>
          </c:cat>
          <c:val>
            <c:numRef>
              <c:f>'グラフ(5人あり)'!$B$131:$J$131</c:f>
              <c:numCache>
                <c:formatCode>0_);[Red]\(0\)</c:formatCode>
                <c:ptCount val="9"/>
                <c:pt idx="0">
                  <c:v>1000.0000000000001</c:v>
                </c:pt>
                <c:pt idx="1">
                  <c:v>902.33993816125826</c:v>
                </c:pt>
                <c:pt idx="2">
                  <c:v>802.24164357196753</c:v>
                </c:pt>
                <c:pt idx="3">
                  <c:v>705.14654276393799</c:v>
                </c:pt>
                <c:pt idx="4">
                  <c:v>613.80949243327723</c:v>
                </c:pt>
                <c:pt idx="5">
                  <c:v>528.47889383726954</c:v>
                </c:pt>
                <c:pt idx="6">
                  <c:v>448.69904930293632</c:v>
                </c:pt>
                <c:pt idx="7" formatCode="0_ ">
                  <c:v>370.66324977536232</c:v>
                </c:pt>
                <c:pt idx="8" formatCode="0_ ">
                  <c:v>308.87769677484948</c:v>
                </c:pt>
              </c:numCache>
            </c:numRef>
          </c:val>
          <c:extLst>
            <c:ext xmlns:c16="http://schemas.microsoft.com/office/drawing/2014/chart" uri="{C3380CC4-5D6E-409C-BE32-E72D297353CC}">
              <c16:uniqueId val="{00000000-1880-4786-808A-C2BA51CDB0D5}"/>
            </c:ext>
          </c:extLst>
        </c:ser>
        <c:ser>
          <c:idx val="1"/>
          <c:order val="1"/>
          <c:tx>
            <c:strRef>
              <c:f>'グラフ(5人あり)'!$A$132</c:f>
              <c:strCache>
                <c:ptCount val="1"/>
                <c:pt idx="0">
                  <c:v>移住（5人／年）見込み推計人口（左目盛り）</c:v>
                </c:pt>
              </c:strCache>
            </c:strRef>
          </c:tx>
          <c:spPr>
            <a:solidFill>
              <a:srgbClr val="CC00FF"/>
            </a:solidFill>
          </c:spPr>
          <c:invertIfNegative val="0"/>
          <c:cat>
            <c:strRef>
              <c:f>'グラフ(5人あり)'!$B$130:$J$130</c:f>
              <c:strCache>
                <c:ptCount val="9"/>
                <c:pt idx="0">
                  <c:v>2010年</c:v>
                </c:pt>
                <c:pt idx="1">
                  <c:v>2015年</c:v>
                </c:pt>
                <c:pt idx="2">
                  <c:v>2020年</c:v>
                </c:pt>
                <c:pt idx="3">
                  <c:v>2025年</c:v>
                </c:pt>
                <c:pt idx="4">
                  <c:v>2030年</c:v>
                </c:pt>
                <c:pt idx="5">
                  <c:v>2035年</c:v>
                </c:pt>
                <c:pt idx="6">
                  <c:v>2040年</c:v>
                </c:pt>
                <c:pt idx="7">
                  <c:v>2045年</c:v>
                </c:pt>
                <c:pt idx="8">
                  <c:v>2050年</c:v>
                </c:pt>
              </c:strCache>
            </c:strRef>
          </c:cat>
          <c:val>
            <c:numRef>
              <c:f>'グラフ(5人あり)'!$B$132:$J$132</c:f>
              <c:numCache>
                <c:formatCode>0_);[Red]\(0\)</c:formatCode>
                <c:ptCount val="9"/>
                <c:pt idx="0">
                  <c:v>1000</c:v>
                </c:pt>
                <c:pt idx="1">
                  <c:v>928.70030205055355</c:v>
                </c:pt>
                <c:pt idx="2">
                  <c:v>856.79313234079382</c:v>
                </c:pt>
                <c:pt idx="3">
                  <c:v>787.85725574866296</c:v>
                </c:pt>
                <c:pt idx="4">
                  <c:v>723.18192716130102</c:v>
                </c:pt>
                <c:pt idx="5">
                  <c:v>663.35059334026948</c:v>
                </c:pt>
                <c:pt idx="6">
                  <c:v>609.66391618154046</c:v>
                </c:pt>
                <c:pt idx="7" formatCode="0_ ">
                  <c:v>563.56848433819039</c:v>
                </c:pt>
                <c:pt idx="8" formatCode="0_ ">
                  <c:v>526.16081983211643</c:v>
                </c:pt>
              </c:numCache>
            </c:numRef>
          </c:val>
          <c:extLst>
            <c:ext xmlns:c16="http://schemas.microsoft.com/office/drawing/2014/chart" uri="{C3380CC4-5D6E-409C-BE32-E72D297353CC}">
              <c16:uniqueId val="{00000001-1880-4786-808A-C2BA51CDB0D5}"/>
            </c:ext>
          </c:extLst>
        </c:ser>
        <c:ser>
          <c:idx val="2"/>
          <c:order val="2"/>
          <c:tx>
            <c:strRef>
              <c:f>'グラフ(5人あり)'!$A$133</c:f>
              <c:strCache>
                <c:ptCount val="1"/>
                <c:pt idx="0">
                  <c:v>移住（10人／年）見込み推計人口（左目盛り）</c:v>
                </c:pt>
              </c:strCache>
            </c:strRef>
          </c:tx>
          <c:spPr>
            <a:solidFill>
              <a:srgbClr val="00B809"/>
            </a:solidFill>
            <a:ln w="0">
              <a:solidFill>
                <a:srgbClr val="0070C0"/>
              </a:solidFill>
            </a:ln>
          </c:spPr>
          <c:invertIfNegative val="0"/>
          <c:cat>
            <c:strRef>
              <c:f>'グラフ(5人あり)'!$B$130:$J$130</c:f>
              <c:strCache>
                <c:ptCount val="9"/>
                <c:pt idx="0">
                  <c:v>2010年</c:v>
                </c:pt>
                <c:pt idx="1">
                  <c:v>2015年</c:v>
                </c:pt>
                <c:pt idx="2">
                  <c:v>2020年</c:v>
                </c:pt>
                <c:pt idx="3">
                  <c:v>2025年</c:v>
                </c:pt>
                <c:pt idx="4">
                  <c:v>2030年</c:v>
                </c:pt>
                <c:pt idx="5">
                  <c:v>2035年</c:v>
                </c:pt>
                <c:pt idx="6">
                  <c:v>2040年</c:v>
                </c:pt>
                <c:pt idx="7">
                  <c:v>2045年</c:v>
                </c:pt>
                <c:pt idx="8">
                  <c:v>2050年</c:v>
                </c:pt>
              </c:strCache>
            </c:strRef>
          </c:cat>
          <c:val>
            <c:numRef>
              <c:f>'グラフ(5人あり)'!$B$133:$J$133</c:f>
              <c:numCache>
                <c:formatCode>0_);[Red]\(0\)</c:formatCode>
                <c:ptCount val="9"/>
                <c:pt idx="0">
                  <c:v>1000.0000000000001</c:v>
                </c:pt>
                <c:pt idx="1">
                  <c:v>959.75204691303111</c:v>
                </c:pt>
                <c:pt idx="2">
                  <c:v>919.31843467916474</c:v>
                </c:pt>
                <c:pt idx="3">
                  <c:v>881.93513623469562</c:v>
                </c:pt>
                <c:pt idx="4">
                  <c:v>846.86058417988284</c:v>
                </c:pt>
                <c:pt idx="5">
                  <c:v>813.98177318049329</c:v>
                </c:pt>
                <c:pt idx="6">
                  <c:v>785.06723200771796</c:v>
                </c:pt>
                <c:pt idx="7" formatCode="0_ ">
                  <c:v>756.47371890100851</c:v>
                </c:pt>
                <c:pt idx="8" formatCode="0_ ">
                  <c:v>743.44394288938338</c:v>
                </c:pt>
              </c:numCache>
            </c:numRef>
          </c:val>
          <c:extLst>
            <c:ext xmlns:c16="http://schemas.microsoft.com/office/drawing/2014/chart" uri="{C3380CC4-5D6E-409C-BE32-E72D297353CC}">
              <c16:uniqueId val="{00000002-1880-4786-808A-C2BA51CDB0D5}"/>
            </c:ext>
          </c:extLst>
        </c:ser>
        <c:dLbls>
          <c:showLegendKey val="0"/>
          <c:showVal val="0"/>
          <c:showCatName val="0"/>
          <c:showSerName val="0"/>
          <c:showPercent val="0"/>
          <c:showBubbleSize val="0"/>
        </c:dLbls>
        <c:gapWidth val="199"/>
        <c:axId val="297232072"/>
        <c:axId val="297232464"/>
      </c:barChart>
      <c:lineChart>
        <c:grouping val="standard"/>
        <c:varyColors val="0"/>
        <c:ser>
          <c:idx val="3"/>
          <c:order val="3"/>
          <c:tx>
            <c:strRef>
              <c:f>'グラフ(5人あり)'!$A$134</c:f>
              <c:strCache>
                <c:ptCount val="1"/>
                <c:pt idx="0">
                  <c:v>高齢化率（趨勢推計）（右目盛り）</c:v>
                </c:pt>
              </c:strCache>
            </c:strRef>
          </c:tx>
          <c:spPr>
            <a:ln w="25400">
              <a:solidFill>
                <a:srgbClr val="C00000"/>
              </a:solidFill>
            </a:ln>
          </c:spPr>
          <c:marker>
            <c:symbol val="circle"/>
            <c:size val="5"/>
            <c:spPr>
              <a:solidFill>
                <a:srgbClr val="C00000"/>
              </a:solidFill>
              <a:ln w="0"/>
            </c:spPr>
          </c:marker>
          <c:cat>
            <c:strRef>
              <c:f>'グラフ(5人あり)'!$B$130:$J$130</c:f>
              <c:strCache>
                <c:ptCount val="9"/>
                <c:pt idx="0">
                  <c:v>2010年</c:v>
                </c:pt>
                <c:pt idx="1">
                  <c:v>2015年</c:v>
                </c:pt>
                <c:pt idx="2">
                  <c:v>2020年</c:v>
                </c:pt>
                <c:pt idx="3">
                  <c:v>2025年</c:v>
                </c:pt>
                <c:pt idx="4">
                  <c:v>2030年</c:v>
                </c:pt>
                <c:pt idx="5">
                  <c:v>2035年</c:v>
                </c:pt>
                <c:pt idx="6">
                  <c:v>2040年</c:v>
                </c:pt>
                <c:pt idx="7">
                  <c:v>2045年</c:v>
                </c:pt>
                <c:pt idx="8">
                  <c:v>2050年</c:v>
                </c:pt>
              </c:strCache>
            </c:strRef>
          </c:cat>
          <c:val>
            <c:numRef>
              <c:f>'グラフ(5人あり)'!$B$134:$J$134</c:f>
              <c:numCache>
                <c:formatCode>0.0_ </c:formatCode>
                <c:ptCount val="9"/>
                <c:pt idx="0">
                  <c:v>34.854556193850826</c:v>
                </c:pt>
                <c:pt idx="1">
                  <c:v>39.34476186386177</c:v>
                </c:pt>
                <c:pt idx="2">
                  <c:v>43.385897565824209</c:v>
                </c:pt>
                <c:pt idx="3">
                  <c:v>46.285849430960454</c:v>
                </c:pt>
                <c:pt idx="4">
                  <c:v>48.352018009426821</c:v>
                </c:pt>
                <c:pt idx="5">
                  <c:v>49.920024368354355</c:v>
                </c:pt>
                <c:pt idx="6">
                  <c:v>52.197844746337893</c:v>
                </c:pt>
                <c:pt idx="7">
                  <c:v>53.391045715740894</c:v>
                </c:pt>
                <c:pt idx="8">
                  <c:v>54.878219822620366</c:v>
                </c:pt>
              </c:numCache>
            </c:numRef>
          </c:val>
          <c:smooth val="0"/>
          <c:extLst>
            <c:ext xmlns:c16="http://schemas.microsoft.com/office/drawing/2014/chart" uri="{C3380CC4-5D6E-409C-BE32-E72D297353CC}">
              <c16:uniqueId val="{00000003-1880-4786-808A-C2BA51CDB0D5}"/>
            </c:ext>
          </c:extLst>
        </c:ser>
        <c:ser>
          <c:idx val="4"/>
          <c:order val="4"/>
          <c:tx>
            <c:strRef>
              <c:f>'グラフ(5人あり)'!$A$135</c:f>
              <c:strCache>
                <c:ptCount val="1"/>
                <c:pt idx="0">
                  <c:v>高齢化率（移住（5人／年）見込）（右目盛り）</c:v>
                </c:pt>
              </c:strCache>
            </c:strRef>
          </c:tx>
          <c:spPr>
            <a:ln>
              <a:solidFill>
                <a:srgbClr val="9900CC"/>
              </a:solidFill>
            </a:ln>
          </c:spPr>
          <c:marker>
            <c:symbol val="circle"/>
            <c:size val="5"/>
            <c:spPr>
              <a:solidFill>
                <a:srgbClr val="9900CC"/>
              </a:solidFill>
              <a:ln>
                <a:solidFill>
                  <a:schemeClr val="tx1"/>
                </a:solidFill>
              </a:ln>
            </c:spPr>
          </c:marker>
          <c:cat>
            <c:strRef>
              <c:f>'グラフ(5人あり)'!$B$130:$J$130</c:f>
              <c:strCache>
                <c:ptCount val="9"/>
                <c:pt idx="0">
                  <c:v>2010年</c:v>
                </c:pt>
                <c:pt idx="1">
                  <c:v>2015年</c:v>
                </c:pt>
                <c:pt idx="2">
                  <c:v>2020年</c:v>
                </c:pt>
                <c:pt idx="3">
                  <c:v>2025年</c:v>
                </c:pt>
                <c:pt idx="4">
                  <c:v>2030年</c:v>
                </c:pt>
                <c:pt idx="5">
                  <c:v>2035年</c:v>
                </c:pt>
                <c:pt idx="6">
                  <c:v>2040年</c:v>
                </c:pt>
                <c:pt idx="7">
                  <c:v>2045年</c:v>
                </c:pt>
                <c:pt idx="8">
                  <c:v>2050年</c:v>
                </c:pt>
              </c:strCache>
            </c:strRef>
          </c:cat>
          <c:val>
            <c:numRef>
              <c:f>'グラフ(5人あり)'!$B$135:$J$135</c:f>
              <c:numCache>
                <c:formatCode>0.0_ </c:formatCode>
                <c:ptCount val="9"/>
                <c:pt idx="0">
                  <c:v>34.854556193850826</c:v>
                </c:pt>
                <c:pt idx="1">
                  <c:v>37.991971478998124</c:v>
                </c:pt>
                <c:pt idx="2">
                  <c:v>40.192510014935664</c:v>
                </c:pt>
                <c:pt idx="3">
                  <c:v>40.758418146627413</c:v>
                </c:pt>
                <c:pt idx="4">
                  <c:v>40.119684042881993</c:v>
                </c:pt>
                <c:pt idx="5">
                  <c:v>38.665404647224058</c:v>
                </c:pt>
                <c:pt idx="6">
                  <c:v>37.331264909367867</c:v>
                </c:pt>
                <c:pt idx="7">
                  <c:v>36.02197010316732</c:v>
                </c:pt>
                <c:pt idx="8">
                  <c:v>34.710131633187579</c:v>
                </c:pt>
              </c:numCache>
            </c:numRef>
          </c:val>
          <c:smooth val="0"/>
          <c:extLst>
            <c:ext xmlns:c16="http://schemas.microsoft.com/office/drawing/2014/chart" uri="{C3380CC4-5D6E-409C-BE32-E72D297353CC}">
              <c16:uniqueId val="{00000004-1880-4786-808A-C2BA51CDB0D5}"/>
            </c:ext>
          </c:extLst>
        </c:ser>
        <c:ser>
          <c:idx val="5"/>
          <c:order val="5"/>
          <c:tx>
            <c:strRef>
              <c:f>'グラフ(5人あり)'!$A$136</c:f>
              <c:strCache>
                <c:ptCount val="1"/>
                <c:pt idx="0">
                  <c:v>高齢化率（移住（10人／年）見込）（右目盛り）</c:v>
                </c:pt>
              </c:strCache>
            </c:strRef>
          </c:tx>
          <c:spPr>
            <a:ln>
              <a:solidFill>
                <a:srgbClr val="92D050"/>
              </a:solidFill>
            </a:ln>
          </c:spPr>
          <c:marker>
            <c:symbol val="circle"/>
            <c:size val="5"/>
            <c:spPr>
              <a:solidFill>
                <a:srgbClr val="92D050"/>
              </a:solidFill>
            </c:spPr>
          </c:marker>
          <c:cat>
            <c:strRef>
              <c:f>'グラフ(5人あり)'!$B$130:$J$130</c:f>
              <c:strCache>
                <c:ptCount val="9"/>
                <c:pt idx="0">
                  <c:v>2010年</c:v>
                </c:pt>
                <c:pt idx="1">
                  <c:v>2015年</c:v>
                </c:pt>
                <c:pt idx="2">
                  <c:v>2020年</c:v>
                </c:pt>
                <c:pt idx="3">
                  <c:v>2025年</c:v>
                </c:pt>
                <c:pt idx="4">
                  <c:v>2030年</c:v>
                </c:pt>
                <c:pt idx="5">
                  <c:v>2035年</c:v>
                </c:pt>
                <c:pt idx="6">
                  <c:v>2040年</c:v>
                </c:pt>
                <c:pt idx="7">
                  <c:v>2045年</c:v>
                </c:pt>
                <c:pt idx="8">
                  <c:v>2050年</c:v>
                </c:pt>
              </c:strCache>
            </c:strRef>
          </c:cat>
          <c:val>
            <c:numRef>
              <c:f>'グラフ(5人あり)'!$B$136:$J$136</c:f>
              <c:numCache>
                <c:formatCode>0.0_ </c:formatCode>
                <c:ptCount val="9"/>
                <c:pt idx="0">
                  <c:v>34.854556193850826</c:v>
                </c:pt>
                <c:pt idx="1">
                  <c:v>36.991168814276065</c:v>
                </c:pt>
                <c:pt idx="2">
                  <c:v>37.86062854619</c:v>
                </c:pt>
                <c:pt idx="3">
                  <c:v>37.007604487194378</c:v>
                </c:pt>
                <c:pt idx="4">
                  <c:v>35.045824763744591</c:v>
                </c:pt>
                <c:pt idx="5">
                  <c:v>32.410651107622755</c:v>
                </c:pt>
                <c:pt idx="6">
                  <c:v>29.83327078044924</c:v>
                </c:pt>
                <c:pt idx="7">
                  <c:v>27.511326770437087</c:v>
                </c:pt>
                <c:pt idx="8">
                  <c:v>26.330922026484391</c:v>
                </c:pt>
              </c:numCache>
            </c:numRef>
          </c:val>
          <c:smooth val="0"/>
          <c:extLst>
            <c:ext xmlns:c16="http://schemas.microsoft.com/office/drawing/2014/chart" uri="{C3380CC4-5D6E-409C-BE32-E72D297353CC}">
              <c16:uniqueId val="{00000005-1880-4786-808A-C2BA51CDB0D5}"/>
            </c:ext>
          </c:extLst>
        </c:ser>
        <c:dLbls>
          <c:showLegendKey val="0"/>
          <c:showVal val="0"/>
          <c:showCatName val="0"/>
          <c:showSerName val="0"/>
          <c:showPercent val="0"/>
          <c:showBubbleSize val="0"/>
        </c:dLbls>
        <c:marker val="1"/>
        <c:smooth val="0"/>
        <c:axId val="297233248"/>
        <c:axId val="297232856"/>
      </c:lineChart>
      <c:catAx>
        <c:axId val="297232072"/>
        <c:scaling>
          <c:orientation val="minMax"/>
        </c:scaling>
        <c:delete val="0"/>
        <c:axPos val="b"/>
        <c:numFmt formatCode="General" sourceLinked="0"/>
        <c:majorTickMark val="none"/>
        <c:minorTickMark val="none"/>
        <c:tickLblPos val="nextTo"/>
        <c:txPr>
          <a:bodyPr/>
          <a:lstStyle/>
          <a:p>
            <a:pPr>
              <a:defRPr sz="800" baseline="0"/>
            </a:pPr>
            <a:endParaRPr lang="ja-JP"/>
          </a:p>
        </c:txPr>
        <c:crossAx val="297232464"/>
        <c:crosses val="autoZero"/>
        <c:auto val="1"/>
        <c:lblAlgn val="ctr"/>
        <c:lblOffset val="100"/>
        <c:noMultiLvlLbl val="0"/>
      </c:catAx>
      <c:valAx>
        <c:axId val="297232464"/>
        <c:scaling>
          <c:orientation val="minMax"/>
          <c:max val="1200"/>
        </c:scaling>
        <c:delete val="0"/>
        <c:axPos val="l"/>
        <c:majorGridlines/>
        <c:numFmt formatCode="0_);[Red]\(0\)" sourceLinked="1"/>
        <c:majorTickMark val="none"/>
        <c:minorTickMark val="none"/>
        <c:tickLblPos val="nextTo"/>
        <c:spPr>
          <a:ln w="9525">
            <a:noFill/>
          </a:ln>
        </c:spPr>
        <c:txPr>
          <a:bodyPr/>
          <a:lstStyle/>
          <a:p>
            <a:pPr>
              <a:defRPr sz="800" baseline="0"/>
            </a:pPr>
            <a:endParaRPr lang="ja-JP"/>
          </a:p>
        </c:txPr>
        <c:crossAx val="297232072"/>
        <c:crosses val="autoZero"/>
        <c:crossBetween val="between"/>
        <c:majorUnit val="200"/>
      </c:valAx>
      <c:valAx>
        <c:axId val="297232856"/>
        <c:scaling>
          <c:orientation val="minMax"/>
          <c:max val="60"/>
        </c:scaling>
        <c:delete val="0"/>
        <c:axPos val="r"/>
        <c:numFmt formatCode="#,##0_);\(#,##0\)" sourceLinked="0"/>
        <c:majorTickMark val="out"/>
        <c:minorTickMark val="none"/>
        <c:tickLblPos val="nextTo"/>
        <c:crossAx val="297233248"/>
        <c:crosses val="max"/>
        <c:crossBetween val="between"/>
        <c:majorUnit val="10"/>
      </c:valAx>
      <c:catAx>
        <c:axId val="297233248"/>
        <c:scaling>
          <c:orientation val="minMax"/>
        </c:scaling>
        <c:delete val="1"/>
        <c:axPos val="b"/>
        <c:numFmt formatCode="General" sourceLinked="1"/>
        <c:majorTickMark val="out"/>
        <c:minorTickMark val="none"/>
        <c:tickLblPos val="none"/>
        <c:crossAx val="297232856"/>
        <c:crosses val="autoZero"/>
        <c:auto val="1"/>
        <c:lblAlgn val="ctr"/>
        <c:lblOffset val="100"/>
        <c:noMultiLvlLbl val="0"/>
      </c:catAx>
    </c:plotArea>
    <c:legend>
      <c:legendPos val="b"/>
      <c:layout>
        <c:manualLayout>
          <c:xMode val="edge"/>
          <c:yMode val="edge"/>
          <c:x val="0.17656933508311598"/>
          <c:y val="0.7695265439886313"/>
          <c:w val="0.64408333333333834"/>
          <c:h val="0.2231069735067647"/>
        </c:manualLayout>
      </c:layout>
      <c:overlay val="0"/>
      <c:txPr>
        <a:bodyPr/>
        <a:lstStyle/>
        <a:p>
          <a:pPr>
            <a:defRPr sz="800" baseline="0"/>
          </a:pPr>
          <a:endParaRPr lang="ja-JP"/>
        </a:p>
      </c:txPr>
    </c:legend>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ja-JP" altLang="en-US" sz="1100" baseline="0"/>
              <a:t>小中学生人口の推計</a:t>
            </a:r>
          </a:p>
        </c:rich>
      </c:tx>
      <c:overlay val="0"/>
    </c:title>
    <c:autoTitleDeleted val="0"/>
    <c:plotArea>
      <c:layout/>
      <c:barChart>
        <c:barDir val="col"/>
        <c:grouping val="clustered"/>
        <c:varyColors val="0"/>
        <c:ser>
          <c:idx val="0"/>
          <c:order val="0"/>
          <c:tx>
            <c:strRef>
              <c:f>'グラフ(5人あり)'!$A$166</c:f>
              <c:strCache>
                <c:ptCount val="1"/>
                <c:pt idx="0">
                  <c:v>趨勢推計の場合</c:v>
                </c:pt>
              </c:strCache>
            </c:strRef>
          </c:tx>
          <c:spPr>
            <a:solidFill>
              <a:srgbClr val="FF9900"/>
            </a:solidFill>
          </c:spPr>
          <c:invertIfNegative val="0"/>
          <c:cat>
            <c:strRef>
              <c:f>'グラフ(5人あり)'!$B$165:$J$165</c:f>
              <c:strCache>
                <c:ptCount val="9"/>
                <c:pt idx="0">
                  <c:v>2010年</c:v>
                </c:pt>
                <c:pt idx="1">
                  <c:v>2015年</c:v>
                </c:pt>
                <c:pt idx="2">
                  <c:v>2020年</c:v>
                </c:pt>
                <c:pt idx="3">
                  <c:v>2025年</c:v>
                </c:pt>
                <c:pt idx="4">
                  <c:v>2030年</c:v>
                </c:pt>
                <c:pt idx="5">
                  <c:v>2035年</c:v>
                </c:pt>
                <c:pt idx="6">
                  <c:v>2040年</c:v>
                </c:pt>
                <c:pt idx="7">
                  <c:v>2045年</c:v>
                </c:pt>
                <c:pt idx="8">
                  <c:v>2050年</c:v>
                </c:pt>
              </c:strCache>
            </c:strRef>
          </c:cat>
          <c:val>
            <c:numRef>
              <c:f>'グラフ(5人あり)'!$B$166:$J$166</c:f>
              <c:numCache>
                <c:formatCode>0_);[Red]\(0\)</c:formatCode>
                <c:ptCount val="9"/>
                <c:pt idx="0">
                  <c:v>70.826296455929281</c:v>
                </c:pt>
                <c:pt idx="1">
                  <c:v>57.488478661741944</c:v>
                </c:pt>
                <c:pt idx="2">
                  <c:v>46.459589131701975</c:v>
                </c:pt>
                <c:pt idx="3">
                  <c:v>37.396020826920243</c:v>
                </c:pt>
                <c:pt idx="4">
                  <c:v>30.163728696938289</c:v>
                </c:pt>
                <c:pt idx="5">
                  <c:v>24.405461580232089</c:v>
                </c:pt>
                <c:pt idx="6">
                  <c:v>19.803814383031185</c:v>
                </c:pt>
                <c:pt idx="7" formatCode="0_ ">
                  <c:v>16.021750286534189</c:v>
                </c:pt>
                <c:pt idx="8" formatCode="0_ ">
                  <c:v>12.917907767547899</c:v>
                </c:pt>
              </c:numCache>
            </c:numRef>
          </c:val>
          <c:extLst>
            <c:ext xmlns:c16="http://schemas.microsoft.com/office/drawing/2014/chart" uri="{C3380CC4-5D6E-409C-BE32-E72D297353CC}">
              <c16:uniqueId val="{00000000-F360-463D-99AF-AE6A2D7D7F35}"/>
            </c:ext>
          </c:extLst>
        </c:ser>
        <c:ser>
          <c:idx val="1"/>
          <c:order val="1"/>
          <c:tx>
            <c:strRef>
              <c:f>'グラフ(5人あり)'!$A$167</c:f>
              <c:strCache>
                <c:ptCount val="1"/>
                <c:pt idx="0">
                  <c:v>移住（5人／年）見込み</c:v>
                </c:pt>
              </c:strCache>
            </c:strRef>
          </c:tx>
          <c:spPr>
            <a:solidFill>
              <a:srgbClr val="CC00FF"/>
            </a:solidFill>
          </c:spPr>
          <c:invertIfNegative val="0"/>
          <c:cat>
            <c:strRef>
              <c:f>'グラフ(5人あり)'!$B$165:$J$165</c:f>
              <c:strCache>
                <c:ptCount val="9"/>
                <c:pt idx="0">
                  <c:v>2010年</c:v>
                </c:pt>
                <c:pt idx="1">
                  <c:v>2015年</c:v>
                </c:pt>
                <c:pt idx="2">
                  <c:v>2020年</c:v>
                </c:pt>
                <c:pt idx="3">
                  <c:v>2025年</c:v>
                </c:pt>
                <c:pt idx="4">
                  <c:v>2030年</c:v>
                </c:pt>
                <c:pt idx="5">
                  <c:v>2035年</c:v>
                </c:pt>
                <c:pt idx="6">
                  <c:v>2040年</c:v>
                </c:pt>
                <c:pt idx="7">
                  <c:v>2045年</c:v>
                </c:pt>
                <c:pt idx="8">
                  <c:v>2050年</c:v>
                </c:pt>
              </c:strCache>
            </c:strRef>
          </c:cat>
          <c:val>
            <c:numRef>
              <c:f>'グラフ(5人あり)'!$B$167:$J$167</c:f>
              <c:numCache>
                <c:formatCode>0_);[Red]\(0\)</c:formatCode>
                <c:ptCount val="9"/>
                <c:pt idx="0">
                  <c:v>70.826296455929281</c:v>
                </c:pt>
                <c:pt idx="1">
                  <c:v>59.588478661741945</c:v>
                </c:pt>
                <c:pt idx="2">
                  <c:v>55.420281210079118</c:v>
                </c:pt>
                <c:pt idx="3">
                  <c:v>53.719014944306473</c:v>
                </c:pt>
                <c:pt idx="4">
                  <c:v>50.309291692444795</c:v>
                </c:pt>
                <c:pt idx="5">
                  <c:v>46.846001523939947</c:v>
                </c:pt>
                <c:pt idx="6">
                  <c:v>43.70975896544828</c:v>
                </c:pt>
                <c:pt idx="7" formatCode="0_ ">
                  <c:v>41.331825920606114</c:v>
                </c:pt>
                <c:pt idx="8" formatCode="0_ ">
                  <c:v>39.803973402357897</c:v>
                </c:pt>
              </c:numCache>
            </c:numRef>
          </c:val>
          <c:extLst>
            <c:ext xmlns:c16="http://schemas.microsoft.com/office/drawing/2014/chart" uri="{C3380CC4-5D6E-409C-BE32-E72D297353CC}">
              <c16:uniqueId val="{00000001-F360-463D-99AF-AE6A2D7D7F35}"/>
            </c:ext>
          </c:extLst>
        </c:ser>
        <c:ser>
          <c:idx val="2"/>
          <c:order val="2"/>
          <c:tx>
            <c:strRef>
              <c:f>'グラフ(5人あり)'!$A$168</c:f>
              <c:strCache>
                <c:ptCount val="1"/>
                <c:pt idx="0">
                  <c:v>移住（10人／年）見込み</c:v>
                </c:pt>
              </c:strCache>
            </c:strRef>
          </c:tx>
          <c:spPr>
            <a:solidFill>
              <a:srgbClr val="00B809"/>
            </a:solidFill>
          </c:spPr>
          <c:invertIfNegative val="0"/>
          <c:cat>
            <c:strRef>
              <c:f>'グラフ(5人あり)'!$B$165:$J$165</c:f>
              <c:strCache>
                <c:ptCount val="9"/>
                <c:pt idx="0">
                  <c:v>2010年</c:v>
                </c:pt>
                <c:pt idx="1">
                  <c:v>2015年</c:v>
                </c:pt>
                <c:pt idx="2">
                  <c:v>2020年</c:v>
                </c:pt>
                <c:pt idx="3">
                  <c:v>2025年</c:v>
                </c:pt>
                <c:pt idx="4">
                  <c:v>2030年</c:v>
                </c:pt>
                <c:pt idx="5">
                  <c:v>2035年</c:v>
                </c:pt>
                <c:pt idx="6">
                  <c:v>2040年</c:v>
                </c:pt>
                <c:pt idx="7">
                  <c:v>2045年</c:v>
                </c:pt>
                <c:pt idx="8">
                  <c:v>2050年</c:v>
                </c:pt>
              </c:strCache>
            </c:strRef>
          </c:cat>
          <c:val>
            <c:numRef>
              <c:f>'グラフ(5人あり)'!$B$168:$J$168</c:f>
              <c:numCache>
                <c:formatCode>0_);[Red]\(0\)</c:formatCode>
                <c:ptCount val="9"/>
                <c:pt idx="0">
                  <c:v>70.826296455929281</c:v>
                </c:pt>
                <c:pt idx="1">
                  <c:v>61.688478661741975</c:v>
                </c:pt>
                <c:pt idx="2">
                  <c:v>64.380973288456019</c:v>
                </c:pt>
                <c:pt idx="3">
                  <c:v>70.042009061693022</c:v>
                </c:pt>
                <c:pt idx="4">
                  <c:v>70.454854687951297</c:v>
                </c:pt>
                <c:pt idx="5">
                  <c:v>69.286541467647695</c:v>
                </c:pt>
                <c:pt idx="6">
                  <c:v>67.61570354786538</c:v>
                </c:pt>
                <c:pt idx="7" formatCode="0_ ">
                  <c:v>66.64190155467864</c:v>
                </c:pt>
                <c:pt idx="8" formatCode="0_ ">
                  <c:v>66.690039037167878</c:v>
                </c:pt>
              </c:numCache>
            </c:numRef>
          </c:val>
          <c:extLst>
            <c:ext xmlns:c16="http://schemas.microsoft.com/office/drawing/2014/chart" uri="{C3380CC4-5D6E-409C-BE32-E72D297353CC}">
              <c16:uniqueId val="{00000002-F360-463D-99AF-AE6A2D7D7F35}"/>
            </c:ext>
          </c:extLst>
        </c:ser>
        <c:dLbls>
          <c:showLegendKey val="0"/>
          <c:showVal val="0"/>
          <c:showCatName val="0"/>
          <c:showSerName val="0"/>
          <c:showPercent val="0"/>
          <c:showBubbleSize val="0"/>
        </c:dLbls>
        <c:gapWidth val="150"/>
        <c:axId val="297234032"/>
        <c:axId val="297234424"/>
      </c:barChart>
      <c:catAx>
        <c:axId val="297234032"/>
        <c:scaling>
          <c:orientation val="minMax"/>
        </c:scaling>
        <c:delete val="0"/>
        <c:axPos val="b"/>
        <c:numFmt formatCode="General" sourceLinked="0"/>
        <c:majorTickMark val="none"/>
        <c:minorTickMark val="none"/>
        <c:tickLblPos val="nextTo"/>
        <c:txPr>
          <a:bodyPr/>
          <a:lstStyle/>
          <a:p>
            <a:pPr>
              <a:defRPr sz="800" baseline="0"/>
            </a:pPr>
            <a:endParaRPr lang="ja-JP"/>
          </a:p>
        </c:txPr>
        <c:crossAx val="297234424"/>
        <c:crosses val="autoZero"/>
        <c:auto val="1"/>
        <c:lblAlgn val="ctr"/>
        <c:lblOffset val="100"/>
        <c:noMultiLvlLbl val="0"/>
      </c:catAx>
      <c:valAx>
        <c:axId val="297234424"/>
        <c:scaling>
          <c:orientation val="minMax"/>
        </c:scaling>
        <c:delete val="0"/>
        <c:axPos val="l"/>
        <c:majorGridlines/>
        <c:numFmt formatCode="0_);[Red]\(0\)" sourceLinked="1"/>
        <c:majorTickMark val="none"/>
        <c:minorTickMark val="none"/>
        <c:tickLblPos val="nextTo"/>
        <c:spPr>
          <a:ln w="9525">
            <a:noFill/>
          </a:ln>
        </c:spPr>
        <c:txPr>
          <a:bodyPr/>
          <a:lstStyle/>
          <a:p>
            <a:pPr>
              <a:defRPr sz="800" baseline="0"/>
            </a:pPr>
            <a:endParaRPr lang="ja-JP"/>
          </a:p>
        </c:txPr>
        <c:crossAx val="297234032"/>
        <c:crosses val="autoZero"/>
        <c:crossBetween val="between"/>
      </c:valAx>
    </c:plotArea>
    <c:legend>
      <c:legendPos val="b"/>
      <c:overlay val="0"/>
      <c:txPr>
        <a:bodyPr/>
        <a:lstStyle/>
        <a:p>
          <a:pPr>
            <a:defRPr sz="800" baseline="0"/>
          </a:pPr>
          <a:endParaRPr lang="ja-JP"/>
        </a:p>
      </c:txPr>
    </c:legend>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3618354637639925E-2"/>
          <c:y val="5.0537571028044126E-2"/>
          <c:w val="0.94748246674953884"/>
          <c:h val="0.85962194812885384"/>
        </c:manualLayout>
      </c:layout>
      <c:lineChart>
        <c:grouping val="standard"/>
        <c:varyColors val="0"/>
        <c:ser>
          <c:idx val="0"/>
          <c:order val="0"/>
          <c:tx>
            <c:v>男性</c:v>
          </c:tx>
          <c:spPr>
            <a:ln w="50800" cap="rnd">
              <a:solidFill>
                <a:srgbClr val="5B9BD5">
                  <a:lumMod val="50000"/>
                </a:srgbClr>
              </a:solidFill>
              <a:round/>
            </a:ln>
            <a:effectLst/>
          </c:spPr>
          <c:marker>
            <c:symbol val="none"/>
          </c:marker>
          <c:dLbls>
            <c:dLbl>
              <c:idx val="8"/>
              <c:layout>
                <c:manualLayout>
                  <c:x val="-3.4409926024651045E-2"/>
                  <c:y val="0.1358166060081667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3ED-42CD-B098-26FEA461FB1F}"/>
                </c:ext>
              </c:extLst>
            </c:dLbl>
            <c:numFmt formatCode="#,##0.0_);[Red]\(#,##0.0\)" sourceLinked="0"/>
            <c:spPr>
              <a:noFill/>
              <a:ln>
                <a:noFill/>
              </a:ln>
              <a:effectLst/>
            </c:spPr>
            <c:txPr>
              <a:bodyPr rot="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ja-JP"/>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集計!$B$57:$B$68</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集計!$C$57:$C$68</c:f>
              <c:numCache>
                <c:formatCode>#,##0</c:formatCode>
                <c:ptCount val="12"/>
                <c:pt idx="0">
                  <c:v>24843</c:v>
                </c:pt>
                <c:pt idx="1">
                  <c:v>26940</c:v>
                </c:pt>
                <c:pt idx="2">
                  <c:v>42208</c:v>
                </c:pt>
                <c:pt idx="3">
                  <c:v>49057</c:v>
                </c:pt>
                <c:pt idx="4">
                  <c:v>52319</c:v>
                </c:pt>
                <c:pt idx="5">
                  <c:v>50962</c:v>
                </c:pt>
                <c:pt idx="6">
                  <c:v>51404</c:v>
                </c:pt>
                <c:pt idx="7">
                  <c:v>57841</c:v>
                </c:pt>
                <c:pt idx="8">
                  <c:v>63651</c:v>
                </c:pt>
                <c:pt idx="9" formatCode="#,##0_);[Red]\(#,##0\)">
                  <c:v>41753</c:v>
                </c:pt>
                <c:pt idx="10" formatCode="#,##0_);[Red]\(#,##0\)">
                  <c:v>34176</c:v>
                </c:pt>
                <c:pt idx="11" formatCode="#,##0_);[Red]\(#,##0\)">
                  <c:v>40663</c:v>
                </c:pt>
              </c:numCache>
            </c:numRef>
          </c:val>
          <c:smooth val="0"/>
          <c:extLst>
            <c:ext xmlns:c16="http://schemas.microsoft.com/office/drawing/2014/chart" uri="{C3380CC4-5D6E-409C-BE32-E72D297353CC}">
              <c16:uniqueId val="{00000001-53ED-42CD-B098-26FEA461FB1F}"/>
            </c:ext>
          </c:extLst>
        </c:ser>
        <c:ser>
          <c:idx val="1"/>
          <c:order val="1"/>
          <c:tx>
            <c:v>女性</c:v>
          </c:tx>
          <c:spPr>
            <a:ln w="50800" cap="rnd">
              <a:solidFill>
                <a:srgbClr val="FF0000"/>
              </a:solidFill>
              <a:round/>
            </a:ln>
            <a:effectLst/>
          </c:spPr>
          <c:marker>
            <c:symbol val="none"/>
          </c:marker>
          <c:dLbls>
            <c:dLbl>
              <c:idx val="8"/>
              <c:layout>
                <c:manualLayout>
                  <c:x val="-4.7691785516725725E-2"/>
                  <c:y val="-5.06631156114017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3ED-42CD-B098-26FEA461FB1F}"/>
                </c:ext>
              </c:extLst>
            </c:dLbl>
            <c:dLbl>
              <c:idx val="9"/>
              <c:layout>
                <c:manualLayout>
                  <c:x val="-2.2445140938387689E-2"/>
                  <c:y val="-7.45417202589142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3ED-42CD-B098-26FEA461FB1F}"/>
                </c:ext>
              </c:extLst>
            </c:dLbl>
            <c:numFmt formatCode="#,##0.0_);[Red]\(#,##0.0\)" sourceLinked="0"/>
            <c:spPr>
              <a:noFill/>
              <a:ln>
                <a:noFill/>
              </a:ln>
              <a:effectLst/>
            </c:spPr>
            <c:txPr>
              <a:bodyPr rot="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集計!$B$57:$B$68</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集計!$D$57:$D$68</c:f>
              <c:numCache>
                <c:formatCode>#,##0</c:formatCode>
                <c:ptCount val="12"/>
                <c:pt idx="0">
                  <c:v>37966</c:v>
                </c:pt>
                <c:pt idx="1">
                  <c:v>40269</c:v>
                </c:pt>
                <c:pt idx="2">
                  <c:v>54316</c:v>
                </c:pt>
                <c:pt idx="3">
                  <c:v>60351</c:v>
                </c:pt>
                <c:pt idx="4">
                  <c:v>67038</c:v>
                </c:pt>
                <c:pt idx="5">
                  <c:v>66906</c:v>
                </c:pt>
                <c:pt idx="6">
                  <c:v>68375</c:v>
                </c:pt>
                <c:pt idx="7">
                  <c:v>77759</c:v>
                </c:pt>
                <c:pt idx="8">
                  <c:v>81925</c:v>
                </c:pt>
                <c:pt idx="9" formatCode="#,##0_);[Red]\(#,##0\)">
                  <c:v>56252</c:v>
                </c:pt>
                <c:pt idx="10" formatCode="#,##0_);[Red]\(#,##0\)">
                  <c:v>46265</c:v>
                </c:pt>
                <c:pt idx="11" formatCode="#,##0_);[Red]\(#,##0\)">
                  <c:v>53748</c:v>
                </c:pt>
              </c:numCache>
            </c:numRef>
          </c:val>
          <c:smooth val="0"/>
          <c:extLst>
            <c:ext xmlns:c16="http://schemas.microsoft.com/office/drawing/2014/chart" uri="{C3380CC4-5D6E-409C-BE32-E72D297353CC}">
              <c16:uniqueId val="{00000004-53ED-42CD-B098-26FEA461FB1F}"/>
            </c:ext>
          </c:extLst>
        </c:ser>
        <c:dLbls>
          <c:showLegendKey val="0"/>
          <c:showVal val="0"/>
          <c:showCatName val="0"/>
          <c:showSerName val="0"/>
          <c:showPercent val="0"/>
          <c:showBubbleSize val="0"/>
        </c:dLbls>
        <c:smooth val="0"/>
        <c:axId val="479515144"/>
        <c:axId val="479515472"/>
      </c:lineChart>
      <c:catAx>
        <c:axId val="479515144"/>
        <c:scaling>
          <c:orientation val="minMax"/>
        </c:scaling>
        <c:delete val="0"/>
        <c:axPos val="b"/>
        <c:numFmt formatCode="General" sourceLinked="1"/>
        <c:majorTickMark val="out"/>
        <c:minorTickMark val="none"/>
        <c:tickLblPos val="low"/>
        <c:spPr>
          <a:noFill/>
          <a:ln w="9525" cap="flat" cmpd="sng" algn="ctr">
            <a:solidFill>
              <a:srgbClr val="E7E6E6">
                <a:lumMod val="75000"/>
              </a:srgbClr>
            </a:solidFill>
            <a:round/>
          </a:ln>
          <a:effectLst/>
        </c:spPr>
        <c:txPr>
          <a:bodyPr rot="-2700000" spcFirstLastPara="1" vertOverflow="ellipsis" wrap="square" anchor="ctr" anchorCtr="1"/>
          <a:lstStyle/>
          <a:p>
            <a:pPr>
              <a:defRPr sz="900" b="0" i="0" u="none" strike="noStrike" kern="1200" baseline="0">
                <a:solidFill>
                  <a:srgbClr val="000000"/>
                </a:solidFill>
                <a:latin typeface="+mn-lt"/>
                <a:ea typeface="+mn-ea"/>
                <a:cs typeface="+mn-cs"/>
              </a:defRPr>
            </a:pPr>
            <a:endParaRPr lang="ja-JP"/>
          </a:p>
        </c:txPr>
        <c:crossAx val="479515472"/>
        <c:crossesAt val="-50000"/>
        <c:auto val="1"/>
        <c:lblAlgn val="ctr"/>
        <c:lblOffset val="100"/>
        <c:noMultiLvlLbl val="0"/>
      </c:catAx>
      <c:valAx>
        <c:axId val="479515472"/>
        <c:scaling>
          <c:orientation val="minMax"/>
          <c:min val="10000"/>
        </c:scaling>
        <c:delete val="0"/>
        <c:axPos val="l"/>
        <c:majorGridlines>
          <c:spPr>
            <a:ln w="9525" cap="flat" cmpd="sng" algn="ctr">
              <a:solidFill>
                <a:srgbClr val="E7E6E6">
                  <a:lumMod val="75000"/>
                </a:srgb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ja-JP"/>
          </a:p>
        </c:txPr>
        <c:crossAx val="479515144"/>
        <c:crosses val="autoZero"/>
        <c:crossBetween val="between"/>
        <c:dispUnits>
          <c:builtInUnit val="tenThousands"/>
        </c:dispUnits>
      </c:valAx>
      <c:spPr>
        <a:noFill/>
        <a:ln w="9525">
          <a:solidFill>
            <a:srgbClr val="000000"/>
          </a:solidFill>
        </a:ln>
        <a:effectLst/>
      </c:spPr>
    </c:plotArea>
    <c:legend>
      <c:legendPos val="r"/>
      <c:layout>
        <c:manualLayout>
          <c:xMode val="edge"/>
          <c:yMode val="edge"/>
          <c:x val="0.39188522458606945"/>
          <c:y val="0.55531663844156709"/>
          <c:w val="0.16126800673960587"/>
          <c:h val="0.22978286776661463"/>
        </c:manualLayout>
      </c:layout>
      <c:overlay val="0"/>
      <c:spPr>
        <a:solidFill>
          <a:srgbClr val="FFFFFF"/>
        </a:solidFill>
        <a:ln>
          <a:solidFill>
            <a:srgbClr val="000000"/>
          </a:solidFill>
        </a:ln>
        <a:effectLst/>
      </c:spPr>
      <c:txPr>
        <a:bodyPr rot="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2700" cap="flat" cmpd="sng" algn="ctr">
      <a:noFill/>
      <a:prstDash val="solid"/>
      <a:miter lim="800000"/>
    </a:ln>
    <a:effectLst/>
  </c:spPr>
  <c:txPr>
    <a:bodyPr/>
    <a:lstStyle/>
    <a:p>
      <a:pPr>
        <a:defRPr>
          <a:solidFill>
            <a:srgbClr val="000000"/>
          </a:solidFill>
          <a:latin typeface="+mn-lt"/>
          <a:ea typeface="+mn-ea"/>
          <a:cs typeface="+mn-cs"/>
        </a:defRPr>
      </a:pPr>
      <a:endParaRPr lang="ja-JP"/>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9426</cdr:x>
      <cdr:y>0.36022</cdr:y>
    </cdr:from>
    <cdr:to>
      <cdr:x>0.59426</cdr:x>
      <cdr:y>0.81878</cdr:y>
    </cdr:to>
    <cdr:cxnSp macro="">
      <cdr:nvCxnSpPr>
        <cdr:cNvPr id="3" name="直線矢印コネクタ 2">
          <a:extLst xmlns:a="http://schemas.openxmlformats.org/drawingml/2006/main">
            <a:ext uri="{FF2B5EF4-FFF2-40B4-BE49-F238E27FC236}">
              <a16:creationId xmlns:a16="http://schemas.microsoft.com/office/drawing/2014/main" id="{AB0EDA00-1A18-24E2-46C5-9158866071A7}"/>
            </a:ext>
          </a:extLst>
        </cdr:cNvPr>
        <cdr:cNvCxnSpPr/>
      </cdr:nvCxnSpPr>
      <cdr:spPr>
        <a:xfrm xmlns:a="http://schemas.openxmlformats.org/drawingml/2006/main" flipV="1">
          <a:off x="3798494" y="1403335"/>
          <a:ext cx="0" cy="1786424"/>
        </a:xfrm>
        <a:prstGeom xmlns:a="http://schemas.openxmlformats.org/drawingml/2006/main" prst="straightConnector1">
          <a:avLst/>
        </a:prstGeom>
        <a:ln xmlns:a="http://schemas.openxmlformats.org/drawingml/2006/main" w="28575">
          <a:headEnd type="arrow" w="med" len="med"/>
          <a:tailEnd type="arrow"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9426</cdr:x>
      <cdr:y>0.30757</cdr:y>
    </cdr:from>
    <cdr:to>
      <cdr:x>0.59426</cdr:x>
      <cdr:y>0.35683</cdr:y>
    </cdr:to>
    <cdr:cxnSp macro="">
      <cdr:nvCxnSpPr>
        <cdr:cNvPr id="7" name="直線矢印コネクタ 6">
          <a:extLst xmlns:a="http://schemas.openxmlformats.org/drawingml/2006/main">
            <a:ext uri="{FF2B5EF4-FFF2-40B4-BE49-F238E27FC236}">
              <a16:creationId xmlns:a16="http://schemas.microsoft.com/office/drawing/2014/main" id="{6014A91F-B0EB-14F7-D105-6F8BC6B6CFC2}"/>
            </a:ext>
          </a:extLst>
        </cdr:cNvPr>
        <cdr:cNvCxnSpPr/>
      </cdr:nvCxnSpPr>
      <cdr:spPr>
        <a:xfrm xmlns:a="http://schemas.openxmlformats.org/drawingml/2006/main">
          <a:off x="3798494" y="1198227"/>
          <a:ext cx="0" cy="191875"/>
        </a:xfrm>
        <a:prstGeom xmlns:a="http://schemas.openxmlformats.org/drawingml/2006/main" prst="straightConnector1">
          <a:avLst/>
        </a:prstGeom>
        <a:ln xmlns:a="http://schemas.openxmlformats.org/drawingml/2006/main">
          <a:solidFill>
            <a:srgbClr val="FF0000"/>
          </a:solidFill>
          <a:headEnd type="arrow" w="med" len="med"/>
          <a:tailEnd type="arrow"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0921</cdr:x>
      <cdr:y>0.41824</cdr:y>
    </cdr:from>
    <cdr:to>
      <cdr:x>0.27122</cdr:x>
      <cdr:y>0.50685</cdr:y>
    </cdr:to>
    <cdr:sp macro="" textlink="">
      <cdr:nvSpPr>
        <cdr:cNvPr id="9" name="テキスト ボックス 49"/>
        <cdr:cNvSpPr txBox="1"/>
      </cdr:nvSpPr>
      <cdr:spPr>
        <a:xfrm xmlns:a="http://schemas.openxmlformats.org/drawingml/2006/main">
          <a:off x="996281" y="2469563"/>
          <a:ext cx="1477956" cy="523220"/>
        </a:xfrm>
        <a:prstGeom xmlns:a="http://schemas.openxmlformats.org/drawingml/2006/main" prst="rect">
          <a:avLst/>
        </a:prstGeom>
        <a:solidFill xmlns:a="http://schemas.openxmlformats.org/drawingml/2006/main">
          <a:schemeClr val="bg1"/>
        </a:solidFill>
        <a:ln xmlns:a="http://schemas.openxmlformats.org/drawingml/2006/main">
          <a:solidFill>
            <a:srgbClr val="0070C0"/>
          </a:solidFill>
        </a:ln>
      </cdr:spPr>
      <cdr:txBody>
        <a:bodyPr xmlns:a="http://schemas.openxmlformats.org/drawingml/2006/main" wrap="square" rtlCol="0">
          <a:spAutoFit/>
        </a:bodyPr>
        <a:lstStyle xmlns:a="http://schemas.openxmlformats.org/drawingml/2006/main">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78908" algn="l" rtl="0" fontAlgn="base">
            <a:spcBef>
              <a:spcPct val="0"/>
            </a:spcBef>
            <a:spcAft>
              <a:spcPct val="0"/>
            </a:spcAft>
            <a:defRPr kumimoji="1" kern="1200">
              <a:solidFill>
                <a:schemeClr val="tx1"/>
              </a:solidFill>
              <a:latin typeface="Arial" charset="0"/>
              <a:ea typeface="ＭＳ Ｐゴシック" charset="-128"/>
              <a:cs typeface="+mn-cs"/>
            </a:defRPr>
          </a:lvl2pPr>
          <a:lvl3pPr marL="957816" algn="l" rtl="0" fontAlgn="base">
            <a:spcBef>
              <a:spcPct val="0"/>
            </a:spcBef>
            <a:spcAft>
              <a:spcPct val="0"/>
            </a:spcAft>
            <a:defRPr kumimoji="1" kern="1200">
              <a:solidFill>
                <a:schemeClr val="tx1"/>
              </a:solidFill>
              <a:latin typeface="Arial" charset="0"/>
              <a:ea typeface="ＭＳ Ｐゴシック" charset="-128"/>
              <a:cs typeface="+mn-cs"/>
            </a:defRPr>
          </a:lvl3pPr>
          <a:lvl4pPr marL="1436724" algn="l" rtl="0" fontAlgn="base">
            <a:spcBef>
              <a:spcPct val="0"/>
            </a:spcBef>
            <a:spcAft>
              <a:spcPct val="0"/>
            </a:spcAft>
            <a:defRPr kumimoji="1" kern="1200">
              <a:solidFill>
                <a:schemeClr val="tx1"/>
              </a:solidFill>
              <a:latin typeface="Arial" charset="0"/>
              <a:ea typeface="ＭＳ Ｐゴシック" charset="-128"/>
              <a:cs typeface="+mn-cs"/>
            </a:defRPr>
          </a:lvl4pPr>
          <a:lvl5pPr marL="1915631" algn="l" rtl="0" fontAlgn="base">
            <a:spcBef>
              <a:spcPct val="0"/>
            </a:spcBef>
            <a:spcAft>
              <a:spcPct val="0"/>
            </a:spcAft>
            <a:defRPr kumimoji="1" kern="1200">
              <a:solidFill>
                <a:schemeClr val="tx1"/>
              </a:solidFill>
              <a:latin typeface="Arial" charset="0"/>
              <a:ea typeface="ＭＳ Ｐゴシック" charset="-128"/>
              <a:cs typeface="+mn-cs"/>
            </a:defRPr>
          </a:lvl5pPr>
          <a:lvl6pPr marL="2394539" algn="l" defTabSz="957816" rtl="0" eaLnBrk="1" latinLnBrk="0" hangingPunct="1">
            <a:defRPr kumimoji="1" kern="1200">
              <a:solidFill>
                <a:schemeClr val="tx1"/>
              </a:solidFill>
              <a:latin typeface="Arial" charset="0"/>
              <a:ea typeface="ＭＳ Ｐゴシック" charset="-128"/>
              <a:cs typeface="+mn-cs"/>
            </a:defRPr>
          </a:lvl6pPr>
          <a:lvl7pPr marL="2873447" algn="l" defTabSz="957816" rtl="0" eaLnBrk="1" latinLnBrk="0" hangingPunct="1">
            <a:defRPr kumimoji="1" kern="1200">
              <a:solidFill>
                <a:schemeClr val="tx1"/>
              </a:solidFill>
              <a:latin typeface="Arial" charset="0"/>
              <a:ea typeface="ＭＳ Ｐゴシック" charset="-128"/>
              <a:cs typeface="+mn-cs"/>
            </a:defRPr>
          </a:lvl7pPr>
          <a:lvl8pPr marL="3352355" algn="l" defTabSz="957816" rtl="0" eaLnBrk="1" latinLnBrk="0" hangingPunct="1">
            <a:defRPr kumimoji="1" kern="1200">
              <a:solidFill>
                <a:schemeClr val="tx1"/>
              </a:solidFill>
              <a:latin typeface="Arial" charset="0"/>
              <a:ea typeface="ＭＳ Ｐゴシック" charset="-128"/>
              <a:cs typeface="+mn-cs"/>
            </a:defRPr>
          </a:lvl8pPr>
          <a:lvl9pPr marL="3831263" algn="l" defTabSz="957816" rtl="0" eaLnBrk="1" latinLnBrk="0" hangingPunct="1">
            <a:defRPr kumimoji="1" kern="1200">
              <a:solidFill>
                <a:schemeClr val="tx1"/>
              </a:solidFill>
              <a:latin typeface="Arial" charset="0"/>
              <a:ea typeface="ＭＳ Ｐゴシック" charset="-128"/>
              <a:cs typeface="+mn-cs"/>
            </a:defRPr>
          </a:lvl9pPr>
        </a:lstStyle>
        <a:p xmlns:a="http://schemas.openxmlformats.org/drawingml/2006/main">
          <a:pPr algn="ctr"/>
          <a:r>
            <a:rPr lang="en-US" altLang="ja-JP" sz="1400" dirty="0">
              <a:solidFill>
                <a:prstClr val="black"/>
              </a:solidFill>
              <a:latin typeface="ＭＳ Ｐゴシック"/>
              <a:ea typeface="ＭＳ Ｐゴシック"/>
            </a:rPr>
            <a:t>2020</a:t>
          </a:r>
          <a:r>
            <a:rPr lang="ja-JP" altLang="en-US" sz="1400" dirty="0">
              <a:solidFill>
                <a:prstClr val="black"/>
              </a:solidFill>
              <a:latin typeface="ＭＳ Ｐゴシック"/>
              <a:ea typeface="ＭＳ Ｐゴシック"/>
            </a:rPr>
            <a:t>年日本人</a:t>
          </a:r>
          <a:endParaRPr lang="en-US" altLang="ja-JP" sz="1400" dirty="0">
            <a:solidFill>
              <a:prstClr val="black"/>
            </a:solidFill>
            <a:latin typeface="ＭＳ Ｐゴシック"/>
            <a:ea typeface="ＭＳ Ｐゴシック"/>
          </a:endParaRPr>
        </a:p>
        <a:p xmlns:a="http://schemas.openxmlformats.org/drawingml/2006/main">
          <a:pPr algn="ctr"/>
          <a:r>
            <a:rPr lang="en-US" altLang="ja-JP" sz="1400" dirty="0">
              <a:solidFill>
                <a:prstClr val="black"/>
              </a:solidFill>
              <a:latin typeface="ＭＳ Ｐゴシック"/>
              <a:ea typeface="ＭＳ Ｐゴシック"/>
            </a:rPr>
            <a:t>12,340</a:t>
          </a:r>
          <a:r>
            <a:rPr lang="ja-JP" altLang="en-US" sz="1400" dirty="0">
              <a:solidFill>
                <a:prstClr val="black"/>
              </a:solidFill>
              <a:latin typeface="ＭＳ Ｐゴシック"/>
              <a:ea typeface="ＭＳ Ｐゴシック"/>
            </a:rPr>
            <a:t>万人</a:t>
          </a:r>
        </a:p>
      </cdr:txBody>
    </cdr:sp>
  </cdr:relSizeAnchor>
  <cdr:relSizeAnchor xmlns:cdr="http://schemas.openxmlformats.org/drawingml/2006/chartDrawing">
    <cdr:from>
      <cdr:x>0.10696</cdr:x>
      <cdr:y>0.27469</cdr:y>
    </cdr:from>
    <cdr:to>
      <cdr:x>0.25055</cdr:x>
      <cdr:y>0.3633</cdr:y>
    </cdr:to>
    <cdr:sp macro="" textlink="">
      <cdr:nvSpPr>
        <cdr:cNvPr id="10" name="テキスト ボックス 50"/>
        <cdr:cNvSpPr txBox="1"/>
      </cdr:nvSpPr>
      <cdr:spPr>
        <a:xfrm xmlns:a="http://schemas.openxmlformats.org/drawingml/2006/main">
          <a:off x="975756" y="1621950"/>
          <a:ext cx="1309917" cy="523220"/>
        </a:xfrm>
        <a:prstGeom xmlns:a="http://schemas.openxmlformats.org/drawingml/2006/main" prst="rect">
          <a:avLst/>
        </a:prstGeom>
        <a:solidFill xmlns:a="http://schemas.openxmlformats.org/drawingml/2006/main">
          <a:schemeClr val="bg1"/>
        </a:solidFill>
        <a:ln xmlns:a="http://schemas.openxmlformats.org/drawingml/2006/main">
          <a:solidFill>
            <a:srgbClr val="FF00FF"/>
          </a:solidFill>
        </a:ln>
      </cdr:spPr>
      <cdr:txBody>
        <a:bodyPr xmlns:a="http://schemas.openxmlformats.org/drawingml/2006/main" wrap="square" rtlCol="0">
          <a:spAutoFit/>
        </a:bodyPr>
        <a:lstStyle xmlns:a="http://schemas.openxmlformats.org/drawingml/2006/main">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78908" algn="l" rtl="0" fontAlgn="base">
            <a:spcBef>
              <a:spcPct val="0"/>
            </a:spcBef>
            <a:spcAft>
              <a:spcPct val="0"/>
            </a:spcAft>
            <a:defRPr kumimoji="1" kern="1200">
              <a:solidFill>
                <a:schemeClr val="tx1"/>
              </a:solidFill>
              <a:latin typeface="Arial" charset="0"/>
              <a:ea typeface="ＭＳ Ｐゴシック" charset="-128"/>
              <a:cs typeface="+mn-cs"/>
            </a:defRPr>
          </a:lvl2pPr>
          <a:lvl3pPr marL="957816" algn="l" rtl="0" fontAlgn="base">
            <a:spcBef>
              <a:spcPct val="0"/>
            </a:spcBef>
            <a:spcAft>
              <a:spcPct val="0"/>
            </a:spcAft>
            <a:defRPr kumimoji="1" kern="1200">
              <a:solidFill>
                <a:schemeClr val="tx1"/>
              </a:solidFill>
              <a:latin typeface="Arial" charset="0"/>
              <a:ea typeface="ＭＳ Ｐゴシック" charset="-128"/>
              <a:cs typeface="+mn-cs"/>
            </a:defRPr>
          </a:lvl3pPr>
          <a:lvl4pPr marL="1436724" algn="l" rtl="0" fontAlgn="base">
            <a:spcBef>
              <a:spcPct val="0"/>
            </a:spcBef>
            <a:spcAft>
              <a:spcPct val="0"/>
            </a:spcAft>
            <a:defRPr kumimoji="1" kern="1200">
              <a:solidFill>
                <a:schemeClr val="tx1"/>
              </a:solidFill>
              <a:latin typeface="Arial" charset="0"/>
              <a:ea typeface="ＭＳ Ｐゴシック" charset="-128"/>
              <a:cs typeface="+mn-cs"/>
            </a:defRPr>
          </a:lvl4pPr>
          <a:lvl5pPr marL="1915631" algn="l" rtl="0" fontAlgn="base">
            <a:spcBef>
              <a:spcPct val="0"/>
            </a:spcBef>
            <a:spcAft>
              <a:spcPct val="0"/>
            </a:spcAft>
            <a:defRPr kumimoji="1" kern="1200">
              <a:solidFill>
                <a:schemeClr val="tx1"/>
              </a:solidFill>
              <a:latin typeface="Arial" charset="0"/>
              <a:ea typeface="ＭＳ Ｐゴシック" charset="-128"/>
              <a:cs typeface="+mn-cs"/>
            </a:defRPr>
          </a:lvl5pPr>
          <a:lvl6pPr marL="2394539" algn="l" defTabSz="957816" rtl="0" eaLnBrk="1" latinLnBrk="0" hangingPunct="1">
            <a:defRPr kumimoji="1" kern="1200">
              <a:solidFill>
                <a:schemeClr val="tx1"/>
              </a:solidFill>
              <a:latin typeface="Arial" charset="0"/>
              <a:ea typeface="ＭＳ Ｐゴシック" charset="-128"/>
              <a:cs typeface="+mn-cs"/>
            </a:defRPr>
          </a:lvl6pPr>
          <a:lvl7pPr marL="2873447" algn="l" defTabSz="957816" rtl="0" eaLnBrk="1" latinLnBrk="0" hangingPunct="1">
            <a:defRPr kumimoji="1" kern="1200">
              <a:solidFill>
                <a:schemeClr val="tx1"/>
              </a:solidFill>
              <a:latin typeface="Arial" charset="0"/>
              <a:ea typeface="ＭＳ Ｐゴシック" charset="-128"/>
              <a:cs typeface="+mn-cs"/>
            </a:defRPr>
          </a:lvl7pPr>
          <a:lvl8pPr marL="3352355" algn="l" defTabSz="957816" rtl="0" eaLnBrk="1" latinLnBrk="0" hangingPunct="1">
            <a:defRPr kumimoji="1" kern="1200">
              <a:solidFill>
                <a:schemeClr val="tx1"/>
              </a:solidFill>
              <a:latin typeface="Arial" charset="0"/>
              <a:ea typeface="ＭＳ Ｐゴシック" charset="-128"/>
              <a:cs typeface="+mn-cs"/>
            </a:defRPr>
          </a:lvl8pPr>
          <a:lvl9pPr marL="3831263" algn="l" defTabSz="957816" rtl="0" eaLnBrk="1" latinLnBrk="0" hangingPunct="1">
            <a:defRPr kumimoji="1" kern="1200">
              <a:solidFill>
                <a:schemeClr val="tx1"/>
              </a:solidFill>
              <a:latin typeface="Arial" charset="0"/>
              <a:ea typeface="ＭＳ Ｐゴシック" charset="-128"/>
              <a:cs typeface="+mn-cs"/>
            </a:defRPr>
          </a:lvl9pPr>
        </a:lstStyle>
        <a:p xmlns:a="http://schemas.openxmlformats.org/drawingml/2006/main">
          <a:pPr algn="ctr"/>
          <a:r>
            <a:rPr lang="en-US" altLang="ja-JP" sz="1400" dirty="0">
              <a:solidFill>
                <a:prstClr val="black"/>
              </a:solidFill>
              <a:latin typeface="ＭＳ Ｐゴシック"/>
              <a:ea typeface="ＭＳ Ｐゴシック"/>
            </a:rPr>
            <a:t>2020</a:t>
          </a:r>
          <a:r>
            <a:rPr lang="ja-JP" altLang="en-US" sz="1400" dirty="0">
              <a:solidFill>
                <a:prstClr val="black"/>
              </a:solidFill>
              <a:latin typeface="ＭＳ Ｐゴシック"/>
              <a:ea typeface="ＭＳ Ｐゴシック"/>
            </a:rPr>
            <a:t>年外国人</a:t>
          </a:r>
          <a:endParaRPr lang="en-US" altLang="ja-JP" sz="1400" dirty="0">
            <a:solidFill>
              <a:prstClr val="black"/>
            </a:solidFill>
            <a:latin typeface="ＭＳ Ｐゴシック"/>
            <a:ea typeface="ＭＳ Ｐゴシック"/>
          </a:endParaRPr>
        </a:p>
        <a:p xmlns:a="http://schemas.openxmlformats.org/drawingml/2006/main">
          <a:pPr algn="ctr"/>
          <a:r>
            <a:rPr lang="en-US" altLang="ja-JP" sz="1400" dirty="0">
              <a:solidFill>
                <a:prstClr val="black"/>
              </a:solidFill>
              <a:latin typeface="ＭＳ Ｐゴシック"/>
              <a:ea typeface="ＭＳ Ｐゴシック"/>
            </a:rPr>
            <a:t>275</a:t>
          </a:r>
          <a:r>
            <a:rPr lang="ja-JP" altLang="en-US" sz="1400" dirty="0">
              <a:solidFill>
                <a:prstClr val="black"/>
              </a:solidFill>
              <a:latin typeface="ＭＳ Ｐゴシック"/>
              <a:ea typeface="ＭＳ Ｐゴシック"/>
            </a:rPr>
            <a:t>万人</a:t>
          </a:r>
          <a:r>
            <a:rPr lang="en-US" altLang="ja-JP" sz="1400" dirty="0">
              <a:solidFill>
                <a:prstClr val="black"/>
              </a:solidFill>
              <a:latin typeface="ＭＳ Ｐゴシック"/>
              <a:ea typeface="ＭＳ Ｐゴシック"/>
            </a:rPr>
            <a:t>(2.2%)</a:t>
          </a:r>
          <a:endParaRPr lang="ja-JP" altLang="en-US" sz="1400" dirty="0">
            <a:solidFill>
              <a:prstClr val="black"/>
            </a:solidFill>
            <a:latin typeface="ＭＳ Ｐゴシック"/>
            <a:ea typeface="ＭＳ Ｐゴシック"/>
          </a:endParaRPr>
        </a:p>
      </cdr:txBody>
    </cdr:sp>
  </cdr:relSizeAnchor>
  <cdr:relSizeAnchor xmlns:cdr="http://schemas.openxmlformats.org/drawingml/2006/chartDrawing">
    <cdr:from>
      <cdr:x>0.16092</cdr:x>
      <cdr:y>0.15846</cdr:y>
    </cdr:from>
    <cdr:to>
      <cdr:x>0.41894</cdr:x>
      <cdr:y>0.20782</cdr:y>
    </cdr:to>
    <cdr:sp macro="" textlink="">
      <cdr:nvSpPr>
        <cdr:cNvPr id="14" name="テキスト ボックス 55"/>
        <cdr:cNvSpPr txBox="1"/>
      </cdr:nvSpPr>
      <cdr:spPr>
        <a:xfrm xmlns:a="http://schemas.openxmlformats.org/drawingml/2006/main">
          <a:off x="1028564" y="617313"/>
          <a:ext cx="1649274" cy="192313"/>
        </a:xfrm>
        <a:prstGeom xmlns:a="http://schemas.openxmlformats.org/drawingml/2006/main" prst="rect">
          <a:avLst/>
        </a:prstGeom>
        <a:solidFill xmlns:a="http://schemas.openxmlformats.org/drawingml/2006/main">
          <a:schemeClr val="bg1"/>
        </a:solidFill>
        <a:ln xmlns:a="http://schemas.openxmlformats.org/drawingml/2006/main">
          <a:solidFill>
            <a:schemeClr val="tx1"/>
          </a:solidFill>
        </a:ln>
      </cdr:spPr>
      <cdr:txBody>
        <a:bodyPr xmlns:a="http://schemas.openxmlformats.org/drawingml/2006/main" wrap="square" rtlCol="0" anchor="ctr">
          <a:noAutofit/>
        </a:bodyPr>
        <a:lstStyle xmlns:a="http://schemas.openxmlformats.org/drawingml/2006/main">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78908" algn="l" rtl="0" fontAlgn="base">
            <a:spcBef>
              <a:spcPct val="0"/>
            </a:spcBef>
            <a:spcAft>
              <a:spcPct val="0"/>
            </a:spcAft>
            <a:defRPr kumimoji="1" kern="1200">
              <a:solidFill>
                <a:schemeClr val="tx1"/>
              </a:solidFill>
              <a:latin typeface="Arial" charset="0"/>
              <a:ea typeface="ＭＳ Ｐゴシック" charset="-128"/>
              <a:cs typeface="+mn-cs"/>
            </a:defRPr>
          </a:lvl2pPr>
          <a:lvl3pPr marL="957816" algn="l" rtl="0" fontAlgn="base">
            <a:spcBef>
              <a:spcPct val="0"/>
            </a:spcBef>
            <a:spcAft>
              <a:spcPct val="0"/>
            </a:spcAft>
            <a:defRPr kumimoji="1" kern="1200">
              <a:solidFill>
                <a:schemeClr val="tx1"/>
              </a:solidFill>
              <a:latin typeface="Arial" charset="0"/>
              <a:ea typeface="ＭＳ Ｐゴシック" charset="-128"/>
              <a:cs typeface="+mn-cs"/>
            </a:defRPr>
          </a:lvl3pPr>
          <a:lvl4pPr marL="1436724" algn="l" rtl="0" fontAlgn="base">
            <a:spcBef>
              <a:spcPct val="0"/>
            </a:spcBef>
            <a:spcAft>
              <a:spcPct val="0"/>
            </a:spcAft>
            <a:defRPr kumimoji="1" kern="1200">
              <a:solidFill>
                <a:schemeClr val="tx1"/>
              </a:solidFill>
              <a:latin typeface="Arial" charset="0"/>
              <a:ea typeface="ＭＳ Ｐゴシック" charset="-128"/>
              <a:cs typeface="+mn-cs"/>
            </a:defRPr>
          </a:lvl4pPr>
          <a:lvl5pPr marL="1915631" algn="l" rtl="0" fontAlgn="base">
            <a:spcBef>
              <a:spcPct val="0"/>
            </a:spcBef>
            <a:spcAft>
              <a:spcPct val="0"/>
            </a:spcAft>
            <a:defRPr kumimoji="1" kern="1200">
              <a:solidFill>
                <a:schemeClr val="tx1"/>
              </a:solidFill>
              <a:latin typeface="Arial" charset="0"/>
              <a:ea typeface="ＭＳ Ｐゴシック" charset="-128"/>
              <a:cs typeface="+mn-cs"/>
            </a:defRPr>
          </a:lvl5pPr>
          <a:lvl6pPr marL="2394539" algn="l" defTabSz="957816" rtl="0" eaLnBrk="1" latinLnBrk="0" hangingPunct="1">
            <a:defRPr kumimoji="1" kern="1200">
              <a:solidFill>
                <a:schemeClr val="tx1"/>
              </a:solidFill>
              <a:latin typeface="Arial" charset="0"/>
              <a:ea typeface="ＭＳ Ｐゴシック" charset="-128"/>
              <a:cs typeface="+mn-cs"/>
            </a:defRPr>
          </a:lvl6pPr>
          <a:lvl7pPr marL="2873447" algn="l" defTabSz="957816" rtl="0" eaLnBrk="1" latinLnBrk="0" hangingPunct="1">
            <a:defRPr kumimoji="1" kern="1200">
              <a:solidFill>
                <a:schemeClr val="tx1"/>
              </a:solidFill>
              <a:latin typeface="Arial" charset="0"/>
              <a:ea typeface="ＭＳ Ｐゴシック" charset="-128"/>
              <a:cs typeface="+mn-cs"/>
            </a:defRPr>
          </a:lvl7pPr>
          <a:lvl8pPr marL="3352355" algn="l" defTabSz="957816" rtl="0" eaLnBrk="1" latinLnBrk="0" hangingPunct="1">
            <a:defRPr kumimoji="1" kern="1200">
              <a:solidFill>
                <a:schemeClr val="tx1"/>
              </a:solidFill>
              <a:latin typeface="Arial" charset="0"/>
              <a:ea typeface="ＭＳ Ｐゴシック" charset="-128"/>
              <a:cs typeface="+mn-cs"/>
            </a:defRPr>
          </a:lvl8pPr>
          <a:lvl9pPr marL="3831263" algn="l" defTabSz="957816" rtl="0" eaLnBrk="1" latinLnBrk="0" hangingPunct="1">
            <a:defRPr kumimoji="1" kern="1200">
              <a:solidFill>
                <a:schemeClr val="tx1"/>
              </a:solidFill>
              <a:latin typeface="Arial" charset="0"/>
              <a:ea typeface="ＭＳ Ｐゴシック" charset="-128"/>
              <a:cs typeface="+mn-cs"/>
            </a:defRPr>
          </a:lvl9pPr>
        </a:lstStyle>
        <a:p xmlns:a="http://schemas.openxmlformats.org/drawingml/2006/main">
          <a:pPr algn="ctr"/>
          <a:r>
            <a:rPr lang="en-US" altLang="ja-JP" sz="1400" dirty="0">
              <a:solidFill>
                <a:prstClr val="black"/>
              </a:solidFill>
              <a:latin typeface="ＭＳ Ｐゴシック"/>
              <a:ea typeface="ＭＳ Ｐゴシック"/>
            </a:rPr>
            <a:t>2020</a:t>
          </a:r>
          <a:r>
            <a:rPr lang="ja-JP" altLang="en-US" sz="1400" dirty="0">
              <a:solidFill>
                <a:prstClr val="black"/>
              </a:solidFill>
              <a:latin typeface="ＭＳ Ｐゴシック"/>
              <a:ea typeface="ＭＳ Ｐゴシック"/>
            </a:rPr>
            <a:t>年総人口</a:t>
          </a:r>
          <a:r>
            <a:rPr lang="en-US" altLang="ja-JP" sz="1400" dirty="0">
              <a:solidFill>
                <a:prstClr val="black"/>
              </a:solidFill>
              <a:latin typeface="ＭＳ Ｐゴシック"/>
              <a:ea typeface="ＭＳ Ｐゴシック"/>
            </a:rPr>
            <a:t>12,615</a:t>
          </a:r>
          <a:r>
            <a:rPr lang="ja-JP" altLang="en-US" sz="1400" dirty="0">
              <a:solidFill>
                <a:prstClr val="black"/>
              </a:solidFill>
              <a:latin typeface="ＭＳ Ｐゴシック"/>
              <a:ea typeface="ＭＳ Ｐゴシック"/>
            </a:rPr>
            <a:t>万人</a:t>
          </a:r>
        </a:p>
      </cdr:txBody>
    </cdr:sp>
  </cdr:relSizeAnchor>
  <cdr:relSizeAnchor xmlns:cdr="http://schemas.openxmlformats.org/drawingml/2006/chartDrawing">
    <cdr:from>
      <cdr:x>0.08837</cdr:x>
      <cdr:y>0.21951</cdr:y>
    </cdr:from>
    <cdr:to>
      <cdr:x>0.16414</cdr:x>
      <cdr:y>0.27141</cdr:y>
    </cdr:to>
    <cdr:cxnSp macro="">
      <cdr:nvCxnSpPr>
        <cdr:cNvPr id="20" name="直線矢印コネクタ 19">
          <a:extLst xmlns:a="http://schemas.openxmlformats.org/drawingml/2006/main">
            <a:ext uri="{FF2B5EF4-FFF2-40B4-BE49-F238E27FC236}">
              <a16:creationId xmlns:a16="http://schemas.microsoft.com/office/drawing/2014/main" id="{DF7F738C-D10A-14F4-6D17-E6899E8B67A9}"/>
            </a:ext>
          </a:extLst>
        </cdr:cNvPr>
        <cdr:cNvCxnSpPr/>
      </cdr:nvCxnSpPr>
      <cdr:spPr>
        <a:xfrm xmlns:a="http://schemas.openxmlformats.org/drawingml/2006/main" flipH="1" flipV="1">
          <a:off x="806206" y="1296144"/>
          <a:ext cx="691207" cy="306432"/>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39615</cdr:x>
      <cdr:y>0.48065</cdr:y>
    </cdr:from>
    <cdr:to>
      <cdr:x>0.55816</cdr:x>
      <cdr:y>0.56926</cdr:y>
    </cdr:to>
    <cdr:sp macro="" textlink="">
      <cdr:nvSpPr>
        <cdr:cNvPr id="22" name="テキスト ボックス 49"/>
        <cdr:cNvSpPr txBox="1"/>
      </cdr:nvSpPr>
      <cdr:spPr>
        <a:xfrm xmlns:a="http://schemas.openxmlformats.org/drawingml/2006/main">
          <a:off x="3613926" y="2838073"/>
          <a:ext cx="1477956" cy="523220"/>
        </a:xfrm>
        <a:prstGeom xmlns:a="http://schemas.openxmlformats.org/drawingml/2006/main" prst="rect">
          <a:avLst/>
        </a:prstGeom>
        <a:solidFill xmlns:a="http://schemas.openxmlformats.org/drawingml/2006/main">
          <a:schemeClr val="bg1"/>
        </a:solidFill>
        <a:ln xmlns:a="http://schemas.openxmlformats.org/drawingml/2006/main">
          <a:solidFill>
            <a:srgbClr val="0070C0"/>
          </a:solidFill>
        </a:l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altLang="ja-JP" sz="1400" dirty="0">
              <a:solidFill>
                <a:prstClr val="black"/>
              </a:solidFill>
              <a:latin typeface="ＭＳ Ｐゴシック"/>
              <a:ea typeface="ＭＳ Ｐゴシック"/>
            </a:rPr>
            <a:t>2050</a:t>
          </a:r>
          <a:r>
            <a:rPr lang="ja-JP" altLang="en-US" sz="1400" dirty="0">
              <a:solidFill>
                <a:prstClr val="black"/>
              </a:solidFill>
              <a:latin typeface="ＭＳ Ｐゴシック"/>
              <a:ea typeface="ＭＳ Ｐゴシック"/>
            </a:rPr>
            <a:t>年日本人</a:t>
          </a:r>
          <a:endParaRPr lang="en-US" altLang="ja-JP" sz="1400" dirty="0">
            <a:solidFill>
              <a:prstClr val="black"/>
            </a:solidFill>
            <a:latin typeface="ＭＳ Ｐゴシック"/>
            <a:ea typeface="ＭＳ Ｐゴシック"/>
          </a:endParaRPr>
        </a:p>
        <a:p xmlns:a="http://schemas.openxmlformats.org/drawingml/2006/main">
          <a:pPr algn="ctr"/>
          <a:r>
            <a:rPr lang="en-US" altLang="ja-JP" sz="1400" dirty="0">
              <a:solidFill>
                <a:prstClr val="black"/>
              </a:solidFill>
              <a:latin typeface="ＭＳ Ｐゴシック"/>
              <a:ea typeface="ＭＳ Ｐゴシック"/>
            </a:rPr>
            <a:t>9,740</a:t>
          </a:r>
          <a:r>
            <a:rPr lang="ja-JP" altLang="en-US" sz="1400" dirty="0">
              <a:solidFill>
                <a:prstClr val="black"/>
              </a:solidFill>
              <a:latin typeface="ＭＳ Ｐゴシック"/>
              <a:ea typeface="ＭＳ Ｐゴシック"/>
            </a:rPr>
            <a:t>万人</a:t>
          </a:r>
        </a:p>
      </cdr:txBody>
    </cdr:sp>
  </cdr:relSizeAnchor>
  <cdr:relSizeAnchor xmlns:cdr="http://schemas.openxmlformats.org/drawingml/2006/chartDrawing">
    <cdr:from>
      <cdr:x>0.37573</cdr:x>
      <cdr:y>0.33709</cdr:y>
    </cdr:from>
    <cdr:to>
      <cdr:x>0.53983</cdr:x>
      <cdr:y>0.4257</cdr:y>
    </cdr:to>
    <cdr:sp macro="" textlink="">
      <cdr:nvSpPr>
        <cdr:cNvPr id="23" name="テキスト ボックス 50"/>
        <cdr:cNvSpPr txBox="1"/>
      </cdr:nvSpPr>
      <cdr:spPr>
        <a:xfrm xmlns:a="http://schemas.openxmlformats.org/drawingml/2006/main">
          <a:off x="3427642" y="1990400"/>
          <a:ext cx="1497022" cy="523220"/>
        </a:xfrm>
        <a:prstGeom xmlns:a="http://schemas.openxmlformats.org/drawingml/2006/main" prst="rect">
          <a:avLst/>
        </a:prstGeom>
        <a:solidFill xmlns:a="http://schemas.openxmlformats.org/drawingml/2006/main">
          <a:schemeClr val="bg1"/>
        </a:solidFill>
        <a:ln xmlns:a="http://schemas.openxmlformats.org/drawingml/2006/main">
          <a:solidFill>
            <a:srgbClr val="FF00FF"/>
          </a:solidFill>
        </a:l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altLang="ja-JP" sz="1400" dirty="0">
              <a:solidFill>
                <a:prstClr val="black"/>
              </a:solidFill>
              <a:latin typeface="ＭＳ Ｐゴシック"/>
              <a:ea typeface="ＭＳ Ｐゴシック"/>
            </a:rPr>
            <a:t>2050</a:t>
          </a:r>
          <a:r>
            <a:rPr lang="ja-JP" altLang="en-US" sz="1400" dirty="0">
              <a:solidFill>
                <a:prstClr val="black"/>
              </a:solidFill>
              <a:latin typeface="ＭＳ Ｐゴシック"/>
              <a:ea typeface="ＭＳ Ｐゴシック"/>
            </a:rPr>
            <a:t>年外国人</a:t>
          </a:r>
          <a:endParaRPr lang="en-US" altLang="ja-JP" sz="1400" dirty="0">
            <a:solidFill>
              <a:prstClr val="black"/>
            </a:solidFill>
            <a:latin typeface="ＭＳ Ｐゴシック"/>
            <a:ea typeface="ＭＳ Ｐゴシック"/>
          </a:endParaRPr>
        </a:p>
        <a:p xmlns:a="http://schemas.openxmlformats.org/drawingml/2006/main">
          <a:pPr algn="ctr"/>
          <a:r>
            <a:rPr lang="en-US" altLang="ja-JP" sz="1400" dirty="0">
              <a:solidFill>
                <a:prstClr val="black"/>
              </a:solidFill>
              <a:latin typeface="ＭＳ Ｐゴシック"/>
              <a:ea typeface="ＭＳ Ｐゴシック"/>
            </a:rPr>
            <a:t>729</a:t>
          </a:r>
          <a:r>
            <a:rPr lang="ja-JP" altLang="en-US" sz="1400" dirty="0">
              <a:solidFill>
                <a:prstClr val="black"/>
              </a:solidFill>
              <a:latin typeface="ＭＳ Ｐゴシック"/>
              <a:ea typeface="ＭＳ Ｐゴシック"/>
            </a:rPr>
            <a:t>万人</a:t>
          </a:r>
          <a:r>
            <a:rPr lang="en-US" altLang="ja-JP" sz="1400" dirty="0">
              <a:solidFill>
                <a:prstClr val="black"/>
              </a:solidFill>
              <a:latin typeface="ＭＳ Ｐゴシック"/>
              <a:ea typeface="ＭＳ Ｐゴシック"/>
            </a:rPr>
            <a:t>(7.0%)</a:t>
          </a:r>
          <a:endParaRPr lang="ja-JP" altLang="en-US" sz="1400" dirty="0">
            <a:solidFill>
              <a:prstClr val="black"/>
            </a:solidFill>
            <a:latin typeface="ＭＳ Ｐゴシック"/>
            <a:ea typeface="ＭＳ Ｐゴシック"/>
          </a:endParaRPr>
        </a:p>
      </cdr:txBody>
    </cdr:sp>
  </cdr:relSizeAnchor>
  <cdr:relSizeAnchor xmlns:cdr="http://schemas.openxmlformats.org/drawingml/2006/chartDrawing">
    <cdr:from>
      <cdr:x>0.51282</cdr:x>
      <cdr:y>0.1956</cdr:y>
    </cdr:from>
    <cdr:to>
      <cdr:x>0.65702</cdr:x>
      <cdr:y>0.28669</cdr:y>
    </cdr:to>
    <cdr:sp macro="" textlink="">
      <cdr:nvSpPr>
        <cdr:cNvPr id="24" name="テキスト ボックス 55"/>
        <cdr:cNvSpPr txBox="1"/>
      </cdr:nvSpPr>
      <cdr:spPr>
        <a:xfrm xmlns:a="http://schemas.openxmlformats.org/drawingml/2006/main">
          <a:off x="3277913" y="762002"/>
          <a:ext cx="921700" cy="354848"/>
        </a:xfrm>
        <a:prstGeom xmlns:a="http://schemas.openxmlformats.org/drawingml/2006/main" prst="rect">
          <a:avLst/>
        </a:prstGeom>
        <a:solidFill xmlns:a="http://schemas.openxmlformats.org/drawingml/2006/main">
          <a:schemeClr val="bg1"/>
        </a:solidFill>
        <a:ln xmlns:a="http://schemas.openxmlformats.org/drawingml/2006/main">
          <a:solidFill>
            <a:schemeClr val="tx1"/>
          </a:solidFill>
        </a:ln>
      </cdr:spPr>
      <cdr:txBody>
        <a:bodyPr xmlns:a="http://schemas.openxmlformats.org/drawingml/2006/main" wrap="square"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altLang="ja-JP" sz="1400" dirty="0">
              <a:solidFill>
                <a:prstClr val="black"/>
              </a:solidFill>
              <a:latin typeface="ＭＳ Ｐゴシック"/>
              <a:ea typeface="ＭＳ Ｐゴシック"/>
            </a:rPr>
            <a:t>2050</a:t>
          </a:r>
          <a:r>
            <a:rPr lang="ja-JP" altLang="en-US" sz="1400" dirty="0">
              <a:solidFill>
                <a:prstClr val="black"/>
              </a:solidFill>
              <a:latin typeface="ＭＳ Ｐゴシック"/>
              <a:ea typeface="ＭＳ Ｐゴシック"/>
            </a:rPr>
            <a:t>年総人口</a:t>
          </a:r>
          <a:endParaRPr lang="en-US" altLang="ja-JP" sz="1400" dirty="0">
            <a:solidFill>
              <a:prstClr val="black"/>
            </a:solidFill>
            <a:latin typeface="ＭＳ Ｐゴシック"/>
            <a:ea typeface="ＭＳ Ｐゴシック"/>
          </a:endParaRPr>
        </a:p>
        <a:p xmlns:a="http://schemas.openxmlformats.org/drawingml/2006/main">
          <a:pPr algn="ctr"/>
          <a:r>
            <a:rPr lang="en-US" altLang="ja-JP" sz="1400" dirty="0">
              <a:solidFill>
                <a:prstClr val="black"/>
              </a:solidFill>
              <a:latin typeface="ＭＳ Ｐゴシック"/>
              <a:ea typeface="ＭＳ Ｐゴシック"/>
            </a:rPr>
            <a:t>10,469</a:t>
          </a:r>
          <a:r>
            <a:rPr lang="ja-JP" altLang="en-US" sz="1400" dirty="0">
              <a:solidFill>
                <a:prstClr val="black"/>
              </a:solidFill>
              <a:latin typeface="ＭＳ Ｐゴシック"/>
              <a:ea typeface="ＭＳ Ｐゴシック"/>
            </a:rPr>
            <a:t>万人</a:t>
          </a:r>
        </a:p>
      </cdr:txBody>
    </cdr:sp>
  </cdr:relSizeAnchor>
  <cdr:relSizeAnchor xmlns:cdr="http://schemas.openxmlformats.org/drawingml/2006/chartDrawing">
    <cdr:from>
      <cdr:x>0.52418</cdr:x>
      <cdr:y>0.33496</cdr:y>
    </cdr:from>
    <cdr:to>
      <cdr:x>0.58882</cdr:x>
      <cdr:y>0.40248</cdr:y>
    </cdr:to>
    <cdr:cxnSp macro="">
      <cdr:nvCxnSpPr>
        <cdr:cNvPr id="25" name="直線矢印コネクタ 24">
          <a:extLst xmlns:a="http://schemas.openxmlformats.org/drawingml/2006/main">
            <a:ext uri="{FF2B5EF4-FFF2-40B4-BE49-F238E27FC236}">
              <a16:creationId xmlns:a16="http://schemas.microsoft.com/office/drawing/2014/main" id="{F1066375-ECD2-D2EC-BF1F-87B1325B4E00}"/>
            </a:ext>
          </a:extLst>
        </cdr:cNvPr>
        <cdr:cNvCxnSpPr/>
      </cdr:nvCxnSpPr>
      <cdr:spPr>
        <a:xfrm xmlns:a="http://schemas.openxmlformats.org/drawingml/2006/main" flipV="1">
          <a:off x="3350499" y="1304926"/>
          <a:ext cx="413189" cy="263006"/>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3993</cdr:x>
      <cdr:y>0.54523</cdr:y>
    </cdr:from>
    <cdr:to>
      <cdr:x>0.59329</cdr:x>
      <cdr:y>0.55488</cdr:y>
    </cdr:to>
    <cdr:cxnSp macro="">
      <cdr:nvCxnSpPr>
        <cdr:cNvPr id="27" name="直線矢印コネクタ 26">
          <a:extLst xmlns:a="http://schemas.openxmlformats.org/drawingml/2006/main">
            <a:ext uri="{FF2B5EF4-FFF2-40B4-BE49-F238E27FC236}">
              <a16:creationId xmlns:a16="http://schemas.microsoft.com/office/drawing/2014/main" id="{716E0CDB-B024-2C50-0072-7B1F4304EEBD}"/>
            </a:ext>
          </a:extLst>
        </cdr:cNvPr>
        <cdr:cNvCxnSpPr/>
      </cdr:nvCxnSpPr>
      <cdr:spPr>
        <a:xfrm xmlns:a="http://schemas.openxmlformats.org/drawingml/2006/main" flipV="1">
          <a:off x="3451225" y="2124076"/>
          <a:ext cx="341038" cy="37580"/>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94086</cdr:x>
      <cdr:y>0.45122</cdr:y>
    </cdr:from>
    <cdr:to>
      <cdr:x>0.94086</cdr:x>
      <cdr:y>0.82286</cdr:y>
    </cdr:to>
    <cdr:cxnSp macro="">
      <cdr:nvCxnSpPr>
        <cdr:cNvPr id="29" name="直線矢印コネクタ 28">
          <a:extLst xmlns:a="http://schemas.openxmlformats.org/drawingml/2006/main">
            <a:ext uri="{FF2B5EF4-FFF2-40B4-BE49-F238E27FC236}">
              <a16:creationId xmlns:a16="http://schemas.microsoft.com/office/drawing/2014/main" id="{DC17CF35-9151-E4D7-0C16-679228F98F19}"/>
            </a:ext>
          </a:extLst>
        </cdr:cNvPr>
        <cdr:cNvCxnSpPr/>
      </cdr:nvCxnSpPr>
      <cdr:spPr>
        <a:xfrm xmlns:a="http://schemas.openxmlformats.org/drawingml/2006/main" flipV="1">
          <a:off x="8583069" y="2664296"/>
          <a:ext cx="0" cy="2194406"/>
        </a:xfrm>
        <a:prstGeom xmlns:a="http://schemas.openxmlformats.org/drawingml/2006/main" prst="straightConnector1">
          <a:avLst/>
        </a:prstGeom>
        <a:ln xmlns:a="http://schemas.openxmlformats.org/drawingml/2006/main" w="28575">
          <a:headEnd type="arrow" w="med" len="med"/>
          <a:tailEnd type="arrow"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94086</cdr:x>
      <cdr:y>0.39024</cdr:y>
    </cdr:from>
    <cdr:to>
      <cdr:x>0.94086</cdr:x>
      <cdr:y>0.44892</cdr:y>
    </cdr:to>
    <cdr:cxnSp macro="">
      <cdr:nvCxnSpPr>
        <cdr:cNvPr id="30" name="直線矢印コネクタ 29">
          <a:extLst xmlns:a="http://schemas.openxmlformats.org/drawingml/2006/main">
            <a:ext uri="{FF2B5EF4-FFF2-40B4-BE49-F238E27FC236}">
              <a16:creationId xmlns:a16="http://schemas.microsoft.com/office/drawing/2014/main" id="{737BA4BA-79CD-6EEC-5FFC-EEABBE5531C8}"/>
            </a:ext>
          </a:extLst>
        </cdr:cNvPr>
        <cdr:cNvCxnSpPr/>
      </cdr:nvCxnSpPr>
      <cdr:spPr>
        <a:xfrm xmlns:a="http://schemas.openxmlformats.org/drawingml/2006/main">
          <a:off x="8583069" y="2304256"/>
          <a:ext cx="0" cy="346486"/>
        </a:xfrm>
        <a:prstGeom xmlns:a="http://schemas.openxmlformats.org/drawingml/2006/main" prst="straightConnector1">
          <a:avLst/>
        </a:prstGeom>
        <a:ln xmlns:a="http://schemas.openxmlformats.org/drawingml/2006/main">
          <a:solidFill>
            <a:srgbClr val="FF0000"/>
          </a:solidFill>
          <a:headEnd type="arrow" w="med" len="med"/>
          <a:tailEnd type="arrow"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2547</cdr:x>
      <cdr:y>0.54992</cdr:y>
    </cdr:from>
    <cdr:to>
      <cdr:x>0.88748</cdr:x>
      <cdr:y>0.63853</cdr:y>
    </cdr:to>
    <cdr:sp macro="" textlink="">
      <cdr:nvSpPr>
        <cdr:cNvPr id="31" name="テキスト ボックス 49"/>
        <cdr:cNvSpPr txBox="1"/>
      </cdr:nvSpPr>
      <cdr:spPr>
        <a:xfrm xmlns:a="http://schemas.openxmlformats.org/drawingml/2006/main">
          <a:off x="6618188" y="3247088"/>
          <a:ext cx="1477956" cy="523220"/>
        </a:xfrm>
        <a:prstGeom xmlns:a="http://schemas.openxmlformats.org/drawingml/2006/main" prst="rect">
          <a:avLst/>
        </a:prstGeom>
        <a:solidFill xmlns:a="http://schemas.openxmlformats.org/drawingml/2006/main">
          <a:schemeClr val="bg1"/>
        </a:solidFill>
        <a:ln xmlns:a="http://schemas.openxmlformats.org/drawingml/2006/main">
          <a:solidFill>
            <a:srgbClr val="0070C0"/>
          </a:solidFill>
        </a:l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altLang="ja-JP" sz="1400" dirty="0">
              <a:solidFill>
                <a:prstClr val="black"/>
              </a:solidFill>
              <a:latin typeface="ＭＳ Ｐゴシック"/>
              <a:ea typeface="ＭＳ Ｐゴシック"/>
            </a:rPr>
            <a:t>2070</a:t>
          </a:r>
          <a:r>
            <a:rPr lang="ja-JP" altLang="en-US" sz="1400" dirty="0">
              <a:solidFill>
                <a:prstClr val="black"/>
              </a:solidFill>
              <a:latin typeface="ＭＳ Ｐゴシック"/>
              <a:ea typeface="ＭＳ Ｐゴシック"/>
            </a:rPr>
            <a:t>年日本人</a:t>
          </a:r>
          <a:endParaRPr lang="en-US" altLang="ja-JP" sz="1400" dirty="0">
            <a:solidFill>
              <a:prstClr val="black"/>
            </a:solidFill>
            <a:latin typeface="ＭＳ Ｐゴシック"/>
            <a:ea typeface="ＭＳ Ｐゴシック"/>
          </a:endParaRPr>
        </a:p>
        <a:p xmlns:a="http://schemas.openxmlformats.org/drawingml/2006/main">
          <a:pPr algn="ctr"/>
          <a:r>
            <a:rPr lang="en-US" altLang="ja-JP" sz="1400" dirty="0">
              <a:solidFill>
                <a:prstClr val="black"/>
              </a:solidFill>
              <a:latin typeface="ＭＳ Ｐゴシック"/>
              <a:ea typeface="ＭＳ Ｐゴシック"/>
            </a:rPr>
            <a:t>7,761</a:t>
          </a:r>
          <a:r>
            <a:rPr lang="ja-JP" altLang="en-US" sz="1400" dirty="0">
              <a:solidFill>
                <a:prstClr val="black"/>
              </a:solidFill>
              <a:latin typeface="ＭＳ Ｐゴシック"/>
              <a:ea typeface="ＭＳ Ｐゴシック"/>
            </a:rPr>
            <a:t>万人</a:t>
          </a:r>
        </a:p>
      </cdr:txBody>
    </cdr:sp>
  </cdr:relSizeAnchor>
  <cdr:relSizeAnchor xmlns:cdr="http://schemas.openxmlformats.org/drawingml/2006/chartDrawing">
    <cdr:from>
      <cdr:x>0.70505</cdr:x>
      <cdr:y>0.40636</cdr:y>
    </cdr:from>
    <cdr:to>
      <cdr:x>0.86916</cdr:x>
      <cdr:y>0.49497</cdr:y>
    </cdr:to>
    <cdr:sp macro="" textlink="">
      <cdr:nvSpPr>
        <cdr:cNvPr id="32" name="テキスト ボックス 50"/>
        <cdr:cNvSpPr txBox="1"/>
      </cdr:nvSpPr>
      <cdr:spPr>
        <a:xfrm xmlns:a="http://schemas.openxmlformats.org/drawingml/2006/main">
          <a:off x="6431904" y="2399416"/>
          <a:ext cx="1497113" cy="523220"/>
        </a:xfrm>
        <a:prstGeom xmlns:a="http://schemas.openxmlformats.org/drawingml/2006/main" prst="rect">
          <a:avLst/>
        </a:prstGeom>
        <a:solidFill xmlns:a="http://schemas.openxmlformats.org/drawingml/2006/main">
          <a:schemeClr val="bg1"/>
        </a:solidFill>
        <a:ln xmlns:a="http://schemas.openxmlformats.org/drawingml/2006/main">
          <a:solidFill>
            <a:srgbClr val="FF00FF"/>
          </a:solidFill>
        </a:l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altLang="ja-JP" sz="1400" dirty="0">
              <a:solidFill>
                <a:prstClr val="black"/>
              </a:solidFill>
              <a:latin typeface="ＭＳ Ｐゴシック"/>
              <a:ea typeface="ＭＳ Ｐゴシック"/>
            </a:rPr>
            <a:t>2070</a:t>
          </a:r>
          <a:r>
            <a:rPr lang="ja-JP" altLang="en-US" sz="1400" dirty="0">
              <a:solidFill>
                <a:prstClr val="black"/>
              </a:solidFill>
              <a:latin typeface="ＭＳ Ｐゴシック"/>
              <a:ea typeface="ＭＳ Ｐゴシック"/>
            </a:rPr>
            <a:t>年外国人</a:t>
          </a:r>
          <a:endParaRPr lang="en-US" altLang="ja-JP" sz="1400" dirty="0">
            <a:solidFill>
              <a:prstClr val="black"/>
            </a:solidFill>
            <a:latin typeface="ＭＳ Ｐゴシック"/>
            <a:ea typeface="ＭＳ Ｐゴシック"/>
          </a:endParaRPr>
        </a:p>
        <a:p xmlns:a="http://schemas.openxmlformats.org/drawingml/2006/main">
          <a:pPr algn="ctr"/>
          <a:r>
            <a:rPr lang="en-US" altLang="ja-JP" sz="1400" dirty="0">
              <a:solidFill>
                <a:prstClr val="black"/>
              </a:solidFill>
              <a:latin typeface="ＭＳ Ｐゴシック"/>
              <a:ea typeface="ＭＳ Ｐゴシック"/>
            </a:rPr>
            <a:t>939</a:t>
          </a:r>
          <a:r>
            <a:rPr lang="ja-JP" altLang="en-US" sz="1400" dirty="0">
              <a:solidFill>
                <a:prstClr val="black"/>
              </a:solidFill>
              <a:latin typeface="ＭＳ Ｐゴシック"/>
              <a:ea typeface="ＭＳ Ｐゴシック"/>
            </a:rPr>
            <a:t>万人</a:t>
          </a:r>
          <a:r>
            <a:rPr lang="en-US" altLang="ja-JP" sz="1400" dirty="0">
              <a:solidFill>
                <a:prstClr val="black"/>
              </a:solidFill>
              <a:latin typeface="ＭＳ Ｐゴシック"/>
              <a:ea typeface="ＭＳ Ｐゴシック"/>
            </a:rPr>
            <a:t>(10.8%)</a:t>
          </a:r>
          <a:endParaRPr lang="ja-JP" altLang="en-US" sz="1400" dirty="0">
            <a:solidFill>
              <a:prstClr val="black"/>
            </a:solidFill>
            <a:latin typeface="ＭＳ Ｐゴシック"/>
            <a:ea typeface="ＭＳ Ｐゴシック"/>
          </a:endParaRPr>
        </a:p>
      </cdr:txBody>
    </cdr:sp>
  </cdr:relSizeAnchor>
  <cdr:relSizeAnchor xmlns:cdr="http://schemas.openxmlformats.org/drawingml/2006/chartDrawing">
    <cdr:from>
      <cdr:x>0.85403</cdr:x>
      <cdr:y>0.41466</cdr:y>
    </cdr:from>
    <cdr:to>
      <cdr:x>0.93446</cdr:x>
      <cdr:y>0.47561</cdr:y>
    </cdr:to>
    <cdr:cxnSp macro="">
      <cdr:nvCxnSpPr>
        <cdr:cNvPr id="33" name="直線矢印コネクタ 32">
          <a:extLst xmlns:a="http://schemas.openxmlformats.org/drawingml/2006/main">
            <a:ext uri="{FF2B5EF4-FFF2-40B4-BE49-F238E27FC236}">
              <a16:creationId xmlns:a16="http://schemas.microsoft.com/office/drawing/2014/main" id="{9DF50768-EB6A-A53E-FD22-21A2C1EFE000}"/>
            </a:ext>
          </a:extLst>
        </cdr:cNvPr>
        <cdr:cNvCxnSpPr/>
      </cdr:nvCxnSpPr>
      <cdr:spPr>
        <a:xfrm xmlns:a="http://schemas.openxmlformats.org/drawingml/2006/main" flipV="1">
          <a:off x="7790981" y="2448436"/>
          <a:ext cx="733702" cy="359876"/>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87771</cdr:x>
      <cdr:y>0.59756</cdr:y>
    </cdr:from>
    <cdr:to>
      <cdr:x>0.93106</cdr:x>
      <cdr:y>0.6072</cdr:y>
    </cdr:to>
    <cdr:cxnSp macro="">
      <cdr:nvCxnSpPr>
        <cdr:cNvPr id="34" name="直線矢印コネクタ 33">
          <a:extLst xmlns:a="http://schemas.openxmlformats.org/drawingml/2006/main">
            <a:ext uri="{FF2B5EF4-FFF2-40B4-BE49-F238E27FC236}">
              <a16:creationId xmlns:a16="http://schemas.microsoft.com/office/drawing/2014/main" id="{93F96E04-3B20-BC2F-8D2C-70E39A901A0F}"/>
            </a:ext>
          </a:extLst>
        </cdr:cNvPr>
        <cdr:cNvCxnSpPr/>
      </cdr:nvCxnSpPr>
      <cdr:spPr>
        <a:xfrm xmlns:a="http://schemas.openxmlformats.org/drawingml/2006/main" flipV="1">
          <a:off x="8007005" y="3528392"/>
          <a:ext cx="486691" cy="56921"/>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76764</cdr:x>
      <cdr:y>0.23472</cdr:y>
    </cdr:from>
    <cdr:to>
      <cdr:x>0.93835</cdr:x>
      <cdr:y>0.31847</cdr:y>
    </cdr:to>
    <cdr:sp macro="" textlink="">
      <cdr:nvSpPr>
        <cdr:cNvPr id="38" name="テキスト ボックス 55"/>
        <cdr:cNvSpPr txBox="1"/>
      </cdr:nvSpPr>
      <cdr:spPr>
        <a:xfrm xmlns:a="http://schemas.openxmlformats.org/drawingml/2006/main">
          <a:off x="4906687" y="914401"/>
          <a:ext cx="1091193" cy="326273"/>
        </a:xfrm>
        <a:prstGeom xmlns:a="http://schemas.openxmlformats.org/drawingml/2006/main" prst="rect">
          <a:avLst/>
        </a:prstGeom>
        <a:solidFill xmlns:a="http://schemas.openxmlformats.org/drawingml/2006/main">
          <a:schemeClr val="bg1"/>
        </a:solidFill>
        <a:ln xmlns:a="http://schemas.openxmlformats.org/drawingml/2006/main">
          <a:solidFill>
            <a:schemeClr val="tx1"/>
          </a:solidFill>
        </a:ln>
      </cdr:spPr>
      <cdr:txBody>
        <a:bodyPr xmlns:a="http://schemas.openxmlformats.org/drawingml/2006/main" wrap="square" rtlCol="0" anchor="ctr">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altLang="ja-JP" sz="1400" dirty="0">
              <a:solidFill>
                <a:prstClr val="black"/>
              </a:solidFill>
              <a:latin typeface="ＭＳ Ｐゴシック"/>
              <a:ea typeface="ＭＳ Ｐゴシック"/>
            </a:rPr>
            <a:t>2070</a:t>
          </a:r>
          <a:r>
            <a:rPr lang="ja-JP" altLang="en-US" sz="1400" dirty="0">
              <a:solidFill>
                <a:prstClr val="black"/>
              </a:solidFill>
              <a:latin typeface="ＭＳ Ｐゴシック"/>
              <a:ea typeface="ＭＳ Ｐゴシック"/>
            </a:rPr>
            <a:t>年総人口</a:t>
          </a:r>
          <a:endParaRPr lang="en-US" altLang="ja-JP" sz="1400" dirty="0">
            <a:solidFill>
              <a:prstClr val="black"/>
            </a:solidFill>
            <a:latin typeface="ＭＳ Ｐゴシック"/>
            <a:ea typeface="ＭＳ Ｐゴシック"/>
          </a:endParaRPr>
        </a:p>
        <a:p xmlns:a="http://schemas.openxmlformats.org/drawingml/2006/main">
          <a:pPr algn="ctr"/>
          <a:r>
            <a:rPr lang="en-US" altLang="ja-JP" sz="1400" dirty="0">
              <a:solidFill>
                <a:prstClr val="black"/>
              </a:solidFill>
              <a:latin typeface="ＭＳ Ｐゴシック"/>
              <a:ea typeface="ＭＳ Ｐゴシック"/>
            </a:rPr>
            <a:t>8,700</a:t>
          </a:r>
          <a:r>
            <a:rPr lang="ja-JP" altLang="en-US" sz="1400" dirty="0">
              <a:solidFill>
                <a:prstClr val="black"/>
              </a:solidFill>
              <a:latin typeface="ＭＳ Ｐゴシック"/>
              <a:ea typeface="ＭＳ Ｐゴシック"/>
            </a:rPr>
            <a:t>万人</a:t>
          </a:r>
        </a:p>
      </cdr:txBody>
    </cdr:sp>
  </cdr:relSizeAnchor>
  <cdr:relSizeAnchor xmlns:cdr="http://schemas.openxmlformats.org/drawingml/2006/chartDrawing">
    <cdr:from>
      <cdr:x>0.08066</cdr:x>
      <cdr:y>0.22738</cdr:y>
    </cdr:from>
    <cdr:to>
      <cdr:x>0.08066</cdr:x>
      <cdr:y>0.8196</cdr:y>
    </cdr:to>
    <cdr:cxnSp macro="">
      <cdr:nvCxnSpPr>
        <cdr:cNvPr id="39" name="直線矢印コネクタ 38">
          <a:extLst xmlns:a="http://schemas.openxmlformats.org/drawingml/2006/main">
            <a:ext uri="{FF2B5EF4-FFF2-40B4-BE49-F238E27FC236}">
              <a16:creationId xmlns:a16="http://schemas.microsoft.com/office/drawing/2014/main" id="{DDAA63F3-33D7-892E-9B1D-B8BACE82937A}"/>
            </a:ext>
          </a:extLst>
        </cdr:cNvPr>
        <cdr:cNvCxnSpPr/>
      </cdr:nvCxnSpPr>
      <cdr:spPr>
        <a:xfrm xmlns:a="http://schemas.openxmlformats.org/drawingml/2006/main" flipV="1">
          <a:off x="735831" y="1342601"/>
          <a:ext cx="0" cy="3496855"/>
        </a:xfrm>
        <a:prstGeom xmlns:a="http://schemas.openxmlformats.org/drawingml/2006/main" prst="straightConnector1">
          <a:avLst/>
        </a:prstGeom>
        <a:ln xmlns:a="http://schemas.openxmlformats.org/drawingml/2006/main" w="28575">
          <a:headEnd type="arrow" w="med" len="med"/>
          <a:tailEnd type="arrow" w="med" len="med"/>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0"/>
            <a:ext cx="2919413" cy="495300"/>
          </a:xfrm>
          <a:prstGeom prst="rect">
            <a:avLst/>
          </a:prstGeom>
        </p:spPr>
        <p:txBody>
          <a:bodyPr vert="horz" lIns="91398" tIns="45699" rIns="91398" bIns="45699"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0"/>
            <a:ext cx="2919412" cy="495300"/>
          </a:xfrm>
          <a:prstGeom prst="rect">
            <a:avLst/>
          </a:prstGeom>
        </p:spPr>
        <p:txBody>
          <a:bodyPr vert="horz" lIns="91398" tIns="45699" rIns="91398" bIns="45699" rtlCol="0"/>
          <a:lstStyle>
            <a:lvl1pPr algn="r">
              <a:defRPr sz="1200"/>
            </a:lvl1pPr>
          </a:lstStyle>
          <a:p>
            <a:fld id="{4B5DCE68-ED5C-44BA-871D-0F97E179A191}" type="datetimeFigureOut">
              <a:rPr kumimoji="1" lang="ja-JP" altLang="en-US" smtClean="0"/>
              <a:t>2024/6/27</a:t>
            </a:fld>
            <a:endParaRPr kumimoji="1" lang="ja-JP" altLang="en-US"/>
          </a:p>
        </p:txBody>
      </p:sp>
      <p:sp>
        <p:nvSpPr>
          <p:cNvPr id="4" name="フッター プレースホルダー 3"/>
          <p:cNvSpPr>
            <a:spLocks noGrp="1"/>
          </p:cNvSpPr>
          <p:nvPr>
            <p:ph type="ftr" sz="quarter" idx="2"/>
          </p:nvPr>
        </p:nvSpPr>
        <p:spPr>
          <a:xfrm>
            <a:off x="4" y="9371014"/>
            <a:ext cx="2919413" cy="495300"/>
          </a:xfrm>
          <a:prstGeom prst="rect">
            <a:avLst/>
          </a:prstGeom>
        </p:spPr>
        <p:txBody>
          <a:bodyPr vert="horz" lIns="91398" tIns="45699" rIns="91398" bIns="45699"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4"/>
            <a:ext cx="2919412" cy="495300"/>
          </a:xfrm>
          <a:prstGeom prst="rect">
            <a:avLst/>
          </a:prstGeom>
        </p:spPr>
        <p:txBody>
          <a:bodyPr vert="horz" lIns="91398" tIns="45699" rIns="91398" bIns="45699" rtlCol="0" anchor="b"/>
          <a:lstStyle>
            <a:lvl1pPr algn="r">
              <a:defRPr sz="1200"/>
            </a:lvl1pPr>
          </a:lstStyle>
          <a:p>
            <a:fld id="{37A6E630-2EFC-41A4-87D0-6123AA8BDFED}" type="slidenum">
              <a:rPr kumimoji="1" lang="ja-JP" altLang="en-US" smtClean="0"/>
              <a:t>‹#›</a:t>
            </a:fld>
            <a:endParaRPr kumimoji="1" lang="ja-JP" altLang="en-US"/>
          </a:p>
        </p:txBody>
      </p:sp>
    </p:spTree>
    <p:extLst>
      <p:ext uri="{BB962C8B-B14F-4D97-AF65-F5344CB8AC3E}">
        <p14:creationId xmlns:p14="http://schemas.microsoft.com/office/powerpoint/2010/main" val="271314820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3" y="0"/>
            <a:ext cx="2919386" cy="493862"/>
          </a:xfrm>
          <a:prstGeom prst="rect">
            <a:avLst/>
          </a:prstGeom>
        </p:spPr>
        <p:txBody>
          <a:bodyPr vert="horz" lIns="69283" tIns="34643" rIns="69283" bIns="34643" rtlCol="0"/>
          <a:lstStyle>
            <a:lvl1pPr algn="l">
              <a:defRPr sz="900"/>
            </a:lvl1pPr>
          </a:lstStyle>
          <a:p>
            <a:pPr>
              <a:defRPr/>
            </a:pPr>
            <a:endParaRPr lang="ja-JP" altLang="en-US"/>
          </a:p>
        </p:txBody>
      </p:sp>
      <p:sp>
        <p:nvSpPr>
          <p:cNvPr id="3" name="日付プレースホルダ 2"/>
          <p:cNvSpPr>
            <a:spLocks noGrp="1"/>
          </p:cNvSpPr>
          <p:nvPr>
            <p:ph type="dt" idx="1"/>
          </p:nvPr>
        </p:nvSpPr>
        <p:spPr>
          <a:xfrm>
            <a:off x="3815188" y="0"/>
            <a:ext cx="2919386" cy="493862"/>
          </a:xfrm>
          <a:prstGeom prst="rect">
            <a:avLst/>
          </a:prstGeom>
        </p:spPr>
        <p:txBody>
          <a:bodyPr vert="horz" lIns="69283" tIns="34643" rIns="69283" bIns="34643" rtlCol="0"/>
          <a:lstStyle>
            <a:lvl1pPr algn="r">
              <a:defRPr sz="900"/>
            </a:lvl1pPr>
          </a:lstStyle>
          <a:p>
            <a:pPr>
              <a:defRPr/>
            </a:pPr>
            <a:fld id="{31D2C497-4D59-4F15-B6FA-86FF61EA1D27}" type="datetimeFigureOut">
              <a:rPr lang="ja-JP" altLang="en-US"/>
              <a:pPr>
                <a:defRPr/>
              </a:pPr>
              <a:t>2024/6/27</a:t>
            </a:fld>
            <a:endParaRPr lang="ja-JP" altLang="en-US"/>
          </a:p>
        </p:txBody>
      </p:sp>
      <p:sp>
        <p:nvSpPr>
          <p:cNvPr id="4" name="スライド イメージ プレースホルダ 3"/>
          <p:cNvSpPr>
            <a:spLocks noGrp="1" noRot="1" noChangeAspect="1"/>
          </p:cNvSpPr>
          <p:nvPr>
            <p:ph type="sldImg" idx="2"/>
          </p:nvPr>
        </p:nvSpPr>
        <p:spPr>
          <a:xfrm>
            <a:off x="1006475" y="739775"/>
            <a:ext cx="4722813" cy="3700463"/>
          </a:xfrm>
          <a:prstGeom prst="rect">
            <a:avLst/>
          </a:prstGeom>
          <a:noFill/>
          <a:ln w="12700">
            <a:solidFill>
              <a:prstClr val="black"/>
            </a:solidFill>
          </a:ln>
        </p:spPr>
        <p:txBody>
          <a:bodyPr vert="horz" lIns="69283" tIns="34643" rIns="69283" bIns="34643" rtlCol="0" anchor="ctr"/>
          <a:lstStyle/>
          <a:p>
            <a:pPr lvl="0"/>
            <a:endParaRPr lang="ja-JP" altLang="en-US" noProof="0"/>
          </a:p>
        </p:txBody>
      </p:sp>
      <p:sp>
        <p:nvSpPr>
          <p:cNvPr id="5" name="ノート プレースホルダ 4"/>
          <p:cNvSpPr>
            <a:spLocks noGrp="1"/>
          </p:cNvSpPr>
          <p:nvPr>
            <p:ph type="body" sz="quarter" idx="3"/>
          </p:nvPr>
        </p:nvSpPr>
        <p:spPr>
          <a:xfrm>
            <a:off x="673340" y="4686226"/>
            <a:ext cx="5389086" cy="4439902"/>
          </a:xfrm>
          <a:prstGeom prst="rect">
            <a:avLst/>
          </a:prstGeom>
        </p:spPr>
        <p:txBody>
          <a:bodyPr vert="horz" lIns="69283" tIns="34643" rIns="69283" bIns="34643" rtlCol="0">
            <a:normAutofit/>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6" name="フッター プレースホルダ 5"/>
          <p:cNvSpPr>
            <a:spLocks noGrp="1"/>
          </p:cNvSpPr>
          <p:nvPr>
            <p:ph type="ftr" sz="quarter" idx="4"/>
          </p:nvPr>
        </p:nvSpPr>
        <p:spPr>
          <a:xfrm>
            <a:off x="3" y="9371239"/>
            <a:ext cx="2919386" cy="493861"/>
          </a:xfrm>
          <a:prstGeom prst="rect">
            <a:avLst/>
          </a:prstGeom>
        </p:spPr>
        <p:txBody>
          <a:bodyPr vert="horz" lIns="69283" tIns="34643" rIns="69283" bIns="34643" rtlCol="0" anchor="b"/>
          <a:lstStyle>
            <a:lvl1pPr algn="l">
              <a:defRPr sz="900"/>
            </a:lvl1pPr>
          </a:lstStyle>
          <a:p>
            <a:pPr>
              <a:defRPr/>
            </a:pPr>
            <a:endParaRPr lang="ja-JP" altLang="en-US"/>
          </a:p>
        </p:txBody>
      </p:sp>
      <p:sp>
        <p:nvSpPr>
          <p:cNvPr id="7" name="スライド番号プレースホルダ 6"/>
          <p:cNvSpPr>
            <a:spLocks noGrp="1"/>
          </p:cNvSpPr>
          <p:nvPr>
            <p:ph type="sldNum" sz="quarter" idx="5"/>
          </p:nvPr>
        </p:nvSpPr>
        <p:spPr>
          <a:xfrm>
            <a:off x="3815188" y="9371239"/>
            <a:ext cx="2919386" cy="493861"/>
          </a:xfrm>
          <a:prstGeom prst="rect">
            <a:avLst/>
          </a:prstGeom>
        </p:spPr>
        <p:txBody>
          <a:bodyPr vert="horz" lIns="69283" tIns="34643" rIns="69283" bIns="34643" rtlCol="0" anchor="b"/>
          <a:lstStyle>
            <a:lvl1pPr algn="r">
              <a:defRPr sz="900"/>
            </a:lvl1pPr>
          </a:lstStyle>
          <a:p>
            <a:pPr>
              <a:defRPr/>
            </a:pPr>
            <a:fld id="{87F5F48D-190F-406E-B661-A6A23CF36680}" type="slidenum">
              <a:rPr lang="ja-JP" altLang="en-US"/>
              <a:pPr>
                <a:defRPr/>
              </a:pPr>
              <a:t>‹#›</a:t>
            </a:fld>
            <a:endParaRPr lang="ja-JP" altLang="en-US"/>
          </a:p>
        </p:txBody>
      </p:sp>
    </p:spTree>
    <p:extLst>
      <p:ext uri="{BB962C8B-B14F-4D97-AF65-F5344CB8AC3E}">
        <p14:creationId xmlns:p14="http://schemas.microsoft.com/office/powerpoint/2010/main" val="188108889"/>
      </p:ext>
    </p:extLst>
  </p:cSld>
  <p:clrMap bg1="lt1" tx1="dk1" bg2="lt2" tx2="dk2" accent1="accent1" accent2="accent2" accent3="accent3" accent4="accent4" accent5="accent5" accent6="accent6" hlink="hlink" folHlink="folHlink"/>
  <p:hf sldNum="0" hdr="0" ftr="0" dt="0"/>
  <p:notesStyle>
    <a:lvl1pPr algn="l" defTabSz="1008063" rtl="0" eaLnBrk="0" fontAlgn="base" hangingPunct="0">
      <a:spcBef>
        <a:spcPct val="30000"/>
      </a:spcBef>
      <a:spcAft>
        <a:spcPct val="0"/>
      </a:spcAft>
      <a:defRPr kumimoji="1" sz="1300" kern="1200">
        <a:solidFill>
          <a:schemeClr val="tx1"/>
        </a:solidFill>
        <a:latin typeface="+mn-lt"/>
        <a:ea typeface="+mn-ea"/>
        <a:cs typeface="+mn-cs"/>
      </a:defRPr>
    </a:lvl1pPr>
    <a:lvl2pPr marL="503238" algn="l" defTabSz="1008063" rtl="0" eaLnBrk="0" fontAlgn="base" hangingPunct="0">
      <a:spcBef>
        <a:spcPct val="30000"/>
      </a:spcBef>
      <a:spcAft>
        <a:spcPct val="0"/>
      </a:spcAft>
      <a:defRPr kumimoji="1" sz="1300" kern="1200">
        <a:solidFill>
          <a:schemeClr val="tx1"/>
        </a:solidFill>
        <a:latin typeface="+mn-lt"/>
        <a:ea typeface="+mn-ea"/>
        <a:cs typeface="+mn-cs"/>
      </a:defRPr>
    </a:lvl2pPr>
    <a:lvl3pPr marL="1008063" algn="l" defTabSz="1008063" rtl="0" eaLnBrk="0" fontAlgn="base" hangingPunct="0">
      <a:spcBef>
        <a:spcPct val="30000"/>
      </a:spcBef>
      <a:spcAft>
        <a:spcPct val="0"/>
      </a:spcAft>
      <a:defRPr kumimoji="1" sz="1300" kern="1200">
        <a:solidFill>
          <a:schemeClr val="tx1"/>
        </a:solidFill>
        <a:latin typeface="+mn-lt"/>
        <a:ea typeface="+mn-ea"/>
        <a:cs typeface="+mn-cs"/>
      </a:defRPr>
    </a:lvl3pPr>
    <a:lvl4pPr marL="1512888" algn="l" defTabSz="1008063" rtl="0" eaLnBrk="0" fontAlgn="base" hangingPunct="0">
      <a:spcBef>
        <a:spcPct val="30000"/>
      </a:spcBef>
      <a:spcAft>
        <a:spcPct val="0"/>
      </a:spcAft>
      <a:defRPr kumimoji="1" sz="1300" kern="1200">
        <a:solidFill>
          <a:schemeClr val="tx1"/>
        </a:solidFill>
        <a:latin typeface="+mn-lt"/>
        <a:ea typeface="+mn-ea"/>
        <a:cs typeface="+mn-cs"/>
      </a:defRPr>
    </a:lvl4pPr>
    <a:lvl5pPr marL="2017713" algn="l" defTabSz="1008063" rtl="0" eaLnBrk="0" fontAlgn="base" hangingPunct="0">
      <a:spcBef>
        <a:spcPct val="30000"/>
      </a:spcBef>
      <a:spcAft>
        <a:spcPct val="0"/>
      </a:spcAft>
      <a:defRPr kumimoji="1" sz="1300" kern="1200">
        <a:solidFill>
          <a:schemeClr val="tx1"/>
        </a:solidFill>
        <a:latin typeface="+mn-lt"/>
        <a:ea typeface="+mn-ea"/>
        <a:cs typeface="+mn-cs"/>
      </a:defRPr>
    </a:lvl5pPr>
    <a:lvl6pPr marL="2523287" algn="l" defTabSz="1009315" rtl="0" eaLnBrk="1" latinLnBrk="0" hangingPunct="1">
      <a:defRPr kumimoji="1" sz="1300" kern="1200">
        <a:solidFill>
          <a:schemeClr val="tx1"/>
        </a:solidFill>
        <a:latin typeface="+mn-lt"/>
        <a:ea typeface="+mn-ea"/>
        <a:cs typeface="+mn-cs"/>
      </a:defRPr>
    </a:lvl6pPr>
    <a:lvl7pPr marL="3027944" algn="l" defTabSz="1009315" rtl="0" eaLnBrk="1" latinLnBrk="0" hangingPunct="1">
      <a:defRPr kumimoji="1" sz="1300" kern="1200">
        <a:solidFill>
          <a:schemeClr val="tx1"/>
        </a:solidFill>
        <a:latin typeface="+mn-lt"/>
        <a:ea typeface="+mn-ea"/>
        <a:cs typeface="+mn-cs"/>
      </a:defRPr>
    </a:lvl7pPr>
    <a:lvl8pPr marL="3532602" algn="l" defTabSz="1009315" rtl="0" eaLnBrk="1" latinLnBrk="0" hangingPunct="1">
      <a:defRPr kumimoji="1" sz="1300" kern="1200">
        <a:solidFill>
          <a:schemeClr val="tx1"/>
        </a:solidFill>
        <a:latin typeface="+mn-lt"/>
        <a:ea typeface="+mn-ea"/>
        <a:cs typeface="+mn-cs"/>
      </a:defRPr>
    </a:lvl8pPr>
    <a:lvl9pPr marL="4037259" algn="l" defTabSz="1009315" rtl="0" eaLnBrk="1" latinLnBrk="0" hangingPunct="1">
      <a:defRPr kumimoji="1"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スライド イメージ プレースホルダ 1"/>
          <p:cNvSpPr>
            <a:spLocks noGrp="1" noRot="1" noChangeAspect="1" noTextEdit="1"/>
          </p:cNvSpPr>
          <p:nvPr>
            <p:ph type="sldImg"/>
          </p:nvPr>
        </p:nvSpPr>
        <p:spPr bwMode="auto">
          <a:xfrm>
            <a:off x="935038" y="717550"/>
            <a:ext cx="4579937" cy="3589338"/>
          </a:xfrm>
          <a:noFill/>
          <a:ln>
            <a:solidFill>
              <a:srgbClr val="000000"/>
            </a:solidFill>
            <a:miter lim="800000"/>
            <a:headEnd/>
            <a:tailEnd/>
          </a:ln>
        </p:spPr>
      </p:sp>
      <p:sp>
        <p:nvSpPr>
          <p:cNvPr id="6147" name="ノート プレースホルダ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ja-JP" altLang="en-US"/>
          </a:p>
        </p:txBody>
      </p:sp>
    </p:spTree>
    <p:extLst>
      <p:ext uri="{BB962C8B-B14F-4D97-AF65-F5344CB8AC3E}">
        <p14:creationId xmlns:p14="http://schemas.microsoft.com/office/powerpoint/2010/main" val="1747625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41747804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4309570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こちらが第六次国土利用計画の全体像です。大きな構成として、１，国土利用に関する基本構想、２、国土の利用区分ごとの規模の目標３、必要な措置の概要が規定されています。</a:t>
            </a:r>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54725" rtl="0" eaLnBrk="1" fontAlgn="base" latinLnBrk="0" hangingPunct="1">
              <a:lnSpc>
                <a:spcPct val="100000"/>
              </a:lnSpc>
              <a:spcBef>
                <a:spcPct val="0"/>
              </a:spcBef>
              <a:spcAft>
                <a:spcPct val="0"/>
              </a:spcAft>
              <a:buClrTx/>
              <a:buSzTx/>
              <a:buFontTx/>
              <a:buNone/>
              <a:tabLst/>
              <a:defRPr/>
            </a:pPr>
            <a:fld id="{B036A88F-94EA-4B1D-804E-2A8E7C5177AE}" type="slidenum">
              <a:rPr kumimoji="1" lang="ja-JP" altLang="en-US" sz="8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954725" rtl="0" eaLnBrk="1" fontAlgn="base" latinLnBrk="0" hangingPunct="1">
                <a:lnSpc>
                  <a:spcPct val="100000"/>
                </a:lnSpc>
                <a:spcBef>
                  <a:spcPct val="0"/>
                </a:spcBef>
                <a:spcAft>
                  <a:spcPct val="0"/>
                </a:spcAft>
                <a:buClrTx/>
                <a:buSzTx/>
                <a:buFontTx/>
                <a:buNone/>
                <a:tabLst/>
                <a:defRPr/>
              </a:pPr>
              <a:t>20</a:t>
            </a:fld>
            <a:endParaRPr kumimoji="1" lang="ja-JP" altLang="en-US" sz="8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4044133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a:p>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1F5A76B-262D-443F-A316-9C03A409C61E}" type="slidenum">
              <a:rPr kumimoji="1" lang="ja-JP" altLang="en-US"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1" lang="ja-JP"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2584112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100593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12734" indent="-300624">
              <a:lnSpc>
                <a:spcPts val="1669"/>
              </a:lnSpc>
              <a:spcBef>
                <a:spcPts val="313"/>
              </a:spcBef>
            </a:pPr>
            <a:endParaRPr lang="ja-JP" altLang="ja-JP" sz="1500" dirty="0"/>
          </a:p>
        </p:txBody>
      </p:sp>
    </p:spTree>
    <p:extLst>
      <p:ext uri="{BB962C8B-B14F-4D97-AF65-F5344CB8AC3E}">
        <p14:creationId xmlns:p14="http://schemas.microsoft.com/office/powerpoint/2010/main" val="31805507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a:xfrm>
            <a:off x="758825" y="798513"/>
            <a:ext cx="5097463" cy="3992562"/>
          </a:xfrm>
        </p:spPr>
      </p:sp>
      <p:sp>
        <p:nvSpPr>
          <p:cNvPr id="3" name="ノート プレースホルダ 2"/>
          <p:cNvSpPr>
            <a:spLocks noGrp="1"/>
          </p:cNvSpPr>
          <p:nvPr>
            <p:ph type="body" idx="1"/>
          </p:nvPr>
        </p:nvSpPr>
        <p:spPr>
          <a:xfrm>
            <a:off x="673340" y="5077172"/>
            <a:ext cx="5389086" cy="4048956"/>
          </a:xfrm>
        </p:spPr>
        <p:txBody>
          <a:bodyPr>
            <a:normAutofit/>
          </a:bodyPr>
          <a:lstStyle/>
          <a:p>
            <a:pPr marL="112734" indent="-225467">
              <a:lnSpc>
                <a:spcPts val="1200"/>
              </a:lnSpc>
              <a:spcBef>
                <a:spcPts val="313"/>
              </a:spcBef>
            </a:pPr>
            <a:endParaRPr lang="ja-JP" altLang="ja-JP" sz="1100" dirty="0"/>
          </a:p>
        </p:txBody>
      </p:sp>
    </p:spTree>
    <p:extLst>
      <p:ext uri="{BB962C8B-B14F-4D97-AF65-F5344CB8AC3E}">
        <p14:creationId xmlns:p14="http://schemas.microsoft.com/office/powerpoint/2010/main" val="19004231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12752" indent="-300672">
              <a:lnSpc>
                <a:spcPts val="1670"/>
              </a:lnSpc>
              <a:spcBef>
                <a:spcPts val="313"/>
              </a:spcBef>
            </a:pPr>
            <a:endParaRPr kumimoji="1" lang="ja-JP" altLang="en-US" dirty="0"/>
          </a:p>
        </p:txBody>
      </p:sp>
    </p:spTree>
    <p:extLst>
      <p:ext uri="{BB962C8B-B14F-4D97-AF65-F5344CB8AC3E}">
        <p14:creationId xmlns:p14="http://schemas.microsoft.com/office/powerpoint/2010/main" val="42360843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9160121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1928314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118471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868127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212966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12752" indent="-300672">
              <a:lnSpc>
                <a:spcPts val="1670"/>
              </a:lnSpc>
              <a:spcBef>
                <a:spcPts val="313"/>
              </a:spcBef>
            </a:pPr>
            <a:endParaRPr lang="ja-JP" altLang="en-US" sz="1200" dirty="0">
              <a:latin typeface="+mn-ea"/>
            </a:endParaRPr>
          </a:p>
        </p:txBody>
      </p:sp>
    </p:spTree>
    <p:extLst>
      <p:ext uri="{BB962C8B-B14F-4D97-AF65-F5344CB8AC3E}">
        <p14:creationId xmlns:p14="http://schemas.microsoft.com/office/powerpoint/2010/main" val="2847931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12752" indent="-300672">
              <a:lnSpc>
                <a:spcPts val="1670"/>
              </a:lnSpc>
              <a:spcBef>
                <a:spcPts val="313"/>
              </a:spcBef>
            </a:pPr>
            <a:endParaRPr lang="ja-JP" altLang="en-US" sz="1200" dirty="0">
              <a:latin typeface="+mn-ea"/>
            </a:endParaRPr>
          </a:p>
        </p:txBody>
      </p:sp>
    </p:spTree>
    <p:extLst>
      <p:ext uri="{BB962C8B-B14F-4D97-AF65-F5344CB8AC3E}">
        <p14:creationId xmlns:p14="http://schemas.microsoft.com/office/powerpoint/2010/main" val="14772342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12752" indent="-300672">
              <a:lnSpc>
                <a:spcPts val="1670"/>
              </a:lnSpc>
              <a:spcBef>
                <a:spcPts val="313"/>
              </a:spcBef>
            </a:pPr>
            <a:endParaRPr lang="ja-JP" altLang="en-US" sz="1200" dirty="0"/>
          </a:p>
        </p:txBody>
      </p:sp>
    </p:spTree>
    <p:extLst>
      <p:ext uri="{BB962C8B-B14F-4D97-AF65-F5344CB8AC3E}">
        <p14:creationId xmlns:p14="http://schemas.microsoft.com/office/powerpoint/2010/main" val="14664442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a:xfrm>
            <a:off x="1006475" y="739775"/>
            <a:ext cx="4722813" cy="3700463"/>
          </a:xfrm>
        </p:spPr>
      </p:sp>
      <p:sp>
        <p:nvSpPr>
          <p:cNvPr id="3" name="ノート プレースホルダ 2"/>
          <p:cNvSpPr>
            <a:spLocks noGrp="1"/>
          </p:cNvSpPr>
          <p:nvPr>
            <p:ph type="body" idx="1"/>
          </p:nvPr>
        </p:nvSpPr>
        <p:spPr/>
        <p:txBody>
          <a:bodyPr>
            <a:normAutofit/>
          </a:bodyPr>
          <a:lstStyle/>
          <a:p>
            <a:endParaRPr kumimoji="1" lang="ja-JP" altLang="en-US" dirty="0"/>
          </a:p>
        </p:txBody>
      </p:sp>
    </p:spTree>
    <p:extLst>
      <p:ext uri="{BB962C8B-B14F-4D97-AF65-F5344CB8AC3E}">
        <p14:creationId xmlns:p14="http://schemas.microsoft.com/office/powerpoint/2010/main" val="762012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a:xfrm>
            <a:off x="1006475" y="739775"/>
            <a:ext cx="4722813" cy="3700463"/>
          </a:xfrm>
        </p:spPr>
      </p:sp>
      <p:sp>
        <p:nvSpPr>
          <p:cNvPr id="3" name="ノート プレースホルダ 2"/>
          <p:cNvSpPr>
            <a:spLocks noGrp="1"/>
          </p:cNvSpPr>
          <p:nvPr>
            <p:ph type="body" idx="1"/>
          </p:nvPr>
        </p:nvSpPr>
        <p:spPr/>
        <p:txBody>
          <a:bodyPr>
            <a:normAutofit/>
          </a:bodyPr>
          <a:lstStyle/>
          <a:p>
            <a:endParaRPr kumimoji="1" lang="ja-JP" altLang="en-US" dirty="0"/>
          </a:p>
        </p:txBody>
      </p:sp>
    </p:spTree>
    <p:extLst>
      <p:ext uri="{BB962C8B-B14F-4D97-AF65-F5344CB8AC3E}">
        <p14:creationId xmlns:p14="http://schemas.microsoft.com/office/powerpoint/2010/main" val="3153094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 1"/>
          <p:cNvSpPr>
            <a:spLocks noGrp="1" noRot="1" noChangeAspect="1"/>
          </p:cNvSpPr>
          <p:nvPr>
            <p:ph type="sldImg"/>
          </p:nvPr>
        </p:nvSpPr>
        <p:spPr>
          <a:xfrm>
            <a:off x="1006475" y="739775"/>
            <a:ext cx="4722813" cy="3700463"/>
          </a:xfrm>
        </p:spPr>
      </p:sp>
      <p:sp>
        <p:nvSpPr>
          <p:cNvPr id="3" name="ノート プレースホルダ 2"/>
          <p:cNvSpPr>
            <a:spLocks noGrp="1"/>
          </p:cNvSpPr>
          <p:nvPr>
            <p:ph type="body" idx="1"/>
          </p:nvPr>
        </p:nvSpPr>
        <p:spPr/>
        <p:txBody>
          <a:bodyPr>
            <a:normAutofit/>
          </a:bodyPr>
          <a:lstStyle/>
          <a:p>
            <a:endParaRPr kumimoji="1" lang="ja-JP" altLang="en-US" dirty="0"/>
          </a:p>
        </p:txBody>
      </p:sp>
    </p:spTree>
    <p:extLst>
      <p:ext uri="{BB962C8B-B14F-4D97-AF65-F5344CB8AC3E}">
        <p14:creationId xmlns:p14="http://schemas.microsoft.com/office/powerpoint/2010/main" val="25312972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863221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056458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6249977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290016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3" name="スライド イメージ プレースホルダー 1"/>
          <p:cNvSpPr>
            <a:spLocks noGrp="1" noRot="1" noChangeAspect="1"/>
          </p:cNvSpPr>
          <p:nvPr>
            <p:ph type="sldImg"/>
          </p:nvPr>
        </p:nvSpPr>
        <p:spPr>
          <a:xfrm>
            <a:off x="1347788" y="1279525"/>
            <a:ext cx="4406900" cy="3452813"/>
          </a:xfrm>
        </p:spPr>
      </p:sp>
      <p:sp>
        <p:nvSpPr>
          <p:cNvPr id="1944"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6438062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8000113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3" name="スライド イメージ プレースホルダー 1"/>
          <p:cNvSpPr>
            <a:spLocks noGrp="1" noRot="1" noChangeAspect="1"/>
          </p:cNvSpPr>
          <p:nvPr>
            <p:ph type="sldImg"/>
          </p:nvPr>
        </p:nvSpPr>
        <p:spPr>
          <a:xfrm>
            <a:off x="1243013" y="1233488"/>
            <a:ext cx="4249737" cy="3328987"/>
          </a:xfrm>
        </p:spPr>
      </p:sp>
      <p:sp>
        <p:nvSpPr>
          <p:cNvPr id="1944"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3875477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3" name="スライド イメージ プレースホルダー 1"/>
          <p:cNvSpPr>
            <a:spLocks noGrp="1" noRot="1" noChangeAspect="1"/>
          </p:cNvSpPr>
          <p:nvPr>
            <p:ph type="sldImg"/>
          </p:nvPr>
        </p:nvSpPr>
        <p:spPr>
          <a:xfrm>
            <a:off x="1243013" y="1233488"/>
            <a:ext cx="4249737" cy="3328987"/>
          </a:xfrm>
        </p:spPr>
      </p:sp>
      <p:sp>
        <p:nvSpPr>
          <p:cNvPr id="1944" name="ノート プレースホルダー 2"/>
          <p:cNvSpPr>
            <a:spLocks noGrp="1"/>
          </p:cNvSpPr>
          <p:nvPr>
            <p:ph type="body" idx="1"/>
          </p:nvPr>
        </p:nvSpPr>
        <p:spPr/>
        <p:txBody>
          <a:bodyPr>
            <a:normAutofit/>
          </a:bodyPr>
          <a:lstStyle/>
          <a:p>
            <a:endParaRPr kumimoji="1" lang="ja-JP" altLang="en-US" dirty="0"/>
          </a:p>
        </p:txBody>
      </p:sp>
    </p:spTree>
    <p:extLst>
      <p:ext uri="{BB962C8B-B14F-4D97-AF65-F5344CB8AC3E}">
        <p14:creationId xmlns:p14="http://schemas.microsoft.com/office/powerpoint/2010/main" val="38537168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3" name="スライド イメージ プレースホルダー 1"/>
          <p:cNvSpPr>
            <a:spLocks noGrp="1" noRot="1" noChangeAspect="1"/>
          </p:cNvSpPr>
          <p:nvPr>
            <p:ph type="sldImg"/>
          </p:nvPr>
        </p:nvSpPr>
        <p:spPr>
          <a:xfrm>
            <a:off x="1252538" y="1300163"/>
            <a:ext cx="4481512" cy="3509962"/>
          </a:xfrm>
        </p:spPr>
      </p:sp>
      <p:sp>
        <p:nvSpPr>
          <p:cNvPr id="1944" name="ノート プレースホルダー 2"/>
          <p:cNvSpPr>
            <a:spLocks noGrp="1"/>
          </p:cNvSpPr>
          <p:nvPr>
            <p:ph type="body" idx="1"/>
          </p:nvPr>
        </p:nvSpPr>
        <p:spPr/>
        <p:txBody>
          <a:bodyPr/>
          <a:lstStyle/>
          <a:p>
            <a:endParaRPr kumimoji="1" lang="en-US" altLang="ja-JP" dirty="0"/>
          </a:p>
        </p:txBody>
      </p:sp>
    </p:spTree>
    <p:extLst>
      <p:ext uri="{BB962C8B-B14F-4D97-AF65-F5344CB8AC3E}">
        <p14:creationId xmlns:p14="http://schemas.microsoft.com/office/powerpoint/2010/main" val="14522245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7709068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7709068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3318054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296762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4" name="スライド イメージ プレースホルダー 1"/>
          <p:cNvSpPr>
            <a:spLocks noGrp="1" noRot="1" noChangeAspect="1"/>
          </p:cNvSpPr>
          <p:nvPr>
            <p:ph type="sldImg"/>
          </p:nvPr>
        </p:nvSpPr>
        <p:spPr/>
      </p:sp>
      <p:sp>
        <p:nvSpPr>
          <p:cNvPr id="1215"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04473151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41" name="スライド イメージ プレースホルダー 1"/>
          <p:cNvSpPr>
            <a:spLocks noGrp="1" noRot="1" noChangeAspect="1"/>
          </p:cNvSpPr>
          <p:nvPr>
            <p:ph type="sldImg"/>
          </p:nvPr>
        </p:nvSpPr>
        <p:spPr/>
      </p:sp>
      <p:sp>
        <p:nvSpPr>
          <p:cNvPr id="6742"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5232158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0464197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1168185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05268190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7" name="スライド イメージ プレースホルダー 1"/>
          <p:cNvSpPr>
            <a:spLocks noGrp="1" noRot="1" noChangeAspect="1"/>
          </p:cNvSpPr>
          <p:nvPr>
            <p:ph type="sldImg"/>
          </p:nvPr>
        </p:nvSpPr>
        <p:spPr>
          <a:xfrm>
            <a:off x="1008063" y="739775"/>
            <a:ext cx="4719637" cy="3698875"/>
          </a:xfrm>
        </p:spPr>
      </p:sp>
      <p:sp>
        <p:nvSpPr>
          <p:cNvPr id="1538"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42588888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0" name="スライド イメージ プレースホルダー 1"/>
          <p:cNvSpPr>
            <a:spLocks noGrp="1" noRot="1" noChangeAspect="1"/>
          </p:cNvSpPr>
          <p:nvPr>
            <p:ph type="sldImg"/>
          </p:nvPr>
        </p:nvSpPr>
        <p:spPr>
          <a:xfrm>
            <a:off x="1039813" y="749300"/>
            <a:ext cx="4789487" cy="3751263"/>
          </a:xfrm>
        </p:spPr>
      </p:sp>
      <p:sp>
        <p:nvSpPr>
          <p:cNvPr id="1381"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4798037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522159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9" name="スライド イメージ プレースホルダー 1"/>
          <p:cNvSpPr>
            <a:spLocks noGrp="1" noRot="1" noChangeAspect="1"/>
          </p:cNvSpPr>
          <p:nvPr>
            <p:ph type="sldImg"/>
          </p:nvPr>
        </p:nvSpPr>
        <p:spPr>
          <a:xfrm>
            <a:off x="571500" y="223838"/>
            <a:ext cx="5643563" cy="4421187"/>
          </a:xfrm>
        </p:spPr>
      </p:sp>
      <p:sp>
        <p:nvSpPr>
          <p:cNvPr id="1530"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79277798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571500" y="223838"/>
            <a:ext cx="5643563" cy="4421187"/>
          </a:xfrm>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8283732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1" name="スライド イメージ プレースホルダー 1"/>
          <p:cNvSpPr>
            <a:spLocks noGrp="1" noRot="1" noChangeAspect="1"/>
          </p:cNvSpPr>
          <p:nvPr>
            <p:ph type="sldImg"/>
          </p:nvPr>
        </p:nvSpPr>
        <p:spPr>
          <a:xfrm>
            <a:off x="571500" y="223838"/>
            <a:ext cx="5643563" cy="4421187"/>
          </a:xfrm>
        </p:spPr>
      </p:sp>
      <p:sp>
        <p:nvSpPr>
          <p:cNvPr id="1952"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503292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42550381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49363" y="1279525"/>
            <a:ext cx="4603750" cy="3452813"/>
          </a:xfrm>
        </p:spPr>
      </p:sp>
      <p:sp>
        <p:nvSpPr>
          <p:cNvPr id="3" name="ノート プレースホルダー 2"/>
          <p:cNvSpPr>
            <a:spLocks noGrp="1"/>
          </p:cNvSpPr>
          <p:nvPr>
            <p:ph type="body" idx="1"/>
          </p:nvPr>
        </p:nvSpPr>
        <p:spPr/>
        <p:txBody>
          <a:bodyPr/>
          <a:lstStyle/>
          <a:p>
            <a:r>
              <a:rPr kumimoji="1" lang="ja-JP" altLang="en-US" dirty="0"/>
              <a:t>国土計画は、国土の上で営まれる人々の様々な活動に焦点を当てながら、均衡のとれた国土の発展を目指す総合計画としてほぼ１０年おきに策定されてきました。会社で言えば、中期経営計画のようなものです。</a:t>
            </a:r>
            <a:endParaRPr kumimoji="1" lang="en-US" altLang="ja-JP" dirty="0"/>
          </a:p>
          <a:p>
            <a:r>
              <a:rPr kumimoji="1" lang="ja-JP" altLang="en-US" dirty="0"/>
              <a:t>この計画は、最初に策定された全国総合開発計画から</a:t>
            </a:r>
            <a:r>
              <a:rPr kumimoji="1" lang="en-US" altLang="ja-JP" dirty="0"/>
              <a:t>60</a:t>
            </a:r>
            <a:r>
              <a:rPr kumimoji="1" lang="ja-JP" altLang="en-US" dirty="0"/>
              <a:t>年あまりに渡り、その時々の社会経済状況や長期的な展望を踏まえて、国土づくりの理念や将来ビジョンが掲げられてきています。</a:t>
            </a:r>
            <a:endParaRPr kumimoji="1" lang="en-US" altLang="ja-JP" dirty="0"/>
          </a:p>
          <a:p>
            <a:endParaRPr kumimoji="1" lang="en-US" altLang="ja-JP" dirty="0"/>
          </a:p>
        </p:txBody>
      </p:sp>
      <p:sp>
        <p:nvSpPr>
          <p:cNvPr id="4" name="スライド番号プレースホルダー 3"/>
          <p:cNvSpPr>
            <a:spLocks noGrp="1"/>
          </p:cNvSpPr>
          <p:nvPr>
            <p:ph type="sldNum" sz="quarter" idx="10"/>
          </p:nvPr>
        </p:nvSpPr>
        <p:spPr/>
        <p:txBody>
          <a:bodyPr/>
          <a:lstStyle/>
          <a:p>
            <a:pPr marL="0" marR="0" lvl="0" indent="0" algn="r" defTabSz="954725" rtl="0" eaLnBrk="1" fontAlgn="base" latinLnBrk="0" hangingPunct="1">
              <a:lnSpc>
                <a:spcPct val="100000"/>
              </a:lnSpc>
              <a:spcBef>
                <a:spcPct val="0"/>
              </a:spcBef>
              <a:spcAft>
                <a:spcPct val="0"/>
              </a:spcAft>
              <a:buClrTx/>
              <a:buSzTx/>
              <a:buFontTx/>
              <a:buNone/>
              <a:tabLst/>
              <a:defRPr/>
            </a:pPr>
            <a:fld id="{3A37145A-C552-4528-A785-1963E3DA8456}" type="slidenum">
              <a:rPr kumimoji="1" lang="ja-JP" altLang="en-US" sz="12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954725" rtl="0" eaLnBrk="1" fontAlgn="base" latinLnBrk="0" hangingPunct="1">
                <a:lnSpc>
                  <a:spcPct val="100000"/>
                </a:lnSpc>
                <a:spcBef>
                  <a:spcPct val="0"/>
                </a:spcBef>
                <a:spcAft>
                  <a:spcPct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2980712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345842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541583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12752" indent="-300672">
              <a:lnSpc>
                <a:spcPts val="1670"/>
              </a:lnSpc>
              <a:spcBef>
                <a:spcPts val="313"/>
              </a:spcBef>
            </a:pPr>
            <a:endParaRPr lang="ja-JP" altLang="en-US" sz="1500" dirty="0">
              <a:latin typeface="+mn-ea"/>
            </a:endParaRPr>
          </a:p>
        </p:txBody>
      </p:sp>
    </p:spTree>
    <p:extLst>
      <p:ext uri="{BB962C8B-B14F-4D97-AF65-F5344CB8AC3E}">
        <p14:creationId xmlns:p14="http://schemas.microsoft.com/office/powerpoint/2010/main" val="6454681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1.xml"/><Relationship Id="rId4" Type="http://schemas.openxmlformats.org/officeDocument/2006/relationships/image" Target="../media/image9.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4.wmf"/><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8.xml"/><Relationship Id="rId4" Type="http://schemas.openxmlformats.org/officeDocument/2006/relationships/image" Target="../media/image7.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7" descr="mlit_top"/>
          <p:cNvPicPr>
            <a:picLocks noChangeAspect="1" noChangeArrowheads="1"/>
          </p:cNvPicPr>
          <p:nvPr userDrawn="1"/>
        </p:nvPicPr>
        <p:blipFill>
          <a:blip r:embed="rId2" cstate="print"/>
          <a:srcRect t="62230"/>
          <a:stretch>
            <a:fillRect/>
          </a:stretch>
        </p:blipFill>
        <p:spPr bwMode="auto">
          <a:xfrm>
            <a:off x="0" y="7381875"/>
            <a:ext cx="9904413" cy="377825"/>
          </a:xfrm>
          <a:prstGeom prst="rect">
            <a:avLst/>
          </a:prstGeom>
          <a:noFill/>
          <a:ln w="9525">
            <a:noFill/>
            <a:miter lim="800000"/>
            <a:headEnd/>
            <a:tailEnd/>
          </a:ln>
        </p:spPr>
      </p:pic>
      <p:sp>
        <p:nvSpPr>
          <p:cNvPr id="5" name="Rectangle 9"/>
          <p:cNvSpPr>
            <a:spLocks noChangeArrowheads="1"/>
          </p:cNvSpPr>
          <p:nvPr userDrawn="1"/>
        </p:nvSpPr>
        <p:spPr bwMode="auto">
          <a:xfrm>
            <a:off x="1833563" y="3716338"/>
            <a:ext cx="8070850" cy="82550"/>
          </a:xfrm>
          <a:prstGeom prst="rect">
            <a:avLst/>
          </a:prstGeom>
          <a:solidFill>
            <a:srgbClr val="0066CC"/>
          </a:solidFill>
          <a:ln w="9525">
            <a:noFill/>
            <a:miter lim="800000"/>
            <a:headEnd/>
            <a:tailEnd/>
          </a:ln>
          <a:effectLst/>
        </p:spPr>
        <p:txBody>
          <a:bodyPr wrap="none" lIns="100931" tIns="50466" rIns="100931" bIns="50466" anchor="ctr"/>
          <a:lstStyle/>
          <a:p>
            <a:pPr>
              <a:defRPr/>
            </a:pPr>
            <a:endParaRPr lang="ja-JP" altLang="en-US"/>
          </a:p>
        </p:txBody>
      </p:sp>
      <p:pic>
        <p:nvPicPr>
          <p:cNvPr id="6" name="Picture 11"/>
          <p:cNvPicPr>
            <a:picLocks noChangeAspect="1" noChangeArrowheads="1"/>
          </p:cNvPicPr>
          <p:nvPr userDrawn="1"/>
        </p:nvPicPr>
        <p:blipFill>
          <a:blip r:embed="rId3" cstate="print"/>
          <a:srcRect/>
          <a:stretch>
            <a:fillRect/>
          </a:stretch>
        </p:blipFill>
        <p:spPr bwMode="auto">
          <a:xfrm>
            <a:off x="0" y="6846888"/>
            <a:ext cx="2300288" cy="534987"/>
          </a:xfrm>
          <a:prstGeom prst="rect">
            <a:avLst/>
          </a:prstGeom>
          <a:noFill/>
          <a:ln w="9525">
            <a:noFill/>
            <a:miter lim="800000"/>
            <a:headEnd/>
            <a:tailEnd/>
          </a:ln>
        </p:spPr>
      </p:pic>
      <p:sp>
        <p:nvSpPr>
          <p:cNvPr id="7" name="Text Box 12"/>
          <p:cNvSpPr txBox="1">
            <a:spLocks noChangeArrowheads="1"/>
          </p:cNvSpPr>
          <p:nvPr userDrawn="1"/>
        </p:nvSpPr>
        <p:spPr bwMode="auto">
          <a:xfrm>
            <a:off x="0" y="7381875"/>
            <a:ext cx="3940175" cy="311150"/>
          </a:xfrm>
          <a:prstGeom prst="rect">
            <a:avLst/>
          </a:prstGeom>
          <a:noFill/>
          <a:ln w="9525">
            <a:noFill/>
            <a:miter lim="800000"/>
            <a:headEnd/>
            <a:tailEnd/>
          </a:ln>
          <a:effectLst/>
        </p:spPr>
        <p:txBody>
          <a:bodyPr wrap="none" lIns="100931" tIns="50466" rIns="100931" bIns="50466">
            <a:spAutoFit/>
          </a:bodyPr>
          <a:lstStyle/>
          <a:p>
            <a:pPr>
              <a:defRPr/>
            </a:pPr>
            <a:r>
              <a:rPr lang="en-US" altLang="ja-JP" sz="1300" i="1" dirty="0">
                <a:solidFill>
                  <a:schemeClr val="bg1"/>
                </a:solidFill>
                <a:latin typeface="Times New Roman" pitchFamily="18" charset="0"/>
              </a:rPr>
              <a:t>Ministry of Land, Infrastructure, Transport and Tourism</a:t>
            </a:r>
          </a:p>
        </p:txBody>
      </p:sp>
      <p:sp>
        <p:nvSpPr>
          <p:cNvPr id="3074" name="Rectangle 2"/>
          <p:cNvSpPr>
            <a:spLocks noGrp="1" noChangeArrowheads="1"/>
          </p:cNvSpPr>
          <p:nvPr>
            <p:ph type="ctrTitle"/>
          </p:nvPr>
        </p:nvSpPr>
        <p:spPr>
          <a:xfrm>
            <a:off x="1753906" y="2414129"/>
            <a:ext cx="8150507" cy="1663306"/>
          </a:xfrm>
        </p:spPr>
        <p:txBody>
          <a:bodyPr/>
          <a:lstStyle>
            <a:lvl1pPr>
              <a:defRPr sz="4400"/>
            </a:lvl1pPr>
          </a:lstStyle>
          <a:p>
            <a:r>
              <a:rPr lang="ja-JP" altLang="en-US"/>
              <a:t>マスタ タイトルの書式設定</a:t>
            </a:r>
          </a:p>
        </p:txBody>
      </p:sp>
      <p:sp>
        <p:nvSpPr>
          <p:cNvPr id="3075"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 サブタイトルの書式設定</a:t>
            </a:r>
          </a:p>
        </p:txBody>
      </p:sp>
      <p:sp>
        <p:nvSpPr>
          <p:cNvPr id="8" name="Rectangle 4"/>
          <p:cNvSpPr>
            <a:spLocks noGrp="1" noChangeArrowheads="1"/>
          </p:cNvSpPr>
          <p:nvPr>
            <p:ph type="dt" sz="half" idx="10"/>
          </p:nvPr>
        </p:nvSpPr>
        <p:spPr/>
        <p:txBody>
          <a:bodyPr/>
          <a:lstStyle>
            <a:lvl1pPr>
              <a:defRPr/>
            </a:lvl1pPr>
          </a:lstStyle>
          <a:p>
            <a:pPr>
              <a:defRPr/>
            </a:pPr>
            <a:endParaRPr lang="en-US" altLang="ja-JP"/>
          </a:p>
        </p:txBody>
      </p:sp>
      <p:sp>
        <p:nvSpPr>
          <p:cNvPr id="9" name="Rectangle 5"/>
          <p:cNvSpPr>
            <a:spLocks noGrp="1" noChangeArrowheads="1"/>
          </p:cNvSpPr>
          <p:nvPr>
            <p:ph type="ftr" sz="quarter" idx="11"/>
          </p:nvPr>
        </p:nvSpPr>
        <p:spPr/>
        <p:txBody>
          <a:bodyPr/>
          <a:lstStyle>
            <a:lvl1pPr>
              <a:defRPr/>
            </a:lvl1pPr>
          </a:lstStyle>
          <a:p>
            <a:pPr>
              <a:defRPr/>
            </a:pPr>
            <a:endParaRPr lang="en-US" altLang="ja-JP"/>
          </a:p>
        </p:txBody>
      </p:sp>
      <p:sp>
        <p:nvSpPr>
          <p:cNvPr id="10" name="Rectangle 6"/>
          <p:cNvSpPr>
            <a:spLocks noGrp="1" noChangeArrowheads="1"/>
          </p:cNvSpPr>
          <p:nvPr>
            <p:ph type="sldNum" sz="quarter" idx="12"/>
          </p:nvPr>
        </p:nvSpPr>
        <p:spPr>
          <a:xfrm>
            <a:off x="7097713" y="7065963"/>
            <a:ext cx="2311400" cy="539750"/>
          </a:xfrm>
        </p:spPr>
        <p:txBody>
          <a:bodyPr/>
          <a:lstStyle>
            <a:lvl1pPr>
              <a:defRPr/>
            </a:lvl1pPr>
          </a:lstStyle>
          <a:p>
            <a:pPr>
              <a:defRPr/>
            </a:pPr>
            <a:fld id="{6DB87F93-3373-4856-9B82-469445DE4AF1}" type="slidenum">
              <a:rPr lang="en-US" altLang="ja-JP"/>
              <a:pPr>
                <a:defRPr/>
              </a:pPr>
              <a:t>‹#›</a:t>
            </a:fld>
            <a:endParaRPr lang="en-US" altLang="ja-JP"/>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142ECC8E-A1C5-439F-B3D6-79D9F236B99A}" type="slidenum">
              <a:rPr lang="en-US" altLang="ja-JP"/>
              <a:pPr>
                <a:defRPr/>
              </a:pPr>
              <a:t>‹#›</a:t>
            </a:fld>
            <a:endParaRPr lang="en-US" altLang="ja-JP"/>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797"/>
          <a:ext cx="1588" cy="1797"/>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797"/>
                        <a:ext cx="1588" cy="1797"/>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32" y="1670067"/>
            <a:ext cx="9070547" cy="5458267"/>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79964" indent="-179964">
              <a:lnSpc>
                <a:spcPct val="110000"/>
              </a:lnSpc>
              <a:spcBef>
                <a:spcPts val="600"/>
              </a:spcBef>
              <a:buFont typeface="Wingdings" pitchFamily="2" charset="2"/>
              <a:buChar char="n"/>
              <a:defRPr sz="1200" baseline="0">
                <a:latin typeface="+mn-lt"/>
                <a:ea typeface="+mn-ea"/>
                <a:cs typeface="+mn-cs"/>
                <a:sym typeface="+mn-lt"/>
              </a:defRPr>
            </a:lvl2pPr>
            <a:lvl3pPr marL="359928" indent="-179964">
              <a:lnSpc>
                <a:spcPct val="110000"/>
              </a:lnSpc>
              <a:spcBef>
                <a:spcPts val="600"/>
              </a:spcBef>
              <a:buFont typeface="Wingdings" pitchFamily="2" charset="2"/>
              <a:buChar char="Ø"/>
              <a:defRPr sz="1200" baseline="0">
                <a:latin typeface="+mn-lt"/>
                <a:ea typeface="+mn-ea"/>
                <a:cs typeface="+mn-cs"/>
                <a:sym typeface="+mn-lt"/>
              </a:defRPr>
            </a:lvl3pPr>
            <a:lvl4pPr marL="503899" indent="-143971">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36458" y="7460310"/>
            <a:ext cx="179971" cy="191447"/>
          </a:xfrm>
        </p:spPr>
        <p:txBody>
          <a:bodyPr anchor="ctr"/>
          <a:lstStyle>
            <a:lvl1pPr>
              <a:defRPr sz="1050" baseline="0">
                <a:solidFill>
                  <a:schemeClr val="tx1"/>
                </a:solidFill>
                <a:latin typeface="Meiryo UI" panose="020B0604030504040204" pitchFamily="50" charset="-128"/>
                <a:ea typeface="Meiryo UI" panose="020B0604030504040204" pitchFamily="50" charset="-128"/>
                <a:cs typeface="+mn-cs"/>
                <a:sym typeface="+mn-lt"/>
              </a:defRPr>
            </a:lvl1pPr>
          </a:lstStyle>
          <a:p>
            <a:fld id="{543A0986-838B-4D2A-A95C-8CB1738263FE}" type="slidenum">
              <a:rPr lang="ja-JP" altLang="en-US" smtClean="0"/>
              <a:pPr/>
              <a:t>‹#›</a:t>
            </a:fld>
            <a:endParaRPr lang="ja-JP" altLang="en-US" dirty="0"/>
          </a:p>
        </p:txBody>
      </p:sp>
      <p:sp>
        <p:nvSpPr>
          <p:cNvPr id="8" name="テキスト プレースホルダー 2"/>
          <p:cNvSpPr>
            <a:spLocks noGrp="1"/>
          </p:cNvSpPr>
          <p:nvPr>
            <p:ph type="body" sz="quarter" idx="15" hasCustomPrompt="1"/>
          </p:nvPr>
        </p:nvSpPr>
        <p:spPr bwMode="gray">
          <a:xfrm>
            <a:off x="416429" y="1140534"/>
            <a:ext cx="4355302" cy="529533"/>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67983062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965" name="タイトル 1"/>
          <p:cNvSpPr>
            <a:spLocks noGrp="1"/>
          </p:cNvSpPr>
          <p:nvPr>
            <p:ph type="title"/>
          </p:nvPr>
        </p:nvSpPr>
        <p:spPr/>
        <p:txBody>
          <a:bodyPr/>
          <a:lstStyle/>
          <a:p>
            <a:r>
              <a:rPr lang="ja-JP" altLang="en-US"/>
              <a:t>マスター タイトルの書式設定</a:t>
            </a:r>
          </a:p>
        </p:txBody>
      </p:sp>
      <p:sp>
        <p:nvSpPr>
          <p:cNvPr id="1966"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67" name="Rectangle 4"/>
          <p:cNvSpPr>
            <a:spLocks noGrp="1" noChangeArrowheads="1"/>
          </p:cNvSpPr>
          <p:nvPr>
            <p:ph type="dt" sz="half" idx="10"/>
          </p:nvPr>
        </p:nvSpPr>
        <p:spPr>
          <a:ln/>
        </p:spPr>
        <p:txBody>
          <a:bodyPr/>
          <a:lstStyle>
            <a:lvl1pPr>
              <a:defRPr/>
            </a:lvl1pPr>
          </a:lstStyle>
          <a:p>
            <a:pPr defTabSz="914217">
              <a:defRPr/>
            </a:pPr>
            <a:endParaRPr lang="en-US" altLang="ja-JP" dirty="0">
              <a:solidFill>
                <a:prstClr val="black"/>
              </a:solidFill>
            </a:endParaRPr>
          </a:p>
        </p:txBody>
      </p:sp>
      <p:sp>
        <p:nvSpPr>
          <p:cNvPr id="1968" name="Rectangle 5"/>
          <p:cNvSpPr>
            <a:spLocks noGrp="1" noChangeArrowheads="1"/>
          </p:cNvSpPr>
          <p:nvPr>
            <p:ph type="ftr" sz="quarter" idx="11"/>
          </p:nvPr>
        </p:nvSpPr>
        <p:spPr>
          <a:ln/>
        </p:spPr>
        <p:txBody>
          <a:bodyPr/>
          <a:lstStyle>
            <a:lvl1pPr>
              <a:defRPr/>
            </a:lvl1pPr>
          </a:lstStyle>
          <a:p>
            <a:pPr defTabSz="914217">
              <a:defRPr/>
            </a:pPr>
            <a:endParaRPr lang="en-US" altLang="ja-JP" dirty="0">
              <a:solidFill>
                <a:prstClr val="black"/>
              </a:solidFill>
            </a:endParaRPr>
          </a:p>
        </p:txBody>
      </p:sp>
      <p:sp>
        <p:nvSpPr>
          <p:cNvPr id="1969" name="Rectangle 6"/>
          <p:cNvSpPr>
            <a:spLocks noGrp="1" noChangeArrowheads="1"/>
          </p:cNvSpPr>
          <p:nvPr>
            <p:ph type="sldNum" sz="quarter" idx="12"/>
          </p:nvPr>
        </p:nvSpPr>
        <p:spPr>
          <a:ln/>
        </p:spPr>
        <p:txBody>
          <a:bodyPr/>
          <a:lstStyle>
            <a:lvl1pPr>
              <a:defRPr/>
            </a:lvl1pPr>
          </a:lstStyle>
          <a:p>
            <a:pPr defTabSz="914217">
              <a:defRPr/>
            </a:pPr>
            <a:fld id="{651FC12D-27C1-4F31-90C9-A93D49E44687}" type="slidenum">
              <a:rPr lang="en-US" altLang="ja-JP" smtClean="0">
                <a:solidFill>
                  <a:prstClr val="black"/>
                </a:solidFill>
              </a:rPr>
              <a:pPr defTabSz="914217">
                <a:defRPr/>
              </a:pPr>
              <a:t>‹#›</a:t>
            </a:fld>
            <a:endParaRPr lang="en-US" altLang="ja-JP" dirty="0">
              <a:solidFill>
                <a:prstClr val="black"/>
              </a:solidFill>
            </a:endParaRPr>
          </a:p>
        </p:txBody>
      </p:sp>
    </p:spTree>
    <p:extLst>
      <p:ext uri="{BB962C8B-B14F-4D97-AF65-F5344CB8AC3E}">
        <p14:creationId xmlns:p14="http://schemas.microsoft.com/office/powerpoint/2010/main" val="263338029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1967" name="タイトル 1"/>
          <p:cNvSpPr>
            <a:spLocks noGrp="1"/>
          </p:cNvSpPr>
          <p:nvPr>
            <p:ph type="title"/>
          </p:nvPr>
        </p:nvSpPr>
        <p:spPr/>
        <p:txBody>
          <a:bodyPr/>
          <a:lstStyle/>
          <a:p>
            <a:r>
              <a:rPr lang="ja-JP" altLang="en-US"/>
              <a:t>マスター タイトルの書式設定</a:t>
            </a:r>
          </a:p>
        </p:txBody>
      </p:sp>
      <p:sp>
        <p:nvSpPr>
          <p:cNvPr id="1968"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69" name="Rectangle 4"/>
          <p:cNvSpPr>
            <a:spLocks noGrp="1" noChangeArrowheads="1"/>
          </p:cNvSpPr>
          <p:nvPr>
            <p:ph type="dt" sz="half" idx="10"/>
          </p:nvPr>
        </p:nvSpPr>
        <p:spPr>
          <a:ln/>
        </p:spPr>
        <p:txBody>
          <a:bodyPr/>
          <a:lstStyle>
            <a:lvl1pPr>
              <a:defRPr/>
            </a:lvl1pPr>
          </a:lstStyle>
          <a:p>
            <a:pPr defTabSz="843914" fontAlgn="auto">
              <a:spcBef>
                <a:spcPts val="0"/>
              </a:spcBef>
              <a:spcAft>
                <a:spcPts val="0"/>
              </a:spcAft>
              <a:defRPr/>
            </a:pPr>
            <a:endParaRPr lang="en-US" altLang="ja-JP" dirty="0">
              <a:solidFill>
                <a:srgbClr val="000000"/>
              </a:solidFill>
              <a:latin typeface="Arial"/>
            </a:endParaRPr>
          </a:p>
        </p:txBody>
      </p:sp>
      <p:sp>
        <p:nvSpPr>
          <p:cNvPr id="1970" name="Rectangle 5"/>
          <p:cNvSpPr>
            <a:spLocks noGrp="1" noChangeArrowheads="1"/>
          </p:cNvSpPr>
          <p:nvPr>
            <p:ph type="ftr" sz="quarter" idx="11"/>
          </p:nvPr>
        </p:nvSpPr>
        <p:spPr>
          <a:ln/>
        </p:spPr>
        <p:txBody>
          <a:bodyPr/>
          <a:lstStyle>
            <a:lvl1pPr>
              <a:defRPr/>
            </a:lvl1pPr>
          </a:lstStyle>
          <a:p>
            <a:pPr defTabSz="843914" fontAlgn="auto">
              <a:spcBef>
                <a:spcPts val="0"/>
              </a:spcBef>
              <a:spcAft>
                <a:spcPts val="0"/>
              </a:spcAft>
              <a:defRPr/>
            </a:pPr>
            <a:endParaRPr lang="en-US" altLang="ja-JP" dirty="0">
              <a:solidFill>
                <a:srgbClr val="000000"/>
              </a:solidFill>
              <a:latin typeface="Arial"/>
            </a:endParaRPr>
          </a:p>
        </p:txBody>
      </p:sp>
      <p:sp>
        <p:nvSpPr>
          <p:cNvPr id="1971" name="Rectangle 6"/>
          <p:cNvSpPr>
            <a:spLocks noGrp="1" noChangeArrowheads="1"/>
          </p:cNvSpPr>
          <p:nvPr>
            <p:ph type="sldNum" sz="quarter" idx="12"/>
          </p:nvPr>
        </p:nvSpPr>
        <p:spPr>
          <a:ln/>
        </p:spPr>
        <p:txBody>
          <a:bodyPr/>
          <a:lstStyle>
            <a:lvl1pPr>
              <a:defRPr/>
            </a:lvl1pPr>
          </a:lstStyle>
          <a:p>
            <a:pPr defTabSz="843914" fontAlgn="auto">
              <a:spcBef>
                <a:spcPts val="0"/>
              </a:spcBef>
              <a:spcAft>
                <a:spcPts val="0"/>
              </a:spcAft>
              <a:defRPr/>
            </a:pPr>
            <a:fld id="{651FC12D-27C1-4F31-90C9-A93D49E44687}" type="slidenum">
              <a:rPr lang="en-US" altLang="ja-JP" smtClean="0">
                <a:solidFill>
                  <a:srgbClr val="000000"/>
                </a:solidFill>
                <a:latin typeface="Arial"/>
              </a:rPr>
              <a:pPr defTabSz="843914" fontAlgn="auto">
                <a:spcBef>
                  <a:spcPts val="0"/>
                </a:spcBef>
                <a:spcAft>
                  <a:spcPts val="0"/>
                </a:spcAft>
                <a:defRPr/>
              </a:pPr>
              <a:t>‹#›</a:t>
            </a:fld>
            <a:endParaRPr lang="en-US" altLang="ja-JP" dirty="0">
              <a:solidFill>
                <a:srgbClr val="000000"/>
              </a:solidFill>
              <a:latin typeface="Arial"/>
            </a:endParaRPr>
          </a:p>
        </p:txBody>
      </p:sp>
    </p:spTree>
    <p:extLst>
      <p:ext uri="{BB962C8B-B14F-4D97-AF65-F5344CB8AC3E}">
        <p14:creationId xmlns:p14="http://schemas.microsoft.com/office/powerpoint/2010/main" val="24954701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383" y="7335790"/>
            <a:ext cx="2311030" cy="538868"/>
          </a:xfrm>
          <a:ln/>
        </p:spPr>
        <p:txBody>
          <a:bodyPr/>
          <a:lstStyle>
            <a:lvl1pPr>
              <a:defRPr>
                <a:latin typeface="Meiryo UI" panose="020B0604030504040204" pitchFamily="50" charset="-128"/>
                <a:ea typeface="Meiryo UI" panose="020B0604030504040204" pitchFamily="50" charset="-128"/>
              </a:defRPr>
            </a:lvl1pPr>
          </a:lstStyle>
          <a:p>
            <a:pPr>
              <a:defRPr/>
            </a:pPr>
            <a:fld id="{651FC12D-27C1-4F31-90C9-A93D49E44687}" type="slidenum">
              <a:rPr lang="en-US" altLang="ja-JP" smtClean="0"/>
              <a:pPr>
                <a:defRPr/>
              </a:pPr>
              <a:t>‹#›</a:t>
            </a:fld>
            <a:endParaRPr lang="en-US" altLang="ja-JP"/>
          </a:p>
        </p:txBody>
      </p:sp>
    </p:spTree>
    <p:extLst>
      <p:ext uri="{BB962C8B-B14F-4D97-AF65-F5344CB8AC3E}">
        <p14:creationId xmlns:p14="http://schemas.microsoft.com/office/powerpoint/2010/main" val="2966112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cSld name="1_タイトル スライド">
    <p:spTree>
      <p:nvGrpSpPr>
        <p:cNvPr id="1" name=""/>
        <p:cNvGrpSpPr/>
        <p:nvPr/>
      </p:nvGrpSpPr>
      <p:grpSpPr>
        <a:xfrm>
          <a:off x="0" y="0"/>
          <a:ext cx="0" cy="0"/>
          <a:chOff x="0" y="0"/>
          <a:chExt cx="0" cy="0"/>
        </a:xfrm>
      </p:grpSpPr>
      <p:pic>
        <p:nvPicPr>
          <p:cNvPr id="1038" name="Picture 7" descr="mlit_top"/>
          <p:cNvPicPr>
            <a:picLocks noChangeAspect="1" noChangeArrowheads="1"/>
          </p:cNvPicPr>
          <p:nvPr userDrawn="1"/>
        </p:nvPicPr>
        <p:blipFill>
          <a:blip r:embed="rId2" cstate="hqprint">
            <a:extLst>
              <a:ext uri="{28A0092B-C50C-407E-A947-70E740481C1C}">
                <a14:useLocalDpi xmlns:a14="http://schemas.microsoft.com/office/drawing/2010/main"/>
              </a:ext>
            </a:extLst>
          </a:blip>
          <a:srcRect t="62230"/>
          <a:stretch>
            <a:fillRect/>
          </a:stretch>
        </p:blipFill>
        <p:spPr>
          <a:xfrm>
            <a:off x="0" y="7382500"/>
            <a:ext cx="9904413" cy="377208"/>
          </a:xfrm>
          <a:prstGeom prst="rect">
            <a:avLst/>
          </a:prstGeom>
          <a:noFill/>
          <a:ln>
            <a:noFill/>
          </a:ln>
        </p:spPr>
      </p:pic>
      <p:sp>
        <p:nvSpPr>
          <p:cNvPr id="1039" name="Rectangle 9"/>
          <p:cNvSpPr>
            <a:spLocks noChangeArrowheads="1"/>
          </p:cNvSpPr>
          <p:nvPr userDrawn="1"/>
        </p:nvSpPr>
        <p:spPr>
          <a:xfrm>
            <a:off x="1833007" y="3716401"/>
            <a:ext cx="8071409" cy="82626"/>
          </a:xfrm>
          <a:prstGeom prst="rect">
            <a:avLst/>
          </a:prstGeom>
          <a:solidFill>
            <a:srgbClr val="0066CC"/>
          </a:solidFill>
          <a:ln>
            <a:noFill/>
          </a:ln>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p>
        </p:txBody>
      </p:sp>
      <p:pic>
        <p:nvPicPr>
          <p:cNvPr id="1040" name="Picture 11"/>
          <p:cNvPicPr>
            <a:picLocks noChangeAspect="1" noChangeArrowheads="1"/>
          </p:cNvPicPr>
          <p:nvPr userDrawn="1"/>
        </p:nvPicPr>
        <p:blipFill>
          <a:blip r:embed="rId3"/>
          <a:stretch>
            <a:fillRect/>
          </a:stretch>
        </p:blipFill>
        <p:spPr>
          <a:xfrm>
            <a:off x="8" y="6847224"/>
            <a:ext cx="2300712" cy="535276"/>
          </a:xfrm>
          <a:prstGeom prst="rect">
            <a:avLst/>
          </a:prstGeom>
          <a:noFill/>
          <a:ln>
            <a:noFill/>
          </a:ln>
        </p:spPr>
      </p:pic>
      <p:sp>
        <p:nvSpPr>
          <p:cNvPr id="1041" name="Text Box 12"/>
          <p:cNvSpPr txBox="1">
            <a:spLocks noChangeArrowheads="1"/>
          </p:cNvSpPr>
          <p:nvPr userDrawn="1"/>
        </p:nvSpPr>
        <p:spPr>
          <a:xfrm>
            <a:off x="2" y="7382496"/>
            <a:ext cx="3389069" cy="262829"/>
          </a:xfrm>
          <a:prstGeom prst="rect">
            <a:avLst/>
          </a:prstGeom>
          <a:noFill/>
          <a:ln>
            <a:noFill/>
          </a:ln>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en-US" altLang="ja-JP" sz="1108" i="1">
                <a:solidFill>
                  <a:schemeClr val="bg1"/>
                </a:solidFill>
                <a:latin typeface="Times New Roman" pitchFamily="18" charset="0"/>
              </a:rPr>
              <a:t>Ministry of Land, Infrastructure, Transport and Tourism</a:t>
            </a:r>
          </a:p>
        </p:txBody>
      </p:sp>
      <p:sp>
        <p:nvSpPr>
          <p:cNvPr id="1042" name="Rectangle 2"/>
          <p:cNvSpPr>
            <a:spLocks noGrp="1" noChangeArrowheads="1"/>
          </p:cNvSpPr>
          <p:nvPr>
            <p:ph type="ctrTitle"/>
          </p:nvPr>
        </p:nvSpPr>
        <p:spPr>
          <a:xfrm>
            <a:off x="1753911" y="2414136"/>
            <a:ext cx="8150507" cy="1663306"/>
          </a:xfrm>
        </p:spPr>
        <p:txBody>
          <a:bodyPr/>
          <a:lstStyle>
            <a:lvl1pPr>
              <a:defRPr sz="3691"/>
            </a:lvl1pPr>
          </a:lstStyle>
          <a:p>
            <a:r>
              <a:rPr lang="ja-JP" altLang="en-US"/>
              <a:t>マスター タイトルの書式設定</a:t>
            </a:r>
          </a:p>
        </p:txBody>
      </p:sp>
      <p:sp>
        <p:nvSpPr>
          <p:cNvPr id="1043"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ー サブタイトルの書式設定</a:t>
            </a:r>
          </a:p>
        </p:txBody>
      </p:sp>
      <p:sp>
        <p:nvSpPr>
          <p:cNvPr id="1044" name="Rectangle 5"/>
          <p:cNvSpPr>
            <a:spLocks noGrp="1" noChangeArrowheads="1"/>
          </p:cNvSpPr>
          <p:nvPr>
            <p:ph type="ftr" sz="quarter" idx="11"/>
          </p:nvPr>
        </p:nvSpPr>
        <p:spPr/>
        <p:txBody>
          <a:bodyPr/>
          <a:lstStyle>
            <a:lvl1pPr>
              <a:defRPr/>
            </a:lvl1pPr>
          </a:lstStyle>
          <a:p>
            <a:pPr>
              <a:defRPr/>
            </a:pPr>
            <a:endParaRPr lang="en-US" altLang="ja-JP"/>
          </a:p>
        </p:txBody>
      </p:sp>
      <p:sp>
        <p:nvSpPr>
          <p:cNvPr id="1045" name="Rectangle 6"/>
          <p:cNvSpPr>
            <a:spLocks noGrp="1" noChangeArrowheads="1"/>
          </p:cNvSpPr>
          <p:nvPr>
            <p:ph type="sldNum" sz="quarter" idx="12"/>
          </p:nvPr>
        </p:nvSpPr>
        <p:spPr>
          <a:xfrm>
            <a:off x="7098163" y="7066360"/>
            <a:ext cx="2311030" cy="538869"/>
          </a:xfrm>
        </p:spPr>
        <p:txBody>
          <a:bodyPr/>
          <a:lstStyle>
            <a:lvl1pPr>
              <a:defRPr/>
            </a:lvl1pPr>
          </a:lstStyle>
          <a:p>
            <a:pPr>
              <a:defRPr/>
            </a:pPr>
            <a:fld id="{35C1E978-A3B9-4673-8199-379729392307}" type="slidenum">
              <a:rPr lang="en-US" altLang="ja-JP"/>
              <a:pPr>
                <a:defRPr/>
              </a:pPr>
              <a:t>‹#›</a:t>
            </a:fld>
            <a:endParaRPr lang="en-US" altLang="ja-JP"/>
          </a:p>
        </p:txBody>
      </p:sp>
    </p:spTree>
    <p:extLst>
      <p:ext uri="{BB962C8B-B14F-4D97-AF65-F5344CB8AC3E}">
        <p14:creationId xmlns:p14="http://schemas.microsoft.com/office/powerpoint/2010/main" val="17986621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p:cNvSpPr>
            <a:spLocks noGrp="1" noChangeArrowheads="1"/>
          </p:cNvSpPr>
          <p:nvPr>
            <p:ph type="dt" sz="half" idx="10"/>
          </p:nvPr>
        </p:nvSpPr>
        <p:spPr>
          <a:ln/>
        </p:spPr>
        <p:txBody>
          <a:bodyPr/>
          <a:lstStyle>
            <a:lvl1pPr>
              <a:defRPr/>
            </a:lvl1pPr>
          </a:lstStyle>
          <a:p>
            <a:pPr defTabSz="914217">
              <a:defRPr/>
            </a:pPr>
            <a:endParaRPr lang="en-US" altLang="ja-JP" sz="1050">
              <a:solidFill>
                <a:prstClr val="black"/>
              </a:solidFill>
            </a:endParaRPr>
          </a:p>
        </p:txBody>
      </p:sp>
      <p:sp>
        <p:nvSpPr>
          <p:cNvPr id="4" name="Rectangle 5"/>
          <p:cNvSpPr>
            <a:spLocks noGrp="1" noChangeArrowheads="1"/>
          </p:cNvSpPr>
          <p:nvPr>
            <p:ph type="ftr" sz="quarter" idx="11"/>
          </p:nvPr>
        </p:nvSpPr>
        <p:spPr>
          <a:ln/>
        </p:spPr>
        <p:txBody>
          <a:bodyPr/>
          <a:lstStyle>
            <a:lvl1pPr>
              <a:defRPr/>
            </a:lvl1pPr>
          </a:lstStyle>
          <a:p>
            <a:pPr defTabSz="914217">
              <a:defRPr/>
            </a:pPr>
            <a:endParaRPr lang="en-US" altLang="ja-JP" sz="1050">
              <a:solidFill>
                <a:prstClr val="black"/>
              </a:solidFill>
            </a:endParaRPr>
          </a:p>
        </p:txBody>
      </p:sp>
      <p:sp>
        <p:nvSpPr>
          <p:cNvPr id="5" name="Rectangle 6"/>
          <p:cNvSpPr>
            <a:spLocks noGrp="1" noChangeArrowheads="1"/>
          </p:cNvSpPr>
          <p:nvPr>
            <p:ph type="sldNum" sz="quarter" idx="12"/>
          </p:nvPr>
        </p:nvSpPr>
        <p:spPr>
          <a:ln/>
        </p:spPr>
        <p:txBody>
          <a:bodyPr/>
          <a:lstStyle>
            <a:lvl1pPr>
              <a:defRPr/>
            </a:lvl1pPr>
          </a:lstStyle>
          <a:p>
            <a:pPr defTabSz="914217">
              <a:defRPr/>
            </a:pPr>
            <a:fld id="{BAEDF933-85EC-4138-BD80-4F72DA109A42}" type="slidenum">
              <a:rPr lang="en-US" altLang="ja-JP" sz="1050" smtClean="0">
                <a:solidFill>
                  <a:prstClr val="black"/>
                </a:solidFill>
              </a:rPr>
              <a:pPr defTabSz="914217">
                <a:defRPr/>
              </a:pPr>
              <a:t>‹#›</a:t>
            </a:fld>
            <a:endParaRPr lang="en-US" altLang="ja-JP" sz="1050">
              <a:solidFill>
                <a:prstClr val="black"/>
              </a:solidFill>
            </a:endParaRPr>
          </a:p>
        </p:txBody>
      </p:sp>
    </p:spTree>
    <p:extLst>
      <p:ext uri="{BB962C8B-B14F-4D97-AF65-F5344CB8AC3E}">
        <p14:creationId xmlns:p14="http://schemas.microsoft.com/office/powerpoint/2010/main" val="19501591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000"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2001"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2002" name="Rectangle 6"/>
          <p:cNvSpPr>
            <a:spLocks noGrp="1" noChangeArrowheads="1"/>
          </p:cNvSpPr>
          <p:nvPr>
            <p:ph type="sldNum" sz="quarter" idx="12"/>
          </p:nvPr>
        </p:nvSpPr>
        <p:spPr>
          <a:ln/>
        </p:spPr>
        <p:txBody>
          <a:bodyPr/>
          <a:lstStyle>
            <a:lvl1pPr>
              <a:defRPr/>
            </a:lvl1pPr>
          </a:lstStyle>
          <a:p>
            <a:pPr>
              <a:defRPr/>
            </a:pPr>
            <a:fld id="{DE9C2EA1-6911-4BAC-954D-0A2DD024DDCF}"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83703429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7" descr="mlit_top"/>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t="62230"/>
          <a:stretch>
            <a:fillRect/>
          </a:stretch>
        </p:blipFill>
        <p:spPr bwMode="auto">
          <a:xfrm>
            <a:off x="0" y="7382495"/>
            <a:ext cx="9904413" cy="37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9"/>
          <p:cNvSpPr>
            <a:spLocks noChangeArrowheads="1"/>
          </p:cNvSpPr>
          <p:nvPr userDrawn="1"/>
        </p:nvSpPr>
        <p:spPr bwMode="auto">
          <a:xfrm>
            <a:off x="1833006" y="3716397"/>
            <a:ext cx="8071409" cy="82626"/>
          </a:xfrm>
          <a:prstGeom prst="rect">
            <a:avLst/>
          </a:prstGeom>
          <a:solidFill>
            <a:srgbClr val="0066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p>
        </p:txBody>
      </p:sp>
      <p:pic>
        <p:nvPicPr>
          <p:cNvPr id="6" name="Picture 11"/>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 y="6847219"/>
            <a:ext cx="2300713" cy="535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2"/>
          <p:cNvSpPr txBox="1">
            <a:spLocks noChangeArrowheads="1"/>
          </p:cNvSpPr>
          <p:nvPr userDrawn="1"/>
        </p:nvSpPr>
        <p:spPr bwMode="auto">
          <a:xfrm>
            <a:off x="1" y="7382493"/>
            <a:ext cx="364292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en-US" altLang="ja-JP" sz="1200" i="1">
                <a:solidFill>
                  <a:schemeClr val="bg1"/>
                </a:solidFill>
                <a:latin typeface="Times New Roman" pitchFamily="18" charset="0"/>
              </a:rPr>
              <a:t>Ministry of Land, Infrastructure, Transport and Tourism</a:t>
            </a:r>
          </a:p>
        </p:txBody>
      </p:sp>
      <p:sp>
        <p:nvSpPr>
          <p:cNvPr id="3074" name="Rectangle 2"/>
          <p:cNvSpPr>
            <a:spLocks noGrp="1" noChangeArrowheads="1"/>
          </p:cNvSpPr>
          <p:nvPr>
            <p:ph type="ctrTitle"/>
          </p:nvPr>
        </p:nvSpPr>
        <p:spPr>
          <a:xfrm>
            <a:off x="1753907" y="2414132"/>
            <a:ext cx="8150508" cy="1663306"/>
          </a:xfrm>
        </p:spPr>
        <p:txBody>
          <a:bodyPr/>
          <a:lstStyle>
            <a:lvl1pPr>
              <a:defRPr sz="3999"/>
            </a:lvl1pPr>
          </a:lstStyle>
          <a:p>
            <a:r>
              <a:rPr lang="ja-JP" altLang="en-US"/>
              <a:t>マスター タイトルの書式設定</a:t>
            </a:r>
            <a:endParaRPr lang="ja-JP" altLang="en-US" dirty="0"/>
          </a:p>
        </p:txBody>
      </p:sp>
      <p:sp>
        <p:nvSpPr>
          <p:cNvPr id="3075"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ー サブタイトルの書式設定</a:t>
            </a:r>
          </a:p>
        </p:txBody>
      </p:sp>
      <p:sp>
        <p:nvSpPr>
          <p:cNvPr id="10" name="Rectangle 5"/>
          <p:cNvSpPr>
            <a:spLocks noGrp="1" noChangeArrowheads="1"/>
          </p:cNvSpPr>
          <p:nvPr>
            <p:ph type="ftr" sz="quarter" idx="11"/>
          </p:nvPr>
        </p:nvSpPr>
        <p:spPr/>
        <p:txBody>
          <a:bodyPr/>
          <a:lstStyle>
            <a:lvl1pPr>
              <a:defRPr/>
            </a:lvl1pPr>
          </a:lstStyle>
          <a:p>
            <a:pPr>
              <a:defRPr/>
            </a:pPr>
            <a:endParaRPr lang="en-US" altLang="ja-JP"/>
          </a:p>
        </p:txBody>
      </p:sp>
      <p:sp>
        <p:nvSpPr>
          <p:cNvPr id="11" name="Rectangle 6"/>
          <p:cNvSpPr>
            <a:spLocks noGrp="1" noChangeArrowheads="1"/>
          </p:cNvSpPr>
          <p:nvPr>
            <p:ph type="sldNum" sz="quarter" idx="12"/>
          </p:nvPr>
        </p:nvSpPr>
        <p:spPr>
          <a:xfrm>
            <a:off x="7098163" y="7066356"/>
            <a:ext cx="2311030" cy="538868"/>
          </a:xfrm>
        </p:spPr>
        <p:txBody>
          <a:bodyPr/>
          <a:lstStyle>
            <a:lvl1pPr>
              <a:defRPr/>
            </a:lvl1pPr>
          </a:lstStyle>
          <a:p>
            <a:pPr>
              <a:defRPr/>
            </a:pPr>
            <a:fld id="{35C1E978-A3B9-4673-8199-379729392307}" type="slidenum">
              <a:rPr lang="en-US" altLang="ja-JP"/>
              <a:pPr>
                <a:defRPr/>
              </a:pPr>
              <a:t>‹#›</a:t>
            </a:fld>
            <a:endParaRPr lang="en-US" altLang="ja-JP" dirty="0"/>
          </a:p>
        </p:txBody>
      </p:sp>
    </p:spTree>
    <p:extLst>
      <p:ext uri="{BB962C8B-B14F-4D97-AF65-F5344CB8AC3E}">
        <p14:creationId xmlns:p14="http://schemas.microsoft.com/office/powerpoint/2010/main" val="31285159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ja-JP"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pPr>
                <a:defRPr/>
              </a:pPr>
              <a:t>‹#›</a:t>
            </a:fld>
            <a:endParaRPr lang="en-US" altLang="ja-JP"/>
          </a:p>
        </p:txBody>
      </p:sp>
    </p:spTree>
    <p:extLst>
      <p:ext uri="{BB962C8B-B14F-4D97-AF65-F5344CB8AC3E}">
        <p14:creationId xmlns:p14="http://schemas.microsoft.com/office/powerpoint/2010/main" val="27825429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81" y="4986328"/>
            <a:ext cx="8418751" cy="1541163"/>
          </a:xfrm>
        </p:spPr>
        <p:txBody>
          <a:bodyPr anchor="t"/>
          <a:lstStyle>
            <a:lvl1pPr algn="l">
              <a:defRPr sz="3999" b="1" cap="all"/>
            </a:lvl1pPr>
          </a:lstStyle>
          <a:p>
            <a:r>
              <a:rPr lang="ja-JP" altLang="en-US"/>
              <a:t>マスター タイトルの書式設定</a:t>
            </a:r>
          </a:p>
        </p:txBody>
      </p:sp>
      <p:sp>
        <p:nvSpPr>
          <p:cNvPr id="3" name="テキスト プレースホルダ 2"/>
          <p:cNvSpPr>
            <a:spLocks noGrp="1"/>
          </p:cNvSpPr>
          <p:nvPr>
            <p:ph type="body" idx="1"/>
          </p:nvPr>
        </p:nvSpPr>
        <p:spPr>
          <a:xfrm>
            <a:off x="782381" y="3288894"/>
            <a:ext cx="8418751" cy="1697434"/>
          </a:xfrm>
        </p:spPr>
        <p:txBody>
          <a:bodyPr anchor="b"/>
          <a:lstStyle>
            <a:lvl1pPr marL="0" indent="0">
              <a:buNone/>
              <a:defRPr sz="2000"/>
            </a:lvl1pPr>
            <a:lvl2pPr marL="457150" indent="0">
              <a:buNone/>
              <a:defRPr sz="1799"/>
            </a:lvl2pPr>
            <a:lvl3pPr marL="914300" indent="0">
              <a:buNone/>
              <a:defRPr sz="1600"/>
            </a:lvl3pPr>
            <a:lvl4pPr marL="1371450" indent="0">
              <a:buNone/>
              <a:defRPr sz="1399"/>
            </a:lvl4pPr>
            <a:lvl5pPr marL="1828601" indent="0">
              <a:buNone/>
              <a:defRPr sz="1399"/>
            </a:lvl5pPr>
            <a:lvl6pPr marL="2285751" indent="0">
              <a:buNone/>
              <a:defRPr sz="1399"/>
            </a:lvl6pPr>
            <a:lvl7pPr marL="2742901" indent="0">
              <a:buNone/>
              <a:defRPr sz="1399"/>
            </a:lvl7pPr>
            <a:lvl8pPr marL="3200051" indent="0">
              <a:buNone/>
              <a:defRPr sz="1399"/>
            </a:lvl8pPr>
            <a:lvl9pPr marL="3657201" indent="0">
              <a:buNone/>
              <a:defRPr sz="1399"/>
            </a:lvl9pPr>
          </a:lstStyle>
          <a:p>
            <a:pPr lvl="0"/>
            <a:r>
              <a:rPr lang="ja-JP" altLang="en-US"/>
              <a:t>マスター テキストの書式設定</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a:p>
        </p:txBody>
      </p:sp>
    </p:spTree>
    <p:extLst>
      <p:ext uri="{BB962C8B-B14F-4D97-AF65-F5344CB8AC3E}">
        <p14:creationId xmlns:p14="http://schemas.microsoft.com/office/powerpoint/2010/main" val="1913143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6894" y="1"/>
            <a:ext cx="2352298" cy="6931640"/>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0" y="1"/>
            <a:ext cx="6891821" cy="6931640"/>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5FD3786F-1318-4901-ABC1-64C403C2C001}" type="slidenum">
              <a:rPr lang="en-US" altLang="ja-JP"/>
              <a:pPr>
                <a:defRPr/>
              </a:pPr>
              <a:t>‹#›</a:t>
            </a:fld>
            <a:endParaRPr lang="en-US" altLang="ja-JP"/>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sz="half" idx="1"/>
          </p:nvPr>
        </p:nvSpPr>
        <p:spPr>
          <a:xfrm>
            <a:off x="495221" y="1810599"/>
            <a:ext cx="4374449" cy="5121043"/>
          </a:xfrm>
        </p:spPr>
        <p:txBody>
          <a:bodyPr/>
          <a:lstStyle>
            <a:lvl1pPr>
              <a:defRPr sz="2799"/>
            </a:lvl1pPr>
            <a:lvl2pPr>
              <a:defRPr sz="2400"/>
            </a:lvl2pPr>
            <a:lvl3pPr>
              <a:defRPr sz="2000"/>
            </a:lvl3pPr>
            <a:lvl4pPr>
              <a:defRPr sz="1799"/>
            </a:lvl4pPr>
            <a:lvl5pPr>
              <a:defRPr sz="1799"/>
            </a:lvl5pPr>
            <a:lvl6pPr>
              <a:defRPr sz="1799"/>
            </a:lvl6pPr>
            <a:lvl7pPr>
              <a:defRPr sz="1799"/>
            </a:lvl7pPr>
            <a:lvl8pPr>
              <a:defRPr sz="1799"/>
            </a:lvl8pPr>
            <a:lvl9pPr>
              <a:defRPr sz="17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34743" y="1810599"/>
            <a:ext cx="4374449" cy="5121043"/>
          </a:xfrm>
        </p:spPr>
        <p:txBody>
          <a:bodyPr/>
          <a:lstStyle>
            <a:lvl1pPr>
              <a:defRPr sz="2799"/>
            </a:lvl1pPr>
            <a:lvl2pPr>
              <a:defRPr sz="2400"/>
            </a:lvl2pPr>
            <a:lvl3pPr>
              <a:defRPr sz="2000"/>
            </a:lvl3pPr>
            <a:lvl4pPr>
              <a:defRPr sz="1799"/>
            </a:lvl4pPr>
            <a:lvl5pPr>
              <a:defRPr sz="1799"/>
            </a:lvl5pPr>
            <a:lvl6pPr>
              <a:defRPr sz="1799"/>
            </a:lvl6pPr>
            <a:lvl7pPr>
              <a:defRPr sz="1799"/>
            </a:lvl7pPr>
            <a:lvl8pPr>
              <a:defRPr sz="1799"/>
            </a:lvl8pPr>
            <a:lvl9pPr>
              <a:defRPr sz="179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spTree>
    <p:extLst>
      <p:ext uri="{BB962C8B-B14F-4D97-AF65-F5344CB8AC3E}">
        <p14:creationId xmlns:p14="http://schemas.microsoft.com/office/powerpoint/2010/main" val="131770582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10748"/>
            <a:ext cx="8913972" cy="1293283"/>
          </a:xfrm>
        </p:spPr>
        <p:txBody>
          <a:bodyPr/>
          <a:lstStyle>
            <a:lvl1pPr>
              <a:defRPr/>
            </a:lvl1pPr>
          </a:lstStyle>
          <a:p>
            <a:r>
              <a:rPr lang="ja-JP" altLang="en-US"/>
              <a:t>マスター タイトルの書式設定</a:t>
            </a:r>
          </a:p>
        </p:txBody>
      </p:sp>
      <p:sp>
        <p:nvSpPr>
          <p:cNvPr id="3" name="テキスト プレースホルダ 2"/>
          <p:cNvSpPr>
            <a:spLocks noGrp="1"/>
          </p:cNvSpPr>
          <p:nvPr>
            <p:ph type="body" idx="1"/>
          </p:nvPr>
        </p:nvSpPr>
        <p:spPr>
          <a:xfrm>
            <a:off x="495221" y="1736952"/>
            <a:ext cx="4376169" cy="723879"/>
          </a:xfrm>
        </p:spPr>
        <p:txBody>
          <a:bodyPr anchor="b"/>
          <a:lstStyle>
            <a:lvl1pPr marL="0" indent="0">
              <a:buNone/>
              <a:defRPr sz="2400" b="1"/>
            </a:lvl1pPr>
            <a:lvl2pPr marL="457150" indent="0">
              <a:buNone/>
              <a:defRPr sz="2000" b="1"/>
            </a:lvl2pPr>
            <a:lvl3pPr marL="914300" indent="0">
              <a:buNone/>
              <a:defRPr sz="1799" b="1"/>
            </a:lvl3pPr>
            <a:lvl4pPr marL="1371450" indent="0">
              <a:buNone/>
              <a:defRPr sz="1600" b="1"/>
            </a:lvl4pPr>
            <a:lvl5pPr marL="1828601" indent="0">
              <a:buNone/>
              <a:defRPr sz="1600" b="1"/>
            </a:lvl5pPr>
            <a:lvl6pPr marL="2285751" indent="0">
              <a:buNone/>
              <a:defRPr sz="1600" b="1"/>
            </a:lvl6pPr>
            <a:lvl7pPr marL="2742901" indent="0">
              <a:buNone/>
              <a:defRPr sz="1600" b="1"/>
            </a:lvl7pPr>
            <a:lvl8pPr marL="3200051" indent="0">
              <a:buNone/>
              <a:defRPr sz="1600" b="1"/>
            </a:lvl8pPr>
            <a:lvl9pPr marL="3657201" indent="0">
              <a:buNone/>
              <a:defRPr sz="1600" b="1"/>
            </a:lvl9pPr>
          </a:lstStyle>
          <a:p>
            <a:pPr lvl="0"/>
            <a:r>
              <a:rPr lang="ja-JP" altLang="en-US"/>
              <a:t>マスター テキストの書式設定</a:t>
            </a:r>
          </a:p>
        </p:txBody>
      </p:sp>
      <p:sp>
        <p:nvSpPr>
          <p:cNvPr id="4" name="コンテンツ プレースホルダ 3"/>
          <p:cNvSpPr>
            <a:spLocks noGrp="1"/>
          </p:cNvSpPr>
          <p:nvPr>
            <p:ph sz="half" idx="2"/>
          </p:nvPr>
        </p:nvSpPr>
        <p:spPr>
          <a:xfrm>
            <a:off x="495221" y="2460831"/>
            <a:ext cx="4376169" cy="4470809"/>
          </a:xfrm>
        </p:spPr>
        <p:txBody>
          <a:bodyPr/>
          <a:lstStyle>
            <a:lvl1pPr>
              <a:defRPr sz="2400"/>
            </a:lvl1pPr>
            <a:lvl2pPr>
              <a:defRPr sz="2000"/>
            </a:lvl2pPr>
            <a:lvl3pPr>
              <a:defRPr sz="1799"/>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1305" y="1736952"/>
            <a:ext cx="4377889" cy="723879"/>
          </a:xfrm>
        </p:spPr>
        <p:txBody>
          <a:bodyPr anchor="b"/>
          <a:lstStyle>
            <a:lvl1pPr marL="0" indent="0">
              <a:buNone/>
              <a:defRPr sz="2400" b="1"/>
            </a:lvl1pPr>
            <a:lvl2pPr marL="457150" indent="0">
              <a:buNone/>
              <a:defRPr sz="2000" b="1"/>
            </a:lvl2pPr>
            <a:lvl3pPr marL="914300" indent="0">
              <a:buNone/>
              <a:defRPr sz="1799" b="1"/>
            </a:lvl3pPr>
            <a:lvl4pPr marL="1371450" indent="0">
              <a:buNone/>
              <a:defRPr sz="1600" b="1"/>
            </a:lvl4pPr>
            <a:lvl5pPr marL="1828601" indent="0">
              <a:buNone/>
              <a:defRPr sz="1600" b="1"/>
            </a:lvl5pPr>
            <a:lvl6pPr marL="2285751" indent="0">
              <a:buNone/>
              <a:defRPr sz="1600" b="1"/>
            </a:lvl6pPr>
            <a:lvl7pPr marL="2742901" indent="0">
              <a:buNone/>
              <a:defRPr sz="1600" b="1"/>
            </a:lvl7pPr>
            <a:lvl8pPr marL="3200051" indent="0">
              <a:buNone/>
              <a:defRPr sz="1600" b="1"/>
            </a:lvl8pPr>
            <a:lvl9pPr marL="3657201" indent="0">
              <a:buNone/>
              <a:defRPr sz="1600" b="1"/>
            </a:lvl9pPr>
          </a:lstStyle>
          <a:p>
            <a:pPr lvl="0"/>
            <a:r>
              <a:rPr lang="ja-JP" altLang="en-US"/>
              <a:t>マスター テキストの書式設定</a:t>
            </a:r>
          </a:p>
        </p:txBody>
      </p:sp>
      <p:sp>
        <p:nvSpPr>
          <p:cNvPr id="6" name="コンテンツ プレースホルダ 5"/>
          <p:cNvSpPr>
            <a:spLocks noGrp="1"/>
          </p:cNvSpPr>
          <p:nvPr>
            <p:ph sz="quarter" idx="4"/>
          </p:nvPr>
        </p:nvSpPr>
        <p:spPr>
          <a:xfrm>
            <a:off x="5031305" y="2460831"/>
            <a:ext cx="4377889" cy="4470809"/>
          </a:xfrm>
        </p:spPr>
        <p:txBody>
          <a:bodyPr/>
          <a:lstStyle>
            <a:lvl1pPr>
              <a:defRPr sz="2400"/>
            </a:lvl1pPr>
            <a:lvl2pPr>
              <a:defRPr sz="2000"/>
            </a:lvl2pPr>
            <a:lvl3pPr>
              <a:defRPr sz="1799"/>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ln/>
        </p:spPr>
        <p:txBody>
          <a:bodyPr/>
          <a:lstStyle>
            <a:lvl1pPr>
              <a:defRPr/>
            </a:lvl1pPr>
          </a:lstStyle>
          <a:p>
            <a:pPr>
              <a:defRPr/>
            </a:pPr>
            <a:fld id="{DB541BEC-AD9E-4104-AF2B-4C626651FF89}" type="slidenum">
              <a:rPr lang="en-US" altLang="ja-JP"/>
              <a:pPr>
                <a:defRPr/>
              </a:pPr>
              <a:t>‹#›</a:t>
            </a:fld>
            <a:endParaRPr lang="en-US" altLang="ja-JP"/>
          </a:p>
        </p:txBody>
      </p:sp>
    </p:spTree>
    <p:extLst>
      <p:ext uri="{BB962C8B-B14F-4D97-AF65-F5344CB8AC3E}">
        <p14:creationId xmlns:p14="http://schemas.microsoft.com/office/powerpoint/2010/main" val="41385232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マスター タイトルの書式設定</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ln/>
        </p:spPr>
        <p:txBody>
          <a:bodyPr/>
          <a:lstStyle>
            <a:lvl1pPr>
              <a:defRPr/>
            </a:lvl1pPr>
          </a:lstStyle>
          <a:p>
            <a:pPr>
              <a:defRPr/>
            </a:pPr>
            <a:fld id="{06FFE511-5094-4685-A035-FB392A6605D8}" type="slidenum">
              <a:rPr lang="en-US" altLang="ja-JP"/>
              <a:pPr>
                <a:defRPr/>
              </a:pPr>
              <a:t>‹#›</a:t>
            </a:fld>
            <a:endParaRPr lang="en-US" altLang="ja-JP"/>
          </a:p>
        </p:txBody>
      </p:sp>
    </p:spTree>
    <p:extLst>
      <p:ext uri="{BB962C8B-B14F-4D97-AF65-F5344CB8AC3E}">
        <p14:creationId xmlns:p14="http://schemas.microsoft.com/office/powerpoint/2010/main" val="34669627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ln/>
        </p:spPr>
        <p:txBody>
          <a:bodyPr/>
          <a:lstStyle>
            <a:lvl1pPr>
              <a:defRPr/>
            </a:lvl1pPr>
          </a:lstStyle>
          <a:p>
            <a:pPr>
              <a:defRPr/>
            </a:pPr>
            <a:fld id="{DE9C2EA1-6911-4BAC-954D-0A2DD024DDCF}" type="slidenum">
              <a:rPr lang="en-US" altLang="ja-JP"/>
              <a:pPr>
                <a:defRPr/>
              </a:pPr>
              <a:t>‹#›</a:t>
            </a:fld>
            <a:endParaRPr lang="en-US" altLang="ja-JP"/>
          </a:p>
        </p:txBody>
      </p:sp>
    </p:spTree>
    <p:extLst>
      <p:ext uri="{BB962C8B-B14F-4D97-AF65-F5344CB8AC3E}">
        <p14:creationId xmlns:p14="http://schemas.microsoft.com/office/powerpoint/2010/main" val="99480084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08951"/>
            <a:ext cx="3258485" cy="1314838"/>
          </a:xfrm>
        </p:spPr>
        <p:txBody>
          <a:bodyPr anchor="b"/>
          <a:lstStyle>
            <a:lvl1pPr algn="l">
              <a:defRPr sz="2000" b="1"/>
            </a:lvl1pPr>
          </a:lstStyle>
          <a:p>
            <a:r>
              <a:rPr lang="ja-JP" altLang="en-US"/>
              <a:t>マスター タイトルの書式設定</a:t>
            </a:r>
          </a:p>
        </p:txBody>
      </p:sp>
      <p:sp>
        <p:nvSpPr>
          <p:cNvPr id="3" name="コンテンツ プレースホルダ 2"/>
          <p:cNvSpPr>
            <a:spLocks noGrp="1"/>
          </p:cNvSpPr>
          <p:nvPr>
            <p:ph idx="1"/>
          </p:nvPr>
        </p:nvSpPr>
        <p:spPr>
          <a:xfrm>
            <a:off x="3872351" y="308953"/>
            <a:ext cx="5536842" cy="6622689"/>
          </a:xfrm>
        </p:spPr>
        <p:txBody>
          <a:bodyPr/>
          <a:lstStyle>
            <a:lvl1pPr>
              <a:defRPr sz="3200"/>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221" y="1623791"/>
            <a:ext cx="3258485" cy="5307851"/>
          </a:xfrm>
        </p:spPr>
        <p:txBody>
          <a:bodyPr/>
          <a:lstStyle>
            <a:lvl1pPr marL="0" indent="0">
              <a:buNone/>
              <a:defRPr sz="1399"/>
            </a:lvl1pPr>
            <a:lvl2pPr marL="457150" indent="0">
              <a:buNone/>
              <a:defRPr sz="1200"/>
            </a:lvl2pPr>
            <a:lvl3pPr marL="914300" indent="0">
              <a:buNone/>
              <a:defRPr sz="1000"/>
            </a:lvl3pPr>
            <a:lvl4pPr marL="1371450" indent="0">
              <a:buNone/>
              <a:defRPr sz="900"/>
            </a:lvl4pPr>
            <a:lvl5pPr marL="1828601" indent="0">
              <a:buNone/>
              <a:defRPr sz="900"/>
            </a:lvl5pPr>
            <a:lvl6pPr marL="2285751" indent="0">
              <a:buNone/>
              <a:defRPr sz="900"/>
            </a:lvl6pPr>
            <a:lvl7pPr marL="2742901" indent="0">
              <a:buNone/>
              <a:defRPr sz="900"/>
            </a:lvl7pPr>
            <a:lvl8pPr marL="3200051" indent="0">
              <a:buNone/>
              <a:defRPr sz="900"/>
            </a:lvl8pPr>
            <a:lvl9pPr marL="3657201"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460176D3-1CBA-4E5C-8891-6A87D7C30D42}" type="slidenum">
              <a:rPr lang="en-US" altLang="ja-JP"/>
              <a:pPr>
                <a:defRPr/>
              </a:pPr>
              <a:t>‹#›</a:t>
            </a:fld>
            <a:endParaRPr lang="en-US" altLang="ja-JP"/>
          </a:p>
        </p:txBody>
      </p:sp>
    </p:spTree>
    <p:extLst>
      <p:ext uri="{BB962C8B-B14F-4D97-AF65-F5344CB8AC3E}">
        <p14:creationId xmlns:p14="http://schemas.microsoft.com/office/powerpoint/2010/main" val="227977908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334" y="5431790"/>
            <a:ext cx="5942648" cy="641254"/>
          </a:xfrm>
        </p:spPr>
        <p:txBody>
          <a:bodyPr anchor="b"/>
          <a:lstStyle>
            <a:lvl1pPr algn="l">
              <a:defRPr sz="2000" b="1"/>
            </a:lvl1pPr>
          </a:lstStyle>
          <a:p>
            <a:r>
              <a:rPr lang="ja-JP" altLang="en-US"/>
              <a:t>マスター タイトルの書式設定</a:t>
            </a:r>
          </a:p>
        </p:txBody>
      </p:sp>
      <p:sp>
        <p:nvSpPr>
          <p:cNvPr id="3" name="図プレースホルダ 2"/>
          <p:cNvSpPr>
            <a:spLocks noGrp="1"/>
          </p:cNvSpPr>
          <p:nvPr>
            <p:ph type="pic" idx="1"/>
          </p:nvPr>
        </p:nvSpPr>
        <p:spPr>
          <a:xfrm>
            <a:off x="1941334" y="693344"/>
            <a:ext cx="5942648" cy="4655820"/>
          </a:xfrm>
        </p:spPr>
        <p:txBody>
          <a:bodyPr/>
          <a:lstStyle>
            <a:lvl1pPr marL="0" indent="0">
              <a:buNone/>
              <a:defRPr sz="3200"/>
            </a:lvl1pPr>
            <a:lvl2pPr marL="457150" indent="0">
              <a:buNone/>
              <a:defRPr sz="2799"/>
            </a:lvl2pPr>
            <a:lvl3pPr marL="914300" indent="0">
              <a:buNone/>
              <a:defRPr sz="2400"/>
            </a:lvl3pPr>
            <a:lvl4pPr marL="1371450" indent="0">
              <a:buNone/>
              <a:defRPr sz="2000"/>
            </a:lvl4pPr>
            <a:lvl5pPr marL="1828601" indent="0">
              <a:buNone/>
              <a:defRPr sz="2000"/>
            </a:lvl5pPr>
            <a:lvl6pPr marL="2285751" indent="0">
              <a:buNone/>
              <a:defRPr sz="2000"/>
            </a:lvl6pPr>
            <a:lvl7pPr marL="2742901" indent="0">
              <a:buNone/>
              <a:defRPr sz="2000"/>
            </a:lvl7pPr>
            <a:lvl8pPr marL="3200051" indent="0">
              <a:buNone/>
              <a:defRPr sz="2000"/>
            </a:lvl8pPr>
            <a:lvl9pPr marL="3657201" indent="0">
              <a:buNone/>
              <a:defRPr sz="2000"/>
            </a:lvl9pPr>
          </a:lstStyle>
          <a:p>
            <a:pPr lvl="0"/>
            <a:r>
              <a:rPr lang="ja-JP" altLang="en-US" noProof="0"/>
              <a:t>図を追加</a:t>
            </a:r>
          </a:p>
        </p:txBody>
      </p:sp>
      <p:sp>
        <p:nvSpPr>
          <p:cNvPr id="4" name="テキスト プレースホルダ 3"/>
          <p:cNvSpPr>
            <a:spLocks noGrp="1"/>
          </p:cNvSpPr>
          <p:nvPr>
            <p:ph type="body" sz="half" idx="2"/>
          </p:nvPr>
        </p:nvSpPr>
        <p:spPr>
          <a:xfrm>
            <a:off x="1941334" y="6073044"/>
            <a:ext cx="5942648" cy="910686"/>
          </a:xfrm>
        </p:spPr>
        <p:txBody>
          <a:bodyPr/>
          <a:lstStyle>
            <a:lvl1pPr marL="0" indent="0">
              <a:buNone/>
              <a:defRPr sz="1399"/>
            </a:lvl1pPr>
            <a:lvl2pPr marL="457150" indent="0">
              <a:buNone/>
              <a:defRPr sz="1200"/>
            </a:lvl2pPr>
            <a:lvl3pPr marL="914300" indent="0">
              <a:buNone/>
              <a:defRPr sz="1000"/>
            </a:lvl3pPr>
            <a:lvl4pPr marL="1371450" indent="0">
              <a:buNone/>
              <a:defRPr sz="900"/>
            </a:lvl4pPr>
            <a:lvl5pPr marL="1828601" indent="0">
              <a:buNone/>
              <a:defRPr sz="900"/>
            </a:lvl5pPr>
            <a:lvl6pPr marL="2285751" indent="0">
              <a:buNone/>
              <a:defRPr sz="900"/>
            </a:lvl6pPr>
            <a:lvl7pPr marL="2742901" indent="0">
              <a:buNone/>
              <a:defRPr sz="900"/>
            </a:lvl7pPr>
            <a:lvl8pPr marL="3200051" indent="0">
              <a:buNone/>
              <a:defRPr sz="900"/>
            </a:lvl8pPr>
            <a:lvl9pPr marL="3657201" indent="0">
              <a:buNone/>
              <a:defRPr sz="900"/>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ln/>
        </p:spPr>
        <p:txBody>
          <a:bodyPr/>
          <a:lstStyle>
            <a:lvl1pPr>
              <a:defRPr/>
            </a:lvl1pPr>
          </a:lstStyle>
          <a:p>
            <a:pPr>
              <a:defRPr/>
            </a:pPr>
            <a:fld id="{0A3F5529-272E-4A2C-90D7-160EE3AC1005}" type="slidenum">
              <a:rPr lang="en-US" altLang="ja-JP"/>
              <a:pPr>
                <a:defRPr/>
              </a:pPr>
              <a:t>‹#›</a:t>
            </a:fld>
            <a:endParaRPr lang="en-US" altLang="ja-JP"/>
          </a:p>
        </p:txBody>
      </p:sp>
    </p:spTree>
    <p:extLst>
      <p:ext uri="{BB962C8B-B14F-4D97-AF65-F5344CB8AC3E}">
        <p14:creationId xmlns:p14="http://schemas.microsoft.com/office/powerpoint/2010/main" val="296125857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CDB20612-914C-4BDE-8D4C-FEA4392E99F4}" type="slidenum">
              <a:rPr lang="en-US" altLang="ja-JP"/>
              <a:pPr>
                <a:defRPr/>
              </a:pPr>
              <a:t>‹#›</a:t>
            </a:fld>
            <a:endParaRPr lang="en-US" altLang="ja-JP"/>
          </a:p>
        </p:txBody>
      </p:sp>
    </p:spTree>
    <p:extLst>
      <p:ext uri="{BB962C8B-B14F-4D97-AF65-F5344CB8AC3E}">
        <p14:creationId xmlns:p14="http://schemas.microsoft.com/office/powerpoint/2010/main" val="172898745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6895" y="2"/>
            <a:ext cx="2352298" cy="6931640"/>
          </a:xfrm>
        </p:spPr>
        <p:txBody>
          <a:bodyPr vert="eaVert"/>
          <a:lstStyle/>
          <a:p>
            <a:r>
              <a:rPr lang="ja-JP" altLang="en-US"/>
              <a:t>マスター タイトルの書式設定</a:t>
            </a:r>
          </a:p>
        </p:txBody>
      </p:sp>
      <p:sp>
        <p:nvSpPr>
          <p:cNvPr id="3" name="縦書きテキスト プレースホルダ 2"/>
          <p:cNvSpPr>
            <a:spLocks noGrp="1"/>
          </p:cNvSpPr>
          <p:nvPr>
            <p:ph type="body" orient="vert" idx="1"/>
          </p:nvPr>
        </p:nvSpPr>
        <p:spPr>
          <a:xfrm>
            <a:off x="1" y="2"/>
            <a:ext cx="6891821" cy="6931640"/>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ln/>
        </p:spPr>
        <p:txBody>
          <a:bodyPr/>
          <a:lstStyle>
            <a:lvl1pPr>
              <a:defRPr/>
            </a:lvl1pPr>
          </a:lstStyle>
          <a:p>
            <a:pPr>
              <a:defRPr/>
            </a:pPr>
            <a:fld id="{86FB01F7-FA20-4B15-9970-D297285851AC}" type="slidenum">
              <a:rPr lang="en-US" altLang="ja-JP"/>
              <a:pPr>
                <a:defRPr/>
              </a:pPr>
              <a:t>‹#›</a:t>
            </a:fld>
            <a:endParaRPr lang="en-US" altLang="ja-JP"/>
          </a:p>
        </p:txBody>
      </p:sp>
    </p:spTree>
    <p:extLst>
      <p:ext uri="{BB962C8B-B14F-4D97-AF65-F5344CB8AC3E}">
        <p14:creationId xmlns:p14="http://schemas.microsoft.com/office/powerpoint/2010/main" val="8269429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1699" name="タイトル 6"/>
          <p:cNvSpPr>
            <a:spLocks noGrp="1"/>
          </p:cNvSpPr>
          <p:nvPr>
            <p:ph type="title"/>
          </p:nvPr>
        </p:nvSpPr>
        <p:spPr/>
        <p:txBody>
          <a:bodyPr/>
          <a:lstStyle/>
          <a:p>
            <a:r>
              <a:rPr kumimoji="1" lang="ja-JP" altLang="en-US" dirty="0"/>
              <a:t>マスター タイトルの書式設定</a:t>
            </a:r>
          </a:p>
        </p:txBody>
      </p:sp>
      <p:sp>
        <p:nvSpPr>
          <p:cNvPr id="1700" name="日付プレースホルダー 1"/>
          <p:cNvSpPr>
            <a:spLocks noGrp="1"/>
          </p:cNvSpPr>
          <p:nvPr>
            <p:ph type="dt" sz="half" idx="10"/>
          </p:nvPr>
        </p:nvSpPr>
        <p:spPr/>
        <p:txBody>
          <a:bodyPr/>
          <a:lstStyle/>
          <a:p>
            <a:pPr defTabSz="843990">
              <a:defRPr/>
            </a:pPr>
            <a:endParaRPr lang="en-US" altLang="ja-JP" sz="1293">
              <a:solidFill>
                <a:prstClr val="black"/>
              </a:solidFill>
              <a:latin typeface="Arial"/>
            </a:endParaRPr>
          </a:p>
        </p:txBody>
      </p:sp>
      <p:sp>
        <p:nvSpPr>
          <p:cNvPr id="1701" name="フッター プレースホルダー 7"/>
          <p:cNvSpPr>
            <a:spLocks noGrp="1"/>
          </p:cNvSpPr>
          <p:nvPr>
            <p:ph type="ftr" sz="quarter" idx="11"/>
          </p:nvPr>
        </p:nvSpPr>
        <p:spPr/>
        <p:txBody>
          <a:bodyPr/>
          <a:lstStyle/>
          <a:p>
            <a:pPr defTabSz="843990">
              <a:defRPr/>
            </a:pPr>
            <a:endParaRPr lang="en-US" altLang="ja-JP" sz="1293">
              <a:solidFill>
                <a:prstClr val="black"/>
              </a:solidFill>
              <a:latin typeface="Arial"/>
            </a:endParaRPr>
          </a:p>
        </p:txBody>
      </p:sp>
    </p:spTree>
    <p:extLst>
      <p:ext uri="{BB962C8B-B14F-4D97-AF65-F5344CB8AC3E}">
        <p14:creationId xmlns:p14="http://schemas.microsoft.com/office/powerpoint/2010/main" val="10823410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ja-JP"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383" y="7385346"/>
            <a:ext cx="2311030" cy="538868"/>
          </a:xfrm>
          <a:ln/>
        </p:spPr>
        <p:txBody>
          <a:bodyPr/>
          <a:lstStyle>
            <a:lvl1pPr>
              <a:defRPr/>
            </a:lvl1pPr>
          </a:lstStyle>
          <a:p>
            <a:pPr>
              <a:defRPr/>
            </a:pPr>
            <a:fld id="{651FC12D-27C1-4F31-90C9-A93D49E44687}" type="slidenum">
              <a:rPr lang="en-US" altLang="ja-JP"/>
              <a:pPr>
                <a:defRPr/>
              </a:pPr>
              <a:t>‹#›</a:t>
            </a:fld>
            <a:endParaRPr lang="en-US" altLang="ja-JP"/>
          </a:p>
        </p:txBody>
      </p:sp>
    </p:spTree>
    <p:extLst>
      <p:ext uri="{BB962C8B-B14F-4D97-AF65-F5344CB8AC3E}">
        <p14:creationId xmlns:p14="http://schemas.microsoft.com/office/powerpoint/2010/main" val="28662703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1753906" y="2414132"/>
            <a:ext cx="8150507" cy="1663306"/>
          </a:xfrm>
        </p:spPr>
        <p:txBody>
          <a:bodyPr/>
          <a:lstStyle>
            <a:lvl1pPr>
              <a:defRPr sz="4333"/>
            </a:lvl1pPr>
          </a:lstStyle>
          <a:p>
            <a:r>
              <a:rPr lang="ja-JP" altLang="en-US"/>
              <a:t>マスタ タイトルの書式設定</a:t>
            </a:r>
          </a:p>
        </p:txBody>
      </p:sp>
      <p:sp>
        <p:nvSpPr>
          <p:cNvPr id="3075"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 サブタイトルの書式設定</a:t>
            </a:r>
          </a:p>
        </p:txBody>
      </p:sp>
      <p:sp>
        <p:nvSpPr>
          <p:cNvPr id="3076" name="Rectangle 4"/>
          <p:cNvSpPr>
            <a:spLocks noGrp="1" noChangeArrowheads="1"/>
          </p:cNvSpPr>
          <p:nvPr>
            <p:ph type="dt" sz="half" idx="2"/>
          </p:nvPr>
        </p:nvSpPr>
        <p:spPr/>
        <p:txBody>
          <a:bodyPr/>
          <a:lstStyle>
            <a:lvl1pPr>
              <a:defRPr/>
            </a:lvl1pPr>
          </a:lstStyle>
          <a:p>
            <a:endParaRPr lang="en-US" altLang="ja-JP">
              <a:solidFill>
                <a:srgbClr val="000000"/>
              </a:solidFill>
            </a:endParaRPr>
          </a:p>
        </p:txBody>
      </p:sp>
      <p:sp>
        <p:nvSpPr>
          <p:cNvPr id="3077" name="Rectangle 5"/>
          <p:cNvSpPr>
            <a:spLocks noGrp="1" noChangeArrowheads="1"/>
          </p:cNvSpPr>
          <p:nvPr>
            <p:ph type="ftr" sz="quarter" idx="3"/>
          </p:nvPr>
        </p:nvSpPr>
        <p:spPr/>
        <p:txBody>
          <a:bodyPr/>
          <a:lstStyle>
            <a:lvl1pPr>
              <a:defRPr/>
            </a:lvl1pPr>
          </a:lstStyle>
          <a:p>
            <a:endParaRPr lang="en-US" altLang="ja-JP">
              <a:solidFill>
                <a:srgbClr val="000000"/>
              </a:solidFill>
            </a:endParaRPr>
          </a:p>
        </p:txBody>
      </p:sp>
      <p:sp>
        <p:nvSpPr>
          <p:cNvPr id="3078" name="Rectangle 6"/>
          <p:cNvSpPr>
            <a:spLocks noGrp="1" noChangeArrowheads="1"/>
          </p:cNvSpPr>
          <p:nvPr>
            <p:ph type="sldNum" sz="quarter" idx="4"/>
          </p:nvPr>
        </p:nvSpPr>
        <p:spPr>
          <a:xfrm>
            <a:off x="7609728" y="7066356"/>
            <a:ext cx="2311030" cy="538868"/>
          </a:xfrm>
        </p:spPr>
        <p:txBody>
          <a:bodyPr/>
          <a:lstStyle>
            <a:lvl1pPr>
              <a:defRPr/>
            </a:lvl1pPr>
          </a:lstStyle>
          <a:p>
            <a:fld id="{C475919F-755C-435A-9906-8F90FC2340B7}" type="slidenum">
              <a:rPr lang="en-US" altLang="ja-JP">
                <a:solidFill>
                  <a:srgbClr val="000000"/>
                </a:solidFill>
              </a:rPr>
              <a:pPr/>
              <a:t>‹#›</a:t>
            </a:fld>
            <a:endParaRPr lang="en-US" altLang="ja-JP">
              <a:solidFill>
                <a:srgbClr val="000000"/>
              </a:solidFill>
            </a:endParaRPr>
          </a:p>
        </p:txBody>
      </p:sp>
      <p:pic>
        <p:nvPicPr>
          <p:cNvPr id="3079" name="Picture 7" descr="mlit_top"/>
          <p:cNvPicPr>
            <a:picLocks noChangeAspect="1" noChangeArrowheads="1"/>
          </p:cNvPicPr>
          <p:nvPr userDrawn="1"/>
        </p:nvPicPr>
        <p:blipFill>
          <a:blip r:embed="rId2" cstate="print"/>
          <a:srcRect t="62230"/>
          <a:stretch>
            <a:fillRect/>
          </a:stretch>
        </p:blipFill>
        <p:spPr bwMode="auto">
          <a:xfrm>
            <a:off x="0" y="7382495"/>
            <a:ext cx="9904413" cy="377208"/>
          </a:xfrm>
          <a:prstGeom prst="rect">
            <a:avLst/>
          </a:prstGeom>
          <a:noFill/>
        </p:spPr>
      </p:pic>
      <p:sp>
        <p:nvSpPr>
          <p:cNvPr id="3081" name="Rectangle 9"/>
          <p:cNvSpPr>
            <a:spLocks noChangeArrowheads="1"/>
          </p:cNvSpPr>
          <p:nvPr userDrawn="1"/>
        </p:nvSpPr>
        <p:spPr bwMode="auto">
          <a:xfrm>
            <a:off x="1833006" y="3716397"/>
            <a:ext cx="8071409" cy="82626"/>
          </a:xfrm>
          <a:prstGeom prst="rect">
            <a:avLst/>
          </a:prstGeom>
          <a:solidFill>
            <a:srgbClr val="0066CC"/>
          </a:solidFill>
          <a:ln w="9525">
            <a:noFill/>
            <a:miter lim="800000"/>
            <a:headEnd/>
            <a:tailEnd/>
          </a:ln>
          <a:effectLst/>
        </p:spPr>
        <p:txBody>
          <a:bodyPr wrap="none" anchor="ctr"/>
          <a:lstStyle/>
          <a:p>
            <a:endParaRPr lang="ja-JP" altLang="en-US">
              <a:solidFill>
                <a:srgbClr val="000000"/>
              </a:solidFill>
              <a:ea typeface="ＭＳ Ｐゴシック" charset="-128"/>
            </a:endParaRPr>
          </a:p>
        </p:txBody>
      </p:sp>
      <p:pic>
        <p:nvPicPr>
          <p:cNvPr id="3083" name="Picture 11"/>
          <p:cNvPicPr>
            <a:picLocks noChangeAspect="1" noChangeArrowheads="1"/>
          </p:cNvPicPr>
          <p:nvPr userDrawn="1"/>
        </p:nvPicPr>
        <p:blipFill>
          <a:blip r:embed="rId3" cstate="print"/>
          <a:srcRect/>
          <a:stretch>
            <a:fillRect/>
          </a:stretch>
        </p:blipFill>
        <p:spPr bwMode="auto">
          <a:xfrm>
            <a:off x="1" y="6847219"/>
            <a:ext cx="2300713" cy="535276"/>
          </a:xfrm>
          <a:prstGeom prst="rect">
            <a:avLst/>
          </a:prstGeom>
          <a:noFill/>
          <a:ln w="9525">
            <a:noFill/>
            <a:miter lim="800000"/>
            <a:headEnd/>
            <a:tailEnd/>
          </a:ln>
          <a:effectLst/>
        </p:spPr>
      </p:pic>
      <p:sp>
        <p:nvSpPr>
          <p:cNvPr id="3084" name="Text Box 12"/>
          <p:cNvSpPr txBox="1">
            <a:spLocks noChangeArrowheads="1"/>
          </p:cNvSpPr>
          <p:nvPr userDrawn="1"/>
        </p:nvSpPr>
        <p:spPr bwMode="auto">
          <a:xfrm>
            <a:off x="2" y="7382493"/>
            <a:ext cx="3927485" cy="292388"/>
          </a:xfrm>
          <a:prstGeom prst="rect">
            <a:avLst/>
          </a:prstGeom>
          <a:noFill/>
          <a:ln w="9525">
            <a:noFill/>
            <a:miter lim="800000"/>
            <a:headEnd/>
            <a:tailEnd/>
          </a:ln>
          <a:effectLst/>
        </p:spPr>
        <p:txBody>
          <a:bodyPr wrap="none">
            <a:spAutoFit/>
          </a:bodyPr>
          <a:lstStyle/>
          <a:p>
            <a:r>
              <a:rPr lang="en-US" altLang="ja-JP" sz="1300" i="1">
                <a:solidFill>
                  <a:srgbClr val="FFFFFF"/>
                </a:solidFill>
                <a:latin typeface="Times New Roman" pitchFamily="18" charset="0"/>
                <a:ea typeface="ＭＳ Ｐゴシック" charset="-128"/>
              </a:rPr>
              <a:t>Ministry of Land, Infrastructure, Transport and Tourism</a:t>
            </a:r>
          </a:p>
        </p:txBody>
      </p:sp>
    </p:spTree>
    <p:extLst>
      <p:ext uri="{BB962C8B-B14F-4D97-AF65-F5344CB8AC3E}">
        <p14:creationId xmlns:p14="http://schemas.microsoft.com/office/powerpoint/2010/main" val="14556028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1042" name="Rectangle 6"/>
          <p:cNvSpPr>
            <a:spLocks noGrp="1" noChangeArrowheads="1"/>
          </p:cNvSpPr>
          <p:nvPr>
            <p:ph type="sldNum" sz="quarter" idx="12"/>
          </p:nvPr>
        </p:nvSpPr>
        <p:spPr>
          <a:xfrm>
            <a:off x="9242001" y="7220354"/>
            <a:ext cx="604156" cy="539346"/>
          </a:xfrm>
          <a:prstGeom prst="rect">
            <a:avLst/>
          </a:prstGeom>
          <a:noFill/>
          <a:ln>
            <a:noFill/>
          </a:ln>
        </p:spPr>
        <p:txBody>
          <a:bodyPr lIns="0" tIns="0" rIns="0" anchor="b"/>
          <a:lstStyle>
            <a:lvl1pPr algn="r">
              <a:defRPr sz="2000">
                <a:latin typeface="HGPｺﾞｼｯｸM" panose="020B0600000000000000" pitchFamily="50" charset="-128"/>
                <a:ea typeface="HGPｺﾞｼｯｸM" panose="020B0600000000000000" pitchFamily="50" charset="-128"/>
              </a:defRPr>
            </a:lvl1pPr>
          </a:lstStyle>
          <a:p>
            <a:pPr>
              <a:defRPr/>
            </a:pPr>
            <a:fld id="{651FC12D-27C1-4F31-90C9-A93D49E44687}" type="slidenum">
              <a:rPr lang="en-US" altLang="ja-JP" smtClean="0"/>
              <a:pPr>
                <a:defRPr/>
              </a:pPr>
              <a:t>‹#›</a:t>
            </a:fld>
            <a:endParaRPr lang="en-US" altLang="ja-JP" dirty="0"/>
          </a:p>
        </p:txBody>
      </p:sp>
    </p:spTree>
    <p:extLst>
      <p:ext uri="{BB962C8B-B14F-4D97-AF65-F5344CB8AC3E}">
        <p14:creationId xmlns:p14="http://schemas.microsoft.com/office/powerpoint/2010/main" val="32399606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章＋1行タイトル+本文">
    <p:spTree>
      <p:nvGrpSpPr>
        <p:cNvPr id="1" name=""/>
        <p:cNvGrpSpPr/>
        <p:nvPr/>
      </p:nvGrpSpPr>
      <p:grpSpPr>
        <a:xfrm>
          <a:off x="0" y="0"/>
          <a:ext cx="0" cy="0"/>
          <a:chOff x="0" y="0"/>
          <a:chExt cx="0" cy="0"/>
        </a:xfrm>
      </p:grpSpPr>
      <p:sp>
        <p:nvSpPr>
          <p:cNvPr id="1111" name="テキスト プレースホルダー 18"/>
          <p:cNvSpPr>
            <a:spLocks noGrp="1"/>
          </p:cNvSpPr>
          <p:nvPr>
            <p:ph type="body" sz="quarter" idx="10" hasCustomPrompt="1"/>
          </p:nvPr>
        </p:nvSpPr>
        <p:spPr>
          <a:xfrm>
            <a:off x="201944" y="293326"/>
            <a:ext cx="9502477" cy="647568"/>
          </a:xfrm>
          <a:blipFill>
            <a:blip r:embed="rId2"/>
            <a:stretch>
              <a:fillRect/>
            </a:stretch>
          </a:blipFill>
        </p:spPr>
        <p:txBody>
          <a:bodyPr vert="horz" lIns="144000" tIns="324000" rIns="0" bIns="36000" rtlCol="0" anchor="t" anchorCtr="0">
            <a:spAutoFit/>
          </a:bodyPr>
          <a:lstStyle>
            <a:lvl1pPr marL="0" indent="0" fontAlgn="ctr">
              <a:spcBef>
                <a:spcPts val="0"/>
              </a:spcBef>
              <a:buNone/>
              <a:defRPr lang="ja-JP" altLang="en-US" sz="1846" b="1" i="0">
                <a:solidFill>
                  <a:srgbClr val="000F78"/>
                </a:solidFill>
                <a:latin typeface="Yu Gothic UI" panose="020B0500000000000000" pitchFamily="50" charset="-128"/>
                <a:ea typeface="Yu Gothic UI" panose="020B0500000000000000" pitchFamily="50" charset="-128"/>
                <a:cs typeface="+mj-cs"/>
              </a:defRPr>
            </a:lvl1pPr>
          </a:lstStyle>
          <a:p>
            <a:pPr lvl="0">
              <a:spcBef>
                <a:spcPct val="0"/>
              </a:spcBef>
            </a:pPr>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
        <p:nvSpPr>
          <p:cNvPr id="1112" name="タイトル 12"/>
          <p:cNvSpPr>
            <a:spLocks noGrp="1"/>
          </p:cNvSpPr>
          <p:nvPr>
            <p:ph type="title" hasCustomPrompt="1"/>
          </p:nvPr>
        </p:nvSpPr>
        <p:spPr>
          <a:xfrm>
            <a:off x="201944" y="293326"/>
            <a:ext cx="9502477" cy="326289"/>
          </a:xfrm>
          <a:noFill/>
        </p:spPr>
        <p:txBody>
          <a:bodyPr tIns="46800" bIns="36000" anchor="b" anchorCtr="0"/>
          <a:lstStyle>
            <a:lvl1pPr>
              <a:lnSpc>
                <a:spcPct val="100000"/>
              </a:lnSpc>
              <a:defRPr sz="1292"/>
            </a:lvl1pPr>
          </a:lstStyle>
          <a:p>
            <a:r>
              <a:rPr lang="ja-JP" altLang="en-US" dirty="0"/>
              <a:t>章タイトル</a:t>
            </a:r>
            <a:r>
              <a:rPr lang="en-US" altLang="ja-JP" dirty="0"/>
              <a:t>/</a:t>
            </a:r>
            <a:r>
              <a:rPr lang="ja-JP" altLang="en-US" dirty="0"/>
              <a:t>スライドタイトル</a:t>
            </a:r>
            <a:r>
              <a:rPr kumimoji="1" lang="ja-JP" altLang="en-US" dirty="0"/>
              <a:t>を入力</a:t>
            </a:r>
          </a:p>
        </p:txBody>
      </p:sp>
      <p:sp>
        <p:nvSpPr>
          <p:cNvPr id="1113" name="コンテンツ プレースホルダー 2"/>
          <p:cNvSpPr>
            <a:spLocks noGrp="1"/>
          </p:cNvSpPr>
          <p:nvPr>
            <p:ph sz="quarter" idx="11"/>
          </p:nvPr>
        </p:nvSpPr>
        <p:spPr>
          <a:xfrm>
            <a:off x="212378" y="1273526"/>
            <a:ext cx="9502477" cy="6028137"/>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Tree>
    <p:extLst>
      <p:ext uri="{BB962C8B-B14F-4D97-AF65-F5344CB8AC3E}">
        <p14:creationId xmlns:p14="http://schemas.microsoft.com/office/powerpoint/2010/main" val="3076046577"/>
      </p:ext>
    </p:extLst>
  </p:cSld>
  <p:clrMapOvr>
    <a:masterClrMapping/>
  </p:clrMapOvr>
  <p:extLst>
    <p:ext uri="{DCECCB84-F9BA-43D5-87BE-67443E8EF086}">
      <p15:sldGuideLst xmlns:p15="http://schemas.microsoft.com/office/powerpoint/2012/main">
        <p15:guide id="1" orient="horz" pos="50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pic>
        <p:nvPicPr>
          <p:cNvPr id="1037" name="Picture 7" descr="mlit_top"/>
          <p:cNvPicPr>
            <a:picLocks noChangeAspect="1" noChangeArrowheads="1"/>
          </p:cNvPicPr>
          <p:nvPr userDrawn="1"/>
        </p:nvPicPr>
        <p:blipFill>
          <a:blip r:embed="rId2"/>
          <a:srcRect t="62230"/>
          <a:stretch>
            <a:fillRect/>
          </a:stretch>
        </p:blipFill>
        <p:spPr>
          <a:xfrm>
            <a:off x="0" y="7382502"/>
            <a:ext cx="9904413" cy="377208"/>
          </a:xfrm>
          <a:prstGeom prst="rect">
            <a:avLst/>
          </a:prstGeom>
          <a:noFill/>
          <a:ln w="9525">
            <a:noFill/>
            <a:miter lim="800000"/>
            <a:headEnd/>
            <a:tailEnd/>
          </a:ln>
        </p:spPr>
      </p:pic>
      <p:sp>
        <p:nvSpPr>
          <p:cNvPr id="1038" name="Rectangle 9"/>
          <p:cNvSpPr>
            <a:spLocks noChangeArrowheads="1"/>
          </p:cNvSpPr>
          <p:nvPr userDrawn="1"/>
        </p:nvSpPr>
        <p:spPr>
          <a:xfrm>
            <a:off x="1833010" y="3716404"/>
            <a:ext cx="8071409" cy="82626"/>
          </a:xfrm>
          <a:prstGeom prst="rect">
            <a:avLst/>
          </a:prstGeom>
          <a:solidFill>
            <a:srgbClr val="0066CC"/>
          </a:solidFill>
          <a:ln w="9525">
            <a:noFill/>
            <a:miter lim="800000"/>
            <a:headEnd/>
            <a:tailEnd/>
          </a:ln>
          <a:effectLst/>
        </p:spPr>
        <p:txBody>
          <a:bodyPr wrap="none" lIns="99013" tIns="49508" rIns="99013" bIns="49508" anchor="ctr"/>
          <a:lstStyle/>
          <a:p>
            <a:pPr>
              <a:defRPr/>
            </a:pPr>
            <a:endParaRPr lang="ja-JP" altLang="en-US"/>
          </a:p>
        </p:txBody>
      </p:sp>
      <p:sp>
        <p:nvSpPr>
          <p:cNvPr id="1039" name="Text Box 12"/>
          <p:cNvSpPr txBox="1">
            <a:spLocks noChangeArrowheads="1"/>
          </p:cNvSpPr>
          <p:nvPr userDrawn="1"/>
        </p:nvSpPr>
        <p:spPr>
          <a:xfrm>
            <a:off x="3" y="7382497"/>
            <a:ext cx="3942779" cy="300038"/>
          </a:xfrm>
          <a:prstGeom prst="rect">
            <a:avLst/>
          </a:prstGeom>
          <a:noFill/>
          <a:ln w="9525">
            <a:noFill/>
            <a:miter lim="800000"/>
            <a:headEnd/>
            <a:tailEnd/>
          </a:ln>
          <a:effectLst/>
        </p:spPr>
        <p:txBody>
          <a:bodyPr wrap="none" lIns="99013" tIns="49508" rIns="99013" bIns="49508">
            <a:spAutoFit/>
          </a:bodyPr>
          <a:lstStyle/>
          <a:p>
            <a:pPr>
              <a:defRPr/>
            </a:pPr>
            <a:r>
              <a:rPr lang="en-US" altLang="ja-JP" sz="1300" i="1" dirty="0">
                <a:solidFill>
                  <a:schemeClr val="bg1"/>
                </a:solidFill>
                <a:latin typeface="Times New Roman" pitchFamily="18" charset="0"/>
              </a:rPr>
              <a:t>Ministry of Land, Infrastructure, Transport and Tourism</a:t>
            </a:r>
          </a:p>
        </p:txBody>
      </p:sp>
      <p:sp>
        <p:nvSpPr>
          <p:cNvPr id="1040" name="Rectangle 2"/>
          <p:cNvSpPr>
            <a:spLocks noGrp="1" noChangeArrowheads="1"/>
          </p:cNvSpPr>
          <p:nvPr>
            <p:ph type="ctrTitle"/>
          </p:nvPr>
        </p:nvSpPr>
        <p:spPr>
          <a:xfrm>
            <a:off x="1753907" y="2414137"/>
            <a:ext cx="8150508" cy="1663306"/>
          </a:xfrm>
        </p:spPr>
        <p:txBody>
          <a:bodyPr/>
          <a:lstStyle>
            <a:lvl1pPr>
              <a:defRPr sz="4333"/>
            </a:lvl1pPr>
          </a:lstStyle>
          <a:p>
            <a:r>
              <a:rPr lang="ja-JP" altLang="en-US"/>
              <a:t>マスタ タイトルの書式設定</a:t>
            </a:r>
          </a:p>
        </p:txBody>
      </p:sp>
      <p:sp>
        <p:nvSpPr>
          <p:cNvPr id="1041" name="Rectangle 4"/>
          <p:cNvSpPr>
            <a:spLocks noGrp="1" noChangeArrowheads="1"/>
          </p:cNvSpPr>
          <p:nvPr>
            <p:ph type="dt" sz="half" idx="10"/>
          </p:nvPr>
        </p:nvSpPr>
        <p:spPr/>
        <p:txBody>
          <a:bodyPr/>
          <a:lstStyle>
            <a:lvl1pPr>
              <a:defRPr/>
            </a:lvl1pPr>
          </a:lstStyle>
          <a:p>
            <a:pPr>
              <a:defRPr/>
            </a:pPr>
            <a:endParaRPr lang="en-US" altLang="ja-JP"/>
          </a:p>
        </p:txBody>
      </p:sp>
      <p:sp>
        <p:nvSpPr>
          <p:cNvPr id="1042" name="Rectangle 5"/>
          <p:cNvSpPr>
            <a:spLocks noGrp="1" noChangeArrowheads="1"/>
          </p:cNvSpPr>
          <p:nvPr>
            <p:ph type="ftr" sz="quarter" idx="11"/>
          </p:nvPr>
        </p:nvSpPr>
        <p:spPr/>
        <p:txBody>
          <a:bodyPr/>
          <a:lstStyle>
            <a:lvl1pPr>
              <a:defRPr/>
            </a:lvl1pPr>
          </a:lstStyle>
          <a:p>
            <a:pPr>
              <a:defRPr/>
            </a:pPr>
            <a:endParaRPr lang="en-US" altLang="ja-JP"/>
          </a:p>
        </p:txBody>
      </p:sp>
    </p:spTree>
    <p:extLst>
      <p:ext uri="{BB962C8B-B14F-4D97-AF65-F5344CB8AC3E}">
        <p14:creationId xmlns:p14="http://schemas.microsoft.com/office/powerpoint/2010/main" val="29253752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4" name="タイトル 1"/>
          <p:cNvSpPr>
            <a:spLocks noGrp="1"/>
          </p:cNvSpPr>
          <p:nvPr>
            <p:ph type="title"/>
          </p:nvPr>
        </p:nvSpPr>
        <p:spPr/>
        <p:txBody>
          <a:bodyPr/>
          <a:lstStyle/>
          <a:p>
            <a:r>
              <a:rPr lang="ja-JP" altLang="en-US"/>
              <a:t>マスタ タイトルの書式設定</a:t>
            </a:r>
          </a:p>
        </p:txBody>
      </p:sp>
      <p:sp>
        <p:nvSpPr>
          <p:cNvPr id="1045"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4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8" name="Rectangle 6"/>
          <p:cNvSpPr>
            <a:spLocks noGrp="1" noChangeArrowheads="1"/>
          </p:cNvSpPr>
          <p:nvPr>
            <p:ph type="sldNum" sz="quarter" idx="4"/>
          </p:nvPr>
        </p:nvSpPr>
        <p:spPr>
          <a:xfrm>
            <a:off x="7593383" y="7464782"/>
            <a:ext cx="2311030" cy="294441"/>
          </a:xfrm>
          <a:prstGeom prst="rect">
            <a:avLst/>
          </a:prstGeom>
          <a:noFill/>
          <a:ln w="9525">
            <a:noFill/>
            <a:miter lim="800000"/>
            <a:headEnd/>
            <a:tailEnd/>
          </a:ln>
          <a:effectLst/>
        </p:spPr>
        <p:txBody>
          <a:bodyPr vert="horz" wrap="square" lIns="91410" tIns="45706" rIns="91410" bIns="45706" numCol="1" anchor="t" anchorCtr="0" compatLnSpc="1">
            <a:prstTxWarp prst="textNoShape">
              <a:avLst/>
            </a:prstTxWarp>
          </a:bodyPr>
          <a:lstStyle>
            <a:lvl1pPr algn="r">
              <a:defRPr sz="1516"/>
            </a:lvl1pPr>
          </a:lstStyle>
          <a:p>
            <a:pPr>
              <a:defRPr/>
            </a:pPr>
            <a:fld id="{57B2D45D-537A-4194-9175-374C6F5A7D62}" type="slidenum">
              <a:rPr lang="en-US" altLang="ja-JP" smtClean="0"/>
              <a:pPr>
                <a:defRPr/>
              </a:pPr>
              <a:t>‹#›</a:t>
            </a:fld>
            <a:endParaRPr lang="en-US" altLang="ja-JP" dirty="0"/>
          </a:p>
        </p:txBody>
      </p:sp>
    </p:spTree>
    <p:extLst>
      <p:ext uri="{BB962C8B-B14F-4D97-AF65-F5344CB8AC3E}">
        <p14:creationId xmlns:p14="http://schemas.microsoft.com/office/powerpoint/2010/main" val="18513921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50" name="タイトル 1"/>
          <p:cNvSpPr>
            <a:spLocks noGrp="1"/>
          </p:cNvSpPr>
          <p:nvPr>
            <p:ph type="title"/>
          </p:nvPr>
        </p:nvSpPr>
        <p:spPr/>
        <p:txBody>
          <a:bodyPr/>
          <a:lstStyle/>
          <a:p>
            <a:r>
              <a:rPr lang="ja-JP" altLang="en-US"/>
              <a:t>マスタ タイトルの書式設定</a:t>
            </a:r>
          </a:p>
        </p:txBody>
      </p:sp>
      <p:sp>
        <p:nvSpPr>
          <p:cNvPr id="1051" name="コンテンツ プレースホルダ 2"/>
          <p:cNvSpPr>
            <a:spLocks noGrp="1"/>
          </p:cNvSpPr>
          <p:nvPr>
            <p:ph sz="half" idx="1"/>
          </p:nvPr>
        </p:nvSpPr>
        <p:spPr>
          <a:xfrm>
            <a:off x="495224" y="1810606"/>
            <a:ext cx="4374449" cy="5121043"/>
          </a:xfrm>
        </p:spPr>
        <p:txBody>
          <a:bodyPr/>
          <a:lstStyle>
            <a:lvl1pPr>
              <a:defRPr sz="3033"/>
            </a:lvl1pPr>
            <a:lvl2pPr>
              <a:defRPr sz="2600"/>
            </a:lvl2pPr>
            <a:lvl3pPr>
              <a:defRPr sz="2166"/>
            </a:lvl3pPr>
            <a:lvl4pPr>
              <a:defRPr sz="1950"/>
            </a:lvl4pPr>
            <a:lvl5pPr>
              <a:defRPr sz="1950"/>
            </a:lvl5pPr>
            <a:lvl6pPr>
              <a:defRPr sz="1950"/>
            </a:lvl6pPr>
            <a:lvl7pPr>
              <a:defRPr sz="1950"/>
            </a:lvl7pPr>
            <a:lvl8pPr>
              <a:defRPr sz="1950"/>
            </a:lvl8pPr>
            <a:lvl9pPr>
              <a:defRPr sz="195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コンテンツ プレースホルダ 3"/>
          <p:cNvSpPr>
            <a:spLocks noGrp="1"/>
          </p:cNvSpPr>
          <p:nvPr>
            <p:ph sz="half" idx="2"/>
          </p:nvPr>
        </p:nvSpPr>
        <p:spPr>
          <a:xfrm>
            <a:off x="5034743" y="1810606"/>
            <a:ext cx="4374449" cy="5121043"/>
          </a:xfrm>
        </p:spPr>
        <p:txBody>
          <a:bodyPr/>
          <a:lstStyle>
            <a:lvl1pPr>
              <a:defRPr sz="3033"/>
            </a:lvl1pPr>
            <a:lvl2pPr>
              <a:defRPr sz="2600"/>
            </a:lvl2pPr>
            <a:lvl3pPr>
              <a:defRPr sz="2166"/>
            </a:lvl3pPr>
            <a:lvl4pPr>
              <a:defRPr sz="1950"/>
            </a:lvl4pPr>
            <a:lvl5pPr>
              <a:defRPr sz="1950"/>
            </a:lvl5pPr>
            <a:lvl6pPr>
              <a:defRPr sz="1950"/>
            </a:lvl6pPr>
            <a:lvl7pPr>
              <a:defRPr sz="1950"/>
            </a:lvl7pPr>
            <a:lvl8pPr>
              <a:defRPr sz="1950"/>
            </a:lvl8pPr>
            <a:lvl9pPr>
              <a:defRPr sz="195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8" name="Rectangle 6"/>
          <p:cNvSpPr>
            <a:spLocks noGrp="1" noChangeArrowheads="1"/>
          </p:cNvSpPr>
          <p:nvPr>
            <p:ph type="sldNum" sz="quarter" idx="4"/>
          </p:nvPr>
        </p:nvSpPr>
        <p:spPr>
          <a:xfrm>
            <a:off x="7593383" y="7464782"/>
            <a:ext cx="2311030" cy="294441"/>
          </a:xfrm>
          <a:prstGeom prst="rect">
            <a:avLst/>
          </a:prstGeom>
          <a:noFill/>
          <a:ln w="9525">
            <a:noFill/>
            <a:miter lim="800000"/>
            <a:headEnd/>
            <a:tailEnd/>
          </a:ln>
          <a:effectLst/>
        </p:spPr>
        <p:txBody>
          <a:bodyPr vert="horz" wrap="square" lIns="91410" tIns="45706" rIns="91410" bIns="45706" numCol="1" anchor="t" anchorCtr="0" compatLnSpc="1">
            <a:prstTxWarp prst="textNoShape">
              <a:avLst/>
            </a:prstTxWarp>
          </a:bodyPr>
          <a:lstStyle>
            <a:lvl1pPr algn="r">
              <a:defRPr sz="1516"/>
            </a:lvl1pPr>
          </a:lstStyle>
          <a:p>
            <a:pPr>
              <a:defRPr/>
            </a:pPr>
            <a:fld id="{57B2D45D-537A-4194-9175-374C6F5A7D62}" type="slidenum">
              <a:rPr lang="en-US" altLang="ja-JP" smtClean="0"/>
              <a:pPr>
                <a:defRPr/>
              </a:pPr>
              <a:t>‹#›</a:t>
            </a:fld>
            <a:endParaRPr lang="en-US" altLang="ja-JP" dirty="0"/>
          </a:p>
        </p:txBody>
      </p:sp>
    </p:spTree>
    <p:extLst>
      <p:ext uri="{BB962C8B-B14F-4D97-AF65-F5344CB8AC3E}">
        <p14:creationId xmlns:p14="http://schemas.microsoft.com/office/powerpoint/2010/main" val="39371392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7" name="タイトル 1"/>
          <p:cNvSpPr>
            <a:spLocks noGrp="1"/>
          </p:cNvSpPr>
          <p:nvPr>
            <p:ph type="title"/>
          </p:nvPr>
        </p:nvSpPr>
        <p:spPr>
          <a:xfrm>
            <a:off x="495221" y="310748"/>
            <a:ext cx="8913972" cy="1293283"/>
          </a:xfrm>
        </p:spPr>
        <p:txBody>
          <a:bodyPr/>
          <a:lstStyle>
            <a:lvl1pPr>
              <a:defRPr/>
            </a:lvl1pPr>
          </a:lstStyle>
          <a:p>
            <a:r>
              <a:rPr lang="ja-JP" altLang="en-US"/>
              <a:t>マスタ タイトルの書式設定</a:t>
            </a:r>
          </a:p>
        </p:txBody>
      </p:sp>
      <p:sp>
        <p:nvSpPr>
          <p:cNvPr id="1058" name="テキスト プレースホルダ 2"/>
          <p:cNvSpPr>
            <a:spLocks noGrp="1"/>
          </p:cNvSpPr>
          <p:nvPr>
            <p:ph type="body" idx="1"/>
          </p:nvPr>
        </p:nvSpPr>
        <p:spPr>
          <a:xfrm>
            <a:off x="495223" y="1736953"/>
            <a:ext cx="4376169" cy="723879"/>
          </a:xfrm>
        </p:spPr>
        <p:txBody>
          <a:bodyPr anchor="b"/>
          <a:lstStyle>
            <a:lvl1pPr marL="0" indent="0">
              <a:buNone/>
              <a:defRPr sz="2600" b="1"/>
            </a:lvl1pPr>
            <a:lvl2pPr marL="495072" indent="0">
              <a:buNone/>
              <a:defRPr sz="2166" b="1"/>
            </a:lvl2pPr>
            <a:lvl3pPr marL="990140" indent="0">
              <a:buNone/>
              <a:defRPr sz="1950" b="1"/>
            </a:lvl3pPr>
            <a:lvl4pPr marL="1485210" indent="0">
              <a:buNone/>
              <a:defRPr sz="1733" b="1"/>
            </a:lvl4pPr>
            <a:lvl5pPr marL="1980280" indent="0">
              <a:buNone/>
              <a:defRPr sz="1733" b="1"/>
            </a:lvl5pPr>
            <a:lvl6pPr marL="2475352" indent="0">
              <a:buNone/>
              <a:defRPr sz="1733" b="1"/>
            </a:lvl6pPr>
            <a:lvl7pPr marL="2970419" indent="0">
              <a:buNone/>
              <a:defRPr sz="1733" b="1"/>
            </a:lvl7pPr>
            <a:lvl8pPr marL="3465492" indent="0">
              <a:buNone/>
              <a:defRPr sz="1733" b="1"/>
            </a:lvl8pPr>
            <a:lvl9pPr marL="3960562" indent="0">
              <a:buNone/>
              <a:defRPr sz="1733" b="1"/>
            </a:lvl9pPr>
          </a:lstStyle>
          <a:p>
            <a:pPr lvl="0"/>
            <a:r>
              <a:rPr lang="ja-JP" altLang="en-US"/>
              <a:t>マスタ テキストの書式設定</a:t>
            </a:r>
          </a:p>
        </p:txBody>
      </p:sp>
      <p:sp>
        <p:nvSpPr>
          <p:cNvPr id="1059" name="コンテンツ プレースホルダ 3"/>
          <p:cNvSpPr>
            <a:spLocks noGrp="1"/>
          </p:cNvSpPr>
          <p:nvPr>
            <p:ph sz="half" idx="2"/>
          </p:nvPr>
        </p:nvSpPr>
        <p:spPr>
          <a:xfrm>
            <a:off x="495223" y="2460832"/>
            <a:ext cx="4376169" cy="4470809"/>
          </a:xfrm>
        </p:spPr>
        <p:txBody>
          <a:bodyPr/>
          <a:lstStyle>
            <a:lvl1pPr>
              <a:defRPr sz="2600"/>
            </a:lvl1pPr>
            <a:lvl2pPr>
              <a:defRPr sz="2166"/>
            </a:lvl2pPr>
            <a:lvl3pPr>
              <a:defRPr sz="1950"/>
            </a:lvl3pPr>
            <a:lvl4pPr>
              <a:defRPr sz="1733"/>
            </a:lvl4pPr>
            <a:lvl5pPr>
              <a:defRPr sz="1733"/>
            </a:lvl5pPr>
            <a:lvl6pPr>
              <a:defRPr sz="1733"/>
            </a:lvl6pPr>
            <a:lvl7pPr>
              <a:defRPr sz="1733"/>
            </a:lvl7pPr>
            <a:lvl8pPr>
              <a:defRPr sz="1733"/>
            </a:lvl8pPr>
            <a:lvl9pPr>
              <a:defRPr sz="173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0" name="テキスト プレースホルダ 4"/>
          <p:cNvSpPr>
            <a:spLocks noGrp="1"/>
          </p:cNvSpPr>
          <p:nvPr>
            <p:ph type="body" sz="quarter" idx="3"/>
          </p:nvPr>
        </p:nvSpPr>
        <p:spPr>
          <a:xfrm>
            <a:off x="5031311" y="1736953"/>
            <a:ext cx="4377888" cy="723879"/>
          </a:xfrm>
        </p:spPr>
        <p:txBody>
          <a:bodyPr anchor="b"/>
          <a:lstStyle>
            <a:lvl1pPr marL="0" indent="0">
              <a:buNone/>
              <a:defRPr sz="2600" b="1"/>
            </a:lvl1pPr>
            <a:lvl2pPr marL="495072" indent="0">
              <a:buNone/>
              <a:defRPr sz="2166" b="1"/>
            </a:lvl2pPr>
            <a:lvl3pPr marL="990140" indent="0">
              <a:buNone/>
              <a:defRPr sz="1950" b="1"/>
            </a:lvl3pPr>
            <a:lvl4pPr marL="1485210" indent="0">
              <a:buNone/>
              <a:defRPr sz="1733" b="1"/>
            </a:lvl4pPr>
            <a:lvl5pPr marL="1980280" indent="0">
              <a:buNone/>
              <a:defRPr sz="1733" b="1"/>
            </a:lvl5pPr>
            <a:lvl6pPr marL="2475352" indent="0">
              <a:buNone/>
              <a:defRPr sz="1733" b="1"/>
            </a:lvl6pPr>
            <a:lvl7pPr marL="2970419" indent="0">
              <a:buNone/>
              <a:defRPr sz="1733" b="1"/>
            </a:lvl7pPr>
            <a:lvl8pPr marL="3465492" indent="0">
              <a:buNone/>
              <a:defRPr sz="1733" b="1"/>
            </a:lvl8pPr>
            <a:lvl9pPr marL="3960562" indent="0">
              <a:buNone/>
              <a:defRPr sz="1733" b="1"/>
            </a:lvl9pPr>
          </a:lstStyle>
          <a:p>
            <a:pPr lvl="0"/>
            <a:r>
              <a:rPr lang="ja-JP" altLang="en-US"/>
              <a:t>マスタ テキストの書式設定</a:t>
            </a:r>
          </a:p>
        </p:txBody>
      </p:sp>
      <p:sp>
        <p:nvSpPr>
          <p:cNvPr id="1061" name="コンテンツ プレースホルダ 5"/>
          <p:cNvSpPr>
            <a:spLocks noGrp="1"/>
          </p:cNvSpPr>
          <p:nvPr>
            <p:ph sz="quarter" idx="4"/>
          </p:nvPr>
        </p:nvSpPr>
        <p:spPr>
          <a:xfrm>
            <a:off x="5031311" y="2460832"/>
            <a:ext cx="4377888" cy="4470809"/>
          </a:xfrm>
        </p:spPr>
        <p:txBody>
          <a:bodyPr/>
          <a:lstStyle>
            <a:lvl1pPr>
              <a:defRPr sz="2600"/>
            </a:lvl1pPr>
            <a:lvl2pPr>
              <a:defRPr sz="2166"/>
            </a:lvl2pPr>
            <a:lvl3pPr>
              <a:defRPr sz="1950"/>
            </a:lvl3pPr>
            <a:lvl4pPr>
              <a:defRPr sz="1733"/>
            </a:lvl4pPr>
            <a:lvl5pPr>
              <a:defRPr sz="1733"/>
            </a:lvl5pPr>
            <a:lvl6pPr>
              <a:defRPr sz="1733"/>
            </a:lvl6pPr>
            <a:lvl7pPr>
              <a:defRPr sz="1733"/>
            </a:lvl7pPr>
            <a:lvl8pPr>
              <a:defRPr sz="1733"/>
            </a:lvl8pPr>
            <a:lvl9pPr>
              <a:defRPr sz="173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 name="Rectangle 6"/>
          <p:cNvSpPr>
            <a:spLocks noGrp="1" noChangeArrowheads="1"/>
          </p:cNvSpPr>
          <p:nvPr>
            <p:ph type="sldNum" sz="quarter" idx="12"/>
          </p:nvPr>
        </p:nvSpPr>
        <p:spPr>
          <a:xfrm>
            <a:off x="7593383" y="7464782"/>
            <a:ext cx="2311030" cy="294441"/>
          </a:xfrm>
          <a:prstGeom prst="rect">
            <a:avLst/>
          </a:prstGeom>
          <a:noFill/>
          <a:ln w="9525">
            <a:noFill/>
            <a:miter lim="800000"/>
            <a:headEnd/>
            <a:tailEnd/>
          </a:ln>
          <a:effectLst/>
        </p:spPr>
        <p:txBody>
          <a:bodyPr vert="horz" wrap="square" lIns="91410" tIns="45706" rIns="91410" bIns="45706" numCol="1" anchor="t" anchorCtr="0" compatLnSpc="1">
            <a:prstTxWarp prst="textNoShape">
              <a:avLst/>
            </a:prstTxWarp>
          </a:bodyPr>
          <a:lstStyle>
            <a:lvl1pPr algn="r">
              <a:defRPr sz="1516"/>
            </a:lvl1pPr>
          </a:lstStyle>
          <a:p>
            <a:pPr>
              <a:defRPr/>
            </a:pPr>
            <a:fld id="{57B2D45D-537A-4194-9175-374C6F5A7D62}" type="slidenum">
              <a:rPr lang="en-US" altLang="ja-JP" smtClean="0"/>
              <a:pPr>
                <a:defRPr/>
              </a:pPr>
              <a:t>‹#›</a:t>
            </a:fld>
            <a:endParaRPr lang="en-US" altLang="ja-JP" dirty="0"/>
          </a:p>
        </p:txBody>
      </p:sp>
    </p:spTree>
    <p:extLst>
      <p:ext uri="{BB962C8B-B14F-4D97-AF65-F5344CB8AC3E}">
        <p14:creationId xmlns:p14="http://schemas.microsoft.com/office/powerpoint/2010/main" val="303524708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6" name="タイトル 1"/>
          <p:cNvSpPr>
            <a:spLocks noGrp="1"/>
          </p:cNvSpPr>
          <p:nvPr>
            <p:ph type="title"/>
          </p:nvPr>
        </p:nvSpPr>
        <p:spPr/>
        <p:txBody>
          <a:bodyPr/>
          <a:lstStyle/>
          <a:p>
            <a:r>
              <a:rPr lang="ja-JP" altLang="en-US"/>
              <a:t>マスタ タイトルの書式設定</a:t>
            </a:r>
          </a:p>
        </p:txBody>
      </p:sp>
      <p:sp>
        <p:nvSpPr>
          <p:cNvPr id="106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4"/>
          </p:nvPr>
        </p:nvSpPr>
        <p:spPr>
          <a:xfrm>
            <a:off x="7593383" y="7464782"/>
            <a:ext cx="2311030" cy="294441"/>
          </a:xfrm>
          <a:prstGeom prst="rect">
            <a:avLst/>
          </a:prstGeom>
          <a:noFill/>
          <a:ln w="9525">
            <a:noFill/>
            <a:miter lim="800000"/>
            <a:headEnd/>
            <a:tailEnd/>
          </a:ln>
          <a:effectLst/>
        </p:spPr>
        <p:txBody>
          <a:bodyPr vert="horz" wrap="square" lIns="91410" tIns="45706" rIns="91410" bIns="45706" numCol="1" anchor="t" anchorCtr="0" compatLnSpc="1">
            <a:prstTxWarp prst="textNoShape">
              <a:avLst/>
            </a:prstTxWarp>
          </a:bodyPr>
          <a:lstStyle>
            <a:lvl1pPr algn="r">
              <a:defRPr sz="1516"/>
            </a:lvl1pPr>
          </a:lstStyle>
          <a:p>
            <a:pPr>
              <a:defRPr/>
            </a:pPr>
            <a:fld id="{57B2D45D-537A-4194-9175-374C6F5A7D62}" type="slidenum">
              <a:rPr lang="en-US" altLang="ja-JP" smtClean="0"/>
              <a:pPr>
                <a:defRPr/>
              </a:pPr>
              <a:t>‹#›</a:t>
            </a:fld>
            <a:endParaRPr lang="en-US" altLang="ja-JP" dirty="0"/>
          </a:p>
        </p:txBody>
      </p:sp>
    </p:spTree>
    <p:extLst>
      <p:ext uri="{BB962C8B-B14F-4D97-AF65-F5344CB8AC3E}">
        <p14:creationId xmlns:p14="http://schemas.microsoft.com/office/powerpoint/2010/main" val="555648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4"/>
          </p:nvPr>
        </p:nvSpPr>
        <p:spPr>
          <a:xfrm>
            <a:off x="7593383" y="7464782"/>
            <a:ext cx="2311030" cy="294441"/>
          </a:xfrm>
          <a:prstGeom prst="rect">
            <a:avLst/>
          </a:prstGeom>
          <a:noFill/>
          <a:ln w="9525">
            <a:noFill/>
            <a:miter lim="800000"/>
            <a:headEnd/>
            <a:tailEnd/>
          </a:ln>
          <a:effectLst/>
        </p:spPr>
        <p:txBody>
          <a:bodyPr vert="horz" wrap="square" lIns="91410" tIns="45706" rIns="91410" bIns="45706" numCol="1" anchor="t" anchorCtr="0" compatLnSpc="1">
            <a:prstTxWarp prst="textNoShape">
              <a:avLst/>
            </a:prstTxWarp>
          </a:bodyPr>
          <a:lstStyle>
            <a:lvl1pPr algn="r">
              <a:defRPr sz="1516"/>
            </a:lvl1pPr>
          </a:lstStyle>
          <a:p>
            <a:pPr>
              <a:defRPr/>
            </a:pPr>
            <a:fld id="{57B2D45D-537A-4194-9175-374C6F5A7D62}" type="slidenum">
              <a:rPr lang="en-US" altLang="ja-JP" smtClean="0"/>
              <a:pPr>
                <a:defRPr/>
              </a:pPr>
              <a:t>‹#›</a:t>
            </a:fld>
            <a:endParaRPr lang="en-US" altLang="ja-JP" dirty="0"/>
          </a:p>
        </p:txBody>
      </p:sp>
    </p:spTree>
    <p:extLst>
      <p:ext uri="{BB962C8B-B14F-4D97-AF65-F5344CB8AC3E}">
        <p14:creationId xmlns:p14="http://schemas.microsoft.com/office/powerpoint/2010/main" val="243009476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7" descr="mlit_top"/>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t="62230"/>
          <a:stretch>
            <a:fillRect/>
          </a:stretch>
        </p:blipFill>
        <p:spPr bwMode="auto">
          <a:xfrm>
            <a:off x="0" y="7382493"/>
            <a:ext cx="9904413" cy="37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9"/>
          <p:cNvSpPr>
            <a:spLocks noChangeArrowheads="1"/>
          </p:cNvSpPr>
          <p:nvPr userDrawn="1"/>
        </p:nvSpPr>
        <p:spPr bwMode="auto">
          <a:xfrm>
            <a:off x="1833005" y="3716395"/>
            <a:ext cx="8071409" cy="82626"/>
          </a:xfrm>
          <a:prstGeom prst="rect">
            <a:avLst/>
          </a:prstGeom>
          <a:solidFill>
            <a:srgbClr val="0066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dirty="0"/>
          </a:p>
        </p:txBody>
      </p:sp>
      <p:pic>
        <p:nvPicPr>
          <p:cNvPr id="6" name="Picture 11"/>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0" y="6847217"/>
            <a:ext cx="2300713" cy="535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2"/>
          <p:cNvSpPr txBox="1">
            <a:spLocks noChangeArrowheads="1"/>
          </p:cNvSpPr>
          <p:nvPr userDrawn="1"/>
        </p:nvSpPr>
        <p:spPr bwMode="auto">
          <a:xfrm>
            <a:off x="0" y="7382492"/>
            <a:ext cx="3927485"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en-US" altLang="ja-JP" sz="1300" i="1" dirty="0">
                <a:solidFill>
                  <a:schemeClr val="bg1"/>
                </a:solidFill>
                <a:latin typeface="Times New Roman" pitchFamily="18" charset="0"/>
              </a:rPr>
              <a:t>Ministry of Land, Infrastructure, Transport and Tourism</a:t>
            </a:r>
          </a:p>
        </p:txBody>
      </p:sp>
      <p:sp>
        <p:nvSpPr>
          <p:cNvPr id="3074" name="Rectangle 2"/>
          <p:cNvSpPr>
            <a:spLocks noGrp="1" noChangeArrowheads="1"/>
          </p:cNvSpPr>
          <p:nvPr>
            <p:ph type="ctrTitle"/>
          </p:nvPr>
        </p:nvSpPr>
        <p:spPr>
          <a:xfrm>
            <a:off x="1753906" y="2414129"/>
            <a:ext cx="8150507" cy="1663306"/>
          </a:xfrm>
        </p:spPr>
        <p:txBody>
          <a:bodyPr/>
          <a:lstStyle>
            <a:lvl1pPr>
              <a:defRPr sz="4333"/>
            </a:lvl1pPr>
          </a:lstStyle>
          <a:p>
            <a:r>
              <a:rPr lang="ja-JP" altLang="en-US"/>
              <a:t>マスター タイトルの書式設定</a:t>
            </a:r>
            <a:endParaRPr lang="ja-JP" altLang="en-US" dirty="0"/>
          </a:p>
        </p:txBody>
      </p:sp>
      <p:sp>
        <p:nvSpPr>
          <p:cNvPr id="3075"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ー サブタイトルの書式設定</a:t>
            </a:r>
          </a:p>
        </p:txBody>
      </p:sp>
      <p:sp>
        <p:nvSpPr>
          <p:cNvPr id="10" name="Rectangle 5"/>
          <p:cNvSpPr>
            <a:spLocks noGrp="1" noChangeArrowheads="1"/>
          </p:cNvSpPr>
          <p:nvPr>
            <p:ph type="ftr" sz="quarter" idx="11"/>
          </p:nvPr>
        </p:nvSpPr>
        <p:spPr/>
        <p:txBody>
          <a:bodyPr/>
          <a:lstStyle>
            <a:lvl1pPr>
              <a:defRPr/>
            </a:lvl1pPr>
          </a:lstStyle>
          <a:p>
            <a:pPr>
              <a:defRPr/>
            </a:pPr>
            <a:endParaRPr lang="en-US" altLang="ja-JP" dirty="0"/>
          </a:p>
        </p:txBody>
      </p:sp>
      <p:sp>
        <p:nvSpPr>
          <p:cNvPr id="11" name="Rectangle 6"/>
          <p:cNvSpPr>
            <a:spLocks noGrp="1" noChangeArrowheads="1"/>
          </p:cNvSpPr>
          <p:nvPr>
            <p:ph type="sldNum" sz="quarter" idx="12"/>
          </p:nvPr>
        </p:nvSpPr>
        <p:spPr>
          <a:xfrm>
            <a:off x="7098163" y="7066356"/>
            <a:ext cx="2311030" cy="538868"/>
          </a:xfrm>
        </p:spPr>
        <p:txBody>
          <a:bodyPr/>
          <a:lstStyle>
            <a:lvl1pPr>
              <a:defRPr/>
            </a:lvl1pPr>
          </a:lstStyle>
          <a:p>
            <a:pPr>
              <a:defRPr/>
            </a:pPr>
            <a:fld id="{35C1E978-A3B9-4673-8199-379729392307}" type="slidenum">
              <a:rPr lang="en-US" altLang="ja-JP"/>
              <a:pPr>
                <a:defRPr/>
              </a:pPr>
              <a:t>‹#›</a:t>
            </a:fld>
            <a:endParaRPr lang="en-US" altLang="ja-JP" dirty="0"/>
          </a:p>
        </p:txBody>
      </p:sp>
    </p:spTree>
    <p:extLst>
      <p:ext uri="{BB962C8B-B14F-4D97-AF65-F5344CB8AC3E}">
        <p14:creationId xmlns:p14="http://schemas.microsoft.com/office/powerpoint/2010/main" val="37257851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ja-JP" alt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pPr>
                <a:defRPr/>
              </a:pPr>
              <a:t>‹#›</a:t>
            </a:fld>
            <a:endParaRPr lang="en-US" altLang="ja-JP" dirty="0"/>
          </a:p>
        </p:txBody>
      </p:sp>
    </p:spTree>
    <p:extLst>
      <p:ext uri="{BB962C8B-B14F-4D97-AF65-F5344CB8AC3E}">
        <p14:creationId xmlns:p14="http://schemas.microsoft.com/office/powerpoint/2010/main" val="16425893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 5"/>
          <p:cNvSpPr>
            <a:spLocks noGrp="1"/>
          </p:cNvSpPr>
          <p:nvPr>
            <p:ph type="sldNum" sz="quarter" idx="12"/>
          </p:nvPr>
        </p:nvSpPr>
        <p:spPr/>
        <p:txBody>
          <a:bodyPr/>
          <a:lstStyle>
            <a:lvl1pPr>
              <a:defRPr/>
            </a:lvl1pPr>
          </a:lstStyle>
          <a:p>
            <a:fld id="{58668CC2-41FA-4E06-ADFC-EC4A0D39D016}"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4276874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80" y="4986326"/>
            <a:ext cx="8418751" cy="1541163"/>
          </a:xfrm>
        </p:spPr>
        <p:txBody>
          <a:bodyPr anchor="t"/>
          <a:lstStyle>
            <a:lvl1pPr algn="l">
              <a:defRPr sz="4333" b="1" cap="all"/>
            </a:lvl1pPr>
          </a:lstStyle>
          <a:p>
            <a:r>
              <a:rPr lang="ja-JP" altLang="en-US"/>
              <a:t>マスター タイトルの書式設定</a:t>
            </a:r>
          </a:p>
        </p:txBody>
      </p:sp>
      <p:sp>
        <p:nvSpPr>
          <p:cNvPr id="3" name="テキスト プレースホルダ 2"/>
          <p:cNvSpPr>
            <a:spLocks noGrp="1"/>
          </p:cNvSpPr>
          <p:nvPr>
            <p:ph type="body" idx="1"/>
          </p:nvPr>
        </p:nvSpPr>
        <p:spPr>
          <a:xfrm>
            <a:off x="782380" y="3288892"/>
            <a:ext cx="8418751" cy="1697434"/>
          </a:xfrm>
        </p:spPr>
        <p:txBody>
          <a:bodyPr anchor="b"/>
          <a:lstStyle>
            <a:lvl1pPr marL="0" indent="0">
              <a:buNone/>
              <a:defRPr sz="2166"/>
            </a:lvl1pPr>
            <a:lvl2pPr marL="495239" indent="0">
              <a:buNone/>
              <a:defRPr sz="1950"/>
            </a:lvl2pPr>
            <a:lvl3pPr marL="990478" indent="0">
              <a:buNone/>
              <a:defRPr sz="1733"/>
            </a:lvl3pPr>
            <a:lvl4pPr marL="1485717" indent="0">
              <a:buNone/>
              <a:defRPr sz="1516"/>
            </a:lvl4pPr>
            <a:lvl5pPr marL="1980956" indent="0">
              <a:buNone/>
              <a:defRPr sz="1516"/>
            </a:lvl5pPr>
            <a:lvl6pPr marL="2476195" indent="0">
              <a:buNone/>
              <a:defRPr sz="1516"/>
            </a:lvl6pPr>
            <a:lvl7pPr marL="2971434" indent="0">
              <a:buNone/>
              <a:defRPr sz="1516"/>
            </a:lvl7pPr>
            <a:lvl8pPr marL="3466673" indent="0">
              <a:buNone/>
              <a:defRPr sz="1516"/>
            </a:lvl8pPr>
            <a:lvl9pPr marL="3961912" indent="0">
              <a:buNone/>
              <a:defRPr sz="1516"/>
            </a:lvl9pPr>
          </a:lstStyle>
          <a:p>
            <a:pPr lvl="0"/>
            <a:r>
              <a:rPr lang="ja-JP" altLang="en-US"/>
              <a:t>マスター テキストの書式設定</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dirty="0"/>
          </a:p>
        </p:txBody>
      </p:sp>
    </p:spTree>
    <p:extLst>
      <p:ext uri="{BB962C8B-B14F-4D97-AF65-F5344CB8AC3E}">
        <p14:creationId xmlns:p14="http://schemas.microsoft.com/office/powerpoint/2010/main" val="4846620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sz="half" idx="1"/>
          </p:nvPr>
        </p:nvSpPr>
        <p:spPr>
          <a:xfrm>
            <a:off x="495221" y="1810597"/>
            <a:ext cx="4374449" cy="5121043"/>
          </a:xfrm>
        </p:spPr>
        <p:txBody>
          <a:bodyPr/>
          <a:lstStyle>
            <a:lvl1pPr>
              <a:defRPr sz="3033"/>
            </a:lvl1pPr>
            <a:lvl2pPr>
              <a:defRPr sz="2600"/>
            </a:lvl2pPr>
            <a:lvl3pPr>
              <a:defRPr sz="2166"/>
            </a:lvl3pPr>
            <a:lvl4pPr>
              <a:defRPr sz="1950"/>
            </a:lvl4pPr>
            <a:lvl5pPr>
              <a:defRPr sz="1950"/>
            </a:lvl5pPr>
            <a:lvl6pPr>
              <a:defRPr sz="1950"/>
            </a:lvl6pPr>
            <a:lvl7pPr>
              <a:defRPr sz="1950"/>
            </a:lvl7pPr>
            <a:lvl8pPr>
              <a:defRPr sz="1950"/>
            </a:lvl8pPr>
            <a:lvl9pPr>
              <a:defRPr sz="195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34743" y="1810597"/>
            <a:ext cx="4374449" cy="5121043"/>
          </a:xfrm>
        </p:spPr>
        <p:txBody>
          <a:bodyPr/>
          <a:lstStyle>
            <a:lvl1pPr>
              <a:defRPr sz="3033"/>
            </a:lvl1pPr>
            <a:lvl2pPr>
              <a:defRPr sz="2600"/>
            </a:lvl2pPr>
            <a:lvl3pPr>
              <a:defRPr sz="2166"/>
            </a:lvl3pPr>
            <a:lvl4pPr>
              <a:defRPr sz="1950"/>
            </a:lvl4pPr>
            <a:lvl5pPr>
              <a:defRPr sz="1950"/>
            </a:lvl5pPr>
            <a:lvl6pPr>
              <a:defRPr sz="1950"/>
            </a:lvl6pPr>
            <a:lvl7pPr>
              <a:defRPr sz="1950"/>
            </a:lvl7pPr>
            <a:lvl8pPr>
              <a:defRPr sz="1950"/>
            </a:lvl8pPr>
            <a:lvl9pPr>
              <a:defRPr sz="195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dirty="0"/>
          </a:p>
        </p:txBody>
      </p:sp>
    </p:spTree>
    <p:extLst>
      <p:ext uri="{BB962C8B-B14F-4D97-AF65-F5344CB8AC3E}">
        <p14:creationId xmlns:p14="http://schemas.microsoft.com/office/powerpoint/2010/main" val="144286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10748"/>
            <a:ext cx="8913972" cy="1293283"/>
          </a:xfrm>
        </p:spPr>
        <p:txBody>
          <a:bodyPr/>
          <a:lstStyle>
            <a:lvl1pPr>
              <a:defRPr/>
            </a:lvl1pPr>
          </a:lstStyle>
          <a:p>
            <a:r>
              <a:rPr lang="ja-JP" altLang="en-US"/>
              <a:t>マスター タイトルの書式設定</a:t>
            </a:r>
          </a:p>
        </p:txBody>
      </p:sp>
      <p:sp>
        <p:nvSpPr>
          <p:cNvPr id="3" name="テキスト プレースホルダ 2"/>
          <p:cNvSpPr>
            <a:spLocks noGrp="1"/>
          </p:cNvSpPr>
          <p:nvPr>
            <p:ph type="body" idx="1"/>
          </p:nvPr>
        </p:nvSpPr>
        <p:spPr>
          <a:xfrm>
            <a:off x="495221" y="1736952"/>
            <a:ext cx="4376169" cy="723879"/>
          </a:xfrm>
        </p:spPr>
        <p:txBody>
          <a:bodyPr anchor="b"/>
          <a:lstStyle>
            <a:lvl1pPr marL="0" indent="0">
              <a:buNone/>
              <a:defRPr sz="2600" b="1"/>
            </a:lvl1pPr>
            <a:lvl2pPr marL="495239" indent="0">
              <a:buNone/>
              <a:defRPr sz="2166" b="1"/>
            </a:lvl2pPr>
            <a:lvl3pPr marL="990478" indent="0">
              <a:buNone/>
              <a:defRPr sz="1950" b="1"/>
            </a:lvl3pPr>
            <a:lvl4pPr marL="1485717" indent="0">
              <a:buNone/>
              <a:defRPr sz="1733" b="1"/>
            </a:lvl4pPr>
            <a:lvl5pPr marL="1980956" indent="0">
              <a:buNone/>
              <a:defRPr sz="1733" b="1"/>
            </a:lvl5pPr>
            <a:lvl6pPr marL="2476195" indent="0">
              <a:buNone/>
              <a:defRPr sz="1733" b="1"/>
            </a:lvl6pPr>
            <a:lvl7pPr marL="2971434" indent="0">
              <a:buNone/>
              <a:defRPr sz="1733" b="1"/>
            </a:lvl7pPr>
            <a:lvl8pPr marL="3466673" indent="0">
              <a:buNone/>
              <a:defRPr sz="1733" b="1"/>
            </a:lvl8pPr>
            <a:lvl9pPr marL="3961912" indent="0">
              <a:buNone/>
              <a:defRPr sz="1733" b="1"/>
            </a:lvl9pPr>
          </a:lstStyle>
          <a:p>
            <a:pPr lvl="0"/>
            <a:r>
              <a:rPr lang="ja-JP" altLang="en-US"/>
              <a:t>マスター テキストの書式設定</a:t>
            </a:r>
          </a:p>
        </p:txBody>
      </p:sp>
      <p:sp>
        <p:nvSpPr>
          <p:cNvPr id="4" name="コンテンツ プレースホルダ 3"/>
          <p:cNvSpPr>
            <a:spLocks noGrp="1"/>
          </p:cNvSpPr>
          <p:nvPr>
            <p:ph sz="half" idx="2"/>
          </p:nvPr>
        </p:nvSpPr>
        <p:spPr>
          <a:xfrm>
            <a:off x="495221" y="2460831"/>
            <a:ext cx="4376169" cy="4470809"/>
          </a:xfrm>
        </p:spPr>
        <p:txBody>
          <a:bodyPr/>
          <a:lstStyle>
            <a:lvl1pPr>
              <a:defRPr sz="2600"/>
            </a:lvl1pPr>
            <a:lvl2pPr>
              <a:defRPr sz="2166"/>
            </a:lvl2pPr>
            <a:lvl3pPr>
              <a:defRPr sz="1950"/>
            </a:lvl3pPr>
            <a:lvl4pPr>
              <a:defRPr sz="1733"/>
            </a:lvl4pPr>
            <a:lvl5pPr>
              <a:defRPr sz="1733"/>
            </a:lvl5pPr>
            <a:lvl6pPr>
              <a:defRPr sz="1733"/>
            </a:lvl6pPr>
            <a:lvl7pPr>
              <a:defRPr sz="1733"/>
            </a:lvl7pPr>
            <a:lvl8pPr>
              <a:defRPr sz="1733"/>
            </a:lvl8pPr>
            <a:lvl9pPr>
              <a:defRPr sz="173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1305" y="1736952"/>
            <a:ext cx="4377888" cy="723879"/>
          </a:xfrm>
        </p:spPr>
        <p:txBody>
          <a:bodyPr anchor="b"/>
          <a:lstStyle>
            <a:lvl1pPr marL="0" indent="0">
              <a:buNone/>
              <a:defRPr sz="2600" b="1"/>
            </a:lvl1pPr>
            <a:lvl2pPr marL="495239" indent="0">
              <a:buNone/>
              <a:defRPr sz="2166" b="1"/>
            </a:lvl2pPr>
            <a:lvl3pPr marL="990478" indent="0">
              <a:buNone/>
              <a:defRPr sz="1950" b="1"/>
            </a:lvl3pPr>
            <a:lvl4pPr marL="1485717" indent="0">
              <a:buNone/>
              <a:defRPr sz="1733" b="1"/>
            </a:lvl4pPr>
            <a:lvl5pPr marL="1980956" indent="0">
              <a:buNone/>
              <a:defRPr sz="1733" b="1"/>
            </a:lvl5pPr>
            <a:lvl6pPr marL="2476195" indent="0">
              <a:buNone/>
              <a:defRPr sz="1733" b="1"/>
            </a:lvl6pPr>
            <a:lvl7pPr marL="2971434" indent="0">
              <a:buNone/>
              <a:defRPr sz="1733" b="1"/>
            </a:lvl7pPr>
            <a:lvl8pPr marL="3466673" indent="0">
              <a:buNone/>
              <a:defRPr sz="1733" b="1"/>
            </a:lvl8pPr>
            <a:lvl9pPr marL="3961912" indent="0">
              <a:buNone/>
              <a:defRPr sz="1733" b="1"/>
            </a:lvl9pPr>
          </a:lstStyle>
          <a:p>
            <a:pPr lvl="0"/>
            <a:r>
              <a:rPr lang="ja-JP" altLang="en-US"/>
              <a:t>マスター テキストの書式設定</a:t>
            </a:r>
          </a:p>
        </p:txBody>
      </p:sp>
      <p:sp>
        <p:nvSpPr>
          <p:cNvPr id="6" name="コンテンツ プレースホルダ 5"/>
          <p:cNvSpPr>
            <a:spLocks noGrp="1"/>
          </p:cNvSpPr>
          <p:nvPr>
            <p:ph sz="quarter" idx="4"/>
          </p:nvPr>
        </p:nvSpPr>
        <p:spPr>
          <a:xfrm>
            <a:off x="5031305" y="2460831"/>
            <a:ext cx="4377888" cy="4470809"/>
          </a:xfrm>
        </p:spPr>
        <p:txBody>
          <a:bodyPr/>
          <a:lstStyle>
            <a:lvl1pPr>
              <a:defRPr sz="2600"/>
            </a:lvl1pPr>
            <a:lvl2pPr>
              <a:defRPr sz="2166"/>
            </a:lvl2pPr>
            <a:lvl3pPr>
              <a:defRPr sz="1950"/>
            </a:lvl3pPr>
            <a:lvl4pPr>
              <a:defRPr sz="1733"/>
            </a:lvl4pPr>
            <a:lvl5pPr>
              <a:defRPr sz="1733"/>
            </a:lvl5pPr>
            <a:lvl6pPr>
              <a:defRPr sz="1733"/>
            </a:lvl6pPr>
            <a:lvl7pPr>
              <a:defRPr sz="1733"/>
            </a:lvl7pPr>
            <a:lvl8pPr>
              <a:defRPr sz="1733"/>
            </a:lvl8pPr>
            <a:lvl9pPr>
              <a:defRPr sz="173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9" name="Rectangle 6"/>
          <p:cNvSpPr>
            <a:spLocks noGrp="1" noChangeArrowheads="1"/>
          </p:cNvSpPr>
          <p:nvPr>
            <p:ph type="sldNum" sz="quarter" idx="12"/>
          </p:nvPr>
        </p:nvSpPr>
        <p:spPr>
          <a:ln/>
        </p:spPr>
        <p:txBody>
          <a:bodyPr/>
          <a:lstStyle>
            <a:lvl1pPr>
              <a:defRPr/>
            </a:lvl1pPr>
          </a:lstStyle>
          <a:p>
            <a:pPr>
              <a:defRPr/>
            </a:pPr>
            <a:fld id="{DB541BEC-AD9E-4104-AF2B-4C626651FF89}" type="slidenum">
              <a:rPr lang="en-US" altLang="ja-JP"/>
              <a:pPr>
                <a:defRPr/>
              </a:pPr>
              <a:t>‹#›</a:t>
            </a:fld>
            <a:endParaRPr lang="en-US" altLang="ja-JP" dirty="0"/>
          </a:p>
        </p:txBody>
      </p:sp>
    </p:spTree>
    <p:extLst>
      <p:ext uri="{BB962C8B-B14F-4D97-AF65-F5344CB8AC3E}">
        <p14:creationId xmlns:p14="http://schemas.microsoft.com/office/powerpoint/2010/main" val="218796454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5" name="Rectangle 6"/>
          <p:cNvSpPr>
            <a:spLocks noGrp="1" noChangeArrowheads="1"/>
          </p:cNvSpPr>
          <p:nvPr>
            <p:ph type="sldNum" sz="quarter" idx="12"/>
          </p:nvPr>
        </p:nvSpPr>
        <p:spPr>
          <a:ln/>
        </p:spPr>
        <p:txBody>
          <a:bodyPr/>
          <a:lstStyle>
            <a:lvl1pPr>
              <a:defRPr/>
            </a:lvl1pPr>
          </a:lstStyle>
          <a:p>
            <a:pPr>
              <a:defRPr/>
            </a:pPr>
            <a:fld id="{06FFE511-5094-4685-A035-FB392A6605D8}" type="slidenum">
              <a:rPr lang="en-US" altLang="ja-JP"/>
              <a:pPr>
                <a:defRPr/>
              </a:pPr>
              <a:t>‹#›</a:t>
            </a:fld>
            <a:endParaRPr lang="en-US" altLang="ja-JP" dirty="0"/>
          </a:p>
        </p:txBody>
      </p:sp>
    </p:spTree>
    <p:extLst>
      <p:ext uri="{BB962C8B-B14F-4D97-AF65-F5344CB8AC3E}">
        <p14:creationId xmlns:p14="http://schemas.microsoft.com/office/powerpoint/2010/main" val="418782361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4" name="Rectangle 6"/>
          <p:cNvSpPr>
            <a:spLocks noGrp="1" noChangeArrowheads="1"/>
          </p:cNvSpPr>
          <p:nvPr>
            <p:ph type="sldNum" sz="quarter" idx="12"/>
          </p:nvPr>
        </p:nvSpPr>
        <p:spPr>
          <a:ln/>
        </p:spPr>
        <p:txBody>
          <a:bodyPr/>
          <a:lstStyle>
            <a:lvl1pPr>
              <a:defRPr/>
            </a:lvl1pPr>
          </a:lstStyle>
          <a:p>
            <a:pPr>
              <a:defRPr/>
            </a:pPr>
            <a:fld id="{DE9C2EA1-6911-4BAC-954D-0A2DD024DDCF}" type="slidenum">
              <a:rPr lang="en-US" altLang="ja-JP"/>
              <a:pPr>
                <a:defRPr/>
              </a:pPr>
              <a:t>‹#›</a:t>
            </a:fld>
            <a:endParaRPr lang="en-US" altLang="ja-JP" dirty="0"/>
          </a:p>
        </p:txBody>
      </p:sp>
    </p:spTree>
    <p:extLst>
      <p:ext uri="{BB962C8B-B14F-4D97-AF65-F5344CB8AC3E}">
        <p14:creationId xmlns:p14="http://schemas.microsoft.com/office/powerpoint/2010/main" val="197153515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08951"/>
            <a:ext cx="3258484" cy="1314838"/>
          </a:xfrm>
        </p:spPr>
        <p:txBody>
          <a:bodyPr anchor="b"/>
          <a:lstStyle>
            <a:lvl1pPr algn="l">
              <a:defRPr sz="2166" b="1"/>
            </a:lvl1pPr>
          </a:lstStyle>
          <a:p>
            <a:r>
              <a:rPr lang="ja-JP" altLang="en-US"/>
              <a:t>マスター タイトルの書式設定</a:t>
            </a:r>
          </a:p>
        </p:txBody>
      </p:sp>
      <p:sp>
        <p:nvSpPr>
          <p:cNvPr id="3" name="コンテンツ プレースホルダ 2"/>
          <p:cNvSpPr>
            <a:spLocks noGrp="1"/>
          </p:cNvSpPr>
          <p:nvPr>
            <p:ph idx="1"/>
          </p:nvPr>
        </p:nvSpPr>
        <p:spPr>
          <a:xfrm>
            <a:off x="3872350" y="308952"/>
            <a:ext cx="5536842" cy="6622689"/>
          </a:xfrm>
        </p:spPr>
        <p:txBody>
          <a:bodyPr/>
          <a:lstStyle>
            <a:lvl1pPr>
              <a:defRPr sz="3466"/>
            </a:lvl1pPr>
            <a:lvl2pPr>
              <a:defRPr sz="3033"/>
            </a:lvl2pPr>
            <a:lvl3pPr>
              <a:defRPr sz="2600"/>
            </a:lvl3pPr>
            <a:lvl4pPr>
              <a:defRPr sz="2166"/>
            </a:lvl4pPr>
            <a:lvl5pPr>
              <a:defRPr sz="2166"/>
            </a:lvl5pPr>
            <a:lvl6pPr>
              <a:defRPr sz="2166"/>
            </a:lvl6pPr>
            <a:lvl7pPr>
              <a:defRPr sz="2166"/>
            </a:lvl7pPr>
            <a:lvl8pPr>
              <a:defRPr sz="2166"/>
            </a:lvl8pPr>
            <a:lvl9pPr>
              <a:defRPr sz="2166"/>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221" y="1623790"/>
            <a:ext cx="3258484" cy="5307851"/>
          </a:xfrm>
        </p:spPr>
        <p:txBody>
          <a:bodyPr/>
          <a:lstStyle>
            <a:lvl1pPr marL="0" indent="0">
              <a:buNone/>
              <a:defRPr sz="1516"/>
            </a:lvl1pPr>
            <a:lvl2pPr marL="495239" indent="0">
              <a:buNone/>
              <a:defRPr sz="1300"/>
            </a:lvl2pPr>
            <a:lvl3pPr marL="990478" indent="0">
              <a:buNone/>
              <a:defRPr sz="1083"/>
            </a:lvl3pPr>
            <a:lvl4pPr marL="1485717" indent="0">
              <a:buNone/>
              <a:defRPr sz="975"/>
            </a:lvl4pPr>
            <a:lvl5pPr marL="1980956" indent="0">
              <a:buNone/>
              <a:defRPr sz="975"/>
            </a:lvl5pPr>
            <a:lvl6pPr marL="2476195" indent="0">
              <a:buNone/>
              <a:defRPr sz="975"/>
            </a:lvl6pPr>
            <a:lvl7pPr marL="2971434" indent="0">
              <a:buNone/>
              <a:defRPr sz="975"/>
            </a:lvl7pPr>
            <a:lvl8pPr marL="3466673" indent="0">
              <a:buNone/>
              <a:defRPr sz="975"/>
            </a:lvl8pPr>
            <a:lvl9pPr marL="3961912" indent="0">
              <a:buNone/>
              <a:defRPr sz="975"/>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7" name="Rectangle 6"/>
          <p:cNvSpPr>
            <a:spLocks noGrp="1" noChangeArrowheads="1"/>
          </p:cNvSpPr>
          <p:nvPr>
            <p:ph type="sldNum" sz="quarter" idx="12"/>
          </p:nvPr>
        </p:nvSpPr>
        <p:spPr>
          <a:ln/>
        </p:spPr>
        <p:txBody>
          <a:bodyPr/>
          <a:lstStyle>
            <a:lvl1pPr>
              <a:defRPr/>
            </a:lvl1pPr>
          </a:lstStyle>
          <a:p>
            <a:pPr>
              <a:defRPr/>
            </a:pPr>
            <a:fld id="{460176D3-1CBA-4E5C-8891-6A87D7C30D42}" type="slidenum">
              <a:rPr lang="en-US" altLang="ja-JP"/>
              <a:pPr>
                <a:defRPr/>
              </a:pPr>
              <a:t>‹#›</a:t>
            </a:fld>
            <a:endParaRPr lang="en-US" altLang="ja-JP" dirty="0"/>
          </a:p>
        </p:txBody>
      </p:sp>
    </p:spTree>
    <p:extLst>
      <p:ext uri="{BB962C8B-B14F-4D97-AF65-F5344CB8AC3E}">
        <p14:creationId xmlns:p14="http://schemas.microsoft.com/office/powerpoint/2010/main" val="87078430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334" y="5431790"/>
            <a:ext cx="5942648" cy="641254"/>
          </a:xfrm>
        </p:spPr>
        <p:txBody>
          <a:bodyPr anchor="b"/>
          <a:lstStyle>
            <a:lvl1pPr algn="l">
              <a:defRPr sz="2166" b="1"/>
            </a:lvl1pPr>
          </a:lstStyle>
          <a:p>
            <a:r>
              <a:rPr lang="ja-JP" altLang="en-US"/>
              <a:t>マスター タイトルの書式設定</a:t>
            </a:r>
          </a:p>
        </p:txBody>
      </p:sp>
      <p:sp>
        <p:nvSpPr>
          <p:cNvPr id="3" name="図プレースホルダ 2"/>
          <p:cNvSpPr>
            <a:spLocks noGrp="1"/>
          </p:cNvSpPr>
          <p:nvPr>
            <p:ph type="pic" idx="1"/>
          </p:nvPr>
        </p:nvSpPr>
        <p:spPr>
          <a:xfrm>
            <a:off x="1941334" y="693344"/>
            <a:ext cx="5942648" cy="4655820"/>
          </a:xfrm>
        </p:spPr>
        <p:txBody>
          <a:bodyPr/>
          <a:lstStyle>
            <a:lvl1pPr marL="0" indent="0">
              <a:buNone/>
              <a:defRPr sz="3466"/>
            </a:lvl1pPr>
            <a:lvl2pPr marL="495239" indent="0">
              <a:buNone/>
              <a:defRPr sz="3033"/>
            </a:lvl2pPr>
            <a:lvl3pPr marL="990478" indent="0">
              <a:buNone/>
              <a:defRPr sz="2600"/>
            </a:lvl3pPr>
            <a:lvl4pPr marL="1485717" indent="0">
              <a:buNone/>
              <a:defRPr sz="2166"/>
            </a:lvl4pPr>
            <a:lvl5pPr marL="1980956" indent="0">
              <a:buNone/>
              <a:defRPr sz="2166"/>
            </a:lvl5pPr>
            <a:lvl6pPr marL="2476195" indent="0">
              <a:buNone/>
              <a:defRPr sz="2166"/>
            </a:lvl6pPr>
            <a:lvl7pPr marL="2971434" indent="0">
              <a:buNone/>
              <a:defRPr sz="2166"/>
            </a:lvl7pPr>
            <a:lvl8pPr marL="3466673" indent="0">
              <a:buNone/>
              <a:defRPr sz="2166"/>
            </a:lvl8pPr>
            <a:lvl9pPr marL="3961912" indent="0">
              <a:buNone/>
              <a:defRPr sz="2166"/>
            </a:lvl9pPr>
          </a:lstStyle>
          <a:p>
            <a:pPr lvl="0"/>
            <a:r>
              <a:rPr lang="ja-JP" altLang="en-US" noProof="0" dirty="0"/>
              <a:t>図を追加</a:t>
            </a:r>
          </a:p>
        </p:txBody>
      </p:sp>
      <p:sp>
        <p:nvSpPr>
          <p:cNvPr id="4" name="テキスト プレースホルダ 3"/>
          <p:cNvSpPr>
            <a:spLocks noGrp="1"/>
          </p:cNvSpPr>
          <p:nvPr>
            <p:ph type="body" sz="half" idx="2"/>
          </p:nvPr>
        </p:nvSpPr>
        <p:spPr>
          <a:xfrm>
            <a:off x="1941334" y="6073044"/>
            <a:ext cx="5942648" cy="910686"/>
          </a:xfrm>
        </p:spPr>
        <p:txBody>
          <a:bodyPr/>
          <a:lstStyle>
            <a:lvl1pPr marL="0" indent="0">
              <a:buNone/>
              <a:defRPr sz="1516"/>
            </a:lvl1pPr>
            <a:lvl2pPr marL="495239" indent="0">
              <a:buNone/>
              <a:defRPr sz="1300"/>
            </a:lvl2pPr>
            <a:lvl3pPr marL="990478" indent="0">
              <a:buNone/>
              <a:defRPr sz="1083"/>
            </a:lvl3pPr>
            <a:lvl4pPr marL="1485717" indent="0">
              <a:buNone/>
              <a:defRPr sz="975"/>
            </a:lvl4pPr>
            <a:lvl5pPr marL="1980956" indent="0">
              <a:buNone/>
              <a:defRPr sz="975"/>
            </a:lvl5pPr>
            <a:lvl6pPr marL="2476195" indent="0">
              <a:buNone/>
              <a:defRPr sz="975"/>
            </a:lvl6pPr>
            <a:lvl7pPr marL="2971434" indent="0">
              <a:buNone/>
              <a:defRPr sz="975"/>
            </a:lvl7pPr>
            <a:lvl8pPr marL="3466673" indent="0">
              <a:buNone/>
              <a:defRPr sz="975"/>
            </a:lvl8pPr>
            <a:lvl9pPr marL="3961912" indent="0">
              <a:buNone/>
              <a:defRPr sz="975"/>
            </a:lvl9pPr>
          </a:lstStyle>
          <a:p>
            <a:pPr lvl="0"/>
            <a:r>
              <a:rPr lang="ja-JP" altLang="en-US"/>
              <a:t>マスター テキストの書式設定</a:t>
            </a: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7" name="Rectangle 6"/>
          <p:cNvSpPr>
            <a:spLocks noGrp="1" noChangeArrowheads="1"/>
          </p:cNvSpPr>
          <p:nvPr>
            <p:ph type="sldNum" sz="quarter" idx="12"/>
          </p:nvPr>
        </p:nvSpPr>
        <p:spPr>
          <a:ln/>
        </p:spPr>
        <p:txBody>
          <a:bodyPr/>
          <a:lstStyle>
            <a:lvl1pPr>
              <a:defRPr/>
            </a:lvl1pPr>
          </a:lstStyle>
          <a:p>
            <a:pPr>
              <a:defRPr/>
            </a:pPr>
            <a:fld id="{0A3F5529-272E-4A2C-90D7-160EE3AC1005}" type="slidenum">
              <a:rPr lang="en-US" altLang="ja-JP"/>
              <a:pPr>
                <a:defRPr/>
              </a:pPr>
              <a:t>‹#›</a:t>
            </a:fld>
            <a:endParaRPr lang="en-US" altLang="ja-JP" dirty="0"/>
          </a:p>
        </p:txBody>
      </p:sp>
    </p:spTree>
    <p:extLst>
      <p:ext uri="{BB962C8B-B14F-4D97-AF65-F5344CB8AC3E}">
        <p14:creationId xmlns:p14="http://schemas.microsoft.com/office/powerpoint/2010/main" val="75230291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CDB20612-914C-4BDE-8D4C-FEA4392E99F4}" type="slidenum">
              <a:rPr lang="en-US" altLang="ja-JP"/>
              <a:pPr>
                <a:defRPr/>
              </a:pPr>
              <a:t>‹#›</a:t>
            </a:fld>
            <a:endParaRPr lang="en-US" altLang="ja-JP" dirty="0"/>
          </a:p>
        </p:txBody>
      </p:sp>
    </p:spTree>
    <p:extLst>
      <p:ext uri="{BB962C8B-B14F-4D97-AF65-F5344CB8AC3E}">
        <p14:creationId xmlns:p14="http://schemas.microsoft.com/office/powerpoint/2010/main" val="146135511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6894" y="1"/>
            <a:ext cx="2352298" cy="6931640"/>
          </a:xfrm>
        </p:spPr>
        <p:txBody>
          <a:bodyPr vert="eaVert"/>
          <a:lstStyle/>
          <a:p>
            <a:r>
              <a:rPr lang="ja-JP" altLang="en-US"/>
              <a:t>マスター タイトルの書式設定</a:t>
            </a:r>
          </a:p>
        </p:txBody>
      </p:sp>
      <p:sp>
        <p:nvSpPr>
          <p:cNvPr id="3" name="縦書きテキスト プレースホルダ 2"/>
          <p:cNvSpPr>
            <a:spLocks noGrp="1"/>
          </p:cNvSpPr>
          <p:nvPr>
            <p:ph type="body" orient="vert" idx="1"/>
          </p:nvPr>
        </p:nvSpPr>
        <p:spPr>
          <a:xfrm>
            <a:off x="0" y="1"/>
            <a:ext cx="6891821" cy="6931640"/>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6" name="Rectangle 6"/>
          <p:cNvSpPr>
            <a:spLocks noGrp="1" noChangeArrowheads="1"/>
          </p:cNvSpPr>
          <p:nvPr>
            <p:ph type="sldNum" sz="quarter" idx="12"/>
          </p:nvPr>
        </p:nvSpPr>
        <p:spPr>
          <a:ln/>
        </p:spPr>
        <p:txBody>
          <a:bodyPr/>
          <a:lstStyle>
            <a:lvl1pPr>
              <a:defRPr/>
            </a:lvl1pPr>
          </a:lstStyle>
          <a:p>
            <a:pPr>
              <a:defRPr/>
            </a:pPr>
            <a:fld id="{86FB01F7-FA20-4B15-9970-D297285851AC}" type="slidenum">
              <a:rPr lang="en-US" altLang="ja-JP"/>
              <a:pPr>
                <a:defRPr/>
              </a:pPr>
              <a:t>‹#›</a:t>
            </a:fld>
            <a:endParaRPr lang="en-US" altLang="ja-JP" dirty="0"/>
          </a:p>
        </p:txBody>
      </p:sp>
    </p:spTree>
    <p:extLst>
      <p:ext uri="{BB962C8B-B14F-4D97-AF65-F5344CB8AC3E}">
        <p14:creationId xmlns:p14="http://schemas.microsoft.com/office/powerpoint/2010/main" val="26713911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80" y="4986328"/>
            <a:ext cx="8418751" cy="1541163"/>
          </a:xfrm>
        </p:spPr>
        <p:txBody>
          <a:bodyPr anchor="t"/>
          <a:lstStyle>
            <a:lvl1pPr algn="l">
              <a:defRPr sz="4333" b="1" cap="all"/>
            </a:lvl1pPr>
          </a:lstStyle>
          <a:p>
            <a:r>
              <a:rPr lang="ja-JP" altLang="en-US"/>
              <a:t>マスタ タイトルの書式設定</a:t>
            </a:r>
          </a:p>
        </p:txBody>
      </p:sp>
      <p:sp>
        <p:nvSpPr>
          <p:cNvPr id="3" name="テキスト プレースホルダ 2"/>
          <p:cNvSpPr>
            <a:spLocks noGrp="1"/>
          </p:cNvSpPr>
          <p:nvPr>
            <p:ph type="body" idx="1"/>
          </p:nvPr>
        </p:nvSpPr>
        <p:spPr>
          <a:xfrm>
            <a:off x="782380" y="3288892"/>
            <a:ext cx="8418751" cy="1697434"/>
          </a:xfrm>
        </p:spPr>
        <p:txBody>
          <a:bodyPr anchor="b"/>
          <a:lstStyle>
            <a:lvl1pPr marL="0" indent="0">
              <a:buNone/>
              <a:defRPr sz="2166"/>
            </a:lvl1pPr>
            <a:lvl2pPr marL="495237" indent="0">
              <a:buNone/>
              <a:defRPr sz="1950"/>
            </a:lvl2pPr>
            <a:lvl3pPr marL="990473" indent="0">
              <a:buNone/>
              <a:defRPr sz="1733"/>
            </a:lvl3pPr>
            <a:lvl4pPr marL="1485708" indent="0">
              <a:buNone/>
              <a:defRPr sz="1516"/>
            </a:lvl4pPr>
            <a:lvl5pPr marL="1980944" indent="0">
              <a:buNone/>
              <a:defRPr sz="1516"/>
            </a:lvl5pPr>
            <a:lvl6pPr marL="2476181" indent="0">
              <a:buNone/>
              <a:defRPr sz="1516"/>
            </a:lvl6pPr>
            <a:lvl7pPr marL="2971418" indent="0">
              <a:buNone/>
              <a:defRPr sz="1516"/>
            </a:lvl7pPr>
            <a:lvl8pPr marL="3466653" indent="0">
              <a:buNone/>
              <a:defRPr sz="1516"/>
            </a:lvl8pPr>
            <a:lvl9pPr marL="3961890" indent="0">
              <a:buNone/>
              <a:defRPr sz="1516"/>
            </a:lvl9pPr>
          </a:lstStyle>
          <a:p>
            <a:pPr lvl="0"/>
            <a:r>
              <a:rPr lang="ja-JP" altLang="en-US"/>
              <a:t>マスタ テキストの書式設定</a:t>
            </a:r>
          </a:p>
        </p:txBody>
      </p:sp>
      <p:sp>
        <p:nvSpPr>
          <p:cNvPr id="4"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 5"/>
          <p:cNvSpPr>
            <a:spLocks noGrp="1"/>
          </p:cNvSpPr>
          <p:nvPr>
            <p:ph type="sldNum" sz="quarter" idx="12"/>
          </p:nvPr>
        </p:nvSpPr>
        <p:spPr/>
        <p:txBody>
          <a:bodyPr/>
          <a:lstStyle>
            <a:lvl1pPr>
              <a:defRPr/>
            </a:lvl1pPr>
          </a:lstStyle>
          <a:p>
            <a:fld id="{CA9C0529-EEEA-4561-979C-F51E3058612A}"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746318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95221" y="1810600"/>
            <a:ext cx="4374449" cy="5121043"/>
          </a:xfrm>
        </p:spPr>
        <p:txBody>
          <a:bodyPr/>
          <a:lstStyle>
            <a:lvl1pPr>
              <a:defRPr sz="3033"/>
            </a:lvl1pPr>
            <a:lvl2pPr>
              <a:defRPr sz="2600"/>
            </a:lvl2pPr>
            <a:lvl3pPr>
              <a:defRPr sz="2166"/>
            </a:lvl3pPr>
            <a:lvl4pPr>
              <a:defRPr sz="1950"/>
            </a:lvl4pPr>
            <a:lvl5pPr>
              <a:defRPr sz="1950"/>
            </a:lvl5pPr>
            <a:lvl6pPr>
              <a:defRPr sz="1950"/>
            </a:lvl6pPr>
            <a:lvl7pPr>
              <a:defRPr sz="1950"/>
            </a:lvl7pPr>
            <a:lvl8pPr>
              <a:defRPr sz="1950"/>
            </a:lvl8pPr>
            <a:lvl9pPr>
              <a:defRPr sz="195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34743" y="1810600"/>
            <a:ext cx="4374449" cy="5121043"/>
          </a:xfrm>
        </p:spPr>
        <p:txBody>
          <a:bodyPr/>
          <a:lstStyle>
            <a:lvl1pPr>
              <a:defRPr sz="3033"/>
            </a:lvl1pPr>
            <a:lvl2pPr>
              <a:defRPr sz="2600"/>
            </a:lvl2pPr>
            <a:lvl3pPr>
              <a:defRPr sz="2166"/>
            </a:lvl3pPr>
            <a:lvl4pPr>
              <a:defRPr sz="1950"/>
            </a:lvl4pPr>
            <a:lvl5pPr>
              <a:defRPr sz="1950"/>
            </a:lvl5pPr>
            <a:lvl6pPr>
              <a:defRPr sz="1950"/>
            </a:lvl6pPr>
            <a:lvl7pPr>
              <a:defRPr sz="1950"/>
            </a:lvl7pPr>
            <a:lvl8pPr>
              <a:defRPr sz="1950"/>
            </a:lvl8pPr>
            <a:lvl9pPr>
              <a:defRPr sz="195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6"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スライド番号プレースホルダ 6"/>
          <p:cNvSpPr>
            <a:spLocks noGrp="1"/>
          </p:cNvSpPr>
          <p:nvPr>
            <p:ph type="sldNum" sz="quarter" idx="12"/>
          </p:nvPr>
        </p:nvSpPr>
        <p:spPr/>
        <p:txBody>
          <a:bodyPr/>
          <a:lstStyle>
            <a:lvl1pPr>
              <a:defRPr/>
            </a:lvl1pPr>
          </a:lstStyle>
          <a:p>
            <a:fld id="{BD1765A2-6457-489E-8C98-7A84F249F11C}"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26821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10748"/>
            <a:ext cx="8913972" cy="1293283"/>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95221" y="1736952"/>
            <a:ext cx="4376169" cy="723879"/>
          </a:xfrm>
        </p:spPr>
        <p:txBody>
          <a:bodyPr anchor="b"/>
          <a:lstStyle>
            <a:lvl1pPr marL="0" indent="0">
              <a:buNone/>
              <a:defRPr sz="2600" b="1"/>
            </a:lvl1pPr>
            <a:lvl2pPr marL="495237" indent="0">
              <a:buNone/>
              <a:defRPr sz="2166" b="1"/>
            </a:lvl2pPr>
            <a:lvl3pPr marL="990473" indent="0">
              <a:buNone/>
              <a:defRPr sz="1950" b="1"/>
            </a:lvl3pPr>
            <a:lvl4pPr marL="1485708" indent="0">
              <a:buNone/>
              <a:defRPr sz="1733" b="1"/>
            </a:lvl4pPr>
            <a:lvl5pPr marL="1980944" indent="0">
              <a:buNone/>
              <a:defRPr sz="1733" b="1"/>
            </a:lvl5pPr>
            <a:lvl6pPr marL="2476181" indent="0">
              <a:buNone/>
              <a:defRPr sz="1733" b="1"/>
            </a:lvl6pPr>
            <a:lvl7pPr marL="2971418" indent="0">
              <a:buNone/>
              <a:defRPr sz="1733" b="1"/>
            </a:lvl7pPr>
            <a:lvl8pPr marL="3466653" indent="0">
              <a:buNone/>
              <a:defRPr sz="1733" b="1"/>
            </a:lvl8pPr>
            <a:lvl9pPr marL="3961890" indent="0">
              <a:buNone/>
              <a:defRPr sz="1733"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95221" y="2460831"/>
            <a:ext cx="4376169" cy="4470809"/>
          </a:xfrm>
        </p:spPr>
        <p:txBody>
          <a:bodyPr/>
          <a:lstStyle>
            <a:lvl1pPr>
              <a:defRPr sz="2600"/>
            </a:lvl1pPr>
            <a:lvl2pPr>
              <a:defRPr sz="2166"/>
            </a:lvl2pPr>
            <a:lvl3pPr>
              <a:defRPr sz="1950"/>
            </a:lvl3pPr>
            <a:lvl4pPr>
              <a:defRPr sz="1733"/>
            </a:lvl4pPr>
            <a:lvl5pPr>
              <a:defRPr sz="1733"/>
            </a:lvl5pPr>
            <a:lvl6pPr>
              <a:defRPr sz="1733"/>
            </a:lvl6pPr>
            <a:lvl7pPr>
              <a:defRPr sz="1733"/>
            </a:lvl7pPr>
            <a:lvl8pPr>
              <a:defRPr sz="1733"/>
            </a:lvl8pPr>
            <a:lvl9pPr>
              <a:defRPr sz="173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1306" y="1736952"/>
            <a:ext cx="4377888" cy="723879"/>
          </a:xfrm>
        </p:spPr>
        <p:txBody>
          <a:bodyPr anchor="b"/>
          <a:lstStyle>
            <a:lvl1pPr marL="0" indent="0">
              <a:buNone/>
              <a:defRPr sz="2600" b="1"/>
            </a:lvl1pPr>
            <a:lvl2pPr marL="495237" indent="0">
              <a:buNone/>
              <a:defRPr sz="2166" b="1"/>
            </a:lvl2pPr>
            <a:lvl3pPr marL="990473" indent="0">
              <a:buNone/>
              <a:defRPr sz="1950" b="1"/>
            </a:lvl3pPr>
            <a:lvl4pPr marL="1485708" indent="0">
              <a:buNone/>
              <a:defRPr sz="1733" b="1"/>
            </a:lvl4pPr>
            <a:lvl5pPr marL="1980944" indent="0">
              <a:buNone/>
              <a:defRPr sz="1733" b="1"/>
            </a:lvl5pPr>
            <a:lvl6pPr marL="2476181" indent="0">
              <a:buNone/>
              <a:defRPr sz="1733" b="1"/>
            </a:lvl6pPr>
            <a:lvl7pPr marL="2971418" indent="0">
              <a:buNone/>
              <a:defRPr sz="1733" b="1"/>
            </a:lvl7pPr>
            <a:lvl8pPr marL="3466653" indent="0">
              <a:buNone/>
              <a:defRPr sz="1733" b="1"/>
            </a:lvl8pPr>
            <a:lvl9pPr marL="3961890" indent="0">
              <a:buNone/>
              <a:defRPr sz="1733"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031306" y="2460831"/>
            <a:ext cx="4377888" cy="4470809"/>
          </a:xfrm>
        </p:spPr>
        <p:txBody>
          <a:bodyPr/>
          <a:lstStyle>
            <a:lvl1pPr>
              <a:defRPr sz="2600"/>
            </a:lvl1pPr>
            <a:lvl2pPr>
              <a:defRPr sz="2166"/>
            </a:lvl2pPr>
            <a:lvl3pPr>
              <a:defRPr sz="1950"/>
            </a:lvl3pPr>
            <a:lvl4pPr>
              <a:defRPr sz="1733"/>
            </a:lvl4pPr>
            <a:lvl5pPr>
              <a:defRPr sz="1733"/>
            </a:lvl5pPr>
            <a:lvl6pPr>
              <a:defRPr sz="1733"/>
            </a:lvl6pPr>
            <a:lvl7pPr>
              <a:defRPr sz="1733"/>
            </a:lvl7pPr>
            <a:lvl8pPr>
              <a:defRPr sz="1733"/>
            </a:lvl8pPr>
            <a:lvl9pPr>
              <a:defRPr sz="173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 6"/>
          <p:cNvSpPr>
            <a:spLocks noGrp="1"/>
          </p:cNvSpPr>
          <p:nvPr>
            <p:ph type="dt" sz="half" idx="10"/>
          </p:nvPr>
        </p:nvSpPr>
        <p:spPr/>
        <p:txBody>
          <a:bodyPr/>
          <a:lstStyle>
            <a:lvl1pPr>
              <a:defRPr/>
            </a:lvl1pPr>
          </a:lstStyle>
          <a:p>
            <a:endParaRPr lang="en-US" altLang="ja-JP">
              <a:solidFill>
                <a:srgbClr val="000000"/>
              </a:solidFill>
            </a:endParaRPr>
          </a:p>
        </p:txBody>
      </p:sp>
      <p:sp>
        <p:nvSpPr>
          <p:cNvPr id="8" name="フッター プレースホルダ 7"/>
          <p:cNvSpPr>
            <a:spLocks noGrp="1"/>
          </p:cNvSpPr>
          <p:nvPr>
            <p:ph type="ftr" sz="quarter" idx="11"/>
          </p:nvPr>
        </p:nvSpPr>
        <p:spPr/>
        <p:txBody>
          <a:bodyPr/>
          <a:lstStyle>
            <a:lvl1pPr>
              <a:defRPr/>
            </a:lvl1pPr>
          </a:lstStyle>
          <a:p>
            <a:endParaRPr lang="en-US" altLang="ja-JP">
              <a:solidFill>
                <a:srgbClr val="000000"/>
              </a:solidFill>
            </a:endParaRPr>
          </a:p>
        </p:txBody>
      </p:sp>
      <p:sp>
        <p:nvSpPr>
          <p:cNvPr id="9" name="スライド番号プレースホルダ 8"/>
          <p:cNvSpPr>
            <a:spLocks noGrp="1"/>
          </p:cNvSpPr>
          <p:nvPr>
            <p:ph type="sldNum" sz="quarter" idx="12"/>
          </p:nvPr>
        </p:nvSpPr>
        <p:spPr/>
        <p:txBody>
          <a:bodyPr/>
          <a:lstStyle>
            <a:lvl1pPr>
              <a:defRPr/>
            </a:lvl1pPr>
          </a:lstStyle>
          <a:p>
            <a:fld id="{FEEA531D-A6F4-4820-8869-ABC0E6DB3C12}"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574490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日付プレースホルダ 2"/>
          <p:cNvSpPr>
            <a:spLocks noGrp="1"/>
          </p:cNvSpPr>
          <p:nvPr>
            <p:ph type="dt" sz="half" idx="10"/>
          </p:nvPr>
        </p:nvSpPr>
        <p:spPr/>
        <p:txBody>
          <a:bodyPr/>
          <a:lstStyle>
            <a:lvl1pPr>
              <a:defRPr/>
            </a:lvl1pPr>
          </a:lstStyle>
          <a:p>
            <a:endParaRPr lang="en-US" altLang="ja-JP">
              <a:solidFill>
                <a:srgbClr val="000000"/>
              </a:solidFill>
            </a:endParaRPr>
          </a:p>
        </p:txBody>
      </p:sp>
      <p:sp>
        <p:nvSpPr>
          <p:cNvPr id="4" name="フッター プレースホルダ 3"/>
          <p:cNvSpPr>
            <a:spLocks noGrp="1"/>
          </p:cNvSpPr>
          <p:nvPr>
            <p:ph type="ftr" sz="quarter" idx="11"/>
          </p:nvPr>
        </p:nvSpPr>
        <p:spPr/>
        <p:txBody>
          <a:bodyPr/>
          <a:lstStyle>
            <a:lvl1pPr>
              <a:defRPr/>
            </a:lvl1pPr>
          </a:lstStyle>
          <a:p>
            <a:endParaRPr lang="en-US" altLang="ja-JP">
              <a:solidFill>
                <a:srgbClr val="000000"/>
              </a:solidFill>
            </a:endParaRPr>
          </a:p>
        </p:txBody>
      </p:sp>
      <p:sp>
        <p:nvSpPr>
          <p:cNvPr id="5" name="スライド番号プレースホルダ 4"/>
          <p:cNvSpPr>
            <a:spLocks noGrp="1"/>
          </p:cNvSpPr>
          <p:nvPr>
            <p:ph type="sldNum" sz="quarter" idx="12"/>
          </p:nvPr>
        </p:nvSpPr>
        <p:spPr/>
        <p:txBody>
          <a:bodyPr/>
          <a:lstStyle>
            <a:lvl1pPr>
              <a:defRPr/>
            </a:lvl1pPr>
          </a:lstStyle>
          <a:p>
            <a:fld id="{546713ED-0D50-42B9-98DE-04CFF2F73FDD}"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2541896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defRPr/>
            </a:lvl1pPr>
          </a:lstStyle>
          <a:p>
            <a:endParaRPr lang="en-US" altLang="ja-JP">
              <a:solidFill>
                <a:srgbClr val="000000"/>
              </a:solidFill>
            </a:endParaRPr>
          </a:p>
        </p:txBody>
      </p:sp>
      <p:sp>
        <p:nvSpPr>
          <p:cNvPr id="3" name="フッター プレースホルダ 2"/>
          <p:cNvSpPr>
            <a:spLocks noGrp="1"/>
          </p:cNvSpPr>
          <p:nvPr>
            <p:ph type="ftr" sz="quarter" idx="11"/>
          </p:nvPr>
        </p:nvSpPr>
        <p:spPr/>
        <p:txBody>
          <a:bodyPr/>
          <a:lstStyle>
            <a:lvl1pPr>
              <a:defRPr/>
            </a:lvl1pPr>
          </a:lstStyle>
          <a:p>
            <a:endParaRPr lang="en-US" altLang="ja-JP">
              <a:solidFill>
                <a:srgbClr val="000000"/>
              </a:solidFill>
            </a:endParaRPr>
          </a:p>
        </p:txBody>
      </p:sp>
      <p:sp>
        <p:nvSpPr>
          <p:cNvPr id="4" name="スライド番号プレースホルダ 3"/>
          <p:cNvSpPr>
            <a:spLocks noGrp="1"/>
          </p:cNvSpPr>
          <p:nvPr>
            <p:ph type="sldNum" sz="quarter" idx="12"/>
          </p:nvPr>
        </p:nvSpPr>
        <p:spPr/>
        <p:txBody>
          <a:bodyPr/>
          <a:lstStyle>
            <a:lvl1pPr>
              <a:defRPr/>
            </a:lvl1pPr>
          </a:lstStyle>
          <a:p>
            <a:fld id="{0E455E4F-1C3C-4418-94C1-62F004438B6B}"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2413862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08951"/>
            <a:ext cx="3258484" cy="1314838"/>
          </a:xfrm>
        </p:spPr>
        <p:txBody>
          <a:bodyPr anchor="b"/>
          <a:lstStyle>
            <a:lvl1pPr algn="l">
              <a:defRPr sz="2166" b="1"/>
            </a:lvl1pPr>
          </a:lstStyle>
          <a:p>
            <a:r>
              <a:rPr lang="ja-JP" altLang="en-US"/>
              <a:t>マスタ タイトルの書式設定</a:t>
            </a:r>
          </a:p>
        </p:txBody>
      </p:sp>
      <p:sp>
        <p:nvSpPr>
          <p:cNvPr id="3" name="コンテンツ プレースホルダ 2"/>
          <p:cNvSpPr>
            <a:spLocks noGrp="1"/>
          </p:cNvSpPr>
          <p:nvPr>
            <p:ph idx="1"/>
          </p:nvPr>
        </p:nvSpPr>
        <p:spPr>
          <a:xfrm>
            <a:off x="3872351" y="308954"/>
            <a:ext cx="5536842" cy="6622689"/>
          </a:xfrm>
        </p:spPr>
        <p:txBody>
          <a:bodyPr/>
          <a:lstStyle>
            <a:lvl1pPr>
              <a:defRPr sz="3466"/>
            </a:lvl1pPr>
            <a:lvl2pPr>
              <a:defRPr sz="3033"/>
            </a:lvl2pPr>
            <a:lvl3pPr>
              <a:defRPr sz="2600"/>
            </a:lvl3pPr>
            <a:lvl4pPr>
              <a:defRPr sz="2166"/>
            </a:lvl4pPr>
            <a:lvl5pPr>
              <a:defRPr sz="2166"/>
            </a:lvl5pPr>
            <a:lvl6pPr>
              <a:defRPr sz="2166"/>
            </a:lvl6pPr>
            <a:lvl7pPr>
              <a:defRPr sz="2166"/>
            </a:lvl7pPr>
            <a:lvl8pPr>
              <a:defRPr sz="2166"/>
            </a:lvl8pPr>
            <a:lvl9pPr>
              <a:defRPr sz="216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221" y="1623792"/>
            <a:ext cx="3258484" cy="5307851"/>
          </a:xfrm>
        </p:spPr>
        <p:txBody>
          <a:bodyPr/>
          <a:lstStyle>
            <a:lvl1pPr marL="0" indent="0">
              <a:buNone/>
              <a:defRPr sz="1516"/>
            </a:lvl1pPr>
            <a:lvl2pPr marL="495237" indent="0">
              <a:buNone/>
              <a:defRPr sz="1300"/>
            </a:lvl2pPr>
            <a:lvl3pPr marL="990473" indent="0">
              <a:buNone/>
              <a:defRPr sz="1083"/>
            </a:lvl3pPr>
            <a:lvl4pPr marL="1485708" indent="0">
              <a:buNone/>
              <a:defRPr sz="975"/>
            </a:lvl4pPr>
            <a:lvl5pPr marL="1980944" indent="0">
              <a:buNone/>
              <a:defRPr sz="975"/>
            </a:lvl5pPr>
            <a:lvl6pPr marL="2476181" indent="0">
              <a:buNone/>
              <a:defRPr sz="975"/>
            </a:lvl6pPr>
            <a:lvl7pPr marL="2971418" indent="0">
              <a:buNone/>
              <a:defRPr sz="975"/>
            </a:lvl7pPr>
            <a:lvl8pPr marL="3466653" indent="0">
              <a:buNone/>
              <a:defRPr sz="975"/>
            </a:lvl8pPr>
            <a:lvl9pPr marL="3961890" indent="0">
              <a:buNone/>
              <a:defRPr sz="975"/>
            </a:lvl9pPr>
          </a:lstStyle>
          <a:p>
            <a:pPr lvl="0"/>
            <a:r>
              <a:rPr lang="ja-JP" altLang="en-US"/>
              <a:t>マスタ テキストの書式設定</a:t>
            </a:r>
          </a:p>
        </p:txBody>
      </p:sp>
      <p:sp>
        <p:nvSpPr>
          <p:cNvPr id="5"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6"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スライド番号プレースホルダ 6"/>
          <p:cNvSpPr>
            <a:spLocks noGrp="1"/>
          </p:cNvSpPr>
          <p:nvPr>
            <p:ph type="sldNum" sz="quarter" idx="12"/>
          </p:nvPr>
        </p:nvSpPr>
        <p:spPr/>
        <p:txBody>
          <a:bodyPr/>
          <a:lstStyle>
            <a:lvl1pPr>
              <a:defRPr/>
            </a:lvl1pPr>
          </a:lstStyle>
          <a:p>
            <a:fld id="{FBCE7A30-893F-4B03-B8AA-F86D6ED20D76}"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8248970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9C66F1FC-77AF-4AA3-AB67-8C31B36199A9}" type="slidenum">
              <a:rPr lang="en-US" altLang="ja-JP"/>
              <a:pPr>
                <a:defRPr/>
              </a:pPr>
              <a:t>‹#›</a:t>
            </a:fld>
            <a:endParaRPr lang="en-US" altLang="ja-JP"/>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334" y="5431790"/>
            <a:ext cx="5942648" cy="641254"/>
          </a:xfrm>
        </p:spPr>
        <p:txBody>
          <a:bodyPr anchor="b"/>
          <a:lstStyle>
            <a:lvl1pPr algn="l">
              <a:defRPr sz="2166" b="1"/>
            </a:lvl1pPr>
          </a:lstStyle>
          <a:p>
            <a:r>
              <a:rPr lang="ja-JP" altLang="en-US"/>
              <a:t>マスタ タイトルの書式設定</a:t>
            </a:r>
          </a:p>
        </p:txBody>
      </p:sp>
      <p:sp>
        <p:nvSpPr>
          <p:cNvPr id="3" name="図プレースホルダ 2"/>
          <p:cNvSpPr>
            <a:spLocks noGrp="1"/>
          </p:cNvSpPr>
          <p:nvPr>
            <p:ph type="pic" idx="1"/>
          </p:nvPr>
        </p:nvSpPr>
        <p:spPr>
          <a:xfrm>
            <a:off x="1941334" y="693344"/>
            <a:ext cx="5942648" cy="4655820"/>
          </a:xfrm>
        </p:spPr>
        <p:txBody>
          <a:bodyPr/>
          <a:lstStyle>
            <a:lvl1pPr marL="0" indent="0">
              <a:buNone/>
              <a:defRPr sz="3466"/>
            </a:lvl1pPr>
            <a:lvl2pPr marL="495237" indent="0">
              <a:buNone/>
              <a:defRPr sz="3033"/>
            </a:lvl2pPr>
            <a:lvl3pPr marL="990473" indent="0">
              <a:buNone/>
              <a:defRPr sz="2600"/>
            </a:lvl3pPr>
            <a:lvl4pPr marL="1485708" indent="0">
              <a:buNone/>
              <a:defRPr sz="2166"/>
            </a:lvl4pPr>
            <a:lvl5pPr marL="1980944" indent="0">
              <a:buNone/>
              <a:defRPr sz="2166"/>
            </a:lvl5pPr>
            <a:lvl6pPr marL="2476181" indent="0">
              <a:buNone/>
              <a:defRPr sz="2166"/>
            </a:lvl6pPr>
            <a:lvl7pPr marL="2971418" indent="0">
              <a:buNone/>
              <a:defRPr sz="2166"/>
            </a:lvl7pPr>
            <a:lvl8pPr marL="3466653" indent="0">
              <a:buNone/>
              <a:defRPr sz="2166"/>
            </a:lvl8pPr>
            <a:lvl9pPr marL="3961890" indent="0">
              <a:buNone/>
              <a:defRPr sz="2166"/>
            </a:lvl9pPr>
          </a:lstStyle>
          <a:p>
            <a:endParaRPr lang="ja-JP" altLang="en-US"/>
          </a:p>
        </p:txBody>
      </p:sp>
      <p:sp>
        <p:nvSpPr>
          <p:cNvPr id="4" name="テキスト プレースホルダ 3"/>
          <p:cNvSpPr>
            <a:spLocks noGrp="1"/>
          </p:cNvSpPr>
          <p:nvPr>
            <p:ph type="body" sz="half" idx="2"/>
          </p:nvPr>
        </p:nvSpPr>
        <p:spPr>
          <a:xfrm>
            <a:off x="1941334" y="6073044"/>
            <a:ext cx="5942648" cy="910686"/>
          </a:xfrm>
        </p:spPr>
        <p:txBody>
          <a:bodyPr/>
          <a:lstStyle>
            <a:lvl1pPr marL="0" indent="0">
              <a:buNone/>
              <a:defRPr sz="1516"/>
            </a:lvl1pPr>
            <a:lvl2pPr marL="495237" indent="0">
              <a:buNone/>
              <a:defRPr sz="1300"/>
            </a:lvl2pPr>
            <a:lvl3pPr marL="990473" indent="0">
              <a:buNone/>
              <a:defRPr sz="1083"/>
            </a:lvl3pPr>
            <a:lvl4pPr marL="1485708" indent="0">
              <a:buNone/>
              <a:defRPr sz="975"/>
            </a:lvl4pPr>
            <a:lvl5pPr marL="1980944" indent="0">
              <a:buNone/>
              <a:defRPr sz="975"/>
            </a:lvl5pPr>
            <a:lvl6pPr marL="2476181" indent="0">
              <a:buNone/>
              <a:defRPr sz="975"/>
            </a:lvl6pPr>
            <a:lvl7pPr marL="2971418" indent="0">
              <a:buNone/>
              <a:defRPr sz="975"/>
            </a:lvl7pPr>
            <a:lvl8pPr marL="3466653" indent="0">
              <a:buNone/>
              <a:defRPr sz="975"/>
            </a:lvl8pPr>
            <a:lvl9pPr marL="3961890" indent="0">
              <a:buNone/>
              <a:defRPr sz="975"/>
            </a:lvl9pPr>
          </a:lstStyle>
          <a:p>
            <a:pPr lvl="0"/>
            <a:r>
              <a:rPr lang="ja-JP" altLang="en-US"/>
              <a:t>マスタ テキストの書式設定</a:t>
            </a:r>
          </a:p>
        </p:txBody>
      </p:sp>
      <p:sp>
        <p:nvSpPr>
          <p:cNvPr id="5"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6"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スライド番号プレースホルダ 6"/>
          <p:cNvSpPr>
            <a:spLocks noGrp="1"/>
          </p:cNvSpPr>
          <p:nvPr>
            <p:ph type="sldNum" sz="quarter" idx="12"/>
          </p:nvPr>
        </p:nvSpPr>
        <p:spPr/>
        <p:txBody>
          <a:bodyPr/>
          <a:lstStyle>
            <a:lvl1pPr>
              <a:defRPr/>
            </a:lvl1pPr>
          </a:lstStyle>
          <a:p>
            <a:fld id="{978AE1FF-E445-433E-8A78-818E9B40CAF7}"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7474198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 5"/>
          <p:cNvSpPr>
            <a:spLocks noGrp="1"/>
          </p:cNvSpPr>
          <p:nvPr>
            <p:ph type="sldNum" sz="quarter" idx="12"/>
          </p:nvPr>
        </p:nvSpPr>
        <p:spPr/>
        <p:txBody>
          <a:bodyPr/>
          <a:lstStyle>
            <a:lvl1pPr>
              <a:defRPr/>
            </a:lvl1pPr>
          </a:lstStyle>
          <a:p>
            <a:fld id="{6A1D7A0D-BB0C-4FB6-B451-F292C1B87CB8}"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8243275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6894" y="3"/>
            <a:ext cx="2352298" cy="6931640"/>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0" y="3"/>
            <a:ext cx="6891821" cy="6931640"/>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 5"/>
          <p:cNvSpPr>
            <a:spLocks noGrp="1"/>
          </p:cNvSpPr>
          <p:nvPr>
            <p:ph type="sldNum" sz="quarter" idx="12"/>
          </p:nvPr>
        </p:nvSpPr>
        <p:spPr/>
        <p:txBody>
          <a:bodyPr/>
          <a:lstStyle>
            <a:lvl1pPr>
              <a:defRPr/>
            </a:lvl1pPr>
          </a:lstStyle>
          <a:p>
            <a:fld id="{0FD7C9B2-4CDB-4600-A53C-055E1C7CF6EF}"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9219407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1038" name="Picture 7" descr="mlit_top"/>
          <p:cNvPicPr>
            <a:picLocks noChangeAspect="1" noChangeArrowheads="1"/>
          </p:cNvPicPr>
          <p:nvPr userDrawn="1"/>
        </p:nvPicPr>
        <p:blipFill>
          <a:blip r:embed="rId2"/>
          <a:srcRect t="62230"/>
          <a:stretch>
            <a:fillRect/>
          </a:stretch>
        </p:blipFill>
        <p:spPr>
          <a:xfrm>
            <a:off x="0" y="7382493"/>
            <a:ext cx="9904413" cy="377208"/>
          </a:xfrm>
          <a:prstGeom prst="rect">
            <a:avLst/>
          </a:prstGeom>
          <a:noFill/>
          <a:ln>
            <a:noFill/>
          </a:ln>
        </p:spPr>
      </p:pic>
      <p:sp>
        <p:nvSpPr>
          <p:cNvPr id="1039" name="Rectangle 9"/>
          <p:cNvSpPr>
            <a:spLocks noChangeArrowheads="1"/>
          </p:cNvSpPr>
          <p:nvPr userDrawn="1"/>
        </p:nvSpPr>
        <p:spPr>
          <a:xfrm>
            <a:off x="1833005" y="3716395"/>
            <a:ext cx="8071409" cy="82626"/>
          </a:xfrm>
          <a:prstGeom prst="rect">
            <a:avLst/>
          </a:prstGeom>
          <a:solidFill>
            <a:srgbClr val="0066CC"/>
          </a:solidFill>
          <a:ln>
            <a:noFill/>
          </a:ln>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dirty="0"/>
          </a:p>
        </p:txBody>
      </p:sp>
      <p:pic>
        <p:nvPicPr>
          <p:cNvPr id="1040" name="Picture 11"/>
          <p:cNvPicPr>
            <a:picLocks noChangeAspect="1" noChangeArrowheads="1"/>
          </p:cNvPicPr>
          <p:nvPr userDrawn="1"/>
        </p:nvPicPr>
        <p:blipFill>
          <a:blip r:embed="rId3"/>
          <a:stretch>
            <a:fillRect/>
          </a:stretch>
        </p:blipFill>
        <p:spPr>
          <a:xfrm>
            <a:off x="0" y="6847217"/>
            <a:ext cx="2300713" cy="535276"/>
          </a:xfrm>
          <a:prstGeom prst="rect">
            <a:avLst/>
          </a:prstGeom>
          <a:noFill/>
          <a:ln>
            <a:noFill/>
          </a:ln>
        </p:spPr>
      </p:pic>
      <p:sp>
        <p:nvSpPr>
          <p:cNvPr id="1041" name="Text Box 12"/>
          <p:cNvSpPr txBox="1">
            <a:spLocks noChangeArrowheads="1"/>
          </p:cNvSpPr>
          <p:nvPr userDrawn="1"/>
        </p:nvSpPr>
        <p:spPr>
          <a:xfrm>
            <a:off x="0" y="7382492"/>
            <a:ext cx="3927485" cy="292388"/>
          </a:xfrm>
          <a:prstGeom prst="rect">
            <a:avLst/>
          </a:prstGeom>
          <a:noFill/>
          <a:ln>
            <a:noFill/>
          </a:ln>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en-US" altLang="ja-JP" sz="1300" i="1" dirty="0">
                <a:solidFill>
                  <a:schemeClr val="bg1"/>
                </a:solidFill>
                <a:latin typeface="Times New Roman" pitchFamily="18" charset="0"/>
              </a:rPr>
              <a:t>Ministry of Land, Infrastructure, Transport and Tourism</a:t>
            </a:r>
          </a:p>
        </p:txBody>
      </p:sp>
      <p:sp>
        <p:nvSpPr>
          <p:cNvPr id="1042" name="Rectangle 2"/>
          <p:cNvSpPr>
            <a:spLocks noGrp="1" noChangeArrowheads="1"/>
          </p:cNvSpPr>
          <p:nvPr>
            <p:ph type="ctrTitle"/>
          </p:nvPr>
        </p:nvSpPr>
        <p:spPr>
          <a:xfrm>
            <a:off x="1753906" y="2414129"/>
            <a:ext cx="8150507" cy="1663306"/>
          </a:xfrm>
        </p:spPr>
        <p:txBody>
          <a:bodyPr/>
          <a:lstStyle>
            <a:lvl1pPr>
              <a:defRPr sz="4333"/>
            </a:lvl1pPr>
          </a:lstStyle>
          <a:p>
            <a:r>
              <a:rPr lang="ja-JP" altLang="en-US"/>
              <a:t>マスター タイトルの書式設定</a:t>
            </a:r>
          </a:p>
        </p:txBody>
      </p:sp>
      <p:sp>
        <p:nvSpPr>
          <p:cNvPr id="1043"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ー サブタイトルの書式設定</a:t>
            </a:r>
          </a:p>
        </p:txBody>
      </p:sp>
      <p:sp>
        <p:nvSpPr>
          <p:cNvPr id="1044" name="Rectangle 4"/>
          <p:cNvSpPr>
            <a:spLocks noGrp="1" noChangeArrowheads="1"/>
          </p:cNvSpPr>
          <p:nvPr>
            <p:ph type="dt" sz="half" idx="10"/>
          </p:nvPr>
        </p:nvSpPr>
        <p:spPr/>
        <p:txBody>
          <a:bodyPr/>
          <a:lstStyle>
            <a:lvl1pPr>
              <a:defRPr/>
            </a:lvl1pPr>
          </a:lstStyle>
          <a:p>
            <a:pPr>
              <a:defRPr/>
            </a:pPr>
            <a:endParaRPr lang="en-US" altLang="ja-JP" dirty="0"/>
          </a:p>
        </p:txBody>
      </p:sp>
      <p:sp>
        <p:nvSpPr>
          <p:cNvPr id="1045" name="Rectangle 5"/>
          <p:cNvSpPr>
            <a:spLocks noGrp="1" noChangeArrowheads="1"/>
          </p:cNvSpPr>
          <p:nvPr>
            <p:ph type="ftr" sz="quarter" idx="11"/>
          </p:nvPr>
        </p:nvSpPr>
        <p:spPr/>
        <p:txBody>
          <a:bodyPr/>
          <a:lstStyle>
            <a:lvl1pPr>
              <a:defRPr/>
            </a:lvl1pPr>
          </a:lstStyle>
          <a:p>
            <a:pPr>
              <a:defRPr/>
            </a:pPr>
            <a:endParaRPr lang="en-US" altLang="ja-JP" dirty="0"/>
          </a:p>
        </p:txBody>
      </p:sp>
      <p:sp>
        <p:nvSpPr>
          <p:cNvPr id="1046" name="Rectangle 6"/>
          <p:cNvSpPr>
            <a:spLocks noGrp="1" noChangeArrowheads="1"/>
          </p:cNvSpPr>
          <p:nvPr>
            <p:ph type="sldNum" sz="quarter" idx="12"/>
          </p:nvPr>
        </p:nvSpPr>
        <p:spPr>
          <a:xfrm>
            <a:off x="7609728" y="7066356"/>
            <a:ext cx="2311030" cy="538868"/>
          </a:xfrm>
        </p:spPr>
        <p:txBody>
          <a:bodyPr/>
          <a:lstStyle>
            <a:lvl1pPr>
              <a:defRPr/>
            </a:lvl1pPr>
          </a:lstStyle>
          <a:p>
            <a:pPr>
              <a:defRPr/>
            </a:pPr>
            <a:fld id="{35C1E978-A3B9-4673-8199-379729392307}" type="slidenum">
              <a:rPr lang="en-US" altLang="ja-JP"/>
              <a:pPr>
                <a:defRPr/>
              </a:pPr>
              <a:t>‹#›</a:t>
            </a:fld>
            <a:endParaRPr lang="en-US" altLang="ja-JP" dirty="0"/>
          </a:p>
        </p:txBody>
      </p:sp>
    </p:spTree>
    <p:extLst>
      <p:ext uri="{BB962C8B-B14F-4D97-AF65-F5344CB8AC3E}">
        <p14:creationId xmlns:p14="http://schemas.microsoft.com/office/powerpoint/2010/main" val="28914863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8" name="タイトル 1"/>
          <p:cNvSpPr>
            <a:spLocks noGrp="1"/>
          </p:cNvSpPr>
          <p:nvPr>
            <p:ph type="title"/>
          </p:nvPr>
        </p:nvSpPr>
        <p:spPr/>
        <p:txBody>
          <a:bodyPr/>
          <a:lstStyle/>
          <a:p>
            <a:r>
              <a:rPr lang="ja-JP" altLang="en-US"/>
              <a:t>マスター タイトルの書式設定</a:t>
            </a:r>
          </a:p>
        </p:txBody>
      </p:sp>
      <p:sp>
        <p:nvSpPr>
          <p:cNvPr id="1049"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0"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51"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52"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pPr>
                <a:defRPr/>
              </a:pPr>
              <a:t>‹#›</a:t>
            </a:fld>
            <a:endParaRPr lang="en-US" altLang="ja-JP" dirty="0"/>
          </a:p>
        </p:txBody>
      </p:sp>
    </p:spTree>
    <p:extLst>
      <p:ext uri="{BB962C8B-B14F-4D97-AF65-F5344CB8AC3E}">
        <p14:creationId xmlns:p14="http://schemas.microsoft.com/office/powerpoint/2010/main" val="37701605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54" name="タイトル 1"/>
          <p:cNvSpPr>
            <a:spLocks noGrp="1"/>
          </p:cNvSpPr>
          <p:nvPr>
            <p:ph type="title"/>
          </p:nvPr>
        </p:nvSpPr>
        <p:spPr>
          <a:xfrm>
            <a:off x="782380" y="4986326"/>
            <a:ext cx="8418751" cy="1541163"/>
          </a:xfrm>
        </p:spPr>
        <p:txBody>
          <a:bodyPr anchor="t"/>
          <a:lstStyle>
            <a:lvl1pPr algn="l">
              <a:defRPr sz="4333" b="1" cap="all"/>
            </a:lvl1pPr>
          </a:lstStyle>
          <a:p>
            <a:r>
              <a:rPr lang="ja-JP" altLang="en-US"/>
              <a:t>マスター タイトルの書式設定</a:t>
            </a:r>
          </a:p>
        </p:txBody>
      </p:sp>
      <p:sp>
        <p:nvSpPr>
          <p:cNvPr id="1055" name="テキスト プレースホルダ 2"/>
          <p:cNvSpPr>
            <a:spLocks noGrp="1"/>
          </p:cNvSpPr>
          <p:nvPr>
            <p:ph type="body" idx="1"/>
          </p:nvPr>
        </p:nvSpPr>
        <p:spPr>
          <a:xfrm>
            <a:off x="782380" y="3288892"/>
            <a:ext cx="8418751" cy="1697434"/>
          </a:xfrm>
        </p:spPr>
        <p:txBody>
          <a:bodyPr anchor="b"/>
          <a:lstStyle>
            <a:lvl1pPr marL="0" indent="0">
              <a:buNone/>
              <a:defRPr sz="2166"/>
            </a:lvl1pPr>
            <a:lvl2pPr marL="495239" indent="0">
              <a:buNone/>
              <a:defRPr sz="1950"/>
            </a:lvl2pPr>
            <a:lvl3pPr marL="990478" indent="0">
              <a:buNone/>
              <a:defRPr sz="1733"/>
            </a:lvl3pPr>
            <a:lvl4pPr marL="1485717" indent="0">
              <a:buNone/>
              <a:defRPr sz="1516"/>
            </a:lvl4pPr>
            <a:lvl5pPr marL="1980956" indent="0">
              <a:buNone/>
              <a:defRPr sz="1516"/>
            </a:lvl5pPr>
            <a:lvl6pPr marL="2476195" indent="0">
              <a:buNone/>
              <a:defRPr sz="1516"/>
            </a:lvl6pPr>
            <a:lvl7pPr marL="2971434" indent="0">
              <a:buNone/>
              <a:defRPr sz="1516"/>
            </a:lvl7pPr>
            <a:lvl8pPr marL="3466673" indent="0">
              <a:buNone/>
              <a:defRPr sz="1516"/>
            </a:lvl8pPr>
            <a:lvl9pPr marL="3961912" indent="0">
              <a:buNone/>
              <a:defRPr sz="1516"/>
            </a:lvl9pPr>
          </a:lstStyle>
          <a:p>
            <a:pPr lvl="0"/>
            <a:r>
              <a:rPr lang="ja-JP" altLang="en-US"/>
              <a:t>マスター テキストの書式設定</a:t>
            </a:r>
          </a:p>
        </p:txBody>
      </p:sp>
      <p:sp>
        <p:nvSpPr>
          <p:cNvPr id="1056"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57"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58"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dirty="0"/>
          </a:p>
        </p:txBody>
      </p:sp>
    </p:spTree>
    <p:extLst>
      <p:ext uri="{BB962C8B-B14F-4D97-AF65-F5344CB8AC3E}">
        <p14:creationId xmlns:p14="http://schemas.microsoft.com/office/powerpoint/2010/main" val="5243271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60" name="タイトル 1"/>
          <p:cNvSpPr>
            <a:spLocks noGrp="1"/>
          </p:cNvSpPr>
          <p:nvPr>
            <p:ph type="title"/>
          </p:nvPr>
        </p:nvSpPr>
        <p:spPr/>
        <p:txBody>
          <a:bodyPr/>
          <a:lstStyle/>
          <a:p>
            <a:r>
              <a:rPr lang="ja-JP" altLang="en-US"/>
              <a:t>マスター タイトルの書式設定</a:t>
            </a:r>
          </a:p>
        </p:txBody>
      </p:sp>
      <p:sp>
        <p:nvSpPr>
          <p:cNvPr id="1061" name="コンテンツ プレースホルダ 2"/>
          <p:cNvSpPr>
            <a:spLocks noGrp="1"/>
          </p:cNvSpPr>
          <p:nvPr>
            <p:ph sz="half" idx="1"/>
          </p:nvPr>
        </p:nvSpPr>
        <p:spPr>
          <a:xfrm>
            <a:off x="495221" y="1810597"/>
            <a:ext cx="4374449" cy="5121043"/>
          </a:xfrm>
        </p:spPr>
        <p:txBody>
          <a:bodyPr/>
          <a:lstStyle>
            <a:lvl1pPr>
              <a:defRPr sz="3033"/>
            </a:lvl1pPr>
            <a:lvl2pPr>
              <a:defRPr sz="2600"/>
            </a:lvl2pPr>
            <a:lvl3pPr>
              <a:defRPr sz="2166"/>
            </a:lvl3pPr>
            <a:lvl4pPr>
              <a:defRPr sz="1950"/>
            </a:lvl4pPr>
            <a:lvl5pPr>
              <a:defRPr sz="1950"/>
            </a:lvl5pPr>
            <a:lvl6pPr>
              <a:defRPr sz="1950"/>
            </a:lvl6pPr>
            <a:lvl7pPr>
              <a:defRPr sz="1950"/>
            </a:lvl7pPr>
            <a:lvl8pPr>
              <a:defRPr sz="1950"/>
            </a:lvl8pPr>
            <a:lvl9pPr>
              <a:defRPr sz="195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2" name="コンテンツ プレースホルダ 3"/>
          <p:cNvSpPr>
            <a:spLocks noGrp="1"/>
          </p:cNvSpPr>
          <p:nvPr>
            <p:ph sz="half" idx="2"/>
          </p:nvPr>
        </p:nvSpPr>
        <p:spPr>
          <a:xfrm>
            <a:off x="5034743" y="1810597"/>
            <a:ext cx="4374449" cy="5121043"/>
          </a:xfrm>
        </p:spPr>
        <p:txBody>
          <a:bodyPr/>
          <a:lstStyle>
            <a:lvl1pPr>
              <a:defRPr sz="3033"/>
            </a:lvl1pPr>
            <a:lvl2pPr>
              <a:defRPr sz="2600"/>
            </a:lvl2pPr>
            <a:lvl3pPr>
              <a:defRPr sz="2166"/>
            </a:lvl3pPr>
            <a:lvl4pPr>
              <a:defRPr sz="1950"/>
            </a:lvl4pPr>
            <a:lvl5pPr>
              <a:defRPr sz="1950"/>
            </a:lvl5pPr>
            <a:lvl6pPr>
              <a:defRPr sz="1950"/>
            </a:lvl6pPr>
            <a:lvl7pPr>
              <a:defRPr sz="1950"/>
            </a:lvl7pPr>
            <a:lvl8pPr>
              <a:defRPr sz="1950"/>
            </a:lvl8pPr>
            <a:lvl9pPr>
              <a:defRPr sz="195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3"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64"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65"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dirty="0"/>
          </a:p>
        </p:txBody>
      </p:sp>
    </p:spTree>
    <p:extLst>
      <p:ext uri="{BB962C8B-B14F-4D97-AF65-F5344CB8AC3E}">
        <p14:creationId xmlns:p14="http://schemas.microsoft.com/office/powerpoint/2010/main" val="4237756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67" name="タイトル 1"/>
          <p:cNvSpPr>
            <a:spLocks noGrp="1"/>
          </p:cNvSpPr>
          <p:nvPr>
            <p:ph type="title"/>
          </p:nvPr>
        </p:nvSpPr>
        <p:spPr>
          <a:xfrm>
            <a:off x="495221" y="310748"/>
            <a:ext cx="8913972" cy="1293283"/>
          </a:xfrm>
        </p:spPr>
        <p:txBody>
          <a:bodyPr/>
          <a:lstStyle>
            <a:lvl1pPr>
              <a:defRPr/>
            </a:lvl1pPr>
          </a:lstStyle>
          <a:p>
            <a:r>
              <a:rPr lang="ja-JP" altLang="en-US"/>
              <a:t>マスター タイトルの書式設定</a:t>
            </a:r>
          </a:p>
        </p:txBody>
      </p:sp>
      <p:sp>
        <p:nvSpPr>
          <p:cNvPr id="1068" name="テキスト プレースホルダ 2"/>
          <p:cNvSpPr>
            <a:spLocks noGrp="1"/>
          </p:cNvSpPr>
          <p:nvPr>
            <p:ph type="body" idx="1"/>
          </p:nvPr>
        </p:nvSpPr>
        <p:spPr>
          <a:xfrm>
            <a:off x="495221" y="1736952"/>
            <a:ext cx="4376169" cy="723879"/>
          </a:xfrm>
        </p:spPr>
        <p:txBody>
          <a:bodyPr anchor="b"/>
          <a:lstStyle>
            <a:lvl1pPr marL="0" indent="0">
              <a:buNone/>
              <a:defRPr sz="2600" b="1"/>
            </a:lvl1pPr>
            <a:lvl2pPr marL="495239" indent="0">
              <a:buNone/>
              <a:defRPr sz="2166" b="1"/>
            </a:lvl2pPr>
            <a:lvl3pPr marL="990478" indent="0">
              <a:buNone/>
              <a:defRPr sz="1950" b="1"/>
            </a:lvl3pPr>
            <a:lvl4pPr marL="1485717" indent="0">
              <a:buNone/>
              <a:defRPr sz="1733" b="1"/>
            </a:lvl4pPr>
            <a:lvl5pPr marL="1980956" indent="0">
              <a:buNone/>
              <a:defRPr sz="1733" b="1"/>
            </a:lvl5pPr>
            <a:lvl6pPr marL="2476195" indent="0">
              <a:buNone/>
              <a:defRPr sz="1733" b="1"/>
            </a:lvl6pPr>
            <a:lvl7pPr marL="2971434" indent="0">
              <a:buNone/>
              <a:defRPr sz="1733" b="1"/>
            </a:lvl7pPr>
            <a:lvl8pPr marL="3466673" indent="0">
              <a:buNone/>
              <a:defRPr sz="1733" b="1"/>
            </a:lvl8pPr>
            <a:lvl9pPr marL="3961912" indent="0">
              <a:buNone/>
              <a:defRPr sz="1733" b="1"/>
            </a:lvl9pPr>
          </a:lstStyle>
          <a:p>
            <a:pPr lvl="0"/>
            <a:r>
              <a:rPr lang="ja-JP" altLang="en-US"/>
              <a:t>マスター テキストの書式設定</a:t>
            </a:r>
          </a:p>
        </p:txBody>
      </p:sp>
      <p:sp>
        <p:nvSpPr>
          <p:cNvPr id="1069" name="コンテンツ プレースホルダ 3"/>
          <p:cNvSpPr>
            <a:spLocks noGrp="1"/>
          </p:cNvSpPr>
          <p:nvPr>
            <p:ph sz="half" idx="2"/>
          </p:nvPr>
        </p:nvSpPr>
        <p:spPr>
          <a:xfrm>
            <a:off x="495221" y="2460831"/>
            <a:ext cx="4376169" cy="4470809"/>
          </a:xfrm>
        </p:spPr>
        <p:txBody>
          <a:bodyPr/>
          <a:lstStyle>
            <a:lvl1pPr>
              <a:defRPr sz="2600"/>
            </a:lvl1pPr>
            <a:lvl2pPr>
              <a:defRPr sz="2166"/>
            </a:lvl2pPr>
            <a:lvl3pPr>
              <a:defRPr sz="1950"/>
            </a:lvl3pPr>
            <a:lvl4pPr>
              <a:defRPr sz="1733"/>
            </a:lvl4pPr>
            <a:lvl5pPr>
              <a:defRPr sz="1733"/>
            </a:lvl5pPr>
            <a:lvl6pPr>
              <a:defRPr sz="1733"/>
            </a:lvl6pPr>
            <a:lvl7pPr>
              <a:defRPr sz="1733"/>
            </a:lvl7pPr>
            <a:lvl8pPr>
              <a:defRPr sz="1733"/>
            </a:lvl8pPr>
            <a:lvl9pPr>
              <a:defRPr sz="173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0" name="テキスト プレースホルダ 4"/>
          <p:cNvSpPr>
            <a:spLocks noGrp="1"/>
          </p:cNvSpPr>
          <p:nvPr>
            <p:ph type="body" sz="quarter" idx="3"/>
          </p:nvPr>
        </p:nvSpPr>
        <p:spPr>
          <a:xfrm>
            <a:off x="5031305" y="1736952"/>
            <a:ext cx="4377888" cy="723879"/>
          </a:xfrm>
        </p:spPr>
        <p:txBody>
          <a:bodyPr anchor="b"/>
          <a:lstStyle>
            <a:lvl1pPr marL="0" indent="0">
              <a:buNone/>
              <a:defRPr sz="2600" b="1"/>
            </a:lvl1pPr>
            <a:lvl2pPr marL="495239" indent="0">
              <a:buNone/>
              <a:defRPr sz="2166" b="1"/>
            </a:lvl2pPr>
            <a:lvl3pPr marL="990478" indent="0">
              <a:buNone/>
              <a:defRPr sz="1950" b="1"/>
            </a:lvl3pPr>
            <a:lvl4pPr marL="1485717" indent="0">
              <a:buNone/>
              <a:defRPr sz="1733" b="1"/>
            </a:lvl4pPr>
            <a:lvl5pPr marL="1980956" indent="0">
              <a:buNone/>
              <a:defRPr sz="1733" b="1"/>
            </a:lvl5pPr>
            <a:lvl6pPr marL="2476195" indent="0">
              <a:buNone/>
              <a:defRPr sz="1733" b="1"/>
            </a:lvl6pPr>
            <a:lvl7pPr marL="2971434" indent="0">
              <a:buNone/>
              <a:defRPr sz="1733" b="1"/>
            </a:lvl7pPr>
            <a:lvl8pPr marL="3466673" indent="0">
              <a:buNone/>
              <a:defRPr sz="1733" b="1"/>
            </a:lvl8pPr>
            <a:lvl9pPr marL="3961912" indent="0">
              <a:buNone/>
              <a:defRPr sz="1733" b="1"/>
            </a:lvl9pPr>
          </a:lstStyle>
          <a:p>
            <a:pPr lvl="0"/>
            <a:r>
              <a:rPr lang="ja-JP" altLang="en-US"/>
              <a:t>マスター テキストの書式設定</a:t>
            </a:r>
          </a:p>
        </p:txBody>
      </p:sp>
      <p:sp>
        <p:nvSpPr>
          <p:cNvPr id="1071" name="コンテンツ プレースホルダ 5"/>
          <p:cNvSpPr>
            <a:spLocks noGrp="1"/>
          </p:cNvSpPr>
          <p:nvPr>
            <p:ph sz="quarter" idx="4"/>
          </p:nvPr>
        </p:nvSpPr>
        <p:spPr>
          <a:xfrm>
            <a:off x="5031305" y="2460831"/>
            <a:ext cx="4377888" cy="4470809"/>
          </a:xfrm>
        </p:spPr>
        <p:txBody>
          <a:bodyPr/>
          <a:lstStyle>
            <a:lvl1pPr>
              <a:defRPr sz="2600"/>
            </a:lvl1pPr>
            <a:lvl2pPr>
              <a:defRPr sz="2166"/>
            </a:lvl2pPr>
            <a:lvl3pPr>
              <a:defRPr sz="1950"/>
            </a:lvl3pPr>
            <a:lvl4pPr>
              <a:defRPr sz="1733"/>
            </a:lvl4pPr>
            <a:lvl5pPr>
              <a:defRPr sz="1733"/>
            </a:lvl5pPr>
            <a:lvl6pPr>
              <a:defRPr sz="1733"/>
            </a:lvl6pPr>
            <a:lvl7pPr>
              <a:defRPr sz="1733"/>
            </a:lvl7pPr>
            <a:lvl8pPr>
              <a:defRPr sz="1733"/>
            </a:lvl8pPr>
            <a:lvl9pPr>
              <a:defRPr sz="173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2"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73"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74" name="Rectangle 6"/>
          <p:cNvSpPr>
            <a:spLocks noGrp="1" noChangeArrowheads="1"/>
          </p:cNvSpPr>
          <p:nvPr>
            <p:ph type="sldNum" sz="quarter" idx="12"/>
          </p:nvPr>
        </p:nvSpPr>
        <p:spPr>
          <a:ln/>
        </p:spPr>
        <p:txBody>
          <a:bodyPr/>
          <a:lstStyle>
            <a:lvl1pPr>
              <a:defRPr/>
            </a:lvl1pPr>
          </a:lstStyle>
          <a:p>
            <a:pPr>
              <a:defRPr/>
            </a:pPr>
            <a:fld id="{DB541BEC-AD9E-4104-AF2B-4C626651FF89}" type="slidenum">
              <a:rPr lang="en-US" altLang="ja-JP"/>
              <a:pPr>
                <a:defRPr/>
              </a:pPr>
              <a:t>‹#›</a:t>
            </a:fld>
            <a:endParaRPr lang="en-US" altLang="ja-JP" dirty="0"/>
          </a:p>
        </p:txBody>
      </p:sp>
    </p:spTree>
    <p:extLst>
      <p:ext uri="{BB962C8B-B14F-4D97-AF65-F5344CB8AC3E}">
        <p14:creationId xmlns:p14="http://schemas.microsoft.com/office/powerpoint/2010/main" val="11041313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76" name="タイトル 1"/>
          <p:cNvSpPr>
            <a:spLocks noGrp="1"/>
          </p:cNvSpPr>
          <p:nvPr>
            <p:ph type="title"/>
          </p:nvPr>
        </p:nvSpPr>
        <p:spPr/>
        <p:txBody>
          <a:bodyPr/>
          <a:lstStyle/>
          <a:p>
            <a:r>
              <a:rPr lang="ja-JP" altLang="en-US"/>
              <a:t>マスター タイトル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79" name="Rectangle 6"/>
          <p:cNvSpPr>
            <a:spLocks noGrp="1" noChangeArrowheads="1"/>
          </p:cNvSpPr>
          <p:nvPr>
            <p:ph type="sldNum" sz="quarter" idx="12"/>
          </p:nvPr>
        </p:nvSpPr>
        <p:spPr>
          <a:ln/>
        </p:spPr>
        <p:txBody>
          <a:bodyPr/>
          <a:lstStyle>
            <a:lvl1pPr>
              <a:defRPr/>
            </a:lvl1pPr>
          </a:lstStyle>
          <a:p>
            <a:pPr>
              <a:defRPr/>
            </a:pPr>
            <a:fld id="{06FFE511-5094-4685-A035-FB392A6605D8}" type="slidenum">
              <a:rPr lang="en-US" altLang="ja-JP"/>
              <a:pPr>
                <a:defRPr/>
              </a:pPr>
              <a:t>‹#›</a:t>
            </a:fld>
            <a:endParaRPr lang="en-US" altLang="ja-JP" dirty="0"/>
          </a:p>
        </p:txBody>
      </p:sp>
    </p:spTree>
    <p:extLst>
      <p:ext uri="{BB962C8B-B14F-4D97-AF65-F5344CB8AC3E}">
        <p14:creationId xmlns:p14="http://schemas.microsoft.com/office/powerpoint/2010/main" val="36602732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1081" name="日付プレースホルダー 4"/>
          <p:cNvSpPr>
            <a:spLocks noGrp="1"/>
          </p:cNvSpPr>
          <p:nvPr>
            <p:ph type="dt" sz="half" idx="10"/>
          </p:nvPr>
        </p:nvSpPr>
        <p:spPr/>
        <p:txBody>
          <a:bodyPr/>
          <a:lstStyle/>
          <a:p>
            <a:pPr>
              <a:defRPr/>
            </a:pPr>
            <a:endParaRPr lang="en-US" altLang="ja-JP" dirty="0"/>
          </a:p>
        </p:txBody>
      </p:sp>
      <p:sp>
        <p:nvSpPr>
          <p:cNvPr id="1082" name="フッター プレースホルダー 5"/>
          <p:cNvSpPr>
            <a:spLocks noGrp="1"/>
          </p:cNvSpPr>
          <p:nvPr>
            <p:ph type="ftr" sz="quarter" idx="11"/>
          </p:nvPr>
        </p:nvSpPr>
        <p:spPr/>
        <p:txBody>
          <a:bodyPr/>
          <a:lstStyle/>
          <a:p>
            <a:pPr>
              <a:defRPr/>
            </a:pPr>
            <a:endParaRPr lang="en-US" altLang="ja-JP" dirty="0"/>
          </a:p>
        </p:txBody>
      </p:sp>
      <p:sp>
        <p:nvSpPr>
          <p:cNvPr id="1083" name="スライド番号プレースホルダー 6"/>
          <p:cNvSpPr>
            <a:spLocks noGrp="1"/>
          </p:cNvSpPr>
          <p:nvPr>
            <p:ph type="sldNum" sz="quarter" idx="12"/>
          </p:nvPr>
        </p:nvSpPr>
        <p:spPr/>
        <p:txBody>
          <a:bodyPr/>
          <a:lstStyle/>
          <a:p>
            <a:pPr>
              <a:defRPr/>
            </a:pPr>
            <a:fld id="{FFDCE21E-3BF4-4A13-BE4A-B95BE9787BE2}" type="slidenum">
              <a:rPr lang="en-US" altLang="ja-JP" smtClean="0"/>
              <a:pPr>
                <a:defRPr/>
              </a:pPr>
              <a:t>‹#›</a:t>
            </a:fld>
            <a:endParaRPr lang="en-US" altLang="ja-JP" dirty="0"/>
          </a:p>
        </p:txBody>
      </p:sp>
    </p:spTree>
    <p:extLst>
      <p:ext uri="{BB962C8B-B14F-4D97-AF65-F5344CB8AC3E}">
        <p14:creationId xmlns:p14="http://schemas.microsoft.com/office/powerpoint/2010/main" val="3118957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80" y="4986326"/>
            <a:ext cx="8418751" cy="1541163"/>
          </a:xfrm>
        </p:spPr>
        <p:txBody>
          <a:bodyPr anchor="t"/>
          <a:lstStyle>
            <a:lvl1pPr algn="l">
              <a:defRPr sz="4400" b="1" cap="all"/>
            </a:lvl1pPr>
          </a:lstStyle>
          <a:p>
            <a:r>
              <a:rPr lang="ja-JP" altLang="en-US"/>
              <a:t>マスタ タイトルの書式設定</a:t>
            </a:r>
          </a:p>
        </p:txBody>
      </p:sp>
      <p:sp>
        <p:nvSpPr>
          <p:cNvPr id="3" name="テキスト プレースホルダ 2"/>
          <p:cNvSpPr>
            <a:spLocks noGrp="1"/>
          </p:cNvSpPr>
          <p:nvPr>
            <p:ph type="body" idx="1"/>
          </p:nvPr>
        </p:nvSpPr>
        <p:spPr>
          <a:xfrm>
            <a:off x="782380" y="3288892"/>
            <a:ext cx="8418751" cy="1697434"/>
          </a:xfrm>
        </p:spPr>
        <p:txBody>
          <a:bodyPr anchor="b"/>
          <a:lstStyle>
            <a:lvl1pPr marL="0" indent="0">
              <a:buNone/>
              <a:defRPr sz="2200"/>
            </a:lvl1pPr>
            <a:lvl2pPr marL="504657" indent="0">
              <a:buNone/>
              <a:defRPr sz="2000"/>
            </a:lvl2pPr>
            <a:lvl3pPr marL="1009315" indent="0">
              <a:buNone/>
              <a:defRPr sz="1800"/>
            </a:lvl3pPr>
            <a:lvl4pPr marL="1513972" indent="0">
              <a:buNone/>
              <a:defRPr sz="1500"/>
            </a:lvl4pPr>
            <a:lvl5pPr marL="2018629" indent="0">
              <a:buNone/>
              <a:defRPr sz="1500"/>
            </a:lvl5pPr>
            <a:lvl6pPr marL="2523287" indent="0">
              <a:buNone/>
              <a:defRPr sz="1500"/>
            </a:lvl6pPr>
            <a:lvl7pPr marL="3027944" indent="0">
              <a:buNone/>
              <a:defRPr sz="1500"/>
            </a:lvl7pPr>
            <a:lvl8pPr marL="3532602" indent="0">
              <a:buNone/>
              <a:defRPr sz="1500"/>
            </a:lvl8pPr>
            <a:lvl9pPr marL="4037259" indent="0">
              <a:buNone/>
              <a:defRPr sz="1500"/>
            </a:lvl9pPr>
          </a:lstStyle>
          <a:p>
            <a:pPr lvl="0"/>
            <a:r>
              <a:rPr lang="ja-JP" altLang="en-US"/>
              <a:t>マスタ テキストの書式設定</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744ECDA5-5F1C-4819-BC35-8C8D508C5B5C}" type="slidenum">
              <a:rPr lang="en-US" altLang="ja-JP"/>
              <a:pPr>
                <a:defRPr/>
              </a:pPr>
              <a:t>‹#›</a:t>
            </a:fld>
            <a:endParaRPr lang="en-US" altLang="ja-JP"/>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85" name="タイトル 1"/>
          <p:cNvSpPr>
            <a:spLocks noGrp="1"/>
          </p:cNvSpPr>
          <p:nvPr>
            <p:ph type="title"/>
          </p:nvPr>
        </p:nvSpPr>
        <p:spPr>
          <a:xfrm>
            <a:off x="495221" y="308951"/>
            <a:ext cx="3258484" cy="1314838"/>
          </a:xfrm>
        </p:spPr>
        <p:txBody>
          <a:bodyPr anchor="b"/>
          <a:lstStyle>
            <a:lvl1pPr algn="l">
              <a:defRPr sz="2166" b="1"/>
            </a:lvl1pPr>
          </a:lstStyle>
          <a:p>
            <a:r>
              <a:rPr lang="ja-JP" altLang="en-US"/>
              <a:t>マスター タイトルの書式設定</a:t>
            </a:r>
          </a:p>
        </p:txBody>
      </p:sp>
      <p:sp>
        <p:nvSpPr>
          <p:cNvPr id="1086" name="コンテンツ プレースホルダ 2"/>
          <p:cNvSpPr>
            <a:spLocks noGrp="1"/>
          </p:cNvSpPr>
          <p:nvPr>
            <p:ph idx="1"/>
          </p:nvPr>
        </p:nvSpPr>
        <p:spPr>
          <a:xfrm>
            <a:off x="3872350" y="308952"/>
            <a:ext cx="5536842" cy="6622689"/>
          </a:xfrm>
        </p:spPr>
        <p:txBody>
          <a:bodyPr/>
          <a:lstStyle>
            <a:lvl1pPr>
              <a:defRPr sz="3466"/>
            </a:lvl1pPr>
            <a:lvl2pPr>
              <a:defRPr sz="3033"/>
            </a:lvl2pPr>
            <a:lvl3pPr>
              <a:defRPr sz="2600"/>
            </a:lvl3pPr>
            <a:lvl4pPr>
              <a:defRPr sz="2166"/>
            </a:lvl4pPr>
            <a:lvl5pPr>
              <a:defRPr sz="2166"/>
            </a:lvl5pPr>
            <a:lvl6pPr>
              <a:defRPr sz="2166"/>
            </a:lvl6pPr>
            <a:lvl7pPr>
              <a:defRPr sz="2166"/>
            </a:lvl7pPr>
            <a:lvl8pPr>
              <a:defRPr sz="2166"/>
            </a:lvl8pPr>
            <a:lvl9pPr>
              <a:defRPr sz="2166"/>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87" name="テキスト プレースホルダ 3"/>
          <p:cNvSpPr>
            <a:spLocks noGrp="1"/>
          </p:cNvSpPr>
          <p:nvPr>
            <p:ph type="body" sz="half" idx="2"/>
          </p:nvPr>
        </p:nvSpPr>
        <p:spPr>
          <a:xfrm>
            <a:off x="495221" y="1623790"/>
            <a:ext cx="3258484" cy="5307851"/>
          </a:xfrm>
        </p:spPr>
        <p:txBody>
          <a:bodyPr/>
          <a:lstStyle>
            <a:lvl1pPr marL="0" indent="0">
              <a:buNone/>
              <a:defRPr sz="1516"/>
            </a:lvl1pPr>
            <a:lvl2pPr marL="495239" indent="0">
              <a:buNone/>
              <a:defRPr sz="1300"/>
            </a:lvl2pPr>
            <a:lvl3pPr marL="990478" indent="0">
              <a:buNone/>
              <a:defRPr sz="1083"/>
            </a:lvl3pPr>
            <a:lvl4pPr marL="1485717" indent="0">
              <a:buNone/>
              <a:defRPr sz="975"/>
            </a:lvl4pPr>
            <a:lvl5pPr marL="1980956" indent="0">
              <a:buNone/>
              <a:defRPr sz="975"/>
            </a:lvl5pPr>
            <a:lvl6pPr marL="2476195" indent="0">
              <a:buNone/>
              <a:defRPr sz="975"/>
            </a:lvl6pPr>
            <a:lvl7pPr marL="2971434" indent="0">
              <a:buNone/>
              <a:defRPr sz="975"/>
            </a:lvl7pPr>
            <a:lvl8pPr marL="3466673" indent="0">
              <a:buNone/>
              <a:defRPr sz="975"/>
            </a:lvl8pPr>
            <a:lvl9pPr marL="3961912" indent="0">
              <a:buNone/>
              <a:defRPr sz="975"/>
            </a:lvl9pPr>
          </a:lstStyle>
          <a:p>
            <a:pPr lvl="0"/>
            <a:r>
              <a:rPr lang="ja-JP" altLang="en-US"/>
              <a:t>マスター テキストの書式設定</a:t>
            </a:r>
          </a:p>
        </p:txBody>
      </p:sp>
      <p:sp>
        <p:nvSpPr>
          <p:cNvPr id="1088"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89"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90" name="Rectangle 6"/>
          <p:cNvSpPr>
            <a:spLocks noGrp="1" noChangeArrowheads="1"/>
          </p:cNvSpPr>
          <p:nvPr>
            <p:ph type="sldNum" sz="quarter" idx="12"/>
          </p:nvPr>
        </p:nvSpPr>
        <p:spPr>
          <a:ln/>
        </p:spPr>
        <p:txBody>
          <a:bodyPr/>
          <a:lstStyle>
            <a:lvl1pPr>
              <a:defRPr/>
            </a:lvl1pPr>
          </a:lstStyle>
          <a:p>
            <a:pPr>
              <a:defRPr/>
            </a:pPr>
            <a:fld id="{460176D3-1CBA-4E5C-8891-6A87D7C30D42}" type="slidenum">
              <a:rPr lang="en-US" altLang="ja-JP"/>
              <a:pPr>
                <a:defRPr/>
              </a:pPr>
              <a:t>‹#›</a:t>
            </a:fld>
            <a:endParaRPr lang="en-US" altLang="ja-JP" dirty="0"/>
          </a:p>
        </p:txBody>
      </p:sp>
    </p:spTree>
    <p:extLst>
      <p:ext uri="{BB962C8B-B14F-4D97-AF65-F5344CB8AC3E}">
        <p14:creationId xmlns:p14="http://schemas.microsoft.com/office/powerpoint/2010/main" val="27456706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92" name="タイトル 1"/>
          <p:cNvSpPr>
            <a:spLocks noGrp="1"/>
          </p:cNvSpPr>
          <p:nvPr>
            <p:ph type="title"/>
          </p:nvPr>
        </p:nvSpPr>
        <p:spPr>
          <a:xfrm>
            <a:off x="1941334" y="5431790"/>
            <a:ext cx="5942648" cy="641254"/>
          </a:xfrm>
        </p:spPr>
        <p:txBody>
          <a:bodyPr anchor="b"/>
          <a:lstStyle>
            <a:lvl1pPr algn="l">
              <a:defRPr sz="2166" b="1"/>
            </a:lvl1pPr>
          </a:lstStyle>
          <a:p>
            <a:r>
              <a:rPr lang="ja-JP" altLang="en-US"/>
              <a:t>マスター タイトルの書式設定</a:t>
            </a:r>
          </a:p>
        </p:txBody>
      </p:sp>
      <p:sp>
        <p:nvSpPr>
          <p:cNvPr id="1093" name="図プレースホルダ 2"/>
          <p:cNvSpPr>
            <a:spLocks noGrp="1"/>
          </p:cNvSpPr>
          <p:nvPr>
            <p:ph type="pic" idx="1"/>
          </p:nvPr>
        </p:nvSpPr>
        <p:spPr>
          <a:xfrm>
            <a:off x="1941334" y="693344"/>
            <a:ext cx="5942648" cy="4655820"/>
          </a:xfrm>
        </p:spPr>
        <p:txBody>
          <a:bodyPr/>
          <a:lstStyle>
            <a:lvl1pPr marL="0" indent="0">
              <a:buNone/>
              <a:defRPr sz="3466"/>
            </a:lvl1pPr>
            <a:lvl2pPr marL="495239" indent="0">
              <a:buNone/>
              <a:defRPr sz="3033"/>
            </a:lvl2pPr>
            <a:lvl3pPr marL="990478" indent="0">
              <a:buNone/>
              <a:defRPr sz="2600"/>
            </a:lvl3pPr>
            <a:lvl4pPr marL="1485717" indent="0">
              <a:buNone/>
              <a:defRPr sz="2166"/>
            </a:lvl4pPr>
            <a:lvl5pPr marL="1980956" indent="0">
              <a:buNone/>
              <a:defRPr sz="2166"/>
            </a:lvl5pPr>
            <a:lvl6pPr marL="2476195" indent="0">
              <a:buNone/>
              <a:defRPr sz="2166"/>
            </a:lvl6pPr>
            <a:lvl7pPr marL="2971434" indent="0">
              <a:buNone/>
              <a:defRPr sz="2166"/>
            </a:lvl7pPr>
            <a:lvl8pPr marL="3466673" indent="0">
              <a:buNone/>
              <a:defRPr sz="2166"/>
            </a:lvl8pPr>
            <a:lvl9pPr marL="3961912" indent="0">
              <a:buNone/>
              <a:defRPr sz="2166"/>
            </a:lvl9pPr>
          </a:lstStyle>
          <a:p>
            <a:pPr lvl="0"/>
            <a:r>
              <a:rPr lang="ja-JP" altLang="en-US" noProof="0" dirty="0"/>
              <a:t>図を追加</a:t>
            </a:r>
          </a:p>
        </p:txBody>
      </p:sp>
      <p:sp>
        <p:nvSpPr>
          <p:cNvPr id="1094" name="テキスト プレースホルダ 3"/>
          <p:cNvSpPr>
            <a:spLocks noGrp="1"/>
          </p:cNvSpPr>
          <p:nvPr>
            <p:ph type="body" sz="half" idx="2"/>
          </p:nvPr>
        </p:nvSpPr>
        <p:spPr>
          <a:xfrm>
            <a:off x="1941334" y="6073044"/>
            <a:ext cx="5942648" cy="910686"/>
          </a:xfrm>
        </p:spPr>
        <p:txBody>
          <a:bodyPr/>
          <a:lstStyle>
            <a:lvl1pPr marL="0" indent="0">
              <a:buNone/>
              <a:defRPr sz="1516"/>
            </a:lvl1pPr>
            <a:lvl2pPr marL="495239" indent="0">
              <a:buNone/>
              <a:defRPr sz="1300"/>
            </a:lvl2pPr>
            <a:lvl3pPr marL="990478" indent="0">
              <a:buNone/>
              <a:defRPr sz="1083"/>
            </a:lvl3pPr>
            <a:lvl4pPr marL="1485717" indent="0">
              <a:buNone/>
              <a:defRPr sz="975"/>
            </a:lvl4pPr>
            <a:lvl5pPr marL="1980956" indent="0">
              <a:buNone/>
              <a:defRPr sz="975"/>
            </a:lvl5pPr>
            <a:lvl6pPr marL="2476195" indent="0">
              <a:buNone/>
              <a:defRPr sz="975"/>
            </a:lvl6pPr>
            <a:lvl7pPr marL="2971434" indent="0">
              <a:buNone/>
              <a:defRPr sz="975"/>
            </a:lvl7pPr>
            <a:lvl8pPr marL="3466673" indent="0">
              <a:buNone/>
              <a:defRPr sz="975"/>
            </a:lvl8pPr>
            <a:lvl9pPr marL="3961912" indent="0">
              <a:buNone/>
              <a:defRPr sz="975"/>
            </a:lvl9pPr>
          </a:lstStyle>
          <a:p>
            <a:pPr lvl="0"/>
            <a:r>
              <a:rPr lang="ja-JP" altLang="en-US"/>
              <a:t>マスター テキストの書式設定</a:t>
            </a:r>
          </a:p>
        </p:txBody>
      </p:sp>
      <p:sp>
        <p:nvSpPr>
          <p:cNvPr id="1095"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9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97" name="Rectangle 6"/>
          <p:cNvSpPr>
            <a:spLocks noGrp="1" noChangeArrowheads="1"/>
          </p:cNvSpPr>
          <p:nvPr>
            <p:ph type="sldNum" sz="quarter" idx="12"/>
          </p:nvPr>
        </p:nvSpPr>
        <p:spPr>
          <a:ln/>
        </p:spPr>
        <p:txBody>
          <a:bodyPr/>
          <a:lstStyle>
            <a:lvl1pPr>
              <a:defRPr/>
            </a:lvl1pPr>
          </a:lstStyle>
          <a:p>
            <a:pPr>
              <a:defRPr/>
            </a:pPr>
            <a:fld id="{0A3F5529-272E-4A2C-90D7-160EE3AC1005}" type="slidenum">
              <a:rPr lang="en-US" altLang="ja-JP"/>
              <a:pPr>
                <a:defRPr/>
              </a:pPr>
              <a:t>‹#›</a:t>
            </a:fld>
            <a:endParaRPr lang="en-US" altLang="ja-JP" dirty="0"/>
          </a:p>
        </p:txBody>
      </p:sp>
    </p:spTree>
    <p:extLst>
      <p:ext uri="{BB962C8B-B14F-4D97-AF65-F5344CB8AC3E}">
        <p14:creationId xmlns:p14="http://schemas.microsoft.com/office/powerpoint/2010/main" val="28751369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99" name="タイトル 1"/>
          <p:cNvSpPr>
            <a:spLocks noGrp="1"/>
          </p:cNvSpPr>
          <p:nvPr>
            <p:ph type="title"/>
          </p:nvPr>
        </p:nvSpPr>
        <p:spPr/>
        <p:txBody>
          <a:bodyPr/>
          <a:lstStyle/>
          <a:p>
            <a:r>
              <a:rPr lang="ja-JP" altLang="en-US"/>
              <a:t>マスター タイトルの書式設定</a:t>
            </a:r>
          </a:p>
        </p:txBody>
      </p:sp>
      <p:sp>
        <p:nvSpPr>
          <p:cNvPr id="1100"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1"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102"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103" name="Rectangle 6"/>
          <p:cNvSpPr>
            <a:spLocks noGrp="1" noChangeArrowheads="1"/>
          </p:cNvSpPr>
          <p:nvPr>
            <p:ph type="sldNum" sz="quarter" idx="12"/>
          </p:nvPr>
        </p:nvSpPr>
        <p:spPr>
          <a:ln/>
        </p:spPr>
        <p:txBody>
          <a:bodyPr/>
          <a:lstStyle>
            <a:lvl1pPr>
              <a:defRPr/>
            </a:lvl1pPr>
          </a:lstStyle>
          <a:p>
            <a:pPr>
              <a:defRPr/>
            </a:pPr>
            <a:fld id="{CDB20612-914C-4BDE-8D4C-FEA4392E99F4}" type="slidenum">
              <a:rPr lang="en-US" altLang="ja-JP"/>
              <a:pPr>
                <a:defRPr/>
              </a:pPr>
              <a:t>‹#›</a:t>
            </a:fld>
            <a:endParaRPr lang="en-US" altLang="ja-JP" dirty="0"/>
          </a:p>
        </p:txBody>
      </p:sp>
    </p:spTree>
    <p:extLst>
      <p:ext uri="{BB962C8B-B14F-4D97-AF65-F5344CB8AC3E}">
        <p14:creationId xmlns:p14="http://schemas.microsoft.com/office/powerpoint/2010/main" val="37647542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105" name="縦書きタイトル 1"/>
          <p:cNvSpPr>
            <a:spLocks noGrp="1"/>
          </p:cNvSpPr>
          <p:nvPr>
            <p:ph type="title" orient="vert"/>
          </p:nvPr>
        </p:nvSpPr>
        <p:spPr>
          <a:xfrm>
            <a:off x="7056894" y="1"/>
            <a:ext cx="2352298" cy="6931640"/>
          </a:xfrm>
        </p:spPr>
        <p:txBody>
          <a:bodyPr vert="eaVert"/>
          <a:lstStyle/>
          <a:p>
            <a:r>
              <a:rPr lang="ja-JP" altLang="en-US"/>
              <a:t>マスター タイトルの書式設定</a:t>
            </a:r>
          </a:p>
        </p:txBody>
      </p:sp>
      <p:sp>
        <p:nvSpPr>
          <p:cNvPr id="1106" name="縦書きテキスト プレースホルダ 2"/>
          <p:cNvSpPr>
            <a:spLocks noGrp="1"/>
          </p:cNvSpPr>
          <p:nvPr>
            <p:ph type="body" orient="vert" idx="1"/>
          </p:nvPr>
        </p:nvSpPr>
        <p:spPr>
          <a:xfrm>
            <a:off x="0" y="1"/>
            <a:ext cx="6891821" cy="6931640"/>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7"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108"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109" name="Rectangle 6"/>
          <p:cNvSpPr>
            <a:spLocks noGrp="1" noChangeArrowheads="1"/>
          </p:cNvSpPr>
          <p:nvPr>
            <p:ph type="sldNum" sz="quarter" idx="12"/>
          </p:nvPr>
        </p:nvSpPr>
        <p:spPr>
          <a:ln/>
        </p:spPr>
        <p:txBody>
          <a:bodyPr/>
          <a:lstStyle>
            <a:lvl1pPr>
              <a:defRPr/>
            </a:lvl1pPr>
          </a:lstStyle>
          <a:p>
            <a:pPr>
              <a:defRPr/>
            </a:pPr>
            <a:fld id="{86FB01F7-FA20-4B15-9970-D297285851AC}" type="slidenum">
              <a:rPr lang="en-US" altLang="ja-JP"/>
              <a:pPr>
                <a:defRPr/>
              </a:pPr>
              <a:t>‹#›</a:t>
            </a:fld>
            <a:endParaRPr lang="en-US" altLang="ja-JP" dirty="0"/>
          </a:p>
        </p:txBody>
      </p:sp>
    </p:spTree>
    <p:extLst>
      <p:ext uri="{BB962C8B-B14F-4D97-AF65-F5344CB8AC3E}">
        <p14:creationId xmlns:p14="http://schemas.microsoft.com/office/powerpoint/2010/main" val="5945523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7" descr="mlit_top"/>
          <p:cNvPicPr>
            <a:picLocks noChangeAspect="1" noChangeArrowheads="1"/>
          </p:cNvPicPr>
          <p:nvPr userDrawn="1"/>
        </p:nvPicPr>
        <p:blipFill>
          <a:blip r:embed="rId2" cstate="email"/>
          <a:srcRect t="62230"/>
          <a:stretch>
            <a:fillRect/>
          </a:stretch>
        </p:blipFill>
        <p:spPr bwMode="auto">
          <a:xfrm>
            <a:off x="0" y="7382503"/>
            <a:ext cx="9904413" cy="377208"/>
          </a:xfrm>
          <a:prstGeom prst="rect">
            <a:avLst/>
          </a:prstGeom>
          <a:noFill/>
          <a:ln w="9525">
            <a:noFill/>
            <a:miter lim="800000"/>
            <a:headEnd/>
            <a:tailEnd/>
          </a:ln>
        </p:spPr>
      </p:pic>
      <p:sp>
        <p:nvSpPr>
          <p:cNvPr id="5" name="Rectangle 9"/>
          <p:cNvSpPr>
            <a:spLocks noChangeArrowheads="1"/>
          </p:cNvSpPr>
          <p:nvPr userDrawn="1"/>
        </p:nvSpPr>
        <p:spPr bwMode="auto">
          <a:xfrm>
            <a:off x="1833270" y="3716405"/>
            <a:ext cx="8071144" cy="82626"/>
          </a:xfrm>
          <a:prstGeom prst="rect">
            <a:avLst/>
          </a:prstGeom>
          <a:solidFill>
            <a:srgbClr val="0066CC"/>
          </a:solidFill>
          <a:ln w="9525">
            <a:noFill/>
            <a:miter lim="800000"/>
            <a:headEnd/>
            <a:tailEnd/>
          </a:ln>
          <a:effectLst/>
        </p:spPr>
        <p:txBody>
          <a:bodyPr wrap="none" anchor="ctr"/>
          <a:lstStyle/>
          <a:p>
            <a:pPr>
              <a:defRPr/>
            </a:pPr>
            <a:endParaRPr lang="ja-JP" altLang="en-US">
              <a:solidFill>
                <a:prstClr val="black"/>
              </a:solidFill>
              <a:latin typeface="Arial"/>
              <a:ea typeface="ＭＳ Ｐゴシック"/>
            </a:endParaRPr>
          </a:p>
        </p:txBody>
      </p:sp>
      <p:pic>
        <p:nvPicPr>
          <p:cNvPr id="6" name="Picture 11"/>
          <p:cNvPicPr>
            <a:picLocks noChangeAspect="1" noChangeArrowheads="1"/>
          </p:cNvPicPr>
          <p:nvPr userDrawn="1"/>
        </p:nvPicPr>
        <p:blipFill>
          <a:blip r:embed="rId3" cstate="email"/>
          <a:srcRect/>
          <a:stretch>
            <a:fillRect/>
          </a:stretch>
        </p:blipFill>
        <p:spPr bwMode="auto">
          <a:xfrm>
            <a:off x="1" y="6847227"/>
            <a:ext cx="2301506" cy="535276"/>
          </a:xfrm>
          <a:prstGeom prst="rect">
            <a:avLst/>
          </a:prstGeom>
          <a:noFill/>
          <a:ln w="9525">
            <a:noFill/>
            <a:miter lim="800000"/>
            <a:headEnd/>
            <a:tailEnd/>
          </a:ln>
        </p:spPr>
      </p:pic>
      <p:sp>
        <p:nvSpPr>
          <p:cNvPr id="7" name="Text Box 12"/>
          <p:cNvSpPr txBox="1">
            <a:spLocks noChangeArrowheads="1"/>
          </p:cNvSpPr>
          <p:nvPr userDrawn="1"/>
        </p:nvSpPr>
        <p:spPr bwMode="auto">
          <a:xfrm>
            <a:off x="3" y="7382503"/>
            <a:ext cx="3389069" cy="262829"/>
          </a:xfrm>
          <a:prstGeom prst="rect">
            <a:avLst/>
          </a:prstGeom>
          <a:noFill/>
          <a:ln w="9525">
            <a:noFill/>
            <a:miter lim="800000"/>
            <a:headEnd/>
            <a:tailEnd/>
          </a:ln>
          <a:effectLst/>
        </p:spPr>
        <p:txBody>
          <a:bodyPr wrap="none">
            <a:spAutoFit/>
          </a:bodyPr>
          <a:lstStyle/>
          <a:p>
            <a:pPr>
              <a:defRPr/>
            </a:pPr>
            <a:r>
              <a:rPr lang="en-US" altLang="ja-JP" sz="1108" i="1">
                <a:solidFill>
                  <a:prstClr val="white"/>
                </a:solidFill>
                <a:latin typeface="Times New Roman" pitchFamily="18" charset="0"/>
                <a:ea typeface="ＭＳ Ｐゴシック"/>
              </a:rPr>
              <a:t>Ministry of Land, Infrastructure, Transport and Tourism</a:t>
            </a:r>
          </a:p>
        </p:txBody>
      </p:sp>
      <p:sp>
        <p:nvSpPr>
          <p:cNvPr id="3074" name="Rectangle 2"/>
          <p:cNvSpPr>
            <a:spLocks noGrp="1" noChangeArrowheads="1"/>
          </p:cNvSpPr>
          <p:nvPr>
            <p:ph type="ctrTitle"/>
          </p:nvPr>
        </p:nvSpPr>
        <p:spPr>
          <a:xfrm>
            <a:off x="1753907" y="2414141"/>
            <a:ext cx="8150507" cy="1663306"/>
          </a:xfrm>
        </p:spPr>
        <p:txBody>
          <a:bodyPr/>
          <a:lstStyle>
            <a:lvl1pPr>
              <a:defRPr sz="3691"/>
            </a:lvl1pPr>
          </a:lstStyle>
          <a:p>
            <a:r>
              <a:rPr lang="ja-JP" altLang="en-US"/>
              <a:t>マスタ タイトルの書式設定</a:t>
            </a:r>
          </a:p>
        </p:txBody>
      </p:sp>
      <p:sp>
        <p:nvSpPr>
          <p:cNvPr id="3075"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 サブタイトルの書式設定</a:t>
            </a:r>
          </a:p>
        </p:txBody>
      </p:sp>
      <p:sp>
        <p:nvSpPr>
          <p:cNvPr id="8" name="Rectangle 4"/>
          <p:cNvSpPr>
            <a:spLocks noGrp="1" noChangeArrowheads="1"/>
          </p:cNvSpPr>
          <p:nvPr>
            <p:ph type="dt" sz="half" idx="10"/>
          </p:nvPr>
        </p:nvSpPr>
        <p:spPr/>
        <p:txBody>
          <a:bodyPr/>
          <a:lstStyle>
            <a:lvl1pPr>
              <a:defRPr/>
            </a:lvl1pPr>
          </a:lstStyle>
          <a:p>
            <a:pPr>
              <a:defRPr/>
            </a:pPr>
            <a:endParaRPr lang="en-US" altLang="ja-JP">
              <a:solidFill>
                <a:prstClr val="black"/>
              </a:solidFill>
            </a:endParaRPr>
          </a:p>
        </p:txBody>
      </p:sp>
      <p:sp>
        <p:nvSpPr>
          <p:cNvPr id="9" name="Rectangle 5"/>
          <p:cNvSpPr>
            <a:spLocks noGrp="1" noChangeArrowheads="1"/>
          </p:cNvSpPr>
          <p:nvPr>
            <p:ph type="ftr" sz="quarter" idx="11"/>
          </p:nvPr>
        </p:nvSpPr>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23646469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7955707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81" y="4986336"/>
            <a:ext cx="8418751" cy="1541163"/>
          </a:xfrm>
        </p:spPr>
        <p:txBody>
          <a:bodyPr anchor="t"/>
          <a:lstStyle>
            <a:lvl1pPr algn="l">
              <a:defRPr sz="3691" b="1" cap="all"/>
            </a:lvl1pPr>
          </a:lstStyle>
          <a:p>
            <a:r>
              <a:rPr lang="ja-JP" altLang="en-US"/>
              <a:t>マスタ タイトルの書式設定</a:t>
            </a:r>
          </a:p>
        </p:txBody>
      </p:sp>
      <p:sp>
        <p:nvSpPr>
          <p:cNvPr id="3" name="テキスト プレースホルダ 2"/>
          <p:cNvSpPr>
            <a:spLocks noGrp="1"/>
          </p:cNvSpPr>
          <p:nvPr>
            <p:ph type="body" idx="1"/>
          </p:nvPr>
        </p:nvSpPr>
        <p:spPr>
          <a:xfrm>
            <a:off x="782381" y="3288900"/>
            <a:ext cx="8418751" cy="1697434"/>
          </a:xfrm>
        </p:spPr>
        <p:txBody>
          <a:bodyPr anchor="b"/>
          <a:lstStyle>
            <a:lvl1pPr marL="0" indent="0">
              <a:buNone/>
              <a:defRPr sz="1846"/>
            </a:lvl1pPr>
            <a:lvl2pPr marL="421957" indent="0">
              <a:buNone/>
              <a:defRPr sz="1662"/>
            </a:lvl2pPr>
            <a:lvl3pPr marL="843914" indent="0">
              <a:buNone/>
              <a:defRPr sz="1477"/>
            </a:lvl3pPr>
            <a:lvl4pPr marL="1265871" indent="0">
              <a:buNone/>
              <a:defRPr sz="1292"/>
            </a:lvl4pPr>
            <a:lvl5pPr marL="1687827" indent="0">
              <a:buNone/>
              <a:defRPr sz="1292"/>
            </a:lvl5pPr>
            <a:lvl6pPr marL="2109785" indent="0">
              <a:buNone/>
              <a:defRPr sz="1292"/>
            </a:lvl6pPr>
            <a:lvl7pPr marL="2531742" indent="0">
              <a:buNone/>
              <a:defRPr sz="1292"/>
            </a:lvl7pPr>
            <a:lvl8pPr marL="2953698" indent="0">
              <a:buNone/>
              <a:defRPr sz="1292"/>
            </a:lvl8pPr>
            <a:lvl9pPr marL="3375656" indent="0">
              <a:buNone/>
              <a:defRPr sz="1292"/>
            </a:lvl9pPr>
          </a:lstStyle>
          <a:p>
            <a:pPr lvl="0"/>
            <a:r>
              <a:rPr lang="ja-JP" altLang="en-US"/>
              <a:t>マスタ テキストの書式設定</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37866890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95221" y="1810604"/>
            <a:ext cx="4374449" cy="5121043"/>
          </a:xfrm>
        </p:spPr>
        <p:txBody>
          <a:bodyPr/>
          <a:lstStyle>
            <a:lvl1pPr>
              <a:defRPr sz="2584"/>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34743" y="1810604"/>
            <a:ext cx="4374449" cy="5121043"/>
          </a:xfrm>
        </p:spPr>
        <p:txBody>
          <a:bodyPr/>
          <a:lstStyle>
            <a:lvl1pPr>
              <a:defRPr sz="2584"/>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14332231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10748"/>
            <a:ext cx="8913972" cy="1293283"/>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95222" y="1736952"/>
            <a:ext cx="4376169" cy="723879"/>
          </a:xfrm>
        </p:spPr>
        <p:txBody>
          <a:bodyPr anchor="b"/>
          <a:lstStyle>
            <a:lvl1pPr marL="0" indent="0">
              <a:buNone/>
              <a:defRPr sz="2215" b="1"/>
            </a:lvl1pPr>
            <a:lvl2pPr marL="421957" indent="0">
              <a:buNone/>
              <a:defRPr sz="1846" b="1"/>
            </a:lvl2pPr>
            <a:lvl3pPr marL="843914" indent="0">
              <a:buNone/>
              <a:defRPr sz="1662" b="1"/>
            </a:lvl3pPr>
            <a:lvl4pPr marL="1265871" indent="0">
              <a:buNone/>
              <a:defRPr sz="1477" b="1"/>
            </a:lvl4pPr>
            <a:lvl5pPr marL="1687827" indent="0">
              <a:buNone/>
              <a:defRPr sz="1477" b="1"/>
            </a:lvl5pPr>
            <a:lvl6pPr marL="2109785" indent="0">
              <a:buNone/>
              <a:defRPr sz="1477" b="1"/>
            </a:lvl6pPr>
            <a:lvl7pPr marL="2531742" indent="0">
              <a:buNone/>
              <a:defRPr sz="1477" b="1"/>
            </a:lvl7pPr>
            <a:lvl8pPr marL="2953698" indent="0">
              <a:buNone/>
              <a:defRPr sz="1477" b="1"/>
            </a:lvl8pPr>
            <a:lvl9pPr marL="3375656" indent="0">
              <a:buNone/>
              <a:defRPr sz="1477"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95222" y="2460831"/>
            <a:ext cx="4376169" cy="4470809"/>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1306" y="1736952"/>
            <a:ext cx="4377890" cy="723879"/>
          </a:xfrm>
        </p:spPr>
        <p:txBody>
          <a:bodyPr anchor="b"/>
          <a:lstStyle>
            <a:lvl1pPr marL="0" indent="0">
              <a:buNone/>
              <a:defRPr sz="2215" b="1"/>
            </a:lvl1pPr>
            <a:lvl2pPr marL="421957" indent="0">
              <a:buNone/>
              <a:defRPr sz="1846" b="1"/>
            </a:lvl2pPr>
            <a:lvl3pPr marL="843914" indent="0">
              <a:buNone/>
              <a:defRPr sz="1662" b="1"/>
            </a:lvl3pPr>
            <a:lvl4pPr marL="1265871" indent="0">
              <a:buNone/>
              <a:defRPr sz="1477" b="1"/>
            </a:lvl4pPr>
            <a:lvl5pPr marL="1687827" indent="0">
              <a:buNone/>
              <a:defRPr sz="1477" b="1"/>
            </a:lvl5pPr>
            <a:lvl6pPr marL="2109785" indent="0">
              <a:buNone/>
              <a:defRPr sz="1477" b="1"/>
            </a:lvl6pPr>
            <a:lvl7pPr marL="2531742" indent="0">
              <a:buNone/>
              <a:defRPr sz="1477" b="1"/>
            </a:lvl7pPr>
            <a:lvl8pPr marL="2953698" indent="0">
              <a:buNone/>
              <a:defRPr sz="1477" b="1"/>
            </a:lvl8pPr>
            <a:lvl9pPr marL="3375656" indent="0">
              <a:buNone/>
              <a:defRPr sz="1477"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031306" y="2460831"/>
            <a:ext cx="4377890" cy="4470809"/>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11064173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
        <p:nvSpPr>
          <p:cNvPr id="5" name="Rectangle 6"/>
          <p:cNvSpPr>
            <a:spLocks noGrp="1" noChangeArrowheads="1"/>
          </p:cNvSpPr>
          <p:nvPr>
            <p:ph type="sldNum" sz="quarter" idx="12"/>
          </p:nvPr>
        </p:nvSpPr>
        <p:spPr>
          <a:xfrm>
            <a:off x="7593383" y="7057376"/>
            <a:ext cx="2311030" cy="538868"/>
          </a:xfrm>
          <a:prstGeom prst="rect">
            <a:avLst/>
          </a:prstGeom>
          <a:ln/>
        </p:spPr>
        <p:txBody>
          <a:bodyPr/>
          <a:lstStyle>
            <a:lvl1pPr>
              <a:defRPr/>
            </a:lvl1pPr>
          </a:lstStyle>
          <a:p>
            <a:pPr fontAlgn="auto">
              <a:spcBef>
                <a:spcPts val="0"/>
              </a:spcBef>
              <a:spcAft>
                <a:spcPts val="0"/>
              </a:spcAft>
              <a:defRPr/>
            </a:pPr>
            <a:fld id="{1605389D-1ABF-4351-8C3E-16885CD30125}" type="slidenum">
              <a:rPr lang="en-US" altLang="ja-JP" smtClean="0">
                <a:solidFill>
                  <a:prstClr val="black"/>
                </a:solidFill>
                <a:latin typeface="Arial"/>
                <a:ea typeface="ＭＳ Ｐゴシック"/>
              </a:rPr>
              <a:pPr fontAlgn="auto">
                <a:spcBef>
                  <a:spcPts val="0"/>
                </a:spcBef>
                <a:spcAft>
                  <a:spcPts val="0"/>
                </a:spcAft>
                <a:defRPr/>
              </a:pPr>
              <a:t>‹#›</a:t>
            </a:fld>
            <a:endParaRPr lang="en-US" altLang="ja-JP">
              <a:solidFill>
                <a:prstClr val="black"/>
              </a:solidFill>
              <a:latin typeface="Arial"/>
              <a:ea typeface="ＭＳ Ｐゴシック"/>
            </a:endParaRPr>
          </a:p>
        </p:txBody>
      </p:sp>
    </p:spTree>
    <p:extLst>
      <p:ext uri="{BB962C8B-B14F-4D97-AF65-F5344CB8AC3E}">
        <p14:creationId xmlns:p14="http://schemas.microsoft.com/office/powerpoint/2010/main" val="3930277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95221" y="1810597"/>
            <a:ext cx="4374449" cy="5121043"/>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34743" y="1810597"/>
            <a:ext cx="4374449" cy="5121043"/>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8366C5AB-5182-4BC7-95E9-05F092C219C4}" type="slidenum">
              <a:rPr lang="en-US" altLang="ja-JP"/>
              <a:pPr>
                <a:defRPr/>
              </a:pPr>
              <a:t>‹#›</a:t>
            </a:fld>
            <a:endParaRPr lang="en-US" altLang="ja-JP"/>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20906092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5" y="308951"/>
            <a:ext cx="3258484" cy="1314838"/>
          </a:xfrm>
        </p:spPr>
        <p:txBody>
          <a:bodyPr anchor="b"/>
          <a:lstStyle>
            <a:lvl1pPr algn="l">
              <a:defRPr sz="1846" b="1"/>
            </a:lvl1pPr>
          </a:lstStyle>
          <a:p>
            <a:r>
              <a:rPr lang="ja-JP" altLang="en-US"/>
              <a:t>マスタ タイトルの書式設定</a:t>
            </a:r>
          </a:p>
        </p:txBody>
      </p:sp>
      <p:sp>
        <p:nvSpPr>
          <p:cNvPr id="3" name="コンテンツ プレースホルダ 2"/>
          <p:cNvSpPr>
            <a:spLocks noGrp="1"/>
          </p:cNvSpPr>
          <p:nvPr>
            <p:ph idx="1"/>
          </p:nvPr>
        </p:nvSpPr>
        <p:spPr>
          <a:xfrm>
            <a:off x="3872355" y="308957"/>
            <a:ext cx="5536841" cy="6622689"/>
          </a:xfrm>
        </p:spPr>
        <p:txBody>
          <a:bodyPr/>
          <a:lstStyle>
            <a:lvl1pPr>
              <a:defRPr sz="2953"/>
            </a:lvl1pPr>
            <a:lvl2pPr>
              <a:defRPr sz="2584"/>
            </a:lvl2pPr>
            <a:lvl3pPr>
              <a:defRPr sz="2215"/>
            </a:lvl3pPr>
            <a:lvl4pPr>
              <a:defRPr sz="1846"/>
            </a:lvl4pPr>
            <a:lvl5pPr>
              <a:defRPr sz="1846"/>
            </a:lvl5pPr>
            <a:lvl6pPr>
              <a:defRPr sz="1846"/>
            </a:lvl6pPr>
            <a:lvl7pPr>
              <a:defRPr sz="1846"/>
            </a:lvl7pPr>
            <a:lvl8pPr>
              <a:defRPr sz="1846"/>
            </a:lvl8pPr>
            <a:lvl9pPr>
              <a:defRPr sz="184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225" y="1623793"/>
            <a:ext cx="3258484" cy="5307851"/>
          </a:xfrm>
        </p:spPr>
        <p:txBody>
          <a:bodyPr/>
          <a:lstStyle>
            <a:lvl1pPr marL="0" indent="0">
              <a:buNone/>
              <a:defRPr sz="1292"/>
            </a:lvl1pPr>
            <a:lvl2pPr marL="421957" indent="0">
              <a:buNone/>
              <a:defRPr sz="1108"/>
            </a:lvl2pPr>
            <a:lvl3pPr marL="843914" indent="0">
              <a:buNone/>
              <a:defRPr sz="923"/>
            </a:lvl3pPr>
            <a:lvl4pPr marL="1265871" indent="0">
              <a:buNone/>
              <a:defRPr sz="831"/>
            </a:lvl4pPr>
            <a:lvl5pPr marL="1687827" indent="0">
              <a:buNone/>
              <a:defRPr sz="831"/>
            </a:lvl5pPr>
            <a:lvl6pPr marL="2109785" indent="0">
              <a:buNone/>
              <a:defRPr sz="831"/>
            </a:lvl6pPr>
            <a:lvl7pPr marL="2531742" indent="0">
              <a:buNone/>
              <a:defRPr sz="831"/>
            </a:lvl7pPr>
            <a:lvl8pPr marL="2953698" indent="0">
              <a:buNone/>
              <a:defRPr sz="831"/>
            </a:lvl8pPr>
            <a:lvl9pPr marL="3375656" indent="0">
              <a:buNone/>
              <a:defRPr sz="831"/>
            </a:lvl9pPr>
          </a:lstStyle>
          <a:p>
            <a:pPr lvl="0"/>
            <a:r>
              <a:rPr lang="ja-JP" altLang="en-US"/>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19697781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334" y="5431790"/>
            <a:ext cx="5942648" cy="641254"/>
          </a:xfrm>
        </p:spPr>
        <p:txBody>
          <a:bodyPr anchor="b"/>
          <a:lstStyle>
            <a:lvl1pPr algn="l">
              <a:defRPr sz="1846" b="1"/>
            </a:lvl1pPr>
          </a:lstStyle>
          <a:p>
            <a:r>
              <a:rPr lang="ja-JP" altLang="en-US"/>
              <a:t>マスタ タイトルの書式設定</a:t>
            </a:r>
          </a:p>
        </p:txBody>
      </p:sp>
      <p:sp>
        <p:nvSpPr>
          <p:cNvPr id="3" name="図プレースホルダ 2"/>
          <p:cNvSpPr>
            <a:spLocks noGrp="1"/>
          </p:cNvSpPr>
          <p:nvPr>
            <p:ph type="pic" idx="1"/>
          </p:nvPr>
        </p:nvSpPr>
        <p:spPr>
          <a:xfrm>
            <a:off x="1941334" y="693344"/>
            <a:ext cx="5942648" cy="4655820"/>
          </a:xfrm>
        </p:spPr>
        <p:txBody>
          <a:bodyPr/>
          <a:lstStyle>
            <a:lvl1pPr marL="0" indent="0">
              <a:buNone/>
              <a:defRPr sz="2953"/>
            </a:lvl1pPr>
            <a:lvl2pPr marL="421957" indent="0">
              <a:buNone/>
              <a:defRPr sz="2584"/>
            </a:lvl2pPr>
            <a:lvl3pPr marL="843914" indent="0">
              <a:buNone/>
              <a:defRPr sz="2215"/>
            </a:lvl3pPr>
            <a:lvl4pPr marL="1265871" indent="0">
              <a:buNone/>
              <a:defRPr sz="1846"/>
            </a:lvl4pPr>
            <a:lvl5pPr marL="1687827" indent="0">
              <a:buNone/>
              <a:defRPr sz="1846"/>
            </a:lvl5pPr>
            <a:lvl6pPr marL="2109785" indent="0">
              <a:buNone/>
              <a:defRPr sz="1846"/>
            </a:lvl6pPr>
            <a:lvl7pPr marL="2531742" indent="0">
              <a:buNone/>
              <a:defRPr sz="1846"/>
            </a:lvl7pPr>
            <a:lvl8pPr marL="2953698" indent="0">
              <a:buNone/>
              <a:defRPr sz="1846"/>
            </a:lvl8pPr>
            <a:lvl9pPr marL="3375656" indent="0">
              <a:buNone/>
              <a:defRPr sz="1846"/>
            </a:lvl9pPr>
          </a:lstStyle>
          <a:p>
            <a:pPr lvl="0"/>
            <a:endParaRPr lang="ja-JP" altLang="en-US" noProof="0"/>
          </a:p>
        </p:txBody>
      </p:sp>
      <p:sp>
        <p:nvSpPr>
          <p:cNvPr id="4" name="テキスト プレースホルダ 3"/>
          <p:cNvSpPr>
            <a:spLocks noGrp="1"/>
          </p:cNvSpPr>
          <p:nvPr>
            <p:ph type="body" sz="half" idx="2"/>
          </p:nvPr>
        </p:nvSpPr>
        <p:spPr>
          <a:xfrm>
            <a:off x="1941334" y="6073044"/>
            <a:ext cx="5942648" cy="910686"/>
          </a:xfrm>
        </p:spPr>
        <p:txBody>
          <a:bodyPr/>
          <a:lstStyle>
            <a:lvl1pPr marL="0" indent="0">
              <a:buNone/>
              <a:defRPr sz="1292"/>
            </a:lvl1pPr>
            <a:lvl2pPr marL="421957" indent="0">
              <a:buNone/>
              <a:defRPr sz="1108"/>
            </a:lvl2pPr>
            <a:lvl3pPr marL="843914" indent="0">
              <a:buNone/>
              <a:defRPr sz="923"/>
            </a:lvl3pPr>
            <a:lvl4pPr marL="1265871" indent="0">
              <a:buNone/>
              <a:defRPr sz="831"/>
            </a:lvl4pPr>
            <a:lvl5pPr marL="1687827" indent="0">
              <a:buNone/>
              <a:defRPr sz="831"/>
            </a:lvl5pPr>
            <a:lvl6pPr marL="2109785" indent="0">
              <a:buNone/>
              <a:defRPr sz="831"/>
            </a:lvl6pPr>
            <a:lvl7pPr marL="2531742" indent="0">
              <a:buNone/>
              <a:defRPr sz="831"/>
            </a:lvl7pPr>
            <a:lvl8pPr marL="2953698" indent="0">
              <a:buNone/>
              <a:defRPr sz="831"/>
            </a:lvl8pPr>
            <a:lvl9pPr marL="3375656" indent="0">
              <a:buNone/>
              <a:defRPr sz="831"/>
            </a:lvl9pPr>
          </a:lstStyle>
          <a:p>
            <a:pPr lvl="0"/>
            <a:r>
              <a:rPr lang="ja-JP" altLang="en-US"/>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14078649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23233519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6896" y="4"/>
            <a:ext cx="2352298" cy="6931640"/>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1" y="4"/>
            <a:ext cx="6891821" cy="6931640"/>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Tree>
    <p:extLst>
      <p:ext uri="{BB962C8B-B14F-4D97-AF65-F5344CB8AC3E}">
        <p14:creationId xmlns:p14="http://schemas.microsoft.com/office/powerpoint/2010/main" val="36509270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9376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タイトルのみ">
    <p:spTree>
      <p:nvGrpSpPr>
        <p:cNvPr id="1" name=""/>
        <p:cNvGrpSpPr/>
        <p:nvPr/>
      </p:nvGrpSpPr>
      <p:grpSpPr>
        <a:xfrm>
          <a:off x="0" y="0"/>
          <a:ext cx="0" cy="0"/>
          <a:chOff x="0" y="0"/>
          <a:chExt cx="0" cy="0"/>
        </a:xfrm>
      </p:grpSpPr>
      <p:sp>
        <p:nvSpPr>
          <p:cNvPr id="3" name="日付プレースホルダ 2"/>
          <p:cNvSpPr>
            <a:spLocks noGrp="1"/>
          </p:cNvSpPr>
          <p:nvPr>
            <p:ph type="dt" sz="half" idx="10"/>
          </p:nvPr>
        </p:nvSpPr>
        <p:spPr/>
        <p:txBody>
          <a:bodyPr/>
          <a:lstStyle/>
          <a:p>
            <a:pPr>
              <a:defRPr/>
            </a:pPr>
            <a:endParaRPr lang="en-US" altLang="ja-JP">
              <a:solidFill>
                <a:prstClr val="black">
                  <a:tint val="75000"/>
                </a:prstClr>
              </a:solidFill>
            </a:endParaRPr>
          </a:p>
        </p:txBody>
      </p:sp>
      <p:sp>
        <p:nvSpPr>
          <p:cNvPr id="4" name="フッター プレースホルダ 3"/>
          <p:cNvSpPr>
            <a:spLocks noGrp="1"/>
          </p:cNvSpPr>
          <p:nvPr>
            <p:ph type="ftr" sz="quarter" idx="11"/>
          </p:nvPr>
        </p:nvSpPr>
        <p:spPr/>
        <p:txBody>
          <a:bodyPr/>
          <a:lstStyle/>
          <a:p>
            <a:pPr>
              <a:defRPr/>
            </a:pPr>
            <a:endParaRPr lang="en-US" altLang="ja-JP">
              <a:solidFill>
                <a:prstClr val="black">
                  <a:tint val="75000"/>
                </a:prstClr>
              </a:solidFill>
            </a:endParaRPr>
          </a:p>
        </p:txBody>
      </p:sp>
      <p:sp>
        <p:nvSpPr>
          <p:cNvPr id="5" name="スライド番号プレースホルダ 4"/>
          <p:cNvSpPr>
            <a:spLocks noGrp="1"/>
          </p:cNvSpPr>
          <p:nvPr>
            <p:ph type="sldNum" sz="quarter" idx="12"/>
          </p:nvPr>
        </p:nvSpPr>
        <p:spPr>
          <a:xfrm>
            <a:off x="7631477" y="7418479"/>
            <a:ext cx="2311030" cy="413132"/>
          </a:xfrm>
          <a:prstGeom prst="rect">
            <a:avLst/>
          </a:prstGeom>
        </p:spPr>
        <p:txBody>
          <a:bodyPr/>
          <a:lstStyle>
            <a:lvl1pPr>
              <a:defRPr>
                <a:solidFill>
                  <a:schemeClr val="tx1"/>
                </a:solidFill>
              </a:defRPr>
            </a:lvl1pPr>
          </a:lstStyle>
          <a:p>
            <a:pPr>
              <a:defRPr/>
            </a:pPr>
            <a:fld id="{ECFB1601-656C-44BE-A78D-5DCF68CCE0B2}" type="slidenum">
              <a:rPr lang="en-US" altLang="ja-JP" smtClean="0">
                <a:solidFill>
                  <a:prstClr val="black"/>
                </a:solidFill>
              </a:rPr>
              <a:pPr>
                <a:defRPr/>
              </a:pPr>
              <a:t>‹#›</a:t>
            </a:fld>
            <a:endParaRPr lang="en-US" altLang="ja-JP">
              <a:solidFill>
                <a:prstClr val="black"/>
              </a:solidFill>
            </a:endParaRPr>
          </a:p>
        </p:txBody>
      </p:sp>
      <p:sp>
        <p:nvSpPr>
          <p:cNvPr id="7" name="タイトル プレースホルダ 1"/>
          <p:cNvSpPr>
            <a:spLocks noGrp="1"/>
          </p:cNvSpPr>
          <p:nvPr>
            <p:ph type="title"/>
          </p:nvPr>
        </p:nvSpPr>
        <p:spPr>
          <a:xfrm>
            <a:off x="0" y="0"/>
            <a:ext cx="8913972" cy="539346"/>
          </a:xfrm>
          <a:prstGeom prst="rect">
            <a:avLst/>
          </a:prstGeom>
        </p:spPr>
        <p:txBody>
          <a:bodyPr vert="horz" lIns="91440" tIns="45720" rIns="91440" bIns="45720" rtlCol="0" anchor="ctr">
            <a:normAutofit/>
          </a:bodyPr>
          <a:lstStyle/>
          <a:p>
            <a:r>
              <a:rPr kumimoji="1" lang="ja-JP" altLang="en-US" dirty="0"/>
              <a:t>マスタ タイトルの書式設定</a:t>
            </a:r>
          </a:p>
        </p:txBody>
      </p:sp>
    </p:spTree>
    <p:extLst>
      <p:ext uri="{BB962C8B-B14F-4D97-AF65-F5344CB8AC3E}">
        <p14:creationId xmlns:p14="http://schemas.microsoft.com/office/powerpoint/2010/main" val="3166350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タイトル スライド">
    <p:spTree>
      <p:nvGrpSpPr>
        <p:cNvPr id="1" name=""/>
        <p:cNvGrpSpPr/>
        <p:nvPr/>
      </p:nvGrpSpPr>
      <p:grpSpPr>
        <a:xfrm>
          <a:off x="0" y="0"/>
          <a:ext cx="0" cy="0"/>
          <a:chOff x="0" y="0"/>
          <a:chExt cx="0" cy="0"/>
        </a:xfrm>
      </p:grpSpPr>
      <p:sp>
        <p:nvSpPr>
          <p:cNvPr id="2" name="Text Box 12"/>
          <p:cNvSpPr txBox="1">
            <a:spLocks noChangeArrowheads="1"/>
          </p:cNvSpPr>
          <p:nvPr userDrawn="1"/>
        </p:nvSpPr>
        <p:spPr bwMode="auto">
          <a:xfrm>
            <a:off x="2" y="7382495"/>
            <a:ext cx="3665601" cy="27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050" tIns="45527" rIns="91050" bIns="45527">
            <a:spAutoFit/>
          </a:bodyPr>
          <a:lstStyle/>
          <a:p>
            <a:r>
              <a:rPr lang="en-US" altLang="ja-JP" sz="1196" i="1">
                <a:solidFill>
                  <a:srgbClr val="FFFFFF"/>
                </a:solidFill>
                <a:latin typeface="Times New Roman" panose="02020603050405020304" pitchFamily="18" charset="0"/>
                <a:ea typeface="ＭＳ Ｐゴシック"/>
              </a:rPr>
              <a:t>Ministry of Land, Infrastructure, Transport and Tourism</a:t>
            </a:r>
          </a:p>
        </p:txBody>
      </p:sp>
      <p:sp>
        <p:nvSpPr>
          <p:cNvPr id="3" name="Rectangle 4"/>
          <p:cNvSpPr>
            <a:spLocks noGrp="1" noChangeArrowheads="1"/>
          </p:cNvSpPr>
          <p:nvPr>
            <p:ph type="dt" sz="half" idx="10"/>
          </p:nvPr>
        </p:nvSpPr>
        <p:spPr/>
        <p:txBody>
          <a:bodyPr/>
          <a:lstStyle>
            <a:lvl1pPr>
              <a:defRPr/>
            </a:lvl1pPr>
          </a:lstStyle>
          <a:p>
            <a:pPr>
              <a:defRPr/>
            </a:pPr>
            <a:endParaRPr lang="en-US" altLang="ja-JP"/>
          </a:p>
        </p:txBody>
      </p:sp>
      <p:sp>
        <p:nvSpPr>
          <p:cNvPr id="4" name="Rectangle 5"/>
          <p:cNvSpPr>
            <a:spLocks noGrp="1" noChangeArrowheads="1"/>
          </p:cNvSpPr>
          <p:nvPr>
            <p:ph type="ftr" sz="quarter" idx="11"/>
          </p:nvPr>
        </p:nvSpPr>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xfrm>
            <a:off x="7609256" y="7046599"/>
            <a:ext cx="2311030" cy="538868"/>
          </a:xfrm>
          <a:prstGeom prst="rect">
            <a:avLst/>
          </a:prstGeom>
        </p:spPr>
        <p:txBody>
          <a:bodyPr/>
          <a:lstStyle>
            <a:lvl1pPr>
              <a:defRPr/>
            </a:lvl1pPr>
          </a:lstStyle>
          <a:p>
            <a:fld id="{D13843DB-CAE2-4718-926E-FBB963F76AF2}" type="slidenum">
              <a:rPr lang="en-US" altLang="ja-JP"/>
              <a:pPr/>
              <a:t>‹#›</a:t>
            </a:fld>
            <a:endParaRPr lang="en-US" altLang="ja-JP"/>
          </a:p>
        </p:txBody>
      </p:sp>
    </p:spTree>
    <p:extLst>
      <p:ext uri="{BB962C8B-B14F-4D97-AF65-F5344CB8AC3E}">
        <p14:creationId xmlns:p14="http://schemas.microsoft.com/office/powerpoint/2010/main" val="232174940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タイトル スライド">
    <p:spTree>
      <p:nvGrpSpPr>
        <p:cNvPr id="1" name=""/>
        <p:cNvGrpSpPr/>
        <p:nvPr/>
      </p:nvGrpSpPr>
      <p:grpSpPr>
        <a:xfrm>
          <a:off x="0" y="0"/>
          <a:ext cx="0" cy="0"/>
          <a:chOff x="0" y="0"/>
          <a:chExt cx="0" cy="0"/>
        </a:xfrm>
      </p:grpSpPr>
      <p:sp>
        <p:nvSpPr>
          <p:cNvPr id="2" name="Text Box 12"/>
          <p:cNvSpPr txBox="1">
            <a:spLocks noChangeArrowheads="1"/>
          </p:cNvSpPr>
          <p:nvPr userDrawn="1"/>
        </p:nvSpPr>
        <p:spPr bwMode="auto">
          <a:xfrm>
            <a:off x="2" y="7382495"/>
            <a:ext cx="3665601" cy="27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050" tIns="45527" rIns="91050" bIns="45527">
            <a:spAutoFit/>
          </a:bodyPr>
          <a:lstStyle/>
          <a:p>
            <a:r>
              <a:rPr lang="en-US" altLang="ja-JP" sz="1196" i="1">
                <a:solidFill>
                  <a:srgbClr val="FFFFFF"/>
                </a:solidFill>
                <a:latin typeface="Times New Roman" panose="02020603050405020304" pitchFamily="18" charset="0"/>
                <a:ea typeface="ＭＳ Ｐゴシック"/>
              </a:rPr>
              <a:t>Ministry of Land, Infrastructure, Transport and Tourism</a:t>
            </a:r>
          </a:p>
        </p:txBody>
      </p:sp>
      <p:sp>
        <p:nvSpPr>
          <p:cNvPr id="3" name="Rectangle 4"/>
          <p:cNvSpPr>
            <a:spLocks noGrp="1" noChangeArrowheads="1"/>
          </p:cNvSpPr>
          <p:nvPr>
            <p:ph type="dt" sz="half" idx="10"/>
          </p:nvPr>
        </p:nvSpPr>
        <p:spPr/>
        <p:txBody>
          <a:bodyPr/>
          <a:lstStyle>
            <a:lvl1pPr>
              <a:defRPr/>
            </a:lvl1pPr>
          </a:lstStyle>
          <a:p>
            <a:pPr>
              <a:defRPr/>
            </a:pPr>
            <a:endParaRPr lang="en-US" altLang="ja-JP"/>
          </a:p>
        </p:txBody>
      </p:sp>
      <p:sp>
        <p:nvSpPr>
          <p:cNvPr id="4" name="Rectangle 5"/>
          <p:cNvSpPr>
            <a:spLocks noGrp="1" noChangeArrowheads="1"/>
          </p:cNvSpPr>
          <p:nvPr>
            <p:ph type="ftr" sz="quarter" idx="11"/>
          </p:nvPr>
        </p:nvSpPr>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xfrm>
            <a:off x="7609256" y="7046599"/>
            <a:ext cx="2311030" cy="538868"/>
          </a:xfrm>
          <a:prstGeom prst="rect">
            <a:avLst/>
          </a:prstGeom>
        </p:spPr>
        <p:txBody>
          <a:bodyPr/>
          <a:lstStyle>
            <a:lvl1pPr>
              <a:defRPr/>
            </a:lvl1pPr>
          </a:lstStyle>
          <a:p>
            <a:fld id="{D13843DB-CAE2-4718-926E-FBB963F76AF2}" type="slidenum">
              <a:rPr lang="en-US" altLang="ja-JP"/>
              <a:pPr/>
              <a:t>‹#›</a:t>
            </a:fld>
            <a:endParaRPr lang="en-US" altLang="ja-JP"/>
          </a:p>
        </p:txBody>
      </p:sp>
      <p:grpSp>
        <p:nvGrpSpPr>
          <p:cNvPr id="6" name="Group 18"/>
          <p:cNvGrpSpPr>
            <a:grpSpLocks/>
          </p:cNvGrpSpPr>
          <p:nvPr userDrawn="1"/>
        </p:nvGrpSpPr>
        <p:grpSpPr bwMode="auto">
          <a:xfrm>
            <a:off x="0" y="0"/>
            <a:ext cx="9904413" cy="617902"/>
            <a:chOff x="0" y="0"/>
            <a:chExt cx="5760" cy="344"/>
          </a:xfrm>
        </p:grpSpPr>
        <p:pic>
          <p:nvPicPr>
            <p:cNvPr id="7" name="Picture 9" descr="mlit_top"/>
            <p:cNvPicPr>
              <a:picLocks noChangeAspect="1" noChangeArrowheads="1"/>
            </p:cNvPicPr>
            <p:nvPr userDrawn="1"/>
          </p:nvPicPr>
          <p:blipFill>
            <a:blip r:embed="rId2" cstate="email"/>
            <a:srcRect t="26801" b="65286"/>
            <a:stretch>
              <a:fillRect/>
            </a:stretch>
          </p:blipFill>
          <p:spPr bwMode="auto">
            <a:xfrm>
              <a:off x="0" y="300"/>
              <a:ext cx="5760" cy="44"/>
            </a:xfrm>
            <a:prstGeom prst="rect">
              <a:avLst/>
            </a:prstGeom>
            <a:noFill/>
            <a:ln w="9525">
              <a:noFill/>
              <a:miter lim="800000"/>
              <a:headEnd/>
              <a:tailEnd/>
            </a:ln>
          </p:spPr>
        </p:pic>
        <p:grpSp>
          <p:nvGrpSpPr>
            <p:cNvPr id="8" name="Group 17"/>
            <p:cNvGrpSpPr>
              <a:grpSpLocks/>
            </p:cNvGrpSpPr>
            <p:nvPr userDrawn="1"/>
          </p:nvGrpSpPr>
          <p:grpSpPr bwMode="auto">
            <a:xfrm>
              <a:off x="0" y="0"/>
              <a:ext cx="5760" cy="318"/>
              <a:chOff x="0" y="0"/>
              <a:chExt cx="5760" cy="318"/>
            </a:xfrm>
          </p:grpSpPr>
          <p:pic>
            <p:nvPicPr>
              <p:cNvPr id="9" name="Picture 11" descr="mlit_top"/>
              <p:cNvPicPr>
                <a:picLocks noChangeAspect="1" noChangeArrowheads="1"/>
              </p:cNvPicPr>
              <p:nvPr userDrawn="1"/>
            </p:nvPicPr>
            <p:blipFill>
              <a:blip r:embed="rId3" cstate="email"/>
              <a:srcRect r="66945" b="42805"/>
              <a:stretch>
                <a:fillRect/>
              </a:stretch>
            </p:blipFill>
            <p:spPr bwMode="auto">
              <a:xfrm>
                <a:off x="3856" y="0"/>
                <a:ext cx="1904" cy="318"/>
              </a:xfrm>
              <a:prstGeom prst="rect">
                <a:avLst/>
              </a:prstGeom>
              <a:noFill/>
              <a:ln w="9525">
                <a:noFill/>
                <a:miter lim="800000"/>
                <a:headEnd/>
                <a:tailEnd/>
              </a:ln>
            </p:spPr>
          </p:pic>
          <p:pic>
            <p:nvPicPr>
              <p:cNvPr id="10" name="Picture 16" descr="mlit_top"/>
              <p:cNvPicPr>
                <a:picLocks noChangeAspect="1" noChangeArrowheads="1"/>
              </p:cNvPicPr>
              <p:nvPr userDrawn="1"/>
            </p:nvPicPr>
            <p:blipFill>
              <a:blip r:embed="rId4" cstate="email"/>
              <a:srcRect l="50000" b="42805"/>
              <a:stretch>
                <a:fillRect/>
              </a:stretch>
            </p:blipFill>
            <p:spPr bwMode="auto">
              <a:xfrm>
                <a:off x="1043" y="0"/>
                <a:ext cx="2880" cy="318"/>
              </a:xfrm>
              <a:prstGeom prst="rect">
                <a:avLst/>
              </a:prstGeom>
              <a:noFill/>
              <a:ln w="9525">
                <a:noFill/>
                <a:miter lim="800000"/>
                <a:headEnd/>
                <a:tailEnd/>
              </a:ln>
            </p:spPr>
          </p:pic>
          <p:pic>
            <p:nvPicPr>
              <p:cNvPr id="11" name="Picture 10" descr="mlit_top"/>
              <p:cNvPicPr>
                <a:picLocks noChangeAspect="1" noChangeArrowheads="1"/>
              </p:cNvPicPr>
              <p:nvPr userDrawn="1"/>
            </p:nvPicPr>
            <p:blipFill>
              <a:blip r:embed="rId4" cstate="email"/>
              <a:srcRect l="68906" b="42805"/>
              <a:stretch>
                <a:fillRect/>
              </a:stretch>
            </p:blipFill>
            <p:spPr bwMode="auto">
              <a:xfrm>
                <a:off x="0" y="0"/>
                <a:ext cx="1791" cy="318"/>
              </a:xfrm>
              <a:prstGeom prst="rect">
                <a:avLst/>
              </a:prstGeom>
              <a:noFill/>
              <a:ln w="9525">
                <a:noFill/>
                <a:miter lim="800000"/>
                <a:headEnd/>
                <a:tailEnd/>
              </a:ln>
            </p:spPr>
          </p:pic>
        </p:grpSp>
      </p:grpSp>
      <p:sp>
        <p:nvSpPr>
          <p:cNvPr id="12" name="Rectangle 2"/>
          <p:cNvSpPr>
            <a:spLocks noGrp="1" noChangeArrowheads="1"/>
          </p:cNvSpPr>
          <p:nvPr>
            <p:ph type="title"/>
          </p:nvPr>
        </p:nvSpPr>
        <p:spPr bwMode="auto">
          <a:xfrm>
            <a:off x="4" y="0"/>
            <a:ext cx="7604496" cy="53886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3" name="Picture 14"/>
          <p:cNvPicPr>
            <a:picLocks noChangeAspect="1" noChangeArrowheads="1"/>
          </p:cNvPicPr>
          <p:nvPr userDrawn="1"/>
        </p:nvPicPr>
        <p:blipFill>
          <a:blip r:embed="rId5" cstate="email">
            <a:extLst>
              <a:ext uri="{28A0092B-C50C-407E-A947-70E740481C1C}">
                <a14:useLocalDpi xmlns:a14="http://schemas.microsoft.com/office/drawing/2010/main" val="0"/>
              </a:ext>
            </a:extLst>
          </a:blip>
          <a:srcRect t="3670"/>
          <a:stretch>
            <a:fillRect/>
          </a:stretch>
        </p:blipFill>
        <p:spPr bwMode="auto">
          <a:xfrm>
            <a:off x="8224447" y="2"/>
            <a:ext cx="1679967" cy="37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62469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
        <p:nvSpPr>
          <p:cNvPr id="1039" name="タイトル 1"/>
          <p:cNvSpPr>
            <a:spLocks noGrp="1"/>
          </p:cNvSpPr>
          <p:nvPr>
            <p:ph type="title"/>
          </p:nvPr>
        </p:nvSpPr>
        <p:spPr>
          <a:xfrm>
            <a:off x="154722" y="-27"/>
            <a:ext cx="9517589" cy="456987"/>
          </a:xfrm>
        </p:spPr>
        <p:txBody>
          <a:bodyPr>
            <a:noAutofit/>
          </a:bodyPr>
          <a:lstStyle>
            <a:lvl1pPr algn="just">
              <a:defRPr sz="2000">
                <a:solidFill>
                  <a:schemeClr val="bg1"/>
                </a:solidFill>
                <a:latin typeface="HGPｺﾞｼｯｸE" pitchFamily="50" charset="-128"/>
                <a:ea typeface="HGPｺﾞｼｯｸE" pitchFamily="50" charset="-128"/>
              </a:defRPr>
            </a:lvl1pPr>
          </a:lstStyle>
          <a:p>
            <a:r>
              <a:rPr lang="ja-JP" altLang="en-US" dirty="0"/>
              <a:t>マスタ タイトルの書式設定</a:t>
            </a:r>
          </a:p>
        </p:txBody>
      </p:sp>
      <p:sp>
        <p:nvSpPr>
          <p:cNvPr id="1040" name="スライド番号プレースホルダ 5"/>
          <p:cNvSpPr>
            <a:spLocks noGrp="1"/>
          </p:cNvSpPr>
          <p:nvPr>
            <p:ph type="sldNum" sz="quarter" idx="10"/>
          </p:nvPr>
        </p:nvSpPr>
        <p:spPr>
          <a:xfrm>
            <a:off x="7593383" y="7346570"/>
            <a:ext cx="2311030" cy="413132"/>
          </a:xfrm>
        </p:spPr>
        <p:txBody>
          <a:bodyPr/>
          <a:lstStyle>
            <a:lvl1pPr>
              <a:defRPr/>
            </a:lvl1pPr>
          </a:lstStyle>
          <a:p>
            <a:pPr>
              <a:defRPr/>
            </a:pPr>
            <a:fld id="{B91C2A86-9902-4D4F-ABA7-1FCD82674808}" type="slidenum">
              <a:rPr lang="en-US" altLang="ja-JP"/>
              <a:pPr>
                <a:defRPr/>
              </a:pPr>
              <a:t>‹#›</a:t>
            </a:fld>
            <a:endParaRPr lang="en-US" altLang="ja-JP"/>
          </a:p>
        </p:txBody>
      </p:sp>
    </p:spTree>
    <p:extLst>
      <p:ext uri="{BB962C8B-B14F-4D97-AF65-F5344CB8AC3E}">
        <p14:creationId xmlns:p14="http://schemas.microsoft.com/office/powerpoint/2010/main" val="1331359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10748"/>
            <a:ext cx="8913972" cy="1293283"/>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95221" y="1736952"/>
            <a:ext cx="4376169" cy="723879"/>
          </a:xfrm>
        </p:spPr>
        <p:txBody>
          <a:bodyPr anchor="b"/>
          <a:lstStyle>
            <a:lvl1pPr marL="0" indent="0">
              <a:buNone/>
              <a:defRPr sz="2600" b="1"/>
            </a:lvl1pPr>
            <a:lvl2pPr marL="504657" indent="0">
              <a:buNone/>
              <a:defRPr sz="2200" b="1"/>
            </a:lvl2pPr>
            <a:lvl3pPr marL="1009315" indent="0">
              <a:buNone/>
              <a:defRPr sz="2000" b="1"/>
            </a:lvl3pPr>
            <a:lvl4pPr marL="1513972" indent="0">
              <a:buNone/>
              <a:defRPr sz="1800" b="1"/>
            </a:lvl4pPr>
            <a:lvl5pPr marL="2018629" indent="0">
              <a:buNone/>
              <a:defRPr sz="1800" b="1"/>
            </a:lvl5pPr>
            <a:lvl6pPr marL="2523287" indent="0">
              <a:buNone/>
              <a:defRPr sz="1800" b="1"/>
            </a:lvl6pPr>
            <a:lvl7pPr marL="3027944" indent="0">
              <a:buNone/>
              <a:defRPr sz="1800" b="1"/>
            </a:lvl7pPr>
            <a:lvl8pPr marL="3532602" indent="0">
              <a:buNone/>
              <a:defRPr sz="1800" b="1"/>
            </a:lvl8pPr>
            <a:lvl9pPr marL="4037259" indent="0">
              <a:buNone/>
              <a:defRPr sz="18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95221" y="2460831"/>
            <a:ext cx="4376169" cy="4470809"/>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1305" y="1736952"/>
            <a:ext cx="4377888" cy="723879"/>
          </a:xfrm>
        </p:spPr>
        <p:txBody>
          <a:bodyPr anchor="b"/>
          <a:lstStyle>
            <a:lvl1pPr marL="0" indent="0">
              <a:buNone/>
              <a:defRPr sz="2600" b="1"/>
            </a:lvl1pPr>
            <a:lvl2pPr marL="504657" indent="0">
              <a:buNone/>
              <a:defRPr sz="2200" b="1"/>
            </a:lvl2pPr>
            <a:lvl3pPr marL="1009315" indent="0">
              <a:buNone/>
              <a:defRPr sz="2000" b="1"/>
            </a:lvl3pPr>
            <a:lvl4pPr marL="1513972" indent="0">
              <a:buNone/>
              <a:defRPr sz="1800" b="1"/>
            </a:lvl4pPr>
            <a:lvl5pPr marL="2018629" indent="0">
              <a:buNone/>
              <a:defRPr sz="1800" b="1"/>
            </a:lvl5pPr>
            <a:lvl6pPr marL="2523287" indent="0">
              <a:buNone/>
              <a:defRPr sz="1800" b="1"/>
            </a:lvl6pPr>
            <a:lvl7pPr marL="3027944" indent="0">
              <a:buNone/>
              <a:defRPr sz="1800" b="1"/>
            </a:lvl7pPr>
            <a:lvl8pPr marL="3532602" indent="0">
              <a:buNone/>
              <a:defRPr sz="1800" b="1"/>
            </a:lvl8pPr>
            <a:lvl9pPr marL="4037259" indent="0">
              <a:buNone/>
              <a:defRPr sz="18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031305" y="2460831"/>
            <a:ext cx="4377888" cy="4470809"/>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417D56FC-CF9A-4A05-91B0-49F59F5A001F}" type="slidenum">
              <a:rPr lang="en-US" altLang="ja-JP"/>
              <a:pPr>
                <a:defRPr/>
              </a:pPr>
              <a:t>‹#›</a:t>
            </a:fld>
            <a:endParaRPr lang="en-US" altLang="ja-JP"/>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見出し２行">
    <p:spTree>
      <p:nvGrpSpPr>
        <p:cNvPr id="1" name=""/>
        <p:cNvGrpSpPr/>
        <p:nvPr/>
      </p:nvGrpSpPr>
      <p:grpSpPr>
        <a:xfrm>
          <a:off x="0" y="0"/>
          <a:ext cx="0" cy="0"/>
          <a:chOff x="0" y="0"/>
          <a:chExt cx="0" cy="0"/>
        </a:xfrm>
      </p:grpSpPr>
      <p:sp>
        <p:nvSpPr>
          <p:cNvPr id="1042" name="正方形/長方形 2"/>
          <p:cNvSpPr/>
          <p:nvPr userDrawn="1"/>
        </p:nvSpPr>
        <p:spPr>
          <a:xfrm>
            <a:off x="0" y="0"/>
            <a:ext cx="9904413" cy="74986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dirty="0"/>
          </a:p>
        </p:txBody>
      </p:sp>
      <p:sp>
        <p:nvSpPr>
          <p:cNvPr id="1044" name="タイトル 1"/>
          <p:cNvSpPr>
            <a:spLocks noGrp="1"/>
          </p:cNvSpPr>
          <p:nvPr>
            <p:ph type="title"/>
          </p:nvPr>
        </p:nvSpPr>
        <p:spPr>
          <a:xfrm>
            <a:off x="154722" y="-27"/>
            <a:ext cx="9517589" cy="456987"/>
          </a:xfrm>
        </p:spPr>
        <p:txBody>
          <a:bodyPr>
            <a:noAutofit/>
          </a:bodyPr>
          <a:lstStyle>
            <a:lvl1pPr algn="just">
              <a:defRPr sz="2000">
                <a:solidFill>
                  <a:schemeClr val="bg1"/>
                </a:solidFill>
                <a:latin typeface="HGPｺﾞｼｯｸE" pitchFamily="50" charset="-128"/>
                <a:ea typeface="HGPｺﾞｼｯｸE" pitchFamily="50" charset="-128"/>
              </a:defRPr>
            </a:lvl1pPr>
          </a:lstStyle>
          <a:p>
            <a:r>
              <a:rPr lang="ja-JP" altLang="en-US" dirty="0"/>
              <a:t>マスタ タイトルの書式設定</a:t>
            </a:r>
          </a:p>
        </p:txBody>
      </p:sp>
      <p:sp>
        <p:nvSpPr>
          <p:cNvPr id="1045" name="スライド番号プレースホルダ 5"/>
          <p:cNvSpPr>
            <a:spLocks noGrp="1"/>
          </p:cNvSpPr>
          <p:nvPr>
            <p:ph type="sldNum" sz="quarter" idx="10"/>
          </p:nvPr>
        </p:nvSpPr>
        <p:spPr>
          <a:xfrm>
            <a:off x="7593383" y="7346570"/>
            <a:ext cx="2311030" cy="413132"/>
          </a:xfrm>
          <a:prstGeom prst="rect">
            <a:avLst/>
          </a:prstGeom>
        </p:spPr>
        <p:txBody>
          <a:bodyPr/>
          <a:lstStyle>
            <a:lvl1pPr>
              <a:defRPr/>
            </a:lvl1pPr>
          </a:lstStyle>
          <a:p>
            <a:pPr>
              <a:defRPr/>
            </a:pPr>
            <a:fld id="{9389794F-A14D-47C6-8677-37AF0304CA7D}" type="slidenum">
              <a:rPr lang="en-US" altLang="ja-JP"/>
              <a:pPr>
                <a:defRPr/>
              </a:pPr>
              <a:t>‹#›</a:t>
            </a:fld>
            <a:endParaRPr lang="en-US" altLang="ja-JP" dirty="0"/>
          </a:p>
        </p:txBody>
      </p:sp>
    </p:spTree>
    <p:extLst>
      <p:ext uri="{BB962C8B-B14F-4D97-AF65-F5344CB8AC3E}">
        <p14:creationId xmlns:p14="http://schemas.microsoft.com/office/powerpoint/2010/main" val="10896295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効果">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8683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00953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_タイトルとコンテンツ">
    <p:spTree>
      <p:nvGrpSpPr>
        <p:cNvPr id="1" name=""/>
        <p:cNvGrpSpPr/>
        <p:nvPr/>
      </p:nvGrpSpPr>
      <p:grpSpPr>
        <a:xfrm>
          <a:off x="0" y="0"/>
          <a:ext cx="0" cy="0"/>
          <a:chOff x="0" y="0"/>
          <a:chExt cx="0" cy="0"/>
        </a:xfrm>
      </p:grpSpPr>
      <p:cxnSp>
        <p:nvCxnSpPr>
          <p:cNvPr id="1077" name="直線コネクタ 3"/>
          <p:cNvCxnSpPr/>
          <p:nvPr userDrawn="1"/>
        </p:nvCxnSpPr>
        <p:spPr>
          <a:xfrm>
            <a:off x="0" y="7678870"/>
            <a:ext cx="9904413"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078" name="タイトル 1"/>
          <p:cNvSpPr>
            <a:spLocks noGrp="1"/>
          </p:cNvSpPr>
          <p:nvPr>
            <p:ph type="title"/>
          </p:nvPr>
        </p:nvSpPr>
        <p:spPr>
          <a:xfrm>
            <a:off x="154722" y="-27"/>
            <a:ext cx="9517589" cy="456987"/>
          </a:xfrm>
        </p:spPr>
        <p:txBody>
          <a:bodyPr>
            <a:noAutofit/>
          </a:bodyPr>
          <a:lstStyle>
            <a:lvl1pPr algn="just">
              <a:defRPr sz="2000">
                <a:solidFill>
                  <a:schemeClr val="bg1"/>
                </a:solidFill>
                <a:latin typeface="HGPｺﾞｼｯｸE" pitchFamily="50" charset="-128"/>
                <a:ea typeface="HGPｺﾞｼｯｸE" pitchFamily="50" charset="-128"/>
              </a:defRPr>
            </a:lvl1pPr>
          </a:lstStyle>
          <a:p>
            <a:r>
              <a:rPr lang="ja-JP" altLang="en-US" dirty="0"/>
              <a:t>マスタ タイトルの書式設定</a:t>
            </a:r>
          </a:p>
        </p:txBody>
      </p:sp>
      <p:sp>
        <p:nvSpPr>
          <p:cNvPr id="1079" name="スライド番号プレースホルダ 5"/>
          <p:cNvSpPr>
            <a:spLocks noGrp="1"/>
          </p:cNvSpPr>
          <p:nvPr>
            <p:ph type="sldNum" sz="quarter" idx="10"/>
          </p:nvPr>
        </p:nvSpPr>
        <p:spPr>
          <a:xfrm>
            <a:off x="7593383" y="7346570"/>
            <a:ext cx="2311030" cy="413132"/>
          </a:xfrm>
        </p:spPr>
        <p:txBody>
          <a:bodyPr/>
          <a:lstStyle>
            <a:lvl1pPr>
              <a:defRPr/>
            </a:lvl1pPr>
          </a:lstStyle>
          <a:p>
            <a:pPr>
              <a:defRPr/>
            </a:pPr>
            <a:fld id="{B91C2A86-9902-4D4F-ABA7-1FCD82674808}" type="slidenum">
              <a:rPr lang="en-US" altLang="ja-JP"/>
              <a:pPr>
                <a:defRPr/>
              </a:pPr>
              <a:t>‹#›</a:t>
            </a:fld>
            <a:endParaRPr lang="en-US" altLang="ja-JP"/>
          </a:p>
        </p:txBody>
      </p:sp>
    </p:spTree>
    <p:extLst>
      <p:ext uri="{BB962C8B-B14F-4D97-AF65-F5344CB8AC3E}">
        <p14:creationId xmlns:p14="http://schemas.microsoft.com/office/powerpoint/2010/main" val="35510785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7" descr="mlit_top"/>
          <p:cNvPicPr>
            <a:picLocks noChangeAspect="1" noChangeArrowheads="1"/>
          </p:cNvPicPr>
          <p:nvPr userDrawn="1"/>
        </p:nvPicPr>
        <p:blipFill>
          <a:blip r:embed="rId2" cstate="print"/>
          <a:srcRect t="62230"/>
          <a:stretch>
            <a:fillRect/>
          </a:stretch>
        </p:blipFill>
        <p:spPr bwMode="auto">
          <a:xfrm>
            <a:off x="0" y="7381876"/>
            <a:ext cx="9904413" cy="377825"/>
          </a:xfrm>
          <a:prstGeom prst="rect">
            <a:avLst/>
          </a:prstGeom>
          <a:noFill/>
          <a:ln w="9525">
            <a:noFill/>
            <a:miter lim="800000"/>
            <a:headEnd/>
            <a:tailEnd/>
          </a:ln>
        </p:spPr>
      </p:pic>
      <p:sp>
        <p:nvSpPr>
          <p:cNvPr id="5" name="Rectangle 9"/>
          <p:cNvSpPr>
            <a:spLocks noChangeArrowheads="1"/>
          </p:cNvSpPr>
          <p:nvPr userDrawn="1"/>
        </p:nvSpPr>
        <p:spPr bwMode="auto">
          <a:xfrm>
            <a:off x="1833564" y="3716339"/>
            <a:ext cx="8070850" cy="82549"/>
          </a:xfrm>
          <a:prstGeom prst="rect">
            <a:avLst/>
          </a:prstGeom>
          <a:solidFill>
            <a:srgbClr val="0066CC"/>
          </a:solidFill>
          <a:ln w="9525">
            <a:noFill/>
            <a:miter lim="800000"/>
            <a:headEnd/>
            <a:tailEnd/>
          </a:ln>
          <a:effectLst/>
        </p:spPr>
        <p:txBody>
          <a:bodyPr wrap="none" lIns="96621" tIns="48311" rIns="96621" bIns="48311" anchor="ctr"/>
          <a:lstStyle/>
          <a:p>
            <a:pPr>
              <a:defRPr/>
            </a:pPr>
            <a:endParaRPr lang="ja-JP" altLang="en-US"/>
          </a:p>
        </p:txBody>
      </p:sp>
      <p:pic>
        <p:nvPicPr>
          <p:cNvPr id="6" name="Picture 11"/>
          <p:cNvPicPr>
            <a:picLocks noChangeAspect="1" noChangeArrowheads="1"/>
          </p:cNvPicPr>
          <p:nvPr userDrawn="1"/>
        </p:nvPicPr>
        <p:blipFill>
          <a:blip r:embed="rId3" cstate="print"/>
          <a:srcRect/>
          <a:stretch>
            <a:fillRect/>
          </a:stretch>
        </p:blipFill>
        <p:spPr bwMode="auto">
          <a:xfrm>
            <a:off x="1" y="6846889"/>
            <a:ext cx="2300288" cy="534987"/>
          </a:xfrm>
          <a:prstGeom prst="rect">
            <a:avLst/>
          </a:prstGeom>
          <a:noFill/>
          <a:ln w="9525">
            <a:noFill/>
            <a:miter lim="800000"/>
            <a:headEnd/>
            <a:tailEnd/>
          </a:ln>
        </p:spPr>
      </p:pic>
      <p:sp>
        <p:nvSpPr>
          <p:cNvPr id="7" name="Text Box 12"/>
          <p:cNvSpPr txBox="1">
            <a:spLocks noChangeArrowheads="1"/>
          </p:cNvSpPr>
          <p:nvPr userDrawn="1"/>
        </p:nvSpPr>
        <p:spPr bwMode="auto">
          <a:xfrm>
            <a:off x="0" y="7381876"/>
            <a:ext cx="3798167" cy="289156"/>
          </a:xfrm>
          <a:prstGeom prst="rect">
            <a:avLst/>
          </a:prstGeom>
          <a:noFill/>
          <a:ln w="9525">
            <a:noFill/>
            <a:miter lim="800000"/>
            <a:headEnd/>
            <a:tailEnd/>
          </a:ln>
          <a:effectLst/>
        </p:spPr>
        <p:txBody>
          <a:bodyPr wrap="none" lIns="96621" tIns="48311" rIns="96621" bIns="48311">
            <a:spAutoFit/>
          </a:bodyPr>
          <a:lstStyle/>
          <a:p>
            <a:pPr>
              <a:defRPr/>
            </a:pPr>
            <a:r>
              <a:rPr lang="en-US" altLang="ja-JP" sz="1245" i="1" dirty="0">
                <a:solidFill>
                  <a:schemeClr val="bg1"/>
                </a:solidFill>
                <a:latin typeface="Times New Roman" pitchFamily="18" charset="0"/>
              </a:rPr>
              <a:t>Ministry of Land, Infrastructure, Transport and Tourism</a:t>
            </a:r>
          </a:p>
        </p:txBody>
      </p:sp>
      <p:sp>
        <p:nvSpPr>
          <p:cNvPr id="3074" name="Rectangle 2"/>
          <p:cNvSpPr>
            <a:spLocks noGrp="1" noChangeArrowheads="1"/>
          </p:cNvSpPr>
          <p:nvPr>
            <p:ph type="ctrTitle"/>
          </p:nvPr>
        </p:nvSpPr>
        <p:spPr>
          <a:xfrm>
            <a:off x="1753906" y="2414129"/>
            <a:ext cx="8150507" cy="1663306"/>
          </a:xfrm>
        </p:spPr>
        <p:txBody>
          <a:bodyPr/>
          <a:lstStyle>
            <a:lvl1pPr>
              <a:defRPr sz="4213"/>
            </a:lvl1pPr>
          </a:lstStyle>
          <a:p>
            <a:r>
              <a:rPr lang="ja-JP" altLang="en-US"/>
              <a:t>マスタ タイトルの書式設定</a:t>
            </a:r>
          </a:p>
        </p:txBody>
      </p:sp>
      <p:sp>
        <p:nvSpPr>
          <p:cNvPr id="3075"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 サブタイトルの書式設定</a:t>
            </a:r>
          </a:p>
        </p:txBody>
      </p:sp>
      <p:sp>
        <p:nvSpPr>
          <p:cNvPr id="8" name="Rectangle 4"/>
          <p:cNvSpPr>
            <a:spLocks noGrp="1" noChangeArrowheads="1"/>
          </p:cNvSpPr>
          <p:nvPr>
            <p:ph type="dt" sz="half" idx="10"/>
          </p:nvPr>
        </p:nvSpPr>
        <p:spPr/>
        <p:txBody>
          <a:bodyPr/>
          <a:lstStyle>
            <a:lvl1pPr>
              <a:defRPr/>
            </a:lvl1pPr>
          </a:lstStyle>
          <a:p>
            <a:pPr>
              <a:defRPr/>
            </a:pPr>
            <a:endParaRPr lang="en-US" altLang="ja-JP"/>
          </a:p>
        </p:txBody>
      </p:sp>
      <p:sp>
        <p:nvSpPr>
          <p:cNvPr id="9" name="Rectangle 5"/>
          <p:cNvSpPr>
            <a:spLocks noGrp="1" noChangeArrowheads="1"/>
          </p:cNvSpPr>
          <p:nvPr>
            <p:ph type="ftr" sz="quarter" idx="11"/>
          </p:nvPr>
        </p:nvSpPr>
        <p:spPr/>
        <p:txBody>
          <a:bodyPr/>
          <a:lstStyle>
            <a:lvl1pPr>
              <a:defRPr/>
            </a:lvl1pPr>
          </a:lstStyle>
          <a:p>
            <a:pPr>
              <a:defRPr/>
            </a:pPr>
            <a:endParaRPr lang="en-US" altLang="ja-JP"/>
          </a:p>
        </p:txBody>
      </p:sp>
      <p:sp>
        <p:nvSpPr>
          <p:cNvPr id="10" name="Rectangle 6"/>
          <p:cNvSpPr>
            <a:spLocks noGrp="1" noChangeArrowheads="1"/>
          </p:cNvSpPr>
          <p:nvPr>
            <p:ph type="sldNum" sz="quarter" idx="12"/>
          </p:nvPr>
        </p:nvSpPr>
        <p:spPr>
          <a:xfrm>
            <a:off x="7097713" y="7065965"/>
            <a:ext cx="2311400" cy="539749"/>
          </a:xfrm>
        </p:spPr>
        <p:txBody>
          <a:bodyPr/>
          <a:lstStyle>
            <a:lvl1pPr>
              <a:defRPr/>
            </a:lvl1pPr>
          </a:lstStyle>
          <a:p>
            <a:pPr>
              <a:defRPr/>
            </a:pPr>
            <a:fld id="{6DB87F93-3373-4856-9B82-469445DE4AF1}" type="slidenum">
              <a:rPr lang="en-US" altLang="ja-JP"/>
              <a:pPr>
                <a:defRPr/>
              </a:pPr>
              <a:t>‹#›</a:t>
            </a:fld>
            <a:endParaRPr lang="en-US" altLang="ja-JP"/>
          </a:p>
        </p:txBody>
      </p:sp>
    </p:spTree>
    <p:extLst>
      <p:ext uri="{BB962C8B-B14F-4D97-AF65-F5344CB8AC3E}">
        <p14:creationId xmlns:p14="http://schemas.microsoft.com/office/powerpoint/2010/main" val="13799038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9C66F1FC-77AF-4AA3-AB67-8C31B36199A9}" type="slidenum">
              <a:rPr lang="en-US" altLang="ja-JP"/>
              <a:pPr>
                <a:defRPr/>
              </a:pPr>
              <a:t>‹#›</a:t>
            </a:fld>
            <a:endParaRPr lang="en-US" altLang="ja-JP"/>
          </a:p>
        </p:txBody>
      </p:sp>
    </p:spTree>
    <p:extLst>
      <p:ext uri="{BB962C8B-B14F-4D97-AF65-F5344CB8AC3E}">
        <p14:creationId xmlns:p14="http://schemas.microsoft.com/office/powerpoint/2010/main" val="4037880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80" y="4986327"/>
            <a:ext cx="8418751" cy="1541163"/>
          </a:xfrm>
        </p:spPr>
        <p:txBody>
          <a:bodyPr anchor="t"/>
          <a:lstStyle>
            <a:lvl1pPr algn="l">
              <a:defRPr sz="4213" b="1" cap="all"/>
            </a:lvl1pPr>
          </a:lstStyle>
          <a:p>
            <a:r>
              <a:rPr lang="ja-JP" altLang="en-US"/>
              <a:t>マスタ タイトルの書式設定</a:t>
            </a:r>
          </a:p>
        </p:txBody>
      </p:sp>
      <p:sp>
        <p:nvSpPr>
          <p:cNvPr id="3" name="テキスト プレースホルダ 2"/>
          <p:cNvSpPr>
            <a:spLocks noGrp="1"/>
          </p:cNvSpPr>
          <p:nvPr>
            <p:ph type="body" idx="1"/>
          </p:nvPr>
        </p:nvSpPr>
        <p:spPr>
          <a:xfrm>
            <a:off x="782380" y="3288892"/>
            <a:ext cx="8418751" cy="1697434"/>
          </a:xfrm>
        </p:spPr>
        <p:txBody>
          <a:bodyPr anchor="b"/>
          <a:lstStyle>
            <a:lvl1pPr marL="0" indent="0">
              <a:buNone/>
              <a:defRPr sz="2106"/>
            </a:lvl1pPr>
            <a:lvl2pPr marL="483125" indent="0">
              <a:buNone/>
              <a:defRPr sz="1915"/>
            </a:lvl2pPr>
            <a:lvl3pPr marL="966250" indent="0">
              <a:buNone/>
              <a:defRPr sz="1723"/>
            </a:lvl3pPr>
            <a:lvl4pPr marL="1449374" indent="0">
              <a:buNone/>
              <a:defRPr sz="1436"/>
            </a:lvl4pPr>
            <a:lvl5pPr marL="1932498" indent="0">
              <a:buNone/>
              <a:defRPr sz="1436"/>
            </a:lvl5pPr>
            <a:lvl6pPr marL="2415624" indent="0">
              <a:buNone/>
              <a:defRPr sz="1436"/>
            </a:lvl6pPr>
            <a:lvl7pPr marL="2898748" indent="0">
              <a:buNone/>
              <a:defRPr sz="1436"/>
            </a:lvl7pPr>
            <a:lvl8pPr marL="3381874" indent="0">
              <a:buNone/>
              <a:defRPr sz="1436"/>
            </a:lvl8pPr>
            <a:lvl9pPr marL="3864998" indent="0">
              <a:buNone/>
              <a:defRPr sz="1436"/>
            </a:lvl9pPr>
          </a:lstStyle>
          <a:p>
            <a:pPr lvl="0"/>
            <a:r>
              <a:rPr lang="ja-JP" altLang="en-US"/>
              <a:t>マスタ テキストの書式設定</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744ECDA5-5F1C-4819-BC35-8C8D508C5B5C}" type="slidenum">
              <a:rPr lang="en-US" altLang="ja-JP"/>
              <a:pPr>
                <a:defRPr/>
              </a:pPr>
              <a:t>‹#›</a:t>
            </a:fld>
            <a:endParaRPr lang="en-US" altLang="ja-JP"/>
          </a:p>
        </p:txBody>
      </p:sp>
    </p:spTree>
    <p:extLst>
      <p:ext uri="{BB962C8B-B14F-4D97-AF65-F5344CB8AC3E}">
        <p14:creationId xmlns:p14="http://schemas.microsoft.com/office/powerpoint/2010/main" val="35435732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95222" y="1810599"/>
            <a:ext cx="4374449" cy="5121043"/>
          </a:xfrm>
        </p:spPr>
        <p:txBody>
          <a:bodyPr/>
          <a:lstStyle>
            <a:lvl1pPr>
              <a:defRPr sz="2968"/>
            </a:lvl1pPr>
            <a:lvl2pPr>
              <a:defRPr sz="2489"/>
            </a:lvl2pPr>
            <a:lvl3pPr>
              <a:defRPr sz="2106"/>
            </a:lvl3pPr>
            <a:lvl4pPr>
              <a:defRPr sz="1915"/>
            </a:lvl4pPr>
            <a:lvl5pPr>
              <a:defRPr sz="1915"/>
            </a:lvl5pPr>
            <a:lvl6pPr>
              <a:defRPr sz="1915"/>
            </a:lvl6pPr>
            <a:lvl7pPr>
              <a:defRPr sz="1915"/>
            </a:lvl7pPr>
            <a:lvl8pPr>
              <a:defRPr sz="1915"/>
            </a:lvl8pPr>
            <a:lvl9pPr>
              <a:defRPr sz="1915"/>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34743" y="1810599"/>
            <a:ext cx="4374449" cy="5121043"/>
          </a:xfrm>
        </p:spPr>
        <p:txBody>
          <a:bodyPr/>
          <a:lstStyle>
            <a:lvl1pPr>
              <a:defRPr sz="2968"/>
            </a:lvl1pPr>
            <a:lvl2pPr>
              <a:defRPr sz="2489"/>
            </a:lvl2pPr>
            <a:lvl3pPr>
              <a:defRPr sz="2106"/>
            </a:lvl3pPr>
            <a:lvl4pPr>
              <a:defRPr sz="1915"/>
            </a:lvl4pPr>
            <a:lvl5pPr>
              <a:defRPr sz="1915"/>
            </a:lvl5pPr>
            <a:lvl6pPr>
              <a:defRPr sz="1915"/>
            </a:lvl6pPr>
            <a:lvl7pPr>
              <a:defRPr sz="1915"/>
            </a:lvl7pPr>
            <a:lvl8pPr>
              <a:defRPr sz="1915"/>
            </a:lvl8pPr>
            <a:lvl9pPr>
              <a:defRPr sz="1915"/>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8366C5AB-5182-4BC7-95E9-05F092C219C4}" type="slidenum">
              <a:rPr lang="en-US" altLang="ja-JP"/>
              <a:pPr>
                <a:defRPr/>
              </a:pPr>
              <a:t>‹#›</a:t>
            </a:fld>
            <a:endParaRPr lang="en-US" altLang="ja-JP"/>
          </a:p>
        </p:txBody>
      </p:sp>
    </p:spTree>
    <p:extLst>
      <p:ext uri="{BB962C8B-B14F-4D97-AF65-F5344CB8AC3E}">
        <p14:creationId xmlns:p14="http://schemas.microsoft.com/office/powerpoint/2010/main" val="15807446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10748"/>
            <a:ext cx="8913972" cy="1293283"/>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95222" y="1736953"/>
            <a:ext cx="4376169" cy="723879"/>
          </a:xfrm>
        </p:spPr>
        <p:txBody>
          <a:bodyPr anchor="b"/>
          <a:lstStyle>
            <a:lvl1pPr marL="0" indent="0">
              <a:buNone/>
              <a:defRPr sz="2489" b="1"/>
            </a:lvl1pPr>
            <a:lvl2pPr marL="483125" indent="0">
              <a:buNone/>
              <a:defRPr sz="2106" b="1"/>
            </a:lvl2pPr>
            <a:lvl3pPr marL="966250" indent="0">
              <a:buNone/>
              <a:defRPr sz="1915" b="1"/>
            </a:lvl3pPr>
            <a:lvl4pPr marL="1449374" indent="0">
              <a:buNone/>
              <a:defRPr sz="1723" b="1"/>
            </a:lvl4pPr>
            <a:lvl5pPr marL="1932498" indent="0">
              <a:buNone/>
              <a:defRPr sz="1723" b="1"/>
            </a:lvl5pPr>
            <a:lvl6pPr marL="2415624" indent="0">
              <a:buNone/>
              <a:defRPr sz="1723" b="1"/>
            </a:lvl6pPr>
            <a:lvl7pPr marL="2898748" indent="0">
              <a:buNone/>
              <a:defRPr sz="1723" b="1"/>
            </a:lvl7pPr>
            <a:lvl8pPr marL="3381874" indent="0">
              <a:buNone/>
              <a:defRPr sz="1723" b="1"/>
            </a:lvl8pPr>
            <a:lvl9pPr marL="3864998" indent="0">
              <a:buNone/>
              <a:defRPr sz="1723"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95222" y="2460832"/>
            <a:ext cx="4376169" cy="4470809"/>
          </a:xfrm>
        </p:spPr>
        <p:txBody>
          <a:bodyPr/>
          <a:lstStyle>
            <a:lvl1pPr>
              <a:defRPr sz="2489"/>
            </a:lvl1pPr>
            <a:lvl2pPr>
              <a:defRPr sz="2106"/>
            </a:lvl2pPr>
            <a:lvl3pPr>
              <a:defRPr sz="1915"/>
            </a:lvl3pPr>
            <a:lvl4pPr>
              <a:defRPr sz="1723"/>
            </a:lvl4pPr>
            <a:lvl5pPr>
              <a:defRPr sz="1723"/>
            </a:lvl5pPr>
            <a:lvl6pPr>
              <a:defRPr sz="1723"/>
            </a:lvl6pPr>
            <a:lvl7pPr>
              <a:defRPr sz="1723"/>
            </a:lvl7pPr>
            <a:lvl8pPr>
              <a:defRPr sz="1723"/>
            </a:lvl8pPr>
            <a:lvl9pPr>
              <a:defRPr sz="172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1306" y="1736953"/>
            <a:ext cx="4377888" cy="723879"/>
          </a:xfrm>
        </p:spPr>
        <p:txBody>
          <a:bodyPr anchor="b"/>
          <a:lstStyle>
            <a:lvl1pPr marL="0" indent="0">
              <a:buNone/>
              <a:defRPr sz="2489" b="1"/>
            </a:lvl1pPr>
            <a:lvl2pPr marL="483125" indent="0">
              <a:buNone/>
              <a:defRPr sz="2106" b="1"/>
            </a:lvl2pPr>
            <a:lvl3pPr marL="966250" indent="0">
              <a:buNone/>
              <a:defRPr sz="1915" b="1"/>
            </a:lvl3pPr>
            <a:lvl4pPr marL="1449374" indent="0">
              <a:buNone/>
              <a:defRPr sz="1723" b="1"/>
            </a:lvl4pPr>
            <a:lvl5pPr marL="1932498" indent="0">
              <a:buNone/>
              <a:defRPr sz="1723" b="1"/>
            </a:lvl5pPr>
            <a:lvl6pPr marL="2415624" indent="0">
              <a:buNone/>
              <a:defRPr sz="1723" b="1"/>
            </a:lvl6pPr>
            <a:lvl7pPr marL="2898748" indent="0">
              <a:buNone/>
              <a:defRPr sz="1723" b="1"/>
            </a:lvl7pPr>
            <a:lvl8pPr marL="3381874" indent="0">
              <a:buNone/>
              <a:defRPr sz="1723" b="1"/>
            </a:lvl8pPr>
            <a:lvl9pPr marL="3864998" indent="0">
              <a:buNone/>
              <a:defRPr sz="1723"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031306" y="2460832"/>
            <a:ext cx="4377888" cy="4470809"/>
          </a:xfrm>
        </p:spPr>
        <p:txBody>
          <a:bodyPr/>
          <a:lstStyle>
            <a:lvl1pPr>
              <a:defRPr sz="2489"/>
            </a:lvl1pPr>
            <a:lvl2pPr>
              <a:defRPr sz="2106"/>
            </a:lvl2pPr>
            <a:lvl3pPr>
              <a:defRPr sz="1915"/>
            </a:lvl3pPr>
            <a:lvl4pPr>
              <a:defRPr sz="1723"/>
            </a:lvl4pPr>
            <a:lvl5pPr>
              <a:defRPr sz="1723"/>
            </a:lvl5pPr>
            <a:lvl6pPr>
              <a:defRPr sz="1723"/>
            </a:lvl6pPr>
            <a:lvl7pPr>
              <a:defRPr sz="1723"/>
            </a:lvl7pPr>
            <a:lvl8pPr>
              <a:defRPr sz="1723"/>
            </a:lvl8pPr>
            <a:lvl9pPr>
              <a:defRPr sz="172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417D56FC-CF9A-4A05-91B0-49F59F5A001F}" type="slidenum">
              <a:rPr lang="en-US" altLang="ja-JP"/>
              <a:pPr>
                <a:defRPr/>
              </a:pPr>
              <a:t>‹#›</a:t>
            </a:fld>
            <a:endParaRPr lang="en-US" altLang="ja-JP"/>
          </a:p>
        </p:txBody>
      </p:sp>
    </p:spTree>
    <p:extLst>
      <p:ext uri="{BB962C8B-B14F-4D97-AF65-F5344CB8AC3E}">
        <p14:creationId xmlns:p14="http://schemas.microsoft.com/office/powerpoint/2010/main" val="34736063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9AA820FD-1EEF-41AD-B9B7-CDCB236CCEAB}" type="slidenum">
              <a:rPr lang="en-US" altLang="ja-JP"/>
              <a:pPr>
                <a:defRPr/>
              </a:pPr>
              <a:t>‹#›</a:t>
            </a:fld>
            <a:endParaRPr lang="en-US" altLang="ja-JP"/>
          </a:p>
        </p:txBody>
      </p:sp>
    </p:spTree>
    <p:extLst>
      <p:ext uri="{BB962C8B-B14F-4D97-AF65-F5344CB8AC3E}">
        <p14:creationId xmlns:p14="http://schemas.microsoft.com/office/powerpoint/2010/main" val="27138237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9AA820FD-1EEF-41AD-B9B7-CDCB236CCEAB}" type="slidenum">
              <a:rPr lang="en-US" altLang="ja-JP"/>
              <a:pPr>
                <a:defRPr/>
              </a:pPr>
              <a:t>‹#›</a:t>
            </a:fld>
            <a:endParaRPr lang="en-US" altLang="ja-JP"/>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26C9DB26-FC5E-4D09-9C70-7D8B4C324BFC}" type="slidenum">
              <a:rPr lang="en-US" altLang="ja-JP"/>
              <a:pPr>
                <a:defRPr/>
              </a:pPr>
              <a:t>‹#›</a:t>
            </a:fld>
            <a:endParaRPr lang="en-US" altLang="ja-JP"/>
          </a:p>
        </p:txBody>
      </p:sp>
    </p:spTree>
    <p:extLst>
      <p:ext uri="{BB962C8B-B14F-4D97-AF65-F5344CB8AC3E}">
        <p14:creationId xmlns:p14="http://schemas.microsoft.com/office/powerpoint/2010/main" val="49850133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08951"/>
            <a:ext cx="3258484" cy="1314838"/>
          </a:xfrm>
        </p:spPr>
        <p:txBody>
          <a:bodyPr anchor="b"/>
          <a:lstStyle>
            <a:lvl1pPr algn="l">
              <a:defRPr sz="2106" b="1"/>
            </a:lvl1pPr>
          </a:lstStyle>
          <a:p>
            <a:r>
              <a:rPr lang="ja-JP" altLang="en-US"/>
              <a:t>マスタ タイトルの書式設定</a:t>
            </a:r>
          </a:p>
        </p:txBody>
      </p:sp>
      <p:sp>
        <p:nvSpPr>
          <p:cNvPr id="3" name="コンテンツ プレースホルダ 2"/>
          <p:cNvSpPr>
            <a:spLocks noGrp="1"/>
          </p:cNvSpPr>
          <p:nvPr>
            <p:ph idx="1"/>
          </p:nvPr>
        </p:nvSpPr>
        <p:spPr>
          <a:xfrm>
            <a:off x="3872350" y="308953"/>
            <a:ext cx="5536842" cy="6622689"/>
          </a:xfrm>
        </p:spPr>
        <p:txBody>
          <a:bodyPr/>
          <a:lstStyle>
            <a:lvl1pPr>
              <a:defRPr sz="3350"/>
            </a:lvl1pPr>
            <a:lvl2pPr>
              <a:defRPr sz="2968"/>
            </a:lvl2pPr>
            <a:lvl3pPr>
              <a:defRPr sz="2489"/>
            </a:lvl3pPr>
            <a:lvl4pPr>
              <a:defRPr sz="2106"/>
            </a:lvl4pPr>
            <a:lvl5pPr>
              <a:defRPr sz="2106"/>
            </a:lvl5pPr>
            <a:lvl6pPr>
              <a:defRPr sz="2106"/>
            </a:lvl6pPr>
            <a:lvl7pPr>
              <a:defRPr sz="2106"/>
            </a:lvl7pPr>
            <a:lvl8pPr>
              <a:defRPr sz="2106"/>
            </a:lvl8pPr>
            <a:lvl9pPr>
              <a:defRPr sz="210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221" y="1623791"/>
            <a:ext cx="3258484" cy="5307851"/>
          </a:xfrm>
        </p:spPr>
        <p:txBody>
          <a:bodyPr/>
          <a:lstStyle>
            <a:lvl1pPr marL="0" indent="0">
              <a:buNone/>
              <a:defRPr sz="1436"/>
            </a:lvl1pPr>
            <a:lvl2pPr marL="483125" indent="0">
              <a:buNone/>
              <a:defRPr sz="1245"/>
            </a:lvl2pPr>
            <a:lvl3pPr marL="966250" indent="0">
              <a:buNone/>
              <a:defRPr sz="1053"/>
            </a:lvl3pPr>
            <a:lvl4pPr marL="1449374" indent="0">
              <a:buNone/>
              <a:defRPr sz="958"/>
            </a:lvl4pPr>
            <a:lvl5pPr marL="1932498" indent="0">
              <a:buNone/>
              <a:defRPr sz="958"/>
            </a:lvl5pPr>
            <a:lvl6pPr marL="2415624" indent="0">
              <a:buNone/>
              <a:defRPr sz="958"/>
            </a:lvl6pPr>
            <a:lvl7pPr marL="2898748" indent="0">
              <a:buNone/>
              <a:defRPr sz="958"/>
            </a:lvl7pPr>
            <a:lvl8pPr marL="3381874" indent="0">
              <a:buNone/>
              <a:defRPr sz="958"/>
            </a:lvl8pPr>
            <a:lvl9pPr marL="3864998" indent="0">
              <a:buNone/>
              <a:defRPr sz="958"/>
            </a:lvl9pPr>
          </a:lstStyle>
          <a:p>
            <a:pPr lvl="0"/>
            <a:r>
              <a:rPr lang="ja-JP" altLang="en-US"/>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5208D855-7F3B-4B8B-AACA-87CEB339AD38}" type="slidenum">
              <a:rPr lang="en-US" altLang="ja-JP"/>
              <a:pPr>
                <a:defRPr/>
              </a:pPr>
              <a:t>‹#›</a:t>
            </a:fld>
            <a:endParaRPr lang="en-US" altLang="ja-JP"/>
          </a:p>
        </p:txBody>
      </p:sp>
    </p:spTree>
    <p:extLst>
      <p:ext uri="{BB962C8B-B14F-4D97-AF65-F5344CB8AC3E}">
        <p14:creationId xmlns:p14="http://schemas.microsoft.com/office/powerpoint/2010/main" val="7096442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334" y="5431790"/>
            <a:ext cx="5942648" cy="641254"/>
          </a:xfrm>
        </p:spPr>
        <p:txBody>
          <a:bodyPr anchor="b"/>
          <a:lstStyle>
            <a:lvl1pPr algn="l">
              <a:defRPr sz="2106" b="1"/>
            </a:lvl1pPr>
          </a:lstStyle>
          <a:p>
            <a:r>
              <a:rPr lang="ja-JP" altLang="en-US"/>
              <a:t>マスタ タイトルの書式設定</a:t>
            </a:r>
          </a:p>
        </p:txBody>
      </p:sp>
      <p:sp>
        <p:nvSpPr>
          <p:cNvPr id="3" name="図プレースホルダ 2"/>
          <p:cNvSpPr>
            <a:spLocks noGrp="1"/>
          </p:cNvSpPr>
          <p:nvPr>
            <p:ph type="pic" idx="1"/>
          </p:nvPr>
        </p:nvSpPr>
        <p:spPr>
          <a:xfrm>
            <a:off x="1941334" y="693344"/>
            <a:ext cx="5942648" cy="4655820"/>
          </a:xfrm>
        </p:spPr>
        <p:txBody>
          <a:bodyPr/>
          <a:lstStyle>
            <a:lvl1pPr marL="0" indent="0">
              <a:buNone/>
              <a:defRPr sz="3350"/>
            </a:lvl1pPr>
            <a:lvl2pPr marL="483125" indent="0">
              <a:buNone/>
              <a:defRPr sz="2968"/>
            </a:lvl2pPr>
            <a:lvl3pPr marL="966250" indent="0">
              <a:buNone/>
              <a:defRPr sz="2489"/>
            </a:lvl3pPr>
            <a:lvl4pPr marL="1449374" indent="0">
              <a:buNone/>
              <a:defRPr sz="2106"/>
            </a:lvl4pPr>
            <a:lvl5pPr marL="1932498" indent="0">
              <a:buNone/>
              <a:defRPr sz="2106"/>
            </a:lvl5pPr>
            <a:lvl6pPr marL="2415624" indent="0">
              <a:buNone/>
              <a:defRPr sz="2106"/>
            </a:lvl6pPr>
            <a:lvl7pPr marL="2898748" indent="0">
              <a:buNone/>
              <a:defRPr sz="2106"/>
            </a:lvl7pPr>
            <a:lvl8pPr marL="3381874" indent="0">
              <a:buNone/>
              <a:defRPr sz="2106"/>
            </a:lvl8pPr>
            <a:lvl9pPr marL="3864998" indent="0">
              <a:buNone/>
              <a:defRPr sz="2106"/>
            </a:lvl9pPr>
          </a:lstStyle>
          <a:p>
            <a:pPr lvl="0"/>
            <a:endParaRPr lang="ja-JP" altLang="en-US" noProof="0"/>
          </a:p>
        </p:txBody>
      </p:sp>
      <p:sp>
        <p:nvSpPr>
          <p:cNvPr id="4" name="テキスト プレースホルダ 3"/>
          <p:cNvSpPr>
            <a:spLocks noGrp="1"/>
          </p:cNvSpPr>
          <p:nvPr>
            <p:ph type="body" sz="half" idx="2"/>
          </p:nvPr>
        </p:nvSpPr>
        <p:spPr>
          <a:xfrm>
            <a:off x="1941334" y="6073044"/>
            <a:ext cx="5942648" cy="910686"/>
          </a:xfrm>
        </p:spPr>
        <p:txBody>
          <a:bodyPr/>
          <a:lstStyle>
            <a:lvl1pPr marL="0" indent="0">
              <a:buNone/>
              <a:defRPr sz="1436"/>
            </a:lvl1pPr>
            <a:lvl2pPr marL="483125" indent="0">
              <a:buNone/>
              <a:defRPr sz="1245"/>
            </a:lvl2pPr>
            <a:lvl3pPr marL="966250" indent="0">
              <a:buNone/>
              <a:defRPr sz="1053"/>
            </a:lvl3pPr>
            <a:lvl4pPr marL="1449374" indent="0">
              <a:buNone/>
              <a:defRPr sz="958"/>
            </a:lvl4pPr>
            <a:lvl5pPr marL="1932498" indent="0">
              <a:buNone/>
              <a:defRPr sz="958"/>
            </a:lvl5pPr>
            <a:lvl6pPr marL="2415624" indent="0">
              <a:buNone/>
              <a:defRPr sz="958"/>
            </a:lvl6pPr>
            <a:lvl7pPr marL="2898748" indent="0">
              <a:buNone/>
              <a:defRPr sz="958"/>
            </a:lvl7pPr>
            <a:lvl8pPr marL="3381874" indent="0">
              <a:buNone/>
              <a:defRPr sz="958"/>
            </a:lvl8pPr>
            <a:lvl9pPr marL="3864998" indent="0">
              <a:buNone/>
              <a:defRPr sz="958"/>
            </a:lvl9pPr>
          </a:lstStyle>
          <a:p>
            <a:pPr lvl="0"/>
            <a:r>
              <a:rPr lang="ja-JP" altLang="en-US"/>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BDA36F3D-3FC9-4C60-80B6-CD263D392449}" type="slidenum">
              <a:rPr lang="en-US" altLang="ja-JP"/>
              <a:pPr>
                <a:defRPr/>
              </a:pPr>
              <a:t>‹#›</a:t>
            </a:fld>
            <a:endParaRPr lang="en-US" altLang="ja-JP"/>
          </a:p>
        </p:txBody>
      </p:sp>
    </p:spTree>
    <p:extLst>
      <p:ext uri="{BB962C8B-B14F-4D97-AF65-F5344CB8AC3E}">
        <p14:creationId xmlns:p14="http://schemas.microsoft.com/office/powerpoint/2010/main" val="34167937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142ECC8E-A1C5-439F-B3D6-79D9F236B99A}" type="slidenum">
              <a:rPr lang="en-US" altLang="ja-JP"/>
              <a:pPr>
                <a:defRPr/>
              </a:pPr>
              <a:t>‹#›</a:t>
            </a:fld>
            <a:endParaRPr lang="en-US" altLang="ja-JP"/>
          </a:p>
        </p:txBody>
      </p:sp>
    </p:spTree>
    <p:extLst>
      <p:ext uri="{BB962C8B-B14F-4D97-AF65-F5344CB8AC3E}">
        <p14:creationId xmlns:p14="http://schemas.microsoft.com/office/powerpoint/2010/main" val="18095263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6894" y="2"/>
            <a:ext cx="2352298" cy="6931640"/>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1" y="2"/>
            <a:ext cx="6891821" cy="6931640"/>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593013" y="7230120"/>
            <a:ext cx="2311400" cy="538163"/>
          </a:xfrm>
          <a:ln/>
        </p:spPr>
        <p:txBody>
          <a:bodyPr/>
          <a:lstStyle>
            <a:lvl1pPr>
              <a:defRPr/>
            </a:lvl1pPr>
          </a:lstStyle>
          <a:p>
            <a:pPr>
              <a:defRPr/>
            </a:pPr>
            <a:fld id="{5FD3786F-1318-4901-ABC1-64C403C2C001}" type="slidenum">
              <a:rPr lang="en-US" altLang="ja-JP"/>
              <a:pPr>
                <a:defRPr/>
              </a:pPr>
              <a:t>‹#›</a:t>
            </a:fld>
            <a:endParaRPr lang="en-US" altLang="ja-JP"/>
          </a:p>
        </p:txBody>
      </p:sp>
    </p:spTree>
    <p:extLst>
      <p:ext uri="{BB962C8B-B14F-4D97-AF65-F5344CB8AC3E}">
        <p14:creationId xmlns:p14="http://schemas.microsoft.com/office/powerpoint/2010/main" val="11145598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1038" name="Picture 7" descr="mlit_top"/>
          <p:cNvPicPr>
            <a:picLocks noChangeAspect="1" noChangeArrowheads="1"/>
          </p:cNvPicPr>
          <p:nvPr userDrawn="1"/>
        </p:nvPicPr>
        <p:blipFill>
          <a:blip r:embed="rId2"/>
          <a:srcRect t="62230"/>
          <a:stretch>
            <a:fillRect/>
          </a:stretch>
        </p:blipFill>
        <p:spPr>
          <a:xfrm>
            <a:off x="0" y="7382494"/>
            <a:ext cx="9904413" cy="377208"/>
          </a:xfrm>
          <a:prstGeom prst="rect">
            <a:avLst/>
          </a:prstGeom>
          <a:noFill/>
          <a:ln>
            <a:noFill/>
          </a:ln>
        </p:spPr>
      </p:pic>
      <p:sp>
        <p:nvSpPr>
          <p:cNvPr id="1039" name="Rectangle 9"/>
          <p:cNvSpPr>
            <a:spLocks noChangeArrowheads="1"/>
          </p:cNvSpPr>
          <p:nvPr userDrawn="1"/>
        </p:nvSpPr>
        <p:spPr>
          <a:xfrm>
            <a:off x="1833005" y="3716396"/>
            <a:ext cx="8071409" cy="82626"/>
          </a:xfrm>
          <a:prstGeom prst="rect">
            <a:avLst/>
          </a:prstGeom>
          <a:solidFill>
            <a:srgbClr val="0066CC"/>
          </a:solidFill>
          <a:ln>
            <a:noFill/>
          </a:ln>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sz="1800" dirty="0"/>
          </a:p>
        </p:txBody>
      </p:sp>
      <p:pic>
        <p:nvPicPr>
          <p:cNvPr id="1040" name="Picture 11"/>
          <p:cNvPicPr>
            <a:picLocks noChangeAspect="1" noChangeArrowheads="1"/>
          </p:cNvPicPr>
          <p:nvPr userDrawn="1"/>
        </p:nvPicPr>
        <p:blipFill>
          <a:blip r:embed="rId3"/>
          <a:stretch>
            <a:fillRect/>
          </a:stretch>
        </p:blipFill>
        <p:spPr>
          <a:xfrm>
            <a:off x="2" y="6847218"/>
            <a:ext cx="2300712" cy="535276"/>
          </a:xfrm>
          <a:prstGeom prst="rect">
            <a:avLst/>
          </a:prstGeom>
          <a:noFill/>
          <a:ln>
            <a:noFill/>
          </a:ln>
        </p:spPr>
      </p:pic>
      <p:sp>
        <p:nvSpPr>
          <p:cNvPr id="1041" name="Text Box 12"/>
          <p:cNvSpPr txBox="1">
            <a:spLocks noChangeArrowheads="1"/>
          </p:cNvSpPr>
          <p:nvPr userDrawn="1"/>
        </p:nvSpPr>
        <p:spPr>
          <a:xfrm>
            <a:off x="1" y="7382493"/>
            <a:ext cx="3642920" cy="276999"/>
          </a:xfrm>
          <a:prstGeom prst="rect">
            <a:avLst/>
          </a:prstGeom>
          <a:noFill/>
          <a:ln>
            <a:noFill/>
          </a:ln>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en-US" altLang="ja-JP" sz="1200" i="1" dirty="0">
                <a:solidFill>
                  <a:schemeClr val="bg1"/>
                </a:solidFill>
                <a:latin typeface="Times New Roman" pitchFamily="18" charset="0"/>
              </a:rPr>
              <a:t>Ministry of Land, Infrastructure, Transport and Tourism</a:t>
            </a:r>
          </a:p>
        </p:txBody>
      </p:sp>
      <p:sp>
        <p:nvSpPr>
          <p:cNvPr id="1042" name="Rectangle 2"/>
          <p:cNvSpPr>
            <a:spLocks noGrp="1" noChangeArrowheads="1"/>
          </p:cNvSpPr>
          <p:nvPr>
            <p:ph type="ctrTitle"/>
          </p:nvPr>
        </p:nvSpPr>
        <p:spPr>
          <a:xfrm>
            <a:off x="1753906" y="2414131"/>
            <a:ext cx="8150507" cy="1663306"/>
          </a:xfrm>
        </p:spPr>
        <p:txBody>
          <a:bodyPr/>
          <a:lstStyle>
            <a:lvl1pPr>
              <a:defRPr sz="3999"/>
            </a:lvl1pPr>
          </a:lstStyle>
          <a:p>
            <a:r>
              <a:rPr lang="ja-JP" altLang="en-US"/>
              <a:t>マスター タイトルの書式設定</a:t>
            </a:r>
          </a:p>
        </p:txBody>
      </p:sp>
      <p:sp>
        <p:nvSpPr>
          <p:cNvPr id="1043"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ー サブタイトルの書式設定</a:t>
            </a:r>
          </a:p>
        </p:txBody>
      </p:sp>
      <p:sp>
        <p:nvSpPr>
          <p:cNvPr id="1044" name="Rectangle 4"/>
          <p:cNvSpPr>
            <a:spLocks noGrp="1" noChangeArrowheads="1"/>
          </p:cNvSpPr>
          <p:nvPr>
            <p:ph type="dt" sz="half" idx="10"/>
          </p:nvPr>
        </p:nvSpPr>
        <p:spPr/>
        <p:txBody>
          <a:bodyPr/>
          <a:lstStyle>
            <a:lvl1pPr>
              <a:defRPr/>
            </a:lvl1pPr>
          </a:lstStyle>
          <a:p>
            <a:pPr>
              <a:defRPr/>
            </a:pPr>
            <a:endParaRPr lang="en-US" altLang="ja-JP" dirty="0"/>
          </a:p>
        </p:txBody>
      </p:sp>
      <p:sp>
        <p:nvSpPr>
          <p:cNvPr id="1045" name="Rectangle 5"/>
          <p:cNvSpPr>
            <a:spLocks noGrp="1" noChangeArrowheads="1"/>
          </p:cNvSpPr>
          <p:nvPr>
            <p:ph type="ftr" sz="quarter" idx="11"/>
          </p:nvPr>
        </p:nvSpPr>
        <p:spPr/>
        <p:txBody>
          <a:bodyPr/>
          <a:lstStyle>
            <a:lvl1pPr>
              <a:defRPr/>
            </a:lvl1pPr>
          </a:lstStyle>
          <a:p>
            <a:pPr>
              <a:defRPr/>
            </a:pPr>
            <a:endParaRPr lang="en-US" altLang="ja-JP" dirty="0"/>
          </a:p>
        </p:txBody>
      </p:sp>
      <p:sp>
        <p:nvSpPr>
          <p:cNvPr id="1046" name="Rectangle 6"/>
          <p:cNvSpPr>
            <a:spLocks noGrp="1" noChangeArrowheads="1"/>
          </p:cNvSpPr>
          <p:nvPr>
            <p:ph type="sldNum" sz="quarter" idx="12"/>
          </p:nvPr>
        </p:nvSpPr>
        <p:spPr>
          <a:xfrm>
            <a:off x="7098163" y="7066356"/>
            <a:ext cx="2311030" cy="538868"/>
          </a:xfrm>
        </p:spPr>
        <p:txBody>
          <a:bodyPr/>
          <a:lstStyle>
            <a:lvl1pPr>
              <a:defRPr/>
            </a:lvl1pPr>
          </a:lstStyle>
          <a:p>
            <a:pPr>
              <a:defRPr/>
            </a:pPr>
            <a:fld id="{35C1E978-A3B9-4673-8199-379729392307}" type="slidenum">
              <a:rPr lang="en-US" altLang="ja-JP"/>
              <a:pPr>
                <a:defRPr/>
              </a:pPr>
              <a:t>‹#›</a:t>
            </a:fld>
            <a:endParaRPr lang="en-US" altLang="ja-JP" dirty="0"/>
          </a:p>
        </p:txBody>
      </p:sp>
    </p:spTree>
    <p:extLst>
      <p:ext uri="{BB962C8B-B14F-4D97-AF65-F5344CB8AC3E}">
        <p14:creationId xmlns:p14="http://schemas.microsoft.com/office/powerpoint/2010/main" val="34807738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8" name="タイトル 1"/>
          <p:cNvSpPr>
            <a:spLocks noGrp="1"/>
          </p:cNvSpPr>
          <p:nvPr>
            <p:ph type="title"/>
          </p:nvPr>
        </p:nvSpPr>
        <p:spPr/>
        <p:txBody>
          <a:bodyPr/>
          <a:lstStyle/>
          <a:p>
            <a:r>
              <a:rPr lang="ja-JP" altLang="en-US"/>
              <a:t>マスター タイトルの書式設定</a:t>
            </a:r>
          </a:p>
        </p:txBody>
      </p:sp>
      <p:sp>
        <p:nvSpPr>
          <p:cNvPr id="1049"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0"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51"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52"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pPr>
                <a:defRPr/>
              </a:pPr>
              <a:t>‹#›</a:t>
            </a:fld>
            <a:endParaRPr lang="en-US" altLang="ja-JP" dirty="0"/>
          </a:p>
        </p:txBody>
      </p:sp>
    </p:spTree>
    <p:extLst>
      <p:ext uri="{BB962C8B-B14F-4D97-AF65-F5344CB8AC3E}">
        <p14:creationId xmlns:p14="http://schemas.microsoft.com/office/powerpoint/2010/main" val="34855066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54" name="タイトル 1"/>
          <p:cNvSpPr>
            <a:spLocks noGrp="1"/>
          </p:cNvSpPr>
          <p:nvPr>
            <p:ph type="title"/>
          </p:nvPr>
        </p:nvSpPr>
        <p:spPr>
          <a:xfrm>
            <a:off x="782381" y="4986327"/>
            <a:ext cx="8418751" cy="1541163"/>
          </a:xfrm>
        </p:spPr>
        <p:txBody>
          <a:bodyPr anchor="t"/>
          <a:lstStyle>
            <a:lvl1pPr algn="l">
              <a:defRPr sz="3999" b="1" cap="all"/>
            </a:lvl1pPr>
          </a:lstStyle>
          <a:p>
            <a:r>
              <a:rPr lang="ja-JP" altLang="en-US"/>
              <a:t>マスター タイトルの書式設定</a:t>
            </a:r>
          </a:p>
        </p:txBody>
      </p:sp>
      <p:sp>
        <p:nvSpPr>
          <p:cNvPr id="1055" name="テキスト プレースホルダ 2"/>
          <p:cNvSpPr>
            <a:spLocks noGrp="1"/>
          </p:cNvSpPr>
          <p:nvPr>
            <p:ph type="body" idx="1"/>
          </p:nvPr>
        </p:nvSpPr>
        <p:spPr>
          <a:xfrm>
            <a:off x="782381" y="3288892"/>
            <a:ext cx="8418751" cy="1697434"/>
          </a:xfrm>
        </p:spPr>
        <p:txBody>
          <a:bodyPr anchor="b"/>
          <a:lstStyle>
            <a:lvl1pPr marL="0" indent="0">
              <a:buNone/>
              <a:defRPr sz="2000"/>
            </a:lvl1pPr>
            <a:lvl2pPr marL="457109" indent="0">
              <a:buNone/>
              <a:defRPr sz="1800"/>
            </a:lvl2pPr>
            <a:lvl3pPr marL="914217" indent="0">
              <a:buNone/>
              <a:defRPr sz="1600"/>
            </a:lvl3pPr>
            <a:lvl4pPr marL="1371326" indent="0">
              <a:buNone/>
              <a:defRPr sz="1400"/>
            </a:lvl4pPr>
            <a:lvl5pPr marL="1828434" indent="0">
              <a:buNone/>
              <a:defRPr sz="1400"/>
            </a:lvl5pPr>
            <a:lvl6pPr marL="2285543" indent="0">
              <a:buNone/>
              <a:defRPr sz="1400"/>
            </a:lvl6pPr>
            <a:lvl7pPr marL="2742651" indent="0">
              <a:buNone/>
              <a:defRPr sz="1400"/>
            </a:lvl7pPr>
            <a:lvl8pPr marL="3199760" indent="0">
              <a:buNone/>
              <a:defRPr sz="1400"/>
            </a:lvl8pPr>
            <a:lvl9pPr marL="3656868" indent="0">
              <a:buNone/>
              <a:defRPr sz="1400"/>
            </a:lvl9pPr>
          </a:lstStyle>
          <a:p>
            <a:pPr lvl="0"/>
            <a:r>
              <a:rPr lang="ja-JP" altLang="en-US"/>
              <a:t>マスター テキストの書式設定</a:t>
            </a:r>
          </a:p>
        </p:txBody>
      </p:sp>
      <p:sp>
        <p:nvSpPr>
          <p:cNvPr id="1056"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57"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58"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pPr>
                <a:defRPr/>
              </a:pPr>
              <a:t>‹#›</a:t>
            </a:fld>
            <a:endParaRPr lang="en-US" altLang="ja-JP" dirty="0"/>
          </a:p>
        </p:txBody>
      </p:sp>
    </p:spTree>
    <p:extLst>
      <p:ext uri="{BB962C8B-B14F-4D97-AF65-F5344CB8AC3E}">
        <p14:creationId xmlns:p14="http://schemas.microsoft.com/office/powerpoint/2010/main" val="9405022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60" name="タイトル 1"/>
          <p:cNvSpPr>
            <a:spLocks noGrp="1"/>
          </p:cNvSpPr>
          <p:nvPr>
            <p:ph type="title"/>
          </p:nvPr>
        </p:nvSpPr>
        <p:spPr/>
        <p:txBody>
          <a:bodyPr/>
          <a:lstStyle/>
          <a:p>
            <a:r>
              <a:rPr lang="ja-JP" altLang="en-US"/>
              <a:t>マスター タイトルの書式設定</a:t>
            </a:r>
          </a:p>
        </p:txBody>
      </p:sp>
      <p:sp>
        <p:nvSpPr>
          <p:cNvPr id="1061" name="コンテンツ プレースホルダ 2"/>
          <p:cNvSpPr>
            <a:spLocks noGrp="1"/>
          </p:cNvSpPr>
          <p:nvPr>
            <p:ph sz="half" idx="1"/>
          </p:nvPr>
        </p:nvSpPr>
        <p:spPr>
          <a:xfrm>
            <a:off x="495221" y="1810599"/>
            <a:ext cx="4374449" cy="5121043"/>
          </a:xfrm>
        </p:spPr>
        <p:txBody>
          <a:bodyPr/>
          <a:lstStyle>
            <a:lvl1pPr>
              <a:defRPr sz="2799"/>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2" name="コンテンツ プレースホルダ 3"/>
          <p:cNvSpPr>
            <a:spLocks noGrp="1"/>
          </p:cNvSpPr>
          <p:nvPr>
            <p:ph sz="half" idx="2"/>
          </p:nvPr>
        </p:nvSpPr>
        <p:spPr>
          <a:xfrm>
            <a:off x="5034743" y="1810599"/>
            <a:ext cx="4374449" cy="5121043"/>
          </a:xfrm>
        </p:spPr>
        <p:txBody>
          <a:bodyPr/>
          <a:lstStyle>
            <a:lvl1pPr>
              <a:defRPr sz="2799"/>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3"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64"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65"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dirty="0"/>
          </a:p>
        </p:txBody>
      </p:sp>
    </p:spTree>
    <p:extLst>
      <p:ext uri="{BB962C8B-B14F-4D97-AF65-F5344CB8AC3E}">
        <p14:creationId xmlns:p14="http://schemas.microsoft.com/office/powerpoint/2010/main" val="6654059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67" name="タイトル 1"/>
          <p:cNvSpPr>
            <a:spLocks noGrp="1"/>
          </p:cNvSpPr>
          <p:nvPr>
            <p:ph type="title"/>
          </p:nvPr>
        </p:nvSpPr>
        <p:spPr>
          <a:xfrm>
            <a:off x="495221" y="310748"/>
            <a:ext cx="8913972" cy="1293283"/>
          </a:xfrm>
        </p:spPr>
        <p:txBody>
          <a:bodyPr/>
          <a:lstStyle>
            <a:lvl1pPr>
              <a:defRPr/>
            </a:lvl1pPr>
          </a:lstStyle>
          <a:p>
            <a:r>
              <a:rPr lang="ja-JP" altLang="en-US"/>
              <a:t>マスター タイトルの書式設定</a:t>
            </a:r>
          </a:p>
        </p:txBody>
      </p:sp>
      <p:sp>
        <p:nvSpPr>
          <p:cNvPr id="1068" name="テキスト プレースホルダ 2"/>
          <p:cNvSpPr>
            <a:spLocks noGrp="1"/>
          </p:cNvSpPr>
          <p:nvPr>
            <p:ph type="body" idx="1"/>
          </p:nvPr>
        </p:nvSpPr>
        <p:spPr>
          <a:xfrm>
            <a:off x="495221" y="1736952"/>
            <a:ext cx="4376169" cy="723879"/>
          </a:xfr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ja-JP" altLang="en-US"/>
              <a:t>マスター テキストの書式設定</a:t>
            </a:r>
          </a:p>
        </p:txBody>
      </p:sp>
      <p:sp>
        <p:nvSpPr>
          <p:cNvPr id="1069" name="コンテンツ プレースホルダ 3"/>
          <p:cNvSpPr>
            <a:spLocks noGrp="1"/>
          </p:cNvSpPr>
          <p:nvPr>
            <p:ph sz="half" idx="2"/>
          </p:nvPr>
        </p:nvSpPr>
        <p:spPr>
          <a:xfrm>
            <a:off x="495221" y="2460831"/>
            <a:ext cx="4376169" cy="447080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0" name="テキスト プレースホルダ 4"/>
          <p:cNvSpPr>
            <a:spLocks noGrp="1"/>
          </p:cNvSpPr>
          <p:nvPr>
            <p:ph type="body" sz="quarter" idx="3"/>
          </p:nvPr>
        </p:nvSpPr>
        <p:spPr>
          <a:xfrm>
            <a:off x="5031305" y="1736952"/>
            <a:ext cx="4377889" cy="723879"/>
          </a:xfr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ja-JP" altLang="en-US"/>
              <a:t>マスター テキストの書式設定</a:t>
            </a:r>
          </a:p>
        </p:txBody>
      </p:sp>
      <p:sp>
        <p:nvSpPr>
          <p:cNvPr id="1071" name="コンテンツ プレースホルダ 5"/>
          <p:cNvSpPr>
            <a:spLocks noGrp="1"/>
          </p:cNvSpPr>
          <p:nvPr>
            <p:ph sz="quarter" idx="4"/>
          </p:nvPr>
        </p:nvSpPr>
        <p:spPr>
          <a:xfrm>
            <a:off x="5031305" y="2460831"/>
            <a:ext cx="4377889" cy="447080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2"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73"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74" name="Rectangle 6"/>
          <p:cNvSpPr>
            <a:spLocks noGrp="1" noChangeArrowheads="1"/>
          </p:cNvSpPr>
          <p:nvPr>
            <p:ph type="sldNum" sz="quarter" idx="12"/>
          </p:nvPr>
        </p:nvSpPr>
        <p:spPr>
          <a:ln/>
        </p:spPr>
        <p:txBody>
          <a:bodyPr/>
          <a:lstStyle>
            <a:lvl1pPr>
              <a:defRPr/>
            </a:lvl1pPr>
          </a:lstStyle>
          <a:p>
            <a:pPr>
              <a:defRPr/>
            </a:pPr>
            <a:fld id="{DB541BEC-AD9E-4104-AF2B-4C626651FF89}" type="slidenum">
              <a:rPr lang="en-US" altLang="ja-JP"/>
              <a:pPr>
                <a:defRPr/>
              </a:pPr>
              <a:t>‹#›</a:t>
            </a:fld>
            <a:endParaRPr lang="en-US" altLang="ja-JP" dirty="0"/>
          </a:p>
        </p:txBody>
      </p:sp>
    </p:spTree>
    <p:extLst>
      <p:ext uri="{BB962C8B-B14F-4D97-AF65-F5344CB8AC3E}">
        <p14:creationId xmlns:p14="http://schemas.microsoft.com/office/powerpoint/2010/main" val="20278625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26C9DB26-FC5E-4D09-9C70-7D8B4C324BFC}" type="slidenum">
              <a:rPr lang="en-US" altLang="ja-JP"/>
              <a:pPr>
                <a:defRPr/>
              </a:pPr>
              <a:t>‹#›</a:t>
            </a:fld>
            <a:endParaRPr lang="en-US" altLang="ja-JP"/>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76" name="タイトル 1"/>
          <p:cNvSpPr>
            <a:spLocks noGrp="1"/>
          </p:cNvSpPr>
          <p:nvPr>
            <p:ph type="title"/>
          </p:nvPr>
        </p:nvSpPr>
        <p:spPr/>
        <p:txBody>
          <a:bodyPr/>
          <a:lstStyle/>
          <a:p>
            <a:r>
              <a:rPr lang="ja-JP" altLang="en-US"/>
              <a:t>マスター タイトル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79" name="Rectangle 6"/>
          <p:cNvSpPr>
            <a:spLocks noGrp="1" noChangeArrowheads="1"/>
          </p:cNvSpPr>
          <p:nvPr>
            <p:ph type="sldNum" sz="quarter" idx="12"/>
          </p:nvPr>
        </p:nvSpPr>
        <p:spPr>
          <a:ln/>
        </p:spPr>
        <p:txBody>
          <a:bodyPr/>
          <a:lstStyle>
            <a:lvl1pPr>
              <a:defRPr/>
            </a:lvl1pPr>
          </a:lstStyle>
          <a:p>
            <a:pPr>
              <a:defRPr/>
            </a:pPr>
            <a:fld id="{06FFE511-5094-4685-A035-FB392A6605D8}" type="slidenum">
              <a:rPr lang="en-US" altLang="ja-JP"/>
              <a:pPr>
                <a:defRPr/>
              </a:pPr>
              <a:t>‹#›</a:t>
            </a:fld>
            <a:endParaRPr lang="en-US" altLang="ja-JP" dirty="0"/>
          </a:p>
        </p:txBody>
      </p:sp>
    </p:spTree>
    <p:extLst>
      <p:ext uri="{BB962C8B-B14F-4D97-AF65-F5344CB8AC3E}">
        <p14:creationId xmlns:p14="http://schemas.microsoft.com/office/powerpoint/2010/main" val="13569138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1081" name="日付プレースホルダー 4"/>
          <p:cNvSpPr>
            <a:spLocks noGrp="1"/>
          </p:cNvSpPr>
          <p:nvPr>
            <p:ph type="dt" sz="half" idx="10"/>
          </p:nvPr>
        </p:nvSpPr>
        <p:spPr/>
        <p:txBody>
          <a:bodyPr/>
          <a:lstStyle/>
          <a:p>
            <a:pPr>
              <a:defRPr/>
            </a:pPr>
            <a:endParaRPr lang="en-US" altLang="ja-JP" dirty="0"/>
          </a:p>
        </p:txBody>
      </p:sp>
      <p:sp>
        <p:nvSpPr>
          <p:cNvPr id="1082" name="フッター プレースホルダー 5"/>
          <p:cNvSpPr>
            <a:spLocks noGrp="1"/>
          </p:cNvSpPr>
          <p:nvPr>
            <p:ph type="ftr" sz="quarter" idx="11"/>
          </p:nvPr>
        </p:nvSpPr>
        <p:spPr/>
        <p:txBody>
          <a:bodyPr/>
          <a:lstStyle/>
          <a:p>
            <a:pPr>
              <a:defRPr/>
            </a:pPr>
            <a:endParaRPr lang="en-US" altLang="ja-JP" dirty="0"/>
          </a:p>
        </p:txBody>
      </p:sp>
      <p:sp>
        <p:nvSpPr>
          <p:cNvPr id="1083" name="スライド番号プレースホルダー 6"/>
          <p:cNvSpPr>
            <a:spLocks noGrp="1"/>
          </p:cNvSpPr>
          <p:nvPr>
            <p:ph type="sldNum" sz="quarter" idx="12"/>
          </p:nvPr>
        </p:nvSpPr>
        <p:spPr/>
        <p:txBody>
          <a:bodyPr/>
          <a:lstStyle/>
          <a:p>
            <a:pPr>
              <a:defRPr/>
            </a:pPr>
            <a:fld id="{FFDCE21E-3BF4-4A13-BE4A-B95BE9787BE2}" type="slidenum">
              <a:rPr lang="en-US" altLang="ja-JP" smtClean="0"/>
              <a:pPr>
                <a:defRPr/>
              </a:pPr>
              <a:t>‹#›</a:t>
            </a:fld>
            <a:endParaRPr lang="en-US" altLang="ja-JP" dirty="0"/>
          </a:p>
        </p:txBody>
      </p:sp>
    </p:spTree>
    <p:extLst>
      <p:ext uri="{BB962C8B-B14F-4D97-AF65-F5344CB8AC3E}">
        <p14:creationId xmlns:p14="http://schemas.microsoft.com/office/powerpoint/2010/main" val="17925873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85" name="タイトル 1"/>
          <p:cNvSpPr>
            <a:spLocks noGrp="1"/>
          </p:cNvSpPr>
          <p:nvPr>
            <p:ph type="title"/>
          </p:nvPr>
        </p:nvSpPr>
        <p:spPr>
          <a:xfrm>
            <a:off x="495221" y="308951"/>
            <a:ext cx="3258484" cy="1314838"/>
          </a:xfrm>
        </p:spPr>
        <p:txBody>
          <a:bodyPr anchor="b"/>
          <a:lstStyle>
            <a:lvl1pPr algn="l">
              <a:defRPr sz="2000" b="1"/>
            </a:lvl1pPr>
          </a:lstStyle>
          <a:p>
            <a:r>
              <a:rPr lang="ja-JP" altLang="en-US"/>
              <a:t>マスター タイトルの書式設定</a:t>
            </a:r>
          </a:p>
        </p:txBody>
      </p:sp>
      <p:sp>
        <p:nvSpPr>
          <p:cNvPr id="1086" name="コンテンツ プレースホルダ 2"/>
          <p:cNvSpPr>
            <a:spLocks noGrp="1"/>
          </p:cNvSpPr>
          <p:nvPr>
            <p:ph idx="1"/>
          </p:nvPr>
        </p:nvSpPr>
        <p:spPr>
          <a:xfrm>
            <a:off x="3872351" y="308953"/>
            <a:ext cx="5536842" cy="6622689"/>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87" name="テキスト プレースホルダ 3"/>
          <p:cNvSpPr>
            <a:spLocks noGrp="1"/>
          </p:cNvSpPr>
          <p:nvPr>
            <p:ph type="body" sz="half" idx="2"/>
          </p:nvPr>
        </p:nvSpPr>
        <p:spPr>
          <a:xfrm>
            <a:off x="495221" y="1623791"/>
            <a:ext cx="3258484" cy="5307851"/>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ja-JP" altLang="en-US"/>
              <a:t>マスター テキストの書式設定</a:t>
            </a:r>
          </a:p>
        </p:txBody>
      </p:sp>
      <p:sp>
        <p:nvSpPr>
          <p:cNvPr id="1088"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89"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90" name="Rectangle 6"/>
          <p:cNvSpPr>
            <a:spLocks noGrp="1" noChangeArrowheads="1"/>
          </p:cNvSpPr>
          <p:nvPr>
            <p:ph type="sldNum" sz="quarter" idx="12"/>
          </p:nvPr>
        </p:nvSpPr>
        <p:spPr>
          <a:ln/>
        </p:spPr>
        <p:txBody>
          <a:bodyPr/>
          <a:lstStyle>
            <a:lvl1pPr>
              <a:defRPr/>
            </a:lvl1pPr>
          </a:lstStyle>
          <a:p>
            <a:pPr>
              <a:defRPr/>
            </a:pPr>
            <a:fld id="{460176D3-1CBA-4E5C-8891-6A87D7C30D42}" type="slidenum">
              <a:rPr lang="en-US" altLang="ja-JP"/>
              <a:pPr>
                <a:defRPr/>
              </a:pPr>
              <a:t>‹#›</a:t>
            </a:fld>
            <a:endParaRPr lang="en-US" altLang="ja-JP" dirty="0"/>
          </a:p>
        </p:txBody>
      </p:sp>
    </p:spTree>
    <p:extLst>
      <p:ext uri="{BB962C8B-B14F-4D97-AF65-F5344CB8AC3E}">
        <p14:creationId xmlns:p14="http://schemas.microsoft.com/office/powerpoint/2010/main" val="366605177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92" name="タイトル 1"/>
          <p:cNvSpPr>
            <a:spLocks noGrp="1"/>
          </p:cNvSpPr>
          <p:nvPr>
            <p:ph type="title"/>
          </p:nvPr>
        </p:nvSpPr>
        <p:spPr>
          <a:xfrm>
            <a:off x="1941334" y="5431790"/>
            <a:ext cx="5942648" cy="641254"/>
          </a:xfrm>
        </p:spPr>
        <p:txBody>
          <a:bodyPr anchor="b"/>
          <a:lstStyle>
            <a:lvl1pPr algn="l">
              <a:defRPr sz="2000" b="1"/>
            </a:lvl1pPr>
          </a:lstStyle>
          <a:p>
            <a:r>
              <a:rPr lang="ja-JP" altLang="en-US"/>
              <a:t>マスター タイトルの書式設定</a:t>
            </a:r>
          </a:p>
        </p:txBody>
      </p:sp>
      <p:sp>
        <p:nvSpPr>
          <p:cNvPr id="1093" name="図プレースホルダ 2"/>
          <p:cNvSpPr>
            <a:spLocks noGrp="1"/>
          </p:cNvSpPr>
          <p:nvPr>
            <p:ph type="pic" idx="1"/>
          </p:nvPr>
        </p:nvSpPr>
        <p:spPr>
          <a:xfrm>
            <a:off x="1941334" y="693344"/>
            <a:ext cx="5942648" cy="4655820"/>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pPr lvl="0"/>
            <a:r>
              <a:rPr lang="ja-JP" altLang="en-US" noProof="0" dirty="0"/>
              <a:t>図を追加</a:t>
            </a:r>
          </a:p>
        </p:txBody>
      </p:sp>
      <p:sp>
        <p:nvSpPr>
          <p:cNvPr id="1094" name="テキスト プレースホルダ 3"/>
          <p:cNvSpPr>
            <a:spLocks noGrp="1"/>
          </p:cNvSpPr>
          <p:nvPr>
            <p:ph type="body" sz="half" idx="2"/>
          </p:nvPr>
        </p:nvSpPr>
        <p:spPr>
          <a:xfrm>
            <a:off x="1941334" y="6073044"/>
            <a:ext cx="5942648" cy="910686"/>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ja-JP" altLang="en-US"/>
              <a:t>マスター テキストの書式設定</a:t>
            </a:r>
          </a:p>
        </p:txBody>
      </p:sp>
      <p:sp>
        <p:nvSpPr>
          <p:cNvPr id="1095"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096"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097" name="Rectangle 6"/>
          <p:cNvSpPr>
            <a:spLocks noGrp="1" noChangeArrowheads="1"/>
          </p:cNvSpPr>
          <p:nvPr>
            <p:ph type="sldNum" sz="quarter" idx="12"/>
          </p:nvPr>
        </p:nvSpPr>
        <p:spPr>
          <a:ln/>
        </p:spPr>
        <p:txBody>
          <a:bodyPr/>
          <a:lstStyle>
            <a:lvl1pPr>
              <a:defRPr/>
            </a:lvl1pPr>
          </a:lstStyle>
          <a:p>
            <a:pPr>
              <a:defRPr/>
            </a:pPr>
            <a:fld id="{0A3F5529-272E-4A2C-90D7-160EE3AC1005}" type="slidenum">
              <a:rPr lang="en-US" altLang="ja-JP"/>
              <a:pPr>
                <a:defRPr/>
              </a:pPr>
              <a:t>‹#›</a:t>
            </a:fld>
            <a:endParaRPr lang="en-US" altLang="ja-JP" dirty="0"/>
          </a:p>
        </p:txBody>
      </p:sp>
    </p:spTree>
    <p:extLst>
      <p:ext uri="{BB962C8B-B14F-4D97-AF65-F5344CB8AC3E}">
        <p14:creationId xmlns:p14="http://schemas.microsoft.com/office/powerpoint/2010/main" val="64364364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99" name="タイトル 1"/>
          <p:cNvSpPr>
            <a:spLocks noGrp="1"/>
          </p:cNvSpPr>
          <p:nvPr>
            <p:ph type="title"/>
          </p:nvPr>
        </p:nvSpPr>
        <p:spPr/>
        <p:txBody>
          <a:bodyPr/>
          <a:lstStyle/>
          <a:p>
            <a:r>
              <a:rPr lang="ja-JP" altLang="en-US"/>
              <a:t>マスター タイトルの書式設定</a:t>
            </a:r>
          </a:p>
        </p:txBody>
      </p:sp>
      <p:sp>
        <p:nvSpPr>
          <p:cNvPr id="1100"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1"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102"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103" name="Rectangle 6"/>
          <p:cNvSpPr>
            <a:spLocks noGrp="1" noChangeArrowheads="1"/>
          </p:cNvSpPr>
          <p:nvPr>
            <p:ph type="sldNum" sz="quarter" idx="12"/>
          </p:nvPr>
        </p:nvSpPr>
        <p:spPr>
          <a:ln/>
        </p:spPr>
        <p:txBody>
          <a:bodyPr/>
          <a:lstStyle>
            <a:lvl1pPr>
              <a:defRPr/>
            </a:lvl1pPr>
          </a:lstStyle>
          <a:p>
            <a:pPr>
              <a:defRPr/>
            </a:pPr>
            <a:fld id="{CDB20612-914C-4BDE-8D4C-FEA4392E99F4}" type="slidenum">
              <a:rPr lang="en-US" altLang="ja-JP"/>
              <a:pPr>
                <a:defRPr/>
              </a:pPr>
              <a:t>‹#›</a:t>
            </a:fld>
            <a:endParaRPr lang="en-US" altLang="ja-JP" dirty="0"/>
          </a:p>
        </p:txBody>
      </p:sp>
    </p:spTree>
    <p:extLst>
      <p:ext uri="{BB962C8B-B14F-4D97-AF65-F5344CB8AC3E}">
        <p14:creationId xmlns:p14="http://schemas.microsoft.com/office/powerpoint/2010/main" val="87181153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105" name="縦書きタイトル 1"/>
          <p:cNvSpPr>
            <a:spLocks noGrp="1"/>
          </p:cNvSpPr>
          <p:nvPr>
            <p:ph type="title" orient="vert"/>
          </p:nvPr>
        </p:nvSpPr>
        <p:spPr>
          <a:xfrm>
            <a:off x="7056895" y="2"/>
            <a:ext cx="2352298" cy="6931640"/>
          </a:xfrm>
        </p:spPr>
        <p:txBody>
          <a:bodyPr vert="eaVert"/>
          <a:lstStyle/>
          <a:p>
            <a:r>
              <a:rPr lang="ja-JP" altLang="en-US"/>
              <a:t>マスター タイトルの書式設定</a:t>
            </a:r>
          </a:p>
        </p:txBody>
      </p:sp>
      <p:sp>
        <p:nvSpPr>
          <p:cNvPr id="1106" name="縦書きテキスト プレースホルダ 2"/>
          <p:cNvSpPr>
            <a:spLocks noGrp="1"/>
          </p:cNvSpPr>
          <p:nvPr>
            <p:ph type="body" orient="vert" idx="1"/>
          </p:nvPr>
        </p:nvSpPr>
        <p:spPr>
          <a:xfrm>
            <a:off x="0" y="2"/>
            <a:ext cx="6891821" cy="6931640"/>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7" name="Rectangle 4"/>
          <p:cNvSpPr>
            <a:spLocks noGrp="1" noChangeArrowheads="1"/>
          </p:cNvSpPr>
          <p:nvPr>
            <p:ph type="dt" sz="half" idx="10"/>
          </p:nvPr>
        </p:nvSpPr>
        <p:spPr>
          <a:ln/>
        </p:spPr>
        <p:txBody>
          <a:bodyPr/>
          <a:lstStyle>
            <a:lvl1pPr>
              <a:defRPr/>
            </a:lvl1pPr>
          </a:lstStyle>
          <a:p>
            <a:pPr>
              <a:defRPr/>
            </a:pPr>
            <a:endParaRPr lang="en-US" altLang="ja-JP" dirty="0"/>
          </a:p>
        </p:txBody>
      </p:sp>
      <p:sp>
        <p:nvSpPr>
          <p:cNvPr id="1108" name="Rectangle 5"/>
          <p:cNvSpPr>
            <a:spLocks noGrp="1" noChangeArrowheads="1"/>
          </p:cNvSpPr>
          <p:nvPr>
            <p:ph type="ftr" sz="quarter" idx="11"/>
          </p:nvPr>
        </p:nvSpPr>
        <p:spPr>
          <a:ln/>
        </p:spPr>
        <p:txBody>
          <a:bodyPr/>
          <a:lstStyle>
            <a:lvl1pPr>
              <a:defRPr/>
            </a:lvl1pPr>
          </a:lstStyle>
          <a:p>
            <a:pPr>
              <a:defRPr/>
            </a:pPr>
            <a:endParaRPr lang="en-US" altLang="ja-JP" dirty="0"/>
          </a:p>
        </p:txBody>
      </p:sp>
      <p:sp>
        <p:nvSpPr>
          <p:cNvPr id="1109" name="Rectangle 6"/>
          <p:cNvSpPr>
            <a:spLocks noGrp="1" noChangeArrowheads="1"/>
          </p:cNvSpPr>
          <p:nvPr>
            <p:ph type="sldNum" sz="quarter" idx="12"/>
          </p:nvPr>
        </p:nvSpPr>
        <p:spPr>
          <a:ln/>
        </p:spPr>
        <p:txBody>
          <a:bodyPr/>
          <a:lstStyle>
            <a:lvl1pPr>
              <a:defRPr/>
            </a:lvl1pPr>
          </a:lstStyle>
          <a:p>
            <a:pPr>
              <a:defRPr/>
            </a:pPr>
            <a:fld id="{86FB01F7-FA20-4B15-9970-D297285851AC}" type="slidenum">
              <a:rPr lang="en-US" altLang="ja-JP"/>
              <a:pPr>
                <a:defRPr/>
              </a:pPr>
              <a:t>‹#›</a:t>
            </a:fld>
            <a:endParaRPr lang="en-US" altLang="ja-JP" dirty="0"/>
          </a:p>
        </p:txBody>
      </p:sp>
    </p:spTree>
    <p:extLst>
      <p:ext uri="{BB962C8B-B14F-4D97-AF65-F5344CB8AC3E}">
        <p14:creationId xmlns:p14="http://schemas.microsoft.com/office/powerpoint/2010/main" val="4913363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1753906" y="2414133"/>
            <a:ext cx="8150507" cy="1663306"/>
          </a:xfrm>
        </p:spPr>
        <p:txBody>
          <a:bodyPr/>
          <a:lstStyle>
            <a:lvl1pPr>
              <a:defRPr sz="4149"/>
            </a:lvl1pPr>
          </a:lstStyle>
          <a:p>
            <a:r>
              <a:rPr lang="ja-JP" altLang="en-US"/>
              <a:t>マスタ タイトルの書式設定</a:t>
            </a:r>
          </a:p>
        </p:txBody>
      </p:sp>
      <p:sp>
        <p:nvSpPr>
          <p:cNvPr id="3075"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 サブタイトルの書式設定</a:t>
            </a:r>
          </a:p>
        </p:txBody>
      </p:sp>
      <p:sp>
        <p:nvSpPr>
          <p:cNvPr id="3076" name="Rectangle 4"/>
          <p:cNvSpPr>
            <a:spLocks noGrp="1" noChangeArrowheads="1"/>
          </p:cNvSpPr>
          <p:nvPr>
            <p:ph type="dt" sz="half" idx="2"/>
          </p:nvPr>
        </p:nvSpPr>
        <p:spPr/>
        <p:txBody>
          <a:bodyPr/>
          <a:lstStyle>
            <a:lvl1pPr>
              <a:defRPr/>
            </a:lvl1pPr>
          </a:lstStyle>
          <a:p>
            <a:endParaRPr lang="en-US" altLang="ja-JP">
              <a:solidFill>
                <a:srgbClr val="000000"/>
              </a:solidFill>
            </a:endParaRPr>
          </a:p>
        </p:txBody>
      </p:sp>
      <p:sp>
        <p:nvSpPr>
          <p:cNvPr id="3077" name="Rectangle 5"/>
          <p:cNvSpPr>
            <a:spLocks noGrp="1" noChangeArrowheads="1"/>
          </p:cNvSpPr>
          <p:nvPr>
            <p:ph type="ftr" sz="quarter" idx="3"/>
          </p:nvPr>
        </p:nvSpPr>
        <p:spPr/>
        <p:txBody>
          <a:bodyPr/>
          <a:lstStyle>
            <a:lvl1pPr>
              <a:defRPr/>
            </a:lvl1pPr>
          </a:lstStyle>
          <a:p>
            <a:endParaRPr lang="en-US" altLang="ja-JP">
              <a:solidFill>
                <a:srgbClr val="000000"/>
              </a:solidFill>
            </a:endParaRPr>
          </a:p>
        </p:txBody>
      </p:sp>
      <p:sp>
        <p:nvSpPr>
          <p:cNvPr id="3078" name="Rectangle 6"/>
          <p:cNvSpPr>
            <a:spLocks noGrp="1" noChangeArrowheads="1"/>
          </p:cNvSpPr>
          <p:nvPr>
            <p:ph type="sldNum" sz="quarter" idx="4"/>
          </p:nvPr>
        </p:nvSpPr>
        <p:spPr>
          <a:xfrm>
            <a:off x="7609728" y="7066356"/>
            <a:ext cx="2311030" cy="538868"/>
          </a:xfrm>
        </p:spPr>
        <p:txBody>
          <a:bodyPr/>
          <a:lstStyle>
            <a:lvl1pPr>
              <a:defRPr/>
            </a:lvl1pPr>
          </a:lstStyle>
          <a:p>
            <a:fld id="{C475919F-755C-435A-9906-8F90FC2340B7}" type="slidenum">
              <a:rPr lang="en-US" altLang="ja-JP">
                <a:solidFill>
                  <a:srgbClr val="000000"/>
                </a:solidFill>
              </a:rPr>
              <a:pPr/>
              <a:t>‹#›</a:t>
            </a:fld>
            <a:endParaRPr lang="en-US" altLang="ja-JP">
              <a:solidFill>
                <a:srgbClr val="000000"/>
              </a:solidFill>
            </a:endParaRPr>
          </a:p>
        </p:txBody>
      </p:sp>
      <p:pic>
        <p:nvPicPr>
          <p:cNvPr id="3079" name="Picture 7" descr="mlit_top"/>
          <p:cNvPicPr>
            <a:picLocks noChangeAspect="1" noChangeArrowheads="1"/>
          </p:cNvPicPr>
          <p:nvPr userDrawn="1"/>
        </p:nvPicPr>
        <p:blipFill>
          <a:blip r:embed="rId2" cstate="print"/>
          <a:srcRect t="62230"/>
          <a:stretch>
            <a:fillRect/>
          </a:stretch>
        </p:blipFill>
        <p:spPr bwMode="auto">
          <a:xfrm>
            <a:off x="0" y="7382495"/>
            <a:ext cx="9904413" cy="377208"/>
          </a:xfrm>
          <a:prstGeom prst="rect">
            <a:avLst/>
          </a:prstGeom>
          <a:noFill/>
        </p:spPr>
      </p:pic>
      <p:sp>
        <p:nvSpPr>
          <p:cNvPr id="3081" name="Rectangle 9"/>
          <p:cNvSpPr>
            <a:spLocks noChangeArrowheads="1"/>
          </p:cNvSpPr>
          <p:nvPr userDrawn="1"/>
        </p:nvSpPr>
        <p:spPr bwMode="auto">
          <a:xfrm>
            <a:off x="1833007" y="3716398"/>
            <a:ext cx="8071409" cy="82626"/>
          </a:xfrm>
          <a:prstGeom prst="rect">
            <a:avLst/>
          </a:prstGeom>
          <a:solidFill>
            <a:srgbClr val="0066CC"/>
          </a:solidFill>
          <a:ln w="9525">
            <a:noFill/>
            <a:miter lim="800000"/>
            <a:headEnd/>
            <a:tailEnd/>
          </a:ln>
          <a:effectLst/>
        </p:spPr>
        <p:txBody>
          <a:bodyPr wrap="none" anchor="ctr"/>
          <a:lstStyle/>
          <a:p>
            <a:endParaRPr lang="ja-JP" altLang="en-US">
              <a:solidFill>
                <a:srgbClr val="000000"/>
              </a:solidFill>
              <a:ea typeface="ＭＳ Ｐゴシック" charset="-128"/>
            </a:endParaRPr>
          </a:p>
        </p:txBody>
      </p:sp>
      <p:pic>
        <p:nvPicPr>
          <p:cNvPr id="3083" name="Picture 11"/>
          <p:cNvPicPr>
            <a:picLocks noChangeAspect="1" noChangeArrowheads="1"/>
          </p:cNvPicPr>
          <p:nvPr userDrawn="1"/>
        </p:nvPicPr>
        <p:blipFill>
          <a:blip r:embed="rId3" cstate="print"/>
          <a:srcRect/>
          <a:stretch>
            <a:fillRect/>
          </a:stretch>
        </p:blipFill>
        <p:spPr bwMode="auto">
          <a:xfrm>
            <a:off x="3" y="6847219"/>
            <a:ext cx="2300713" cy="535276"/>
          </a:xfrm>
          <a:prstGeom prst="rect">
            <a:avLst/>
          </a:prstGeom>
          <a:noFill/>
          <a:ln w="9525">
            <a:noFill/>
            <a:miter lim="800000"/>
            <a:headEnd/>
            <a:tailEnd/>
          </a:ln>
          <a:effectLst/>
        </p:spPr>
      </p:pic>
      <p:sp>
        <p:nvSpPr>
          <p:cNvPr id="3084" name="Text Box 12"/>
          <p:cNvSpPr txBox="1">
            <a:spLocks noChangeArrowheads="1"/>
          </p:cNvSpPr>
          <p:nvPr userDrawn="1"/>
        </p:nvSpPr>
        <p:spPr bwMode="auto">
          <a:xfrm>
            <a:off x="2" y="7382493"/>
            <a:ext cx="3787704" cy="283924"/>
          </a:xfrm>
          <a:prstGeom prst="rect">
            <a:avLst/>
          </a:prstGeom>
          <a:noFill/>
          <a:ln w="9525">
            <a:noFill/>
            <a:miter lim="800000"/>
            <a:headEnd/>
            <a:tailEnd/>
          </a:ln>
          <a:effectLst/>
        </p:spPr>
        <p:txBody>
          <a:bodyPr wrap="none">
            <a:spAutoFit/>
          </a:bodyPr>
          <a:lstStyle/>
          <a:p>
            <a:r>
              <a:rPr lang="en-US" altLang="ja-JP" sz="1245" i="1">
                <a:solidFill>
                  <a:srgbClr val="FFFFFF"/>
                </a:solidFill>
                <a:latin typeface="Times New Roman" pitchFamily="18" charset="0"/>
                <a:ea typeface="ＭＳ Ｐゴシック" charset="-128"/>
              </a:rPr>
              <a:t>Ministry of Land, Infrastructure, Transport and Tourism</a:t>
            </a:r>
          </a:p>
        </p:txBody>
      </p:sp>
    </p:spTree>
    <p:extLst>
      <p:ext uri="{BB962C8B-B14F-4D97-AF65-F5344CB8AC3E}">
        <p14:creationId xmlns:p14="http://schemas.microsoft.com/office/powerpoint/2010/main" val="28854981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 5"/>
          <p:cNvSpPr>
            <a:spLocks noGrp="1"/>
          </p:cNvSpPr>
          <p:nvPr>
            <p:ph type="sldNum" sz="quarter" idx="12"/>
          </p:nvPr>
        </p:nvSpPr>
        <p:spPr/>
        <p:txBody>
          <a:bodyPr/>
          <a:lstStyle>
            <a:lvl1pPr>
              <a:defRPr/>
            </a:lvl1pPr>
          </a:lstStyle>
          <a:p>
            <a:fld id="{58668CC2-41FA-4E06-ADFC-EC4A0D39D016}"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7185110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380" y="4986330"/>
            <a:ext cx="8418751" cy="1541163"/>
          </a:xfrm>
        </p:spPr>
        <p:txBody>
          <a:bodyPr anchor="t"/>
          <a:lstStyle>
            <a:lvl1pPr algn="l">
              <a:defRPr sz="4149" b="1" cap="all"/>
            </a:lvl1pPr>
          </a:lstStyle>
          <a:p>
            <a:r>
              <a:rPr lang="ja-JP" altLang="en-US"/>
              <a:t>マスタ タイトルの書式設定</a:t>
            </a:r>
          </a:p>
        </p:txBody>
      </p:sp>
      <p:sp>
        <p:nvSpPr>
          <p:cNvPr id="3" name="テキスト プレースホルダ 2"/>
          <p:cNvSpPr>
            <a:spLocks noGrp="1"/>
          </p:cNvSpPr>
          <p:nvPr>
            <p:ph type="body" idx="1"/>
          </p:nvPr>
        </p:nvSpPr>
        <p:spPr>
          <a:xfrm>
            <a:off x="782380" y="3288892"/>
            <a:ext cx="8418751" cy="1697434"/>
          </a:xfrm>
        </p:spPr>
        <p:txBody>
          <a:bodyPr anchor="b"/>
          <a:lstStyle>
            <a:lvl1pPr marL="0" indent="0">
              <a:buNone/>
              <a:defRPr sz="2073"/>
            </a:lvl1pPr>
            <a:lvl2pPr marL="474106" indent="0">
              <a:buNone/>
              <a:defRPr sz="1866"/>
            </a:lvl2pPr>
            <a:lvl3pPr marL="948212" indent="0">
              <a:buNone/>
              <a:defRPr sz="1659"/>
            </a:lvl3pPr>
            <a:lvl4pPr marL="1422316" indent="0">
              <a:buNone/>
              <a:defRPr sz="1451"/>
            </a:lvl4pPr>
            <a:lvl5pPr marL="1896421" indent="0">
              <a:buNone/>
              <a:defRPr sz="1451"/>
            </a:lvl5pPr>
            <a:lvl6pPr marL="2370528" indent="0">
              <a:buNone/>
              <a:defRPr sz="1451"/>
            </a:lvl6pPr>
            <a:lvl7pPr marL="2844634" indent="0">
              <a:buNone/>
              <a:defRPr sz="1451"/>
            </a:lvl7pPr>
            <a:lvl8pPr marL="3318738" indent="0">
              <a:buNone/>
              <a:defRPr sz="1451"/>
            </a:lvl8pPr>
            <a:lvl9pPr marL="3792844" indent="0">
              <a:buNone/>
              <a:defRPr sz="1451"/>
            </a:lvl9pPr>
          </a:lstStyle>
          <a:p>
            <a:pPr lvl="0"/>
            <a:r>
              <a:rPr lang="ja-JP" altLang="en-US"/>
              <a:t>マスタ テキストの書式設定</a:t>
            </a:r>
          </a:p>
        </p:txBody>
      </p:sp>
      <p:sp>
        <p:nvSpPr>
          <p:cNvPr id="4"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 5"/>
          <p:cNvSpPr>
            <a:spLocks noGrp="1"/>
          </p:cNvSpPr>
          <p:nvPr>
            <p:ph type="sldNum" sz="quarter" idx="12"/>
          </p:nvPr>
        </p:nvSpPr>
        <p:spPr/>
        <p:txBody>
          <a:bodyPr/>
          <a:lstStyle>
            <a:lvl1pPr>
              <a:defRPr/>
            </a:lvl1pPr>
          </a:lstStyle>
          <a:p>
            <a:fld id="{CA9C0529-EEEA-4561-979C-F51E3058612A}"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0455694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95222" y="1810601"/>
            <a:ext cx="4374449" cy="5121043"/>
          </a:xfrm>
        </p:spPr>
        <p:txBody>
          <a:bodyPr/>
          <a:lstStyle>
            <a:lvl1pPr>
              <a:defRPr sz="2904"/>
            </a:lvl1pPr>
            <a:lvl2pPr>
              <a:defRPr sz="2489"/>
            </a:lvl2pPr>
            <a:lvl3pPr>
              <a:defRPr sz="2073"/>
            </a:lvl3pPr>
            <a:lvl4pPr>
              <a:defRPr sz="1866"/>
            </a:lvl4pPr>
            <a:lvl5pPr>
              <a:defRPr sz="1866"/>
            </a:lvl5pPr>
            <a:lvl6pPr>
              <a:defRPr sz="1866"/>
            </a:lvl6pPr>
            <a:lvl7pPr>
              <a:defRPr sz="1866"/>
            </a:lvl7pPr>
            <a:lvl8pPr>
              <a:defRPr sz="1866"/>
            </a:lvl8pPr>
            <a:lvl9pPr>
              <a:defRPr sz="186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34743" y="1810601"/>
            <a:ext cx="4374449" cy="5121043"/>
          </a:xfrm>
        </p:spPr>
        <p:txBody>
          <a:bodyPr/>
          <a:lstStyle>
            <a:lvl1pPr>
              <a:defRPr sz="2904"/>
            </a:lvl1pPr>
            <a:lvl2pPr>
              <a:defRPr sz="2489"/>
            </a:lvl2pPr>
            <a:lvl3pPr>
              <a:defRPr sz="2073"/>
            </a:lvl3pPr>
            <a:lvl4pPr>
              <a:defRPr sz="1866"/>
            </a:lvl4pPr>
            <a:lvl5pPr>
              <a:defRPr sz="1866"/>
            </a:lvl5pPr>
            <a:lvl6pPr>
              <a:defRPr sz="1866"/>
            </a:lvl6pPr>
            <a:lvl7pPr>
              <a:defRPr sz="1866"/>
            </a:lvl7pPr>
            <a:lvl8pPr>
              <a:defRPr sz="1866"/>
            </a:lvl8pPr>
            <a:lvl9pPr>
              <a:defRPr sz="186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6"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スライド番号プレースホルダ 6"/>
          <p:cNvSpPr>
            <a:spLocks noGrp="1"/>
          </p:cNvSpPr>
          <p:nvPr>
            <p:ph type="sldNum" sz="quarter" idx="12"/>
          </p:nvPr>
        </p:nvSpPr>
        <p:spPr/>
        <p:txBody>
          <a:bodyPr/>
          <a:lstStyle>
            <a:lvl1pPr>
              <a:defRPr/>
            </a:lvl1pPr>
          </a:lstStyle>
          <a:p>
            <a:fld id="{BD1765A2-6457-489E-8C98-7A84F249F11C}"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2135927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08951"/>
            <a:ext cx="3258484" cy="1314838"/>
          </a:xfrm>
        </p:spPr>
        <p:txBody>
          <a:bodyPr anchor="b"/>
          <a:lstStyle>
            <a:lvl1pPr algn="l">
              <a:defRPr sz="2200" b="1"/>
            </a:lvl1pPr>
          </a:lstStyle>
          <a:p>
            <a:r>
              <a:rPr lang="ja-JP" altLang="en-US"/>
              <a:t>マスタ タイトルの書式設定</a:t>
            </a:r>
          </a:p>
        </p:txBody>
      </p:sp>
      <p:sp>
        <p:nvSpPr>
          <p:cNvPr id="3" name="コンテンツ プレースホルダ 2"/>
          <p:cNvSpPr>
            <a:spLocks noGrp="1"/>
          </p:cNvSpPr>
          <p:nvPr>
            <p:ph idx="1"/>
          </p:nvPr>
        </p:nvSpPr>
        <p:spPr>
          <a:xfrm>
            <a:off x="3872350" y="308952"/>
            <a:ext cx="5536842" cy="6622689"/>
          </a:xfrm>
        </p:spPr>
        <p:txBody>
          <a:bodyPr/>
          <a:lstStyle>
            <a:lvl1pPr>
              <a:defRPr sz="3500"/>
            </a:lvl1pPr>
            <a:lvl2pPr>
              <a:defRPr sz="3100"/>
            </a:lvl2pPr>
            <a:lvl3pPr>
              <a:defRPr sz="2600"/>
            </a:lvl3pPr>
            <a:lvl4pPr>
              <a:defRPr sz="2200"/>
            </a:lvl4pPr>
            <a:lvl5pPr>
              <a:defRPr sz="2200"/>
            </a:lvl5pPr>
            <a:lvl6pPr>
              <a:defRPr sz="2200"/>
            </a:lvl6pPr>
            <a:lvl7pPr>
              <a:defRPr sz="2200"/>
            </a:lvl7pPr>
            <a:lvl8pPr>
              <a:defRPr sz="2200"/>
            </a:lvl8pPr>
            <a:lvl9pPr>
              <a:defRPr sz="22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221" y="1623790"/>
            <a:ext cx="3258484" cy="5307851"/>
          </a:xfrm>
        </p:spPr>
        <p:txBody>
          <a:bodyPr/>
          <a:lstStyle>
            <a:lvl1pPr marL="0" indent="0">
              <a:buNone/>
              <a:defRPr sz="1500"/>
            </a:lvl1pPr>
            <a:lvl2pPr marL="504657" indent="0">
              <a:buNone/>
              <a:defRPr sz="1300"/>
            </a:lvl2pPr>
            <a:lvl3pPr marL="1009315" indent="0">
              <a:buNone/>
              <a:defRPr sz="1100"/>
            </a:lvl3pPr>
            <a:lvl4pPr marL="1513972" indent="0">
              <a:buNone/>
              <a:defRPr sz="1000"/>
            </a:lvl4pPr>
            <a:lvl5pPr marL="2018629" indent="0">
              <a:buNone/>
              <a:defRPr sz="1000"/>
            </a:lvl5pPr>
            <a:lvl6pPr marL="2523287" indent="0">
              <a:buNone/>
              <a:defRPr sz="1000"/>
            </a:lvl6pPr>
            <a:lvl7pPr marL="3027944" indent="0">
              <a:buNone/>
              <a:defRPr sz="1000"/>
            </a:lvl7pPr>
            <a:lvl8pPr marL="3532602" indent="0">
              <a:buNone/>
              <a:defRPr sz="1000"/>
            </a:lvl8pPr>
            <a:lvl9pPr marL="4037259" indent="0">
              <a:buNone/>
              <a:defRPr sz="1000"/>
            </a:lvl9pPr>
          </a:lstStyle>
          <a:p>
            <a:pPr lvl="0"/>
            <a:r>
              <a:rPr lang="ja-JP" altLang="en-US"/>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5208D855-7F3B-4B8B-AACA-87CEB339AD38}" type="slidenum">
              <a:rPr lang="en-US" altLang="ja-JP"/>
              <a:pPr>
                <a:defRPr/>
              </a:pPr>
              <a:t>‹#›</a:t>
            </a:fld>
            <a:endParaRPr lang="en-US" altLang="ja-JP"/>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10748"/>
            <a:ext cx="8913972" cy="1293283"/>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95222" y="1736953"/>
            <a:ext cx="4376169" cy="723879"/>
          </a:xfrm>
        </p:spPr>
        <p:txBody>
          <a:bodyPr anchor="b"/>
          <a:lstStyle>
            <a:lvl1pPr marL="0" indent="0">
              <a:buNone/>
              <a:defRPr sz="2489" b="1"/>
            </a:lvl1pPr>
            <a:lvl2pPr marL="474106" indent="0">
              <a:buNone/>
              <a:defRPr sz="2073" b="1"/>
            </a:lvl2pPr>
            <a:lvl3pPr marL="948212" indent="0">
              <a:buNone/>
              <a:defRPr sz="1866" b="1"/>
            </a:lvl3pPr>
            <a:lvl4pPr marL="1422316" indent="0">
              <a:buNone/>
              <a:defRPr sz="1659" b="1"/>
            </a:lvl4pPr>
            <a:lvl5pPr marL="1896421" indent="0">
              <a:buNone/>
              <a:defRPr sz="1659" b="1"/>
            </a:lvl5pPr>
            <a:lvl6pPr marL="2370528" indent="0">
              <a:buNone/>
              <a:defRPr sz="1659" b="1"/>
            </a:lvl6pPr>
            <a:lvl7pPr marL="2844634" indent="0">
              <a:buNone/>
              <a:defRPr sz="1659" b="1"/>
            </a:lvl7pPr>
            <a:lvl8pPr marL="3318738" indent="0">
              <a:buNone/>
              <a:defRPr sz="1659" b="1"/>
            </a:lvl8pPr>
            <a:lvl9pPr marL="3792844" indent="0">
              <a:buNone/>
              <a:defRPr sz="1659"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95222" y="2460832"/>
            <a:ext cx="4376169" cy="4470809"/>
          </a:xfrm>
        </p:spPr>
        <p:txBody>
          <a:bodyPr/>
          <a:lstStyle>
            <a:lvl1pPr>
              <a:defRPr sz="2489"/>
            </a:lvl1pPr>
            <a:lvl2pPr>
              <a:defRPr sz="2073"/>
            </a:lvl2pPr>
            <a:lvl3pPr>
              <a:defRPr sz="1866"/>
            </a:lvl3pPr>
            <a:lvl4pPr>
              <a:defRPr sz="1659"/>
            </a:lvl4pPr>
            <a:lvl5pPr>
              <a:defRPr sz="1659"/>
            </a:lvl5pPr>
            <a:lvl6pPr>
              <a:defRPr sz="1659"/>
            </a:lvl6pPr>
            <a:lvl7pPr>
              <a:defRPr sz="1659"/>
            </a:lvl7pPr>
            <a:lvl8pPr>
              <a:defRPr sz="1659"/>
            </a:lvl8pPr>
            <a:lvl9pPr>
              <a:defRPr sz="1659"/>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1307" y="1736953"/>
            <a:ext cx="4377888" cy="723879"/>
          </a:xfrm>
        </p:spPr>
        <p:txBody>
          <a:bodyPr anchor="b"/>
          <a:lstStyle>
            <a:lvl1pPr marL="0" indent="0">
              <a:buNone/>
              <a:defRPr sz="2489" b="1"/>
            </a:lvl1pPr>
            <a:lvl2pPr marL="474106" indent="0">
              <a:buNone/>
              <a:defRPr sz="2073" b="1"/>
            </a:lvl2pPr>
            <a:lvl3pPr marL="948212" indent="0">
              <a:buNone/>
              <a:defRPr sz="1866" b="1"/>
            </a:lvl3pPr>
            <a:lvl4pPr marL="1422316" indent="0">
              <a:buNone/>
              <a:defRPr sz="1659" b="1"/>
            </a:lvl4pPr>
            <a:lvl5pPr marL="1896421" indent="0">
              <a:buNone/>
              <a:defRPr sz="1659" b="1"/>
            </a:lvl5pPr>
            <a:lvl6pPr marL="2370528" indent="0">
              <a:buNone/>
              <a:defRPr sz="1659" b="1"/>
            </a:lvl6pPr>
            <a:lvl7pPr marL="2844634" indent="0">
              <a:buNone/>
              <a:defRPr sz="1659" b="1"/>
            </a:lvl7pPr>
            <a:lvl8pPr marL="3318738" indent="0">
              <a:buNone/>
              <a:defRPr sz="1659" b="1"/>
            </a:lvl8pPr>
            <a:lvl9pPr marL="3792844" indent="0">
              <a:buNone/>
              <a:defRPr sz="1659"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031307" y="2460832"/>
            <a:ext cx="4377888" cy="4470809"/>
          </a:xfrm>
        </p:spPr>
        <p:txBody>
          <a:bodyPr/>
          <a:lstStyle>
            <a:lvl1pPr>
              <a:defRPr sz="2489"/>
            </a:lvl1pPr>
            <a:lvl2pPr>
              <a:defRPr sz="2073"/>
            </a:lvl2pPr>
            <a:lvl3pPr>
              <a:defRPr sz="1866"/>
            </a:lvl3pPr>
            <a:lvl4pPr>
              <a:defRPr sz="1659"/>
            </a:lvl4pPr>
            <a:lvl5pPr>
              <a:defRPr sz="1659"/>
            </a:lvl5pPr>
            <a:lvl6pPr>
              <a:defRPr sz="1659"/>
            </a:lvl6pPr>
            <a:lvl7pPr>
              <a:defRPr sz="1659"/>
            </a:lvl7pPr>
            <a:lvl8pPr>
              <a:defRPr sz="1659"/>
            </a:lvl8pPr>
            <a:lvl9pPr>
              <a:defRPr sz="1659"/>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 6"/>
          <p:cNvSpPr>
            <a:spLocks noGrp="1"/>
          </p:cNvSpPr>
          <p:nvPr>
            <p:ph type="dt" sz="half" idx="10"/>
          </p:nvPr>
        </p:nvSpPr>
        <p:spPr/>
        <p:txBody>
          <a:bodyPr/>
          <a:lstStyle>
            <a:lvl1pPr>
              <a:defRPr/>
            </a:lvl1pPr>
          </a:lstStyle>
          <a:p>
            <a:endParaRPr lang="en-US" altLang="ja-JP">
              <a:solidFill>
                <a:srgbClr val="000000"/>
              </a:solidFill>
            </a:endParaRPr>
          </a:p>
        </p:txBody>
      </p:sp>
      <p:sp>
        <p:nvSpPr>
          <p:cNvPr id="8" name="フッター プレースホルダ 7"/>
          <p:cNvSpPr>
            <a:spLocks noGrp="1"/>
          </p:cNvSpPr>
          <p:nvPr>
            <p:ph type="ftr" sz="quarter" idx="11"/>
          </p:nvPr>
        </p:nvSpPr>
        <p:spPr/>
        <p:txBody>
          <a:bodyPr/>
          <a:lstStyle>
            <a:lvl1pPr>
              <a:defRPr/>
            </a:lvl1pPr>
          </a:lstStyle>
          <a:p>
            <a:endParaRPr lang="en-US" altLang="ja-JP">
              <a:solidFill>
                <a:srgbClr val="000000"/>
              </a:solidFill>
            </a:endParaRPr>
          </a:p>
        </p:txBody>
      </p:sp>
      <p:sp>
        <p:nvSpPr>
          <p:cNvPr id="9" name="スライド番号プレースホルダ 8"/>
          <p:cNvSpPr>
            <a:spLocks noGrp="1"/>
          </p:cNvSpPr>
          <p:nvPr>
            <p:ph type="sldNum" sz="quarter" idx="12"/>
          </p:nvPr>
        </p:nvSpPr>
        <p:spPr/>
        <p:txBody>
          <a:bodyPr/>
          <a:lstStyle>
            <a:lvl1pPr>
              <a:defRPr/>
            </a:lvl1pPr>
          </a:lstStyle>
          <a:p>
            <a:fld id="{FEEA531D-A6F4-4820-8869-ABC0E6DB3C12}"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174948998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日付プレースホルダ 2"/>
          <p:cNvSpPr>
            <a:spLocks noGrp="1"/>
          </p:cNvSpPr>
          <p:nvPr>
            <p:ph type="dt" sz="half" idx="10"/>
          </p:nvPr>
        </p:nvSpPr>
        <p:spPr/>
        <p:txBody>
          <a:bodyPr/>
          <a:lstStyle>
            <a:lvl1pPr>
              <a:defRPr/>
            </a:lvl1pPr>
          </a:lstStyle>
          <a:p>
            <a:endParaRPr lang="en-US" altLang="ja-JP">
              <a:solidFill>
                <a:srgbClr val="000000"/>
              </a:solidFill>
            </a:endParaRPr>
          </a:p>
        </p:txBody>
      </p:sp>
      <p:sp>
        <p:nvSpPr>
          <p:cNvPr id="4" name="フッター プレースホルダ 3"/>
          <p:cNvSpPr>
            <a:spLocks noGrp="1"/>
          </p:cNvSpPr>
          <p:nvPr>
            <p:ph type="ftr" sz="quarter" idx="11"/>
          </p:nvPr>
        </p:nvSpPr>
        <p:spPr/>
        <p:txBody>
          <a:bodyPr/>
          <a:lstStyle>
            <a:lvl1pPr>
              <a:defRPr/>
            </a:lvl1pPr>
          </a:lstStyle>
          <a:p>
            <a:endParaRPr lang="en-US" altLang="ja-JP">
              <a:solidFill>
                <a:srgbClr val="000000"/>
              </a:solidFill>
            </a:endParaRPr>
          </a:p>
        </p:txBody>
      </p:sp>
      <p:sp>
        <p:nvSpPr>
          <p:cNvPr id="5" name="スライド番号プレースホルダ 4"/>
          <p:cNvSpPr>
            <a:spLocks noGrp="1"/>
          </p:cNvSpPr>
          <p:nvPr>
            <p:ph type="sldNum" sz="quarter" idx="12"/>
          </p:nvPr>
        </p:nvSpPr>
        <p:spPr/>
        <p:txBody>
          <a:bodyPr/>
          <a:lstStyle>
            <a:lvl1pPr>
              <a:defRPr/>
            </a:lvl1pPr>
          </a:lstStyle>
          <a:p>
            <a:fld id="{546713ED-0D50-42B9-98DE-04CFF2F73FDD}"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11073399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 1"/>
          <p:cNvSpPr>
            <a:spLocks noGrp="1"/>
          </p:cNvSpPr>
          <p:nvPr>
            <p:ph type="dt" sz="half" idx="10"/>
          </p:nvPr>
        </p:nvSpPr>
        <p:spPr/>
        <p:txBody>
          <a:bodyPr/>
          <a:lstStyle>
            <a:lvl1pPr>
              <a:defRPr/>
            </a:lvl1pPr>
          </a:lstStyle>
          <a:p>
            <a:endParaRPr lang="en-US" altLang="ja-JP">
              <a:solidFill>
                <a:srgbClr val="000000"/>
              </a:solidFill>
            </a:endParaRPr>
          </a:p>
        </p:txBody>
      </p:sp>
      <p:sp>
        <p:nvSpPr>
          <p:cNvPr id="3" name="フッター プレースホルダ 2"/>
          <p:cNvSpPr>
            <a:spLocks noGrp="1"/>
          </p:cNvSpPr>
          <p:nvPr>
            <p:ph type="ftr" sz="quarter" idx="11"/>
          </p:nvPr>
        </p:nvSpPr>
        <p:spPr/>
        <p:txBody>
          <a:bodyPr/>
          <a:lstStyle>
            <a:lvl1pPr>
              <a:defRPr/>
            </a:lvl1pPr>
          </a:lstStyle>
          <a:p>
            <a:endParaRPr lang="en-US" altLang="ja-JP">
              <a:solidFill>
                <a:srgbClr val="000000"/>
              </a:solidFill>
            </a:endParaRPr>
          </a:p>
        </p:txBody>
      </p:sp>
      <p:sp>
        <p:nvSpPr>
          <p:cNvPr id="4" name="スライド番号プレースホルダ 3"/>
          <p:cNvSpPr>
            <a:spLocks noGrp="1"/>
          </p:cNvSpPr>
          <p:nvPr>
            <p:ph type="sldNum" sz="quarter" idx="12"/>
          </p:nvPr>
        </p:nvSpPr>
        <p:spPr/>
        <p:txBody>
          <a:bodyPr/>
          <a:lstStyle>
            <a:lvl1pPr>
              <a:defRPr/>
            </a:lvl1pPr>
          </a:lstStyle>
          <a:p>
            <a:fld id="{0E455E4F-1C3C-4418-94C1-62F004438B6B}"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5313338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308951"/>
            <a:ext cx="3258484" cy="1314838"/>
          </a:xfrm>
        </p:spPr>
        <p:txBody>
          <a:bodyPr anchor="b"/>
          <a:lstStyle>
            <a:lvl1pPr algn="l">
              <a:defRPr sz="2073" b="1"/>
            </a:lvl1pPr>
          </a:lstStyle>
          <a:p>
            <a:r>
              <a:rPr lang="ja-JP" altLang="en-US"/>
              <a:t>マスタ タイトルの書式設定</a:t>
            </a:r>
          </a:p>
        </p:txBody>
      </p:sp>
      <p:sp>
        <p:nvSpPr>
          <p:cNvPr id="3" name="コンテンツ プレースホルダ 2"/>
          <p:cNvSpPr>
            <a:spLocks noGrp="1"/>
          </p:cNvSpPr>
          <p:nvPr>
            <p:ph idx="1"/>
          </p:nvPr>
        </p:nvSpPr>
        <p:spPr>
          <a:xfrm>
            <a:off x="3872351" y="308955"/>
            <a:ext cx="5536842" cy="6622689"/>
          </a:xfrm>
        </p:spPr>
        <p:txBody>
          <a:bodyPr/>
          <a:lstStyle>
            <a:lvl1pPr>
              <a:defRPr sz="3318"/>
            </a:lvl1pPr>
            <a:lvl2pPr>
              <a:defRPr sz="2904"/>
            </a:lvl2pPr>
            <a:lvl3pPr>
              <a:defRPr sz="2489"/>
            </a:lvl3pPr>
            <a:lvl4pPr>
              <a:defRPr sz="2073"/>
            </a:lvl4pPr>
            <a:lvl5pPr>
              <a:defRPr sz="2073"/>
            </a:lvl5pPr>
            <a:lvl6pPr>
              <a:defRPr sz="2073"/>
            </a:lvl6pPr>
            <a:lvl7pPr>
              <a:defRPr sz="2073"/>
            </a:lvl7pPr>
            <a:lvl8pPr>
              <a:defRPr sz="2073"/>
            </a:lvl8pPr>
            <a:lvl9pPr>
              <a:defRPr sz="2073"/>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221" y="1623793"/>
            <a:ext cx="3258484" cy="5307851"/>
          </a:xfrm>
        </p:spPr>
        <p:txBody>
          <a:bodyPr/>
          <a:lstStyle>
            <a:lvl1pPr marL="0" indent="0">
              <a:buNone/>
              <a:defRPr sz="1451"/>
            </a:lvl1pPr>
            <a:lvl2pPr marL="474106" indent="0">
              <a:buNone/>
              <a:defRPr sz="1245"/>
            </a:lvl2pPr>
            <a:lvl3pPr marL="948212" indent="0">
              <a:buNone/>
              <a:defRPr sz="1037"/>
            </a:lvl3pPr>
            <a:lvl4pPr marL="1422316" indent="0">
              <a:buNone/>
              <a:defRPr sz="934"/>
            </a:lvl4pPr>
            <a:lvl5pPr marL="1896421" indent="0">
              <a:buNone/>
              <a:defRPr sz="934"/>
            </a:lvl5pPr>
            <a:lvl6pPr marL="2370528" indent="0">
              <a:buNone/>
              <a:defRPr sz="934"/>
            </a:lvl6pPr>
            <a:lvl7pPr marL="2844634" indent="0">
              <a:buNone/>
              <a:defRPr sz="934"/>
            </a:lvl7pPr>
            <a:lvl8pPr marL="3318738" indent="0">
              <a:buNone/>
              <a:defRPr sz="934"/>
            </a:lvl8pPr>
            <a:lvl9pPr marL="3792844" indent="0">
              <a:buNone/>
              <a:defRPr sz="934"/>
            </a:lvl9pPr>
          </a:lstStyle>
          <a:p>
            <a:pPr lvl="0"/>
            <a:r>
              <a:rPr lang="ja-JP" altLang="en-US"/>
              <a:t>マスタ テキストの書式設定</a:t>
            </a:r>
          </a:p>
        </p:txBody>
      </p:sp>
      <p:sp>
        <p:nvSpPr>
          <p:cNvPr id="5"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6"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スライド番号プレースホルダ 6"/>
          <p:cNvSpPr>
            <a:spLocks noGrp="1"/>
          </p:cNvSpPr>
          <p:nvPr>
            <p:ph type="sldNum" sz="quarter" idx="12"/>
          </p:nvPr>
        </p:nvSpPr>
        <p:spPr/>
        <p:txBody>
          <a:bodyPr/>
          <a:lstStyle>
            <a:lvl1pPr>
              <a:defRPr/>
            </a:lvl1pPr>
          </a:lstStyle>
          <a:p>
            <a:fld id="{FBCE7A30-893F-4B03-B8AA-F86D6ED20D76}"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7600811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334" y="5431790"/>
            <a:ext cx="5942648" cy="641254"/>
          </a:xfrm>
        </p:spPr>
        <p:txBody>
          <a:bodyPr anchor="b"/>
          <a:lstStyle>
            <a:lvl1pPr algn="l">
              <a:defRPr sz="2073" b="1"/>
            </a:lvl1pPr>
          </a:lstStyle>
          <a:p>
            <a:r>
              <a:rPr lang="ja-JP" altLang="en-US"/>
              <a:t>マスタ タイトルの書式設定</a:t>
            </a:r>
          </a:p>
        </p:txBody>
      </p:sp>
      <p:sp>
        <p:nvSpPr>
          <p:cNvPr id="3" name="図プレースホルダ 2"/>
          <p:cNvSpPr>
            <a:spLocks noGrp="1"/>
          </p:cNvSpPr>
          <p:nvPr>
            <p:ph type="pic" idx="1"/>
          </p:nvPr>
        </p:nvSpPr>
        <p:spPr>
          <a:xfrm>
            <a:off x="1941334" y="693344"/>
            <a:ext cx="5942648" cy="4655820"/>
          </a:xfrm>
        </p:spPr>
        <p:txBody>
          <a:bodyPr/>
          <a:lstStyle>
            <a:lvl1pPr marL="0" indent="0">
              <a:buNone/>
              <a:defRPr sz="3318"/>
            </a:lvl1pPr>
            <a:lvl2pPr marL="474106" indent="0">
              <a:buNone/>
              <a:defRPr sz="2904"/>
            </a:lvl2pPr>
            <a:lvl3pPr marL="948212" indent="0">
              <a:buNone/>
              <a:defRPr sz="2489"/>
            </a:lvl3pPr>
            <a:lvl4pPr marL="1422316" indent="0">
              <a:buNone/>
              <a:defRPr sz="2073"/>
            </a:lvl4pPr>
            <a:lvl5pPr marL="1896421" indent="0">
              <a:buNone/>
              <a:defRPr sz="2073"/>
            </a:lvl5pPr>
            <a:lvl6pPr marL="2370528" indent="0">
              <a:buNone/>
              <a:defRPr sz="2073"/>
            </a:lvl6pPr>
            <a:lvl7pPr marL="2844634" indent="0">
              <a:buNone/>
              <a:defRPr sz="2073"/>
            </a:lvl7pPr>
            <a:lvl8pPr marL="3318738" indent="0">
              <a:buNone/>
              <a:defRPr sz="2073"/>
            </a:lvl8pPr>
            <a:lvl9pPr marL="3792844" indent="0">
              <a:buNone/>
              <a:defRPr sz="2073"/>
            </a:lvl9pPr>
          </a:lstStyle>
          <a:p>
            <a:endParaRPr lang="ja-JP" altLang="en-US"/>
          </a:p>
        </p:txBody>
      </p:sp>
      <p:sp>
        <p:nvSpPr>
          <p:cNvPr id="4" name="テキスト プレースホルダ 3"/>
          <p:cNvSpPr>
            <a:spLocks noGrp="1"/>
          </p:cNvSpPr>
          <p:nvPr>
            <p:ph type="body" sz="half" idx="2"/>
          </p:nvPr>
        </p:nvSpPr>
        <p:spPr>
          <a:xfrm>
            <a:off x="1941334" y="6073044"/>
            <a:ext cx="5942648" cy="910686"/>
          </a:xfrm>
        </p:spPr>
        <p:txBody>
          <a:bodyPr/>
          <a:lstStyle>
            <a:lvl1pPr marL="0" indent="0">
              <a:buNone/>
              <a:defRPr sz="1451"/>
            </a:lvl1pPr>
            <a:lvl2pPr marL="474106" indent="0">
              <a:buNone/>
              <a:defRPr sz="1245"/>
            </a:lvl2pPr>
            <a:lvl3pPr marL="948212" indent="0">
              <a:buNone/>
              <a:defRPr sz="1037"/>
            </a:lvl3pPr>
            <a:lvl4pPr marL="1422316" indent="0">
              <a:buNone/>
              <a:defRPr sz="934"/>
            </a:lvl4pPr>
            <a:lvl5pPr marL="1896421" indent="0">
              <a:buNone/>
              <a:defRPr sz="934"/>
            </a:lvl5pPr>
            <a:lvl6pPr marL="2370528" indent="0">
              <a:buNone/>
              <a:defRPr sz="934"/>
            </a:lvl6pPr>
            <a:lvl7pPr marL="2844634" indent="0">
              <a:buNone/>
              <a:defRPr sz="934"/>
            </a:lvl7pPr>
            <a:lvl8pPr marL="3318738" indent="0">
              <a:buNone/>
              <a:defRPr sz="934"/>
            </a:lvl8pPr>
            <a:lvl9pPr marL="3792844" indent="0">
              <a:buNone/>
              <a:defRPr sz="934"/>
            </a:lvl9pPr>
          </a:lstStyle>
          <a:p>
            <a:pPr lvl="0"/>
            <a:r>
              <a:rPr lang="ja-JP" altLang="en-US"/>
              <a:t>マスタ テキストの書式設定</a:t>
            </a:r>
          </a:p>
        </p:txBody>
      </p:sp>
      <p:sp>
        <p:nvSpPr>
          <p:cNvPr id="5" name="日付プレースホルダ 4"/>
          <p:cNvSpPr>
            <a:spLocks noGrp="1"/>
          </p:cNvSpPr>
          <p:nvPr>
            <p:ph type="dt" sz="half" idx="10"/>
          </p:nvPr>
        </p:nvSpPr>
        <p:spPr/>
        <p:txBody>
          <a:bodyPr/>
          <a:lstStyle>
            <a:lvl1pPr>
              <a:defRPr/>
            </a:lvl1pPr>
          </a:lstStyle>
          <a:p>
            <a:endParaRPr lang="en-US" altLang="ja-JP">
              <a:solidFill>
                <a:srgbClr val="000000"/>
              </a:solidFill>
            </a:endParaRPr>
          </a:p>
        </p:txBody>
      </p:sp>
      <p:sp>
        <p:nvSpPr>
          <p:cNvPr id="6" name="フッター プレースホルダ 5"/>
          <p:cNvSpPr>
            <a:spLocks noGrp="1"/>
          </p:cNvSpPr>
          <p:nvPr>
            <p:ph type="ftr" sz="quarter" idx="11"/>
          </p:nvPr>
        </p:nvSpPr>
        <p:spPr/>
        <p:txBody>
          <a:bodyPr/>
          <a:lstStyle>
            <a:lvl1pPr>
              <a:defRPr/>
            </a:lvl1pPr>
          </a:lstStyle>
          <a:p>
            <a:endParaRPr lang="en-US" altLang="ja-JP">
              <a:solidFill>
                <a:srgbClr val="000000"/>
              </a:solidFill>
            </a:endParaRPr>
          </a:p>
        </p:txBody>
      </p:sp>
      <p:sp>
        <p:nvSpPr>
          <p:cNvPr id="7" name="スライド番号プレースホルダ 6"/>
          <p:cNvSpPr>
            <a:spLocks noGrp="1"/>
          </p:cNvSpPr>
          <p:nvPr>
            <p:ph type="sldNum" sz="quarter" idx="12"/>
          </p:nvPr>
        </p:nvSpPr>
        <p:spPr/>
        <p:txBody>
          <a:bodyPr/>
          <a:lstStyle>
            <a:lvl1pPr>
              <a:defRPr/>
            </a:lvl1pPr>
          </a:lstStyle>
          <a:p>
            <a:fld id="{978AE1FF-E445-433E-8A78-818E9B40CAF7}"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40772813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 5"/>
          <p:cNvSpPr>
            <a:spLocks noGrp="1"/>
          </p:cNvSpPr>
          <p:nvPr>
            <p:ph type="sldNum" sz="quarter" idx="12"/>
          </p:nvPr>
        </p:nvSpPr>
        <p:spPr/>
        <p:txBody>
          <a:bodyPr/>
          <a:lstStyle>
            <a:lvl1pPr>
              <a:defRPr/>
            </a:lvl1pPr>
          </a:lstStyle>
          <a:p>
            <a:fld id="{6A1D7A0D-BB0C-4FB6-B451-F292C1B87CB8}"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26176805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6894" y="4"/>
            <a:ext cx="2352298" cy="6931640"/>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1" y="4"/>
            <a:ext cx="6891821" cy="6931640"/>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endParaRPr lang="en-US" altLang="ja-JP">
              <a:solidFill>
                <a:srgbClr val="000000"/>
              </a:solidFill>
            </a:endParaRPr>
          </a:p>
        </p:txBody>
      </p:sp>
      <p:sp>
        <p:nvSpPr>
          <p:cNvPr id="5" name="フッター プレースホルダ 4"/>
          <p:cNvSpPr>
            <a:spLocks noGrp="1"/>
          </p:cNvSpPr>
          <p:nvPr>
            <p:ph type="ftr" sz="quarter" idx="11"/>
          </p:nvPr>
        </p:nvSpPr>
        <p:spPr/>
        <p:txBody>
          <a:bodyPr/>
          <a:lstStyle>
            <a:lvl1pPr>
              <a:defRPr/>
            </a:lvl1pPr>
          </a:lstStyle>
          <a:p>
            <a:endParaRPr lang="en-US" altLang="ja-JP">
              <a:solidFill>
                <a:srgbClr val="000000"/>
              </a:solidFill>
            </a:endParaRPr>
          </a:p>
        </p:txBody>
      </p:sp>
      <p:sp>
        <p:nvSpPr>
          <p:cNvPr id="6" name="スライド番号プレースホルダ 5"/>
          <p:cNvSpPr>
            <a:spLocks noGrp="1"/>
          </p:cNvSpPr>
          <p:nvPr>
            <p:ph type="sldNum" sz="quarter" idx="12"/>
          </p:nvPr>
        </p:nvSpPr>
        <p:spPr/>
        <p:txBody>
          <a:bodyPr/>
          <a:lstStyle>
            <a:lvl1pPr>
              <a:defRPr/>
            </a:lvl1pPr>
          </a:lstStyle>
          <a:p>
            <a:fld id="{0FD7C9B2-4CDB-4600-A53C-055E1C7CF6EF}" type="slidenum">
              <a:rPr lang="en-US" altLang="ja-JP">
                <a:solidFill>
                  <a:srgbClr val="000000"/>
                </a:solidFill>
              </a:rPr>
              <a:pPr/>
              <a:t>‹#›</a:t>
            </a:fld>
            <a:endParaRPr lang="en-US" altLang="ja-JP">
              <a:solidFill>
                <a:srgbClr val="000000"/>
              </a:solidFill>
            </a:endParaRPr>
          </a:p>
        </p:txBody>
      </p:sp>
    </p:spTree>
    <p:extLst>
      <p:ext uri="{BB962C8B-B14F-4D97-AF65-F5344CB8AC3E}">
        <p14:creationId xmlns:p14="http://schemas.microsoft.com/office/powerpoint/2010/main" val="35574236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1956" name="Picture 7" descr="mlit_top"/>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t="62230"/>
          <a:stretch>
            <a:fillRect/>
          </a:stretch>
        </p:blipFill>
        <p:spPr>
          <a:xfrm>
            <a:off x="0" y="7382494"/>
            <a:ext cx="9904413" cy="377208"/>
          </a:xfrm>
          <a:prstGeom prst="rect">
            <a:avLst/>
          </a:prstGeom>
          <a:noFill/>
          <a:ln>
            <a:noFill/>
          </a:ln>
        </p:spPr>
      </p:pic>
      <p:sp>
        <p:nvSpPr>
          <p:cNvPr id="1957" name="Rectangle 9"/>
          <p:cNvSpPr>
            <a:spLocks noChangeArrowheads="1"/>
          </p:cNvSpPr>
          <p:nvPr userDrawn="1"/>
        </p:nvSpPr>
        <p:spPr>
          <a:xfrm>
            <a:off x="1833005" y="3716396"/>
            <a:ext cx="8071409" cy="82626"/>
          </a:xfrm>
          <a:prstGeom prst="rect">
            <a:avLst/>
          </a:prstGeom>
          <a:solidFill>
            <a:srgbClr val="0066CC"/>
          </a:solidFill>
          <a:ln>
            <a:noFill/>
          </a:ln>
        </p:spPr>
        <p:txBody>
          <a:bodyPr wrap="none" anchor="ct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endParaRPr lang="ja-JP" altLang="en-US">
              <a:solidFill>
                <a:srgbClr val="000000"/>
              </a:solidFill>
            </a:endParaRPr>
          </a:p>
        </p:txBody>
      </p:sp>
      <p:pic>
        <p:nvPicPr>
          <p:cNvPr id="1958" name="Picture 11"/>
          <p:cNvPicPr>
            <a:picLocks noChangeAspect="1" noChangeArrowheads="1"/>
          </p:cNvPicPr>
          <p:nvPr userDrawn="1"/>
        </p:nvPicPr>
        <p:blipFill>
          <a:blip r:embed="rId3" cstate="email">
            <a:extLst>
              <a:ext uri="{28A0092B-C50C-407E-A947-70E740481C1C}">
                <a14:useLocalDpi xmlns:a14="http://schemas.microsoft.com/office/drawing/2010/main" val="0"/>
              </a:ext>
            </a:extLst>
          </a:blip>
          <a:stretch>
            <a:fillRect/>
          </a:stretch>
        </p:blipFill>
        <p:spPr>
          <a:xfrm>
            <a:off x="2" y="6847218"/>
            <a:ext cx="2300712" cy="535276"/>
          </a:xfrm>
          <a:prstGeom prst="rect">
            <a:avLst/>
          </a:prstGeom>
          <a:noFill/>
          <a:ln>
            <a:noFill/>
          </a:ln>
        </p:spPr>
      </p:pic>
      <p:sp>
        <p:nvSpPr>
          <p:cNvPr id="1959" name="Text Box 12"/>
          <p:cNvSpPr txBox="1">
            <a:spLocks noChangeArrowheads="1"/>
          </p:cNvSpPr>
          <p:nvPr userDrawn="1"/>
        </p:nvSpPr>
        <p:spPr>
          <a:xfrm>
            <a:off x="1" y="7382493"/>
            <a:ext cx="3642920" cy="276999"/>
          </a:xfrm>
          <a:prstGeom prst="rect">
            <a:avLst/>
          </a:prstGeom>
          <a:noFill/>
          <a:ln>
            <a:noFill/>
          </a:ln>
        </p:spPr>
        <p:txBody>
          <a:bodyPr wrap="none">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eaLnBrk="1" hangingPunct="1"/>
            <a:r>
              <a:rPr lang="en-US" altLang="ja-JP" sz="1200" i="1">
                <a:solidFill>
                  <a:srgbClr val="FFFFFF"/>
                </a:solidFill>
                <a:latin typeface="Times New Roman" pitchFamily="18" charset="0"/>
              </a:rPr>
              <a:t>Ministry of Land, Infrastructure, Transport and Tourism</a:t>
            </a:r>
          </a:p>
        </p:txBody>
      </p:sp>
      <p:sp>
        <p:nvSpPr>
          <p:cNvPr id="1960" name="テキスト ボックス 18"/>
          <p:cNvSpPr txBox="1">
            <a:spLocks noChangeArrowheads="1"/>
          </p:cNvSpPr>
          <p:nvPr userDrawn="1"/>
        </p:nvSpPr>
        <p:spPr>
          <a:xfrm>
            <a:off x="8657765" y="64666"/>
            <a:ext cx="1208819" cy="276999"/>
          </a:xfrm>
          <a:prstGeom prst="rect">
            <a:avLst/>
          </a:prstGeom>
          <a:noFill/>
          <a:ln w="19050">
            <a:solidFill>
              <a:schemeClr val="tx1"/>
            </a:solidFill>
            <a:miter lim="800000"/>
            <a:headEnd/>
            <a:tailEnd/>
          </a:ln>
        </p:spPr>
        <p:txBody>
          <a:bodyPr>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algn="ctr" eaLnBrk="1" hangingPunct="1"/>
            <a:r>
              <a:rPr lang="en-US" altLang="ja-JP" sz="1200" b="1" dirty="0">
                <a:solidFill>
                  <a:srgbClr val="000000"/>
                </a:solidFill>
              </a:rPr>
              <a:t>【</a:t>
            </a:r>
            <a:r>
              <a:rPr lang="ja-JP" altLang="en-US" sz="1200" b="1" dirty="0">
                <a:solidFill>
                  <a:srgbClr val="000000"/>
                </a:solidFill>
              </a:rPr>
              <a:t>機密性２</a:t>
            </a:r>
            <a:r>
              <a:rPr lang="en-US" altLang="ja-JP" sz="1200" b="1" dirty="0">
                <a:solidFill>
                  <a:srgbClr val="000000"/>
                </a:solidFill>
              </a:rPr>
              <a:t>】</a:t>
            </a:r>
          </a:p>
        </p:txBody>
      </p:sp>
      <p:sp>
        <p:nvSpPr>
          <p:cNvPr id="1961" name="Rectangle 2"/>
          <p:cNvSpPr>
            <a:spLocks noGrp="1" noChangeArrowheads="1"/>
          </p:cNvSpPr>
          <p:nvPr>
            <p:ph type="ctrTitle"/>
          </p:nvPr>
        </p:nvSpPr>
        <p:spPr>
          <a:xfrm>
            <a:off x="1753906" y="2414131"/>
            <a:ext cx="8150507" cy="1663306"/>
          </a:xfrm>
        </p:spPr>
        <p:txBody>
          <a:bodyPr/>
          <a:lstStyle>
            <a:lvl1pPr>
              <a:defRPr sz="3999"/>
            </a:lvl1pPr>
          </a:lstStyle>
          <a:p>
            <a:r>
              <a:rPr lang="ja-JP" altLang="en-US"/>
              <a:t>マスター タイトルの書式設定</a:t>
            </a:r>
          </a:p>
        </p:txBody>
      </p:sp>
      <p:sp>
        <p:nvSpPr>
          <p:cNvPr id="1962" name="Rectangle 3"/>
          <p:cNvSpPr>
            <a:spLocks noGrp="1" noChangeArrowheads="1"/>
          </p:cNvSpPr>
          <p:nvPr>
            <p:ph type="subTitle" idx="1"/>
          </p:nvPr>
        </p:nvSpPr>
        <p:spPr>
          <a:xfrm>
            <a:off x="1485662" y="4397164"/>
            <a:ext cx="6933089" cy="1983034"/>
          </a:xfrm>
        </p:spPr>
        <p:txBody>
          <a:bodyPr/>
          <a:lstStyle>
            <a:lvl1pPr marL="0" indent="0" algn="ctr">
              <a:buFontTx/>
              <a:buNone/>
              <a:defRPr/>
            </a:lvl1pPr>
          </a:lstStyle>
          <a:p>
            <a:r>
              <a:rPr lang="ja-JP" altLang="en-US"/>
              <a:t>マスター サブタイトルの書式設定</a:t>
            </a:r>
          </a:p>
        </p:txBody>
      </p:sp>
      <p:sp>
        <p:nvSpPr>
          <p:cNvPr id="1963" name="Rectangle 4"/>
          <p:cNvSpPr>
            <a:spLocks noGrp="1" noChangeArrowheads="1"/>
          </p:cNvSpPr>
          <p:nvPr>
            <p:ph type="dt" sz="half" idx="10"/>
          </p:nvPr>
        </p:nvSpPr>
        <p:spPr/>
        <p:txBody>
          <a:bodyPr/>
          <a:lstStyle>
            <a:lvl1pPr>
              <a:defRPr/>
            </a:lvl1pPr>
          </a:lstStyle>
          <a:p>
            <a:pPr>
              <a:defRPr/>
            </a:pPr>
            <a:endParaRPr lang="en-US" altLang="ja-JP">
              <a:solidFill>
                <a:srgbClr val="000000"/>
              </a:solidFill>
            </a:endParaRPr>
          </a:p>
        </p:txBody>
      </p:sp>
      <p:sp>
        <p:nvSpPr>
          <p:cNvPr id="1964" name="Rectangle 5"/>
          <p:cNvSpPr>
            <a:spLocks noGrp="1" noChangeArrowheads="1"/>
          </p:cNvSpPr>
          <p:nvPr>
            <p:ph type="ftr" sz="quarter" idx="11"/>
          </p:nvPr>
        </p:nvSpPr>
        <p:spPr/>
        <p:txBody>
          <a:bodyPr/>
          <a:lstStyle>
            <a:lvl1pPr>
              <a:defRPr/>
            </a:lvl1pPr>
          </a:lstStyle>
          <a:p>
            <a:pPr>
              <a:defRPr/>
            </a:pPr>
            <a:endParaRPr lang="en-US" altLang="ja-JP">
              <a:solidFill>
                <a:srgbClr val="000000"/>
              </a:solidFill>
            </a:endParaRPr>
          </a:p>
        </p:txBody>
      </p:sp>
      <p:sp>
        <p:nvSpPr>
          <p:cNvPr id="1965" name="Rectangle 6"/>
          <p:cNvSpPr>
            <a:spLocks noGrp="1" noChangeArrowheads="1"/>
          </p:cNvSpPr>
          <p:nvPr>
            <p:ph type="sldNum" sz="quarter" idx="12"/>
          </p:nvPr>
        </p:nvSpPr>
        <p:spPr>
          <a:xfrm>
            <a:off x="7098163" y="7066356"/>
            <a:ext cx="2311030" cy="538868"/>
          </a:xfrm>
        </p:spPr>
        <p:txBody>
          <a:bodyPr/>
          <a:lstStyle>
            <a:lvl1pPr>
              <a:defRPr/>
            </a:lvl1pPr>
          </a:lstStyle>
          <a:p>
            <a:pPr>
              <a:defRPr/>
            </a:pPr>
            <a:fld id="{35C1E978-A3B9-4673-8199-379729392307}"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6064266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967" name="タイトル 1"/>
          <p:cNvSpPr>
            <a:spLocks noGrp="1"/>
          </p:cNvSpPr>
          <p:nvPr>
            <p:ph type="title"/>
          </p:nvPr>
        </p:nvSpPr>
        <p:spPr/>
        <p:txBody>
          <a:bodyPr/>
          <a:lstStyle/>
          <a:p>
            <a:r>
              <a:rPr lang="ja-JP" altLang="en-US"/>
              <a:t>マスター タイトルの書式設定</a:t>
            </a:r>
          </a:p>
        </p:txBody>
      </p:sp>
      <p:sp>
        <p:nvSpPr>
          <p:cNvPr id="1968"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69"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970"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971" name="Rectangle 6"/>
          <p:cNvSpPr>
            <a:spLocks noGrp="1" noChangeArrowheads="1"/>
          </p:cNvSpPr>
          <p:nvPr>
            <p:ph type="sldNum" sz="quarter" idx="12"/>
          </p:nvPr>
        </p:nvSpPr>
        <p:spPr>
          <a:ln/>
        </p:spPr>
        <p:txBody>
          <a:bodyPr/>
          <a:lstStyle>
            <a:lvl1pPr>
              <a:defRPr/>
            </a:lvl1pPr>
          </a:lstStyle>
          <a:p>
            <a:pPr>
              <a:defRPr/>
            </a:pPr>
            <a:fld id="{651FC12D-27C1-4F31-90C9-A93D49E44687}"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105426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973" name="タイトル 1"/>
          <p:cNvSpPr>
            <a:spLocks noGrp="1"/>
          </p:cNvSpPr>
          <p:nvPr>
            <p:ph type="title"/>
          </p:nvPr>
        </p:nvSpPr>
        <p:spPr>
          <a:xfrm>
            <a:off x="782381" y="4986327"/>
            <a:ext cx="8418751" cy="1541163"/>
          </a:xfrm>
        </p:spPr>
        <p:txBody>
          <a:bodyPr anchor="t"/>
          <a:lstStyle>
            <a:lvl1pPr algn="l">
              <a:defRPr sz="3999" b="1" cap="all"/>
            </a:lvl1pPr>
          </a:lstStyle>
          <a:p>
            <a:r>
              <a:rPr lang="ja-JP" altLang="en-US"/>
              <a:t>マスター タイトルの書式設定</a:t>
            </a:r>
          </a:p>
        </p:txBody>
      </p:sp>
      <p:sp>
        <p:nvSpPr>
          <p:cNvPr id="1974" name="テキスト プレースホルダ 2"/>
          <p:cNvSpPr>
            <a:spLocks noGrp="1"/>
          </p:cNvSpPr>
          <p:nvPr>
            <p:ph type="body" idx="1"/>
          </p:nvPr>
        </p:nvSpPr>
        <p:spPr>
          <a:xfrm>
            <a:off x="782381" y="3288892"/>
            <a:ext cx="8418751" cy="1697434"/>
          </a:xfrm>
        </p:spPr>
        <p:txBody>
          <a:bodyPr anchor="b"/>
          <a:lstStyle>
            <a:lvl1pPr marL="0" indent="0">
              <a:buNone/>
              <a:defRPr sz="2000"/>
            </a:lvl1pPr>
            <a:lvl2pPr marL="457109" indent="0">
              <a:buNone/>
              <a:defRPr sz="1800"/>
            </a:lvl2pPr>
            <a:lvl3pPr marL="914217" indent="0">
              <a:buNone/>
              <a:defRPr sz="1600"/>
            </a:lvl3pPr>
            <a:lvl4pPr marL="1371326" indent="0">
              <a:buNone/>
              <a:defRPr sz="1400"/>
            </a:lvl4pPr>
            <a:lvl5pPr marL="1828434" indent="0">
              <a:buNone/>
              <a:defRPr sz="1400"/>
            </a:lvl5pPr>
            <a:lvl6pPr marL="2285543" indent="0">
              <a:buNone/>
              <a:defRPr sz="1400"/>
            </a:lvl6pPr>
            <a:lvl7pPr marL="2742651" indent="0">
              <a:buNone/>
              <a:defRPr sz="1400"/>
            </a:lvl7pPr>
            <a:lvl8pPr marL="3199760" indent="0">
              <a:buNone/>
              <a:defRPr sz="1400"/>
            </a:lvl8pPr>
            <a:lvl9pPr marL="3656868" indent="0">
              <a:buNone/>
              <a:defRPr sz="1400"/>
            </a:lvl9pPr>
          </a:lstStyle>
          <a:p>
            <a:pPr lvl="0"/>
            <a:r>
              <a:rPr lang="ja-JP" altLang="en-US"/>
              <a:t>マスター テキストの書式設定</a:t>
            </a:r>
          </a:p>
        </p:txBody>
      </p:sp>
      <p:sp>
        <p:nvSpPr>
          <p:cNvPr id="1975"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976"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977" name="Rectangle 6"/>
          <p:cNvSpPr>
            <a:spLocks noGrp="1" noChangeArrowheads="1"/>
          </p:cNvSpPr>
          <p:nvPr>
            <p:ph type="sldNum" sz="quarter" idx="12"/>
          </p:nvPr>
        </p:nvSpPr>
        <p:spPr>
          <a:ln/>
        </p:spPr>
        <p:txBody>
          <a:bodyPr/>
          <a:lstStyle>
            <a:lvl1pPr>
              <a:defRPr/>
            </a:lvl1pPr>
          </a:lstStyle>
          <a:p>
            <a:pPr>
              <a:defRPr/>
            </a:pPr>
            <a:fld id="{A7694BDB-530F-4364-A4B7-5A1182A1D62D}"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159353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334" y="5431790"/>
            <a:ext cx="5942648" cy="641254"/>
          </a:xfrm>
        </p:spPr>
        <p:txBody>
          <a:bodyPr anchor="b"/>
          <a:lstStyle>
            <a:lvl1pPr algn="l">
              <a:defRPr sz="2200" b="1"/>
            </a:lvl1pPr>
          </a:lstStyle>
          <a:p>
            <a:r>
              <a:rPr lang="ja-JP" altLang="en-US"/>
              <a:t>マスタ タイトルの書式設定</a:t>
            </a:r>
          </a:p>
        </p:txBody>
      </p:sp>
      <p:sp>
        <p:nvSpPr>
          <p:cNvPr id="3" name="図プレースホルダ 2"/>
          <p:cNvSpPr>
            <a:spLocks noGrp="1"/>
          </p:cNvSpPr>
          <p:nvPr>
            <p:ph type="pic" idx="1"/>
          </p:nvPr>
        </p:nvSpPr>
        <p:spPr>
          <a:xfrm>
            <a:off x="1941334" y="693344"/>
            <a:ext cx="5942648" cy="4655820"/>
          </a:xfrm>
        </p:spPr>
        <p:txBody>
          <a:bodyPr/>
          <a:lstStyle>
            <a:lvl1pPr marL="0" indent="0">
              <a:buNone/>
              <a:defRPr sz="3500"/>
            </a:lvl1pPr>
            <a:lvl2pPr marL="504657" indent="0">
              <a:buNone/>
              <a:defRPr sz="3100"/>
            </a:lvl2pPr>
            <a:lvl3pPr marL="1009315" indent="0">
              <a:buNone/>
              <a:defRPr sz="2600"/>
            </a:lvl3pPr>
            <a:lvl4pPr marL="1513972" indent="0">
              <a:buNone/>
              <a:defRPr sz="2200"/>
            </a:lvl4pPr>
            <a:lvl5pPr marL="2018629" indent="0">
              <a:buNone/>
              <a:defRPr sz="2200"/>
            </a:lvl5pPr>
            <a:lvl6pPr marL="2523287" indent="0">
              <a:buNone/>
              <a:defRPr sz="2200"/>
            </a:lvl6pPr>
            <a:lvl7pPr marL="3027944" indent="0">
              <a:buNone/>
              <a:defRPr sz="2200"/>
            </a:lvl7pPr>
            <a:lvl8pPr marL="3532602" indent="0">
              <a:buNone/>
              <a:defRPr sz="2200"/>
            </a:lvl8pPr>
            <a:lvl9pPr marL="4037259" indent="0">
              <a:buNone/>
              <a:defRPr sz="2200"/>
            </a:lvl9pPr>
          </a:lstStyle>
          <a:p>
            <a:pPr lvl="0"/>
            <a:endParaRPr lang="ja-JP" altLang="en-US" noProof="0"/>
          </a:p>
        </p:txBody>
      </p:sp>
      <p:sp>
        <p:nvSpPr>
          <p:cNvPr id="4" name="テキスト プレースホルダ 3"/>
          <p:cNvSpPr>
            <a:spLocks noGrp="1"/>
          </p:cNvSpPr>
          <p:nvPr>
            <p:ph type="body" sz="half" idx="2"/>
          </p:nvPr>
        </p:nvSpPr>
        <p:spPr>
          <a:xfrm>
            <a:off x="1941334" y="6073044"/>
            <a:ext cx="5942648" cy="910686"/>
          </a:xfrm>
        </p:spPr>
        <p:txBody>
          <a:bodyPr/>
          <a:lstStyle>
            <a:lvl1pPr marL="0" indent="0">
              <a:buNone/>
              <a:defRPr sz="1500"/>
            </a:lvl1pPr>
            <a:lvl2pPr marL="504657" indent="0">
              <a:buNone/>
              <a:defRPr sz="1300"/>
            </a:lvl2pPr>
            <a:lvl3pPr marL="1009315" indent="0">
              <a:buNone/>
              <a:defRPr sz="1100"/>
            </a:lvl3pPr>
            <a:lvl4pPr marL="1513972" indent="0">
              <a:buNone/>
              <a:defRPr sz="1000"/>
            </a:lvl4pPr>
            <a:lvl5pPr marL="2018629" indent="0">
              <a:buNone/>
              <a:defRPr sz="1000"/>
            </a:lvl5pPr>
            <a:lvl6pPr marL="2523287" indent="0">
              <a:buNone/>
              <a:defRPr sz="1000"/>
            </a:lvl6pPr>
            <a:lvl7pPr marL="3027944" indent="0">
              <a:buNone/>
              <a:defRPr sz="1000"/>
            </a:lvl7pPr>
            <a:lvl8pPr marL="3532602" indent="0">
              <a:buNone/>
              <a:defRPr sz="1000"/>
            </a:lvl8pPr>
            <a:lvl9pPr marL="4037259" indent="0">
              <a:buNone/>
              <a:defRPr sz="1000"/>
            </a:lvl9pPr>
          </a:lstStyle>
          <a:p>
            <a:pPr lvl="0"/>
            <a:r>
              <a:rPr lang="ja-JP" altLang="en-US"/>
              <a:t>マスタ テキストの書式設定</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p:cNvSpPr>
            <a:spLocks noGrp="1" noChangeArrowheads="1"/>
          </p:cNvSpPr>
          <p:nvPr>
            <p:ph type="sldNum" sz="quarter" idx="12"/>
          </p:nvPr>
        </p:nvSpPr>
        <p:spPr>
          <a:xfrm>
            <a:off x="7593013" y="7230119"/>
            <a:ext cx="2311400" cy="538163"/>
          </a:xfrm>
          <a:ln/>
        </p:spPr>
        <p:txBody>
          <a:bodyPr/>
          <a:lstStyle>
            <a:lvl1pPr>
              <a:defRPr/>
            </a:lvl1pPr>
          </a:lstStyle>
          <a:p>
            <a:pPr>
              <a:defRPr/>
            </a:pPr>
            <a:fld id="{BDA36F3D-3FC9-4C60-80B6-CD263D392449}" type="slidenum">
              <a:rPr lang="en-US" altLang="ja-JP"/>
              <a:pPr>
                <a:defRPr/>
              </a:pPr>
              <a:t>‹#›</a:t>
            </a:fld>
            <a:endParaRPr lang="en-US" altLang="ja-JP"/>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979" name="タイトル 1"/>
          <p:cNvSpPr>
            <a:spLocks noGrp="1"/>
          </p:cNvSpPr>
          <p:nvPr>
            <p:ph type="title"/>
          </p:nvPr>
        </p:nvSpPr>
        <p:spPr/>
        <p:txBody>
          <a:bodyPr/>
          <a:lstStyle/>
          <a:p>
            <a:r>
              <a:rPr lang="ja-JP" altLang="en-US"/>
              <a:t>マスター タイトルの書式設定</a:t>
            </a:r>
          </a:p>
        </p:txBody>
      </p:sp>
      <p:sp>
        <p:nvSpPr>
          <p:cNvPr id="1980" name="コンテンツ プレースホルダ 2"/>
          <p:cNvSpPr>
            <a:spLocks noGrp="1"/>
          </p:cNvSpPr>
          <p:nvPr>
            <p:ph sz="half" idx="1"/>
          </p:nvPr>
        </p:nvSpPr>
        <p:spPr>
          <a:xfrm>
            <a:off x="495221" y="1810599"/>
            <a:ext cx="4374449" cy="5121043"/>
          </a:xfrm>
        </p:spPr>
        <p:txBody>
          <a:bodyPr/>
          <a:lstStyle>
            <a:lvl1pPr>
              <a:defRPr sz="2799"/>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81" name="コンテンツ プレースホルダ 3"/>
          <p:cNvSpPr>
            <a:spLocks noGrp="1"/>
          </p:cNvSpPr>
          <p:nvPr>
            <p:ph sz="half" idx="2"/>
          </p:nvPr>
        </p:nvSpPr>
        <p:spPr>
          <a:xfrm>
            <a:off x="5034743" y="1810599"/>
            <a:ext cx="4374449" cy="5121043"/>
          </a:xfrm>
        </p:spPr>
        <p:txBody>
          <a:bodyPr/>
          <a:lstStyle>
            <a:lvl1pPr>
              <a:defRPr sz="2799"/>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82"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983"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984"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8892239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986" name="タイトル 1"/>
          <p:cNvSpPr>
            <a:spLocks noGrp="1"/>
          </p:cNvSpPr>
          <p:nvPr>
            <p:ph type="title"/>
          </p:nvPr>
        </p:nvSpPr>
        <p:spPr>
          <a:xfrm>
            <a:off x="495221" y="310748"/>
            <a:ext cx="8913972" cy="1293283"/>
          </a:xfrm>
        </p:spPr>
        <p:txBody>
          <a:bodyPr/>
          <a:lstStyle>
            <a:lvl1pPr>
              <a:defRPr/>
            </a:lvl1pPr>
          </a:lstStyle>
          <a:p>
            <a:r>
              <a:rPr lang="ja-JP" altLang="en-US"/>
              <a:t>マスター タイトルの書式設定</a:t>
            </a:r>
          </a:p>
        </p:txBody>
      </p:sp>
      <p:sp>
        <p:nvSpPr>
          <p:cNvPr id="1987" name="テキスト プレースホルダ 2"/>
          <p:cNvSpPr>
            <a:spLocks noGrp="1"/>
          </p:cNvSpPr>
          <p:nvPr>
            <p:ph type="body" idx="1"/>
          </p:nvPr>
        </p:nvSpPr>
        <p:spPr>
          <a:xfrm>
            <a:off x="495221" y="1736952"/>
            <a:ext cx="4376169" cy="723879"/>
          </a:xfr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ja-JP" altLang="en-US"/>
              <a:t>マスター テキストの書式設定</a:t>
            </a:r>
          </a:p>
        </p:txBody>
      </p:sp>
      <p:sp>
        <p:nvSpPr>
          <p:cNvPr id="1988" name="コンテンツ プレースホルダ 3"/>
          <p:cNvSpPr>
            <a:spLocks noGrp="1"/>
          </p:cNvSpPr>
          <p:nvPr>
            <p:ph sz="half" idx="2"/>
          </p:nvPr>
        </p:nvSpPr>
        <p:spPr>
          <a:xfrm>
            <a:off x="495221" y="2460831"/>
            <a:ext cx="4376169" cy="447080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89" name="テキスト プレースホルダ 4"/>
          <p:cNvSpPr>
            <a:spLocks noGrp="1"/>
          </p:cNvSpPr>
          <p:nvPr>
            <p:ph type="body" sz="quarter" idx="3"/>
          </p:nvPr>
        </p:nvSpPr>
        <p:spPr>
          <a:xfrm>
            <a:off x="5031305" y="1736952"/>
            <a:ext cx="4377889" cy="723879"/>
          </a:xfr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ja-JP" altLang="en-US"/>
              <a:t>マスター テキストの書式設定</a:t>
            </a:r>
          </a:p>
        </p:txBody>
      </p:sp>
      <p:sp>
        <p:nvSpPr>
          <p:cNvPr id="1990" name="コンテンツ プレースホルダ 5"/>
          <p:cNvSpPr>
            <a:spLocks noGrp="1"/>
          </p:cNvSpPr>
          <p:nvPr>
            <p:ph sz="quarter" idx="4"/>
          </p:nvPr>
        </p:nvSpPr>
        <p:spPr>
          <a:xfrm>
            <a:off x="5031305" y="2460831"/>
            <a:ext cx="4377889" cy="4470809"/>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91"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992"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993" name="Rectangle 6"/>
          <p:cNvSpPr>
            <a:spLocks noGrp="1" noChangeArrowheads="1"/>
          </p:cNvSpPr>
          <p:nvPr>
            <p:ph type="sldNum" sz="quarter" idx="12"/>
          </p:nvPr>
        </p:nvSpPr>
        <p:spPr>
          <a:ln/>
        </p:spPr>
        <p:txBody>
          <a:bodyPr/>
          <a:lstStyle>
            <a:lvl1pPr>
              <a:defRPr/>
            </a:lvl1pPr>
          </a:lstStyle>
          <a:p>
            <a:pPr>
              <a:defRPr/>
            </a:pPr>
            <a:fld id="{DB541BEC-AD9E-4104-AF2B-4C626651FF89}"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6390498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995" name="タイトル 1"/>
          <p:cNvSpPr>
            <a:spLocks noGrp="1"/>
          </p:cNvSpPr>
          <p:nvPr>
            <p:ph type="title"/>
          </p:nvPr>
        </p:nvSpPr>
        <p:spPr/>
        <p:txBody>
          <a:bodyPr/>
          <a:lstStyle/>
          <a:p>
            <a:r>
              <a:rPr lang="ja-JP" altLang="en-US"/>
              <a:t>マスター タイトルの書式設定</a:t>
            </a:r>
          </a:p>
        </p:txBody>
      </p:sp>
      <p:sp>
        <p:nvSpPr>
          <p:cNvPr id="1996"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997"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998" name="Rectangle 6"/>
          <p:cNvSpPr>
            <a:spLocks noGrp="1" noChangeArrowheads="1"/>
          </p:cNvSpPr>
          <p:nvPr>
            <p:ph type="sldNum" sz="quarter" idx="12"/>
          </p:nvPr>
        </p:nvSpPr>
        <p:spPr>
          <a:ln/>
        </p:spPr>
        <p:txBody>
          <a:bodyPr/>
          <a:lstStyle>
            <a:lvl1pPr>
              <a:defRPr/>
            </a:lvl1pPr>
          </a:lstStyle>
          <a:p>
            <a:pPr>
              <a:defRPr/>
            </a:pPr>
            <a:fld id="{06FFE511-5094-4685-A035-FB392A6605D8}"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794677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000"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2001"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2002" name="Rectangle 6"/>
          <p:cNvSpPr>
            <a:spLocks noGrp="1" noChangeArrowheads="1"/>
          </p:cNvSpPr>
          <p:nvPr>
            <p:ph type="sldNum" sz="quarter" idx="12"/>
          </p:nvPr>
        </p:nvSpPr>
        <p:spPr>
          <a:ln/>
        </p:spPr>
        <p:txBody>
          <a:bodyPr/>
          <a:lstStyle>
            <a:lvl1pPr>
              <a:defRPr/>
            </a:lvl1pPr>
          </a:lstStyle>
          <a:p>
            <a:pPr>
              <a:defRPr/>
            </a:pPr>
            <a:fld id="{DE9C2EA1-6911-4BAC-954D-0A2DD024DDCF}"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2229564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004" name="タイトル 1"/>
          <p:cNvSpPr>
            <a:spLocks noGrp="1"/>
          </p:cNvSpPr>
          <p:nvPr>
            <p:ph type="title"/>
          </p:nvPr>
        </p:nvSpPr>
        <p:spPr>
          <a:xfrm>
            <a:off x="495221" y="308951"/>
            <a:ext cx="3258484" cy="1314838"/>
          </a:xfrm>
        </p:spPr>
        <p:txBody>
          <a:bodyPr anchor="b"/>
          <a:lstStyle>
            <a:lvl1pPr algn="l">
              <a:defRPr sz="2000" b="1"/>
            </a:lvl1pPr>
          </a:lstStyle>
          <a:p>
            <a:r>
              <a:rPr lang="ja-JP" altLang="en-US"/>
              <a:t>マスター タイトルの書式設定</a:t>
            </a:r>
          </a:p>
        </p:txBody>
      </p:sp>
      <p:sp>
        <p:nvSpPr>
          <p:cNvPr id="2005" name="コンテンツ プレースホルダ 2"/>
          <p:cNvSpPr>
            <a:spLocks noGrp="1"/>
          </p:cNvSpPr>
          <p:nvPr>
            <p:ph idx="1"/>
          </p:nvPr>
        </p:nvSpPr>
        <p:spPr>
          <a:xfrm>
            <a:off x="3872351" y="308953"/>
            <a:ext cx="5536842" cy="6622689"/>
          </a:xfr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006" name="テキスト プレースホルダ 3"/>
          <p:cNvSpPr>
            <a:spLocks noGrp="1"/>
          </p:cNvSpPr>
          <p:nvPr>
            <p:ph type="body" sz="half" idx="2"/>
          </p:nvPr>
        </p:nvSpPr>
        <p:spPr>
          <a:xfrm>
            <a:off x="495221" y="1623791"/>
            <a:ext cx="3258484" cy="5307851"/>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ja-JP" altLang="en-US"/>
              <a:t>マスター テキストの書式設定</a:t>
            </a:r>
          </a:p>
        </p:txBody>
      </p:sp>
      <p:sp>
        <p:nvSpPr>
          <p:cNvPr id="2007"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2008"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2009" name="Rectangle 6"/>
          <p:cNvSpPr>
            <a:spLocks noGrp="1" noChangeArrowheads="1"/>
          </p:cNvSpPr>
          <p:nvPr>
            <p:ph type="sldNum" sz="quarter" idx="12"/>
          </p:nvPr>
        </p:nvSpPr>
        <p:spPr>
          <a:ln/>
        </p:spPr>
        <p:txBody>
          <a:bodyPr/>
          <a:lstStyle>
            <a:lvl1pPr>
              <a:defRPr/>
            </a:lvl1pPr>
          </a:lstStyle>
          <a:p>
            <a:pPr>
              <a:defRPr/>
            </a:pPr>
            <a:fld id="{460176D3-1CBA-4E5C-8891-6A87D7C30D42}"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02530853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011" name="タイトル 1"/>
          <p:cNvSpPr>
            <a:spLocks noGrp="1"/>
          </p:cNvSpPr>
          <p:nvPr>
            <p:ph type="title"/>
          </p:nvPr>
        </p:nvSpPr>
        <p:spPr>
          <a:xfrm>
            <a:off x="1941334" y="5431790"/>
            <a:ext cx="5942648" cy="641254"/>
          </a:xfrm>
        </p:spPr>
        <p:txBody>
          <a:bodyPr anchor="b"/>
          <a:lstStyle>
            <a:lvl1pPr algn="l">
              <a:defRPr sz="2000" b="1"/>
            </a:lvl1pPr>
          </a:lstStyle>
          <a:p>
            <a:r>
              <a:rPr lang="ja-JP" altLang="en-US"/>
              <a:t>マスター タイトルの書式設定</a:t>
            </a:r>
          </a:p>
        </p:txBody>
      </p:sp>
      <p:sp>
        <p:nvSpPr>
          <p:cNvPr id="2012" name="図プレースホルダ 2"/>
          <p:cNvSpPr>
            <a:spLocks noGrp="1"/>
          </p:cNvSpPr>
          <p:nvPr>
            <p:ph type="pic" idx="1"/>
          </p:nvPr>
        </p:nvSpPr>
        <p:spPr>
          <a:xfrm>
            <a:off x="1941334" y="693344"/>
            <a:ext cx="5942648" cy="4655820"/>
          </a:xfr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pPr lvl="0"/>
            <a:r>
              <a:rPr lang="ja-JP" altLang="en-US" noProof="0"/>
              <a:t>図を追加</a:t>
            </a:r>
          </a:p>
        </p:txBody>
      </p:sp>
      <p:sp>
        <p:nvSpPr>
          <p:cNvPr id="2013" name="テキスト プレースホルダ 3"/>
          <p:cNvSpPr>
            <a:spLocks noGrp="1"/>
          </p:cNvSpPr>
          <p:nvPr>
            <p:ph type="body" sz="half" idx="2"/>
          </p:nvPr>
        </p:nvSpPr>
        <p:spPr>
          <a:xfrm>
            <a:off x="1941334" y="6073044"/>
            <a:ext cx="5942648" cy="910686"/>
          </a:xfrm>
        </p:spPr>
        <p:txBody>
          <a:bodyPr/>
          <a:lstStyle>
            <a:lvl1pPr marL="0" indent="0">
              <a:buNone/>
              <a:defRPr sz="1400"/>
            </a:lvl1pPr>
            <a:lvl2pPr marL="457109" indent="0">
              <a:buNone/>
              <a:defRPr sz="1200"/>
            </a:lvl2pPr>
            <a:lvl3pPr marL="914217" indent="0">
              <a:buNone/>
              <a:defRPr sz="1000"/>
            </a:lvl3pPr>
            <a:lvl4pPr marL="1371326" indent="0">
              <a:buNone/>
              <a:defRPr sz="900"/>
            </a:lvl4pPr>
            <a:lvl5pPr marL="1828434" indent="0">
              <a:buNone/>
              <a:defRPr sz="900"/>
            </a:lvl5pPr>
            <a:lvl6pPr marL="2285543" indent="0">
              <a:buNone/>
              <a:defRPr sz="900"/>
            </a:lvl6pPr>
            <a:lvl7pPr marL="2742651" indent="0">
              <a:buNone/>
              <a:defRPr sz="900"/>
            </a:lvl7pPr>
            <a:lvl8pPr marL="3199760" indent="0">
              <a:buNone/>
              <a:defRPr sz="900"/>
            </a:lvl8pPr>
            <a:lvl9pPr marL="3656868" indent="0">
              <a:buNone/>
              <a:defRPr sz="900"/>
            </a:lvl9pPr>
          </a:lstStyle>
          <a:p>
            <a:pPr lvl="0"/>
            <a:r>
              <a:rPr lang="ja-JP" altLang="en-US"/>
              <a:t>マスター テキストの書式設定</a:t>
            </a:r>
          </a:p>
        </p:txBody>
      </p:sp>
      <p:sp>
        <p:nvSpPr>
          <p:cNvPr id="2014"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2015"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2016" name="Rectangle 6"/>
          <p:cNvSpPr>
            <a:spLocks noGrp="1" noChangeArrowheads="1"/>
          </p:cNvSpPr>
          <p:nvPr>
            <p:ph type="sldNum" sz="quarter" idx="12"/>
          </p:nvPr>
        </p:nvSpPr>
        <p:spPr>
          <a:ln/>
        </p:spPr>
        <p:txBody>
          <a:bodyPr/>
          <a:lstStyle>
            <a:lvl1pPr>
              <a:defRPr/>
            </a:lvl1pPr>
          </a:lstStyle>
          <a:p>
            <a:pPr>
              <a:defRPr/>
            </a:pPr>
            <a:fld id="{0A3F5529-272E-4A2C-90D7-160EE3AC1005}"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4954555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018" name="タイトル 1"/>
          <p:cNvSpPr>
            <a:spLocks noGrp="1"/>
          </p:cNvSpPr>
          <p:nvPr>
            <p:ph type="title"/>
          </p:nvPr>
        </p:nvSpPr>
        <p:spPr/>
        <p:txBody>
          <a:bodyPr/>
          <a:lstStyle/>
          <a:p>
            <a:r>
              <a:rPr lang="ja-JP" altLang="en-US"/>
              <a:t>マスター タイトルの書式設定</a:t>
            </a:r>
          </a:p>
        </p:txBody>
      </p:sp>
      <p:sp>
        <p:nvSpPr>
          <p:cNvPr id="2019"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020"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2021"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2022" name="Rectangle 6"/>
          <p:cNvSpPr>
            <a:spLocks noGrp="1" noChangeArrowheads="1"/>
          </p:cNvSpPr>
          <p:nvPr>
            <p:ph type="sldNum" sz="quarter" idx="12"/>
          </p:nvPr>
        </p:nvSpPr>
        <p:spPr>
          <a:ln/>
        </p:spPr>
        <p:txBody>
          <a:bodyPr/>
          <a:lstStyle>
            <a:lvl1pPr>
              <a:defRPr/>
            </a:lvl1pPr>
          </a:lstStyle>
          <a:p>
            <a:pPr>
              <a:defRPr/>
            </a:pPr>
            <a:fld id="{CDB20612-914C-4BDE-8D4C-FEA4392E99F4}"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5854910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024" name="縦書きタイトル 1"/>
          <p:cNvSpPr>
            <a:spLocks noGrp="1"/>
          </p:cNvSpPr>
          <p:nvPr>
            <p:ph type="title" orient="vert"/>
          </p:nvPr>
        </p:nvSpPr>
        <p:spPr>
          <a:xfrm>
            <a:off x="7056895" y="2"/>
            <a:ext cx="2352298" cy="6931640"/>
          </a:xfrm>
        </p:spPr>
        <p:txBody>
          <a:bodyPr vert="eaVert"/>
          <a:lstStyle/>
          <a:p>
            <a:r>
              <a:rPr lang="ja-JP" altLang="en-US"/>
              <a:t>マスター タイトルの書式設定</a:t>
            </a:r>
          </a:p>
        </p:txBody>
      </p:sp>
      <p:sp>
        <p:nvSpPr>
          <p:cNvPr id="2025" name="縦書きテキスト プレースホルダ 2"/>
          <p:cNvSpPr>
            <a:spLocks noGrp="1"/>
          </p:cNvSpPr>
          <p:nvPr>
            <p:ph type="body" orient="vert" idx="1"/>
          </p:nvPr>
        </p:nvSpPr>
        <p:spPr>
          <a:xfrm>
            <a:off x="0" y="2"/>
            <a:ext cx="6891821" cy="6931640"/>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026" name="Rectangle 4"/>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2027"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2028" name="Rectangle 6"/>
          <p:cNvSpPr>
            <a:spLocks noGrp="1" noChangeArrowheads="1"/>
          </p:cNvSpPr>
          <p:nvPr>
            <p:ph type="sldNum" sz="quarter" idx="12"/>
          </p:nvPr>
        </p:nvSpPr>
        <p:spPr>
          <a:ln/>
        </p:spPr>
        <p:txBody>
          <a:bodyPr/>
          <a:lstStyle>
            <a:lvl1pPr>
              <a:defRPr/>
            </a:lvl1pPr>
          </a:lstStyle>
          <a:p>
            <a:pPr>
              <a:defRPr/>
            </a:pPr>
            <a:fld id="{86FB01F7-FA20-4B15-9970-D297285851AC}"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625989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4_タイトルとコンテンツ">
    <p:spTree>
      <p:nvGrpSpPr>
        <p:cNvPr id="1" name=""/>
        <p:cNvGrpSpPr/>
        <p:nvPr/>
      </p:nvGrpSpPr>
      <p:grpSpPr>
        <a:xfrm>
          <a:off x="0" y="0"/>
          <a:ext cx="0" cy="0"/>
          <a:chOff x="0" y="0"/>
          <a:chExt cx="0" cy="0"/>
        </a:xfrm>
      </p:grpSpPr>
      <p:grpSp>
        <p:nvGrpSpPr>
          <p:cNvPr id="1212" name="Group 18"/>
          <p:cNvGrpSpPr/>
          <p:nvPr userDrawn="1"/>
        </p:nvGrpSpPr>
        <p:grpSpPr>
          <a:xfrm>
            <a:off x="0" y="0"/>
            <a:ext cx="9904413" cy="617902"/>
            <a:chOff x="0" y="0"/>
            <a:chExt cx="5760" cy="344"/>
          </a:xfrm>
        </p:grpSpPr>
        <p:pic>
          <p:nvPicPr>
            <p:cNvPr id="1213" name="Picture 9" descr="mlit_top"/>
            <p:cNvPicPr>
              <a:picLocks noChangeAspect="1" noChangeArrowheads="1"/>
            </p:cNvPicPr>
            <p:nvPr userDrawn="1"/>
          </p:nvPicPr>
          <p:blipFill>
            <a:blip r:embed="rId2"/>
            <a:srcRect t="26801" b="65286"/>
            <a:stretch>
              <a:fillRect/>
            </a:stretch>
          </p:blipFill>
          <p:spPr>
            <a:xfrm>
              <a:off x="0" y="300"/>
              <a:ext cx="5760" cy="44"/>
            </a:xfrm>
            <a:prstGeom prst="rect">
              <a:avLst/>
            </a:prstGeom>
            <a:noFill/>
            <a:ln>
              <a:noFill/>
            </a:ln>
          </p:spPr>
        </p:pic>
        <p:grpSp>
          <p:nvGrpSpPr>
            <p:cNvPr id="1214" name="Group 17"/>
            <p:cNvGrpSpPr/>
            <p:nvPr userDrawn="1"/>
          </p:nvGrpSpPr>
          <p:grpSpPr>
            <a:xfrm>
              <a:off x="0" y="0"/>
              <a:ext cx="5760" cy="318"/>
              <a:chOff x="0" y="0"/>
              <a:chExt cx="5760" cy="318"/>
            </a:xfrm>
          </p:grpSpPr>
          <p:pic>
            <p:nvPicPr>
              <p:cNvPr id="1215" name="Picture 11" descr="mlit_top"/>
              <p:cNvPicPr>
                <a:picLocks noChangeAspect="1" noChangeArrowheads="1"/>
              </p:cNvPicPr>
              <p:nvPr userDrawn="1"/>
            </p:nvPicPr>
            <p:blipFill>
              <a:blip r:embed="rId3"/>
              <a:srcRect r="66945" b="42805"/>
              <a:stretch>
                <a:fillRect/>
              </a:stretch>
            </p:blipFill>
            <p:spPr>
              <a:xfrm>
                <a:off x="3856" y="0"/>
                <a:ext cx="1904" cy="318"/>
              </a:xfrm>
              <a:prstGeom prst="rect">
                <a:avLst/>
              </a:prstGeom>
              <a:noFill/>
              <a:ln>
                <a:noFill/>
              </a:ln>
            </p:spPr>
          </p:pic>
          <p:pic>
            <p:nvPicPr>
              <p:cNvPr id="1216" name="Picture 16" descr="mlit_top"/>
              <p:cNvPicPr>
                <a:picLocks noChangeAspect="1" noChangeArrowheads="1"/>
              </p:cNvPicPr>
              <p:nvPr userDrawn="1"/>
            </p:nvPicPr>
            <p:blipFill>
              <a:blip r:embed="rId4"/>
              <a:srcRect l="50000" b="42805"/>
              <a:stretch>
                <a:fillRect/>
              </a:stretch>
            </p:blipFill>
            <p:spPr>
              <a:xfrm>
                <a:off x="1043" y="0"/>
                <a:ext cx="2880" cy="318"/>
              </a:xfrm>
              <a:prstGeom prst="rect">
                <a:avLst/>
              </a:prstGeom>
              <a:noFill/>
              <a:ln>
                <a:noFill/>
              </a:ln>
            </p:spPr>
          </p:pic>
          <p:pic>
            <p:nvPicPr>
              <p:cNvPr id="1217" name="Picture 10" descr="mlit_top"/>
              <p:cNvPicPr>
                <a:picLocks noChangeAspect="1" noChangeArrowheads="1"/>
              </p:cNvPicPr>
              <p:nvPr userDrawn="1"/>
            </p:nvPicPr>
            <p:blipFill>
              <a:blip r:embed="rId4"/>
              <a:srcRect l="68906" b="42805"/>
              <a:stretch>
                <a:fillRect/>
              </a:stretch>
            </p:blipFill>
            <p:spPr>
              <a:xfrm>
                <a:off x="0" y="0"/>
                <a:ext cx="1791" cy="318"/>
              </a:xfrm>
              <a:prstGeom prst="rect">
                <a:avLst/>
              </a:prstGeom>
              <a:noFill/>
              <a:ln>
                <a:noFill/>
              </a:ln>
            </p:spPr>
          </p:pic>
        </p:grpSp>
      </p:grpSp>
      <p:sp>
        <p:nvSpPr>
          <p:cNvPr id="1218" name="Rectangle 6"/>
          <p:cNvSpPr>
            <a:spLocks noGrp="1" noChangeArrowheads="1"/>
          </p:cNvSpPr>
          <p:nvPr>
            <p:ph type="sldNum" sz="quarter" idx="10"/>
          </p:nvPr>
        </p:nvSpPr>
        <p:spPr>
          <a:xfrm>
            <a:off x="9601400" y="7484880"/>
            <a:ext cx="307777" cy="246221"/>
          </a:xfrm>
        </p:spPr>
        <p:txBody>
          <a:bodyPr wrap="none" lIns="0" tIns="0" rIns="0" bIns="0">
            <a:spAutoFit/>
          </a:bodyPr>
          <a:lstStyle>
            <a:lvl1pPr>
              <a:defRPr sz="1600">
                <a:solidFill>
                  <a:srgbClr val="000000"/>
                </a:solidFill>
                <a:latin typeface="ＭＳ Ｐゴシック" panose="020B0600070205080204" pitchFamily="50" charset="-128"/>
              </a:defRPr>
            </a:lvl1pPr>
          </a:lstStyle>
          <a:p>
            <a:pPr>
              <a:defRPr/>
            </a:pPr>
            <a:fld id="{8423AD53-7346-4CBA-B30D-A18A6551C3DF}" type="slidenum">
              <a:rPr lang="en-US" altLang="ja-JP"/>
              <a:pPr>
                <a:defRPr/>
              </a:pPr>
              <a:t>‹#›</a:t>
            </a:fld>
            <a:endParaRPr lang="en-US" altLang="ja-JP"/>
          </a:p>
        </p:txBody>
      </p:sp>
    </p:spTree>
    <p:extLst>
      <p:ext uri="{BB962C8B-B14F-4D97-AF65-F5344CB8AC3E}">
        <p14:creationId xmlns:p14="http://schemas.microsoft.com/office/powerpoint/2010/main" val="35119200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2_タイトルとコンテンツ">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70455" y="7443465"/>
            <a:ext cx="533958" cy="316235"/>
          </a:xfrm>
        </p:spPr>
        <p:txBody>
          <a:bodyPr/>
          <a:lstStyle>
            <a:lvl1pPr>
              <a:defRPr sz="1100">
                <a:solidFill>
                  <a:schemeClr val="tx1"/>
                </a:solidFill>
              </a:defRPr>
            </a:lvl1pPr>
          </a:lstStyle>
          <a:p>
            <a:fld id="{26E9FFB1-684E-4243-8849-3228F2100EAC}" type="slidenum">
              <a:rPr kumimoji="1" lang="ja-JP" altLang="en-US" smtClean="0"/>
              <a:pPr/>
              <a:t>‹#›</a:t>
            </a:fld>
            <a:endParaRPr kumimoji="1" lang="ja-JP" altLang="en-US" dirty="0"/>
          </a:p>
        </p:txBody>
      </p:sp>
      <p:sp>
        <p:nvSpPr>
          <p:cNvPr id="13" name="テキスト プレースホルダー 12"/>
          <p:cNvSpPr>
            <a:spLocks noGrp="1"/>
          </p:cNvSpPr>
          <p:nvPr>
            <p:ph type="body" sz="quarter" idx="13"/>
          </p:nvPr>
        </p:nvSpPr>
        <p:spPr>
          <a:xfrm>
            <a:off x="38888" y="502555"/>
            <a:ext cx="9826638" cy="867578"/>
          </a:xfrm>
          <a:ln w="12700">
            <a:solidFill>
              <a:schemeClr val="tx1"/>
            </a:solidFill>
          </a:ln>
        </p:spPr>
        <p:txBody>
          <a:bodyPr>
            <a:normAutofit/>
          </a:bodyPr>
          <a:lstStyle>
            <a:lvl1pPr marL="228554" indent="-228554">
              <a:buFont typeface="メイリオ" panose="020B0604030504040204" pitchFamily="50" charset="-128"/>
              <a:buChar char="○"/>
              <a:defRPr sz="1600">
                <a:latin typeface="メイリオ" panose="020B0604030504040204" pitchFamily="50" charset="-128"/>
                <a:ea typeface="メイリオ" panose="020B0604030504040204" pitchFamily="50" charset="-128"/>
              </a:defRPr>
            </a:lvl1pPr>
          </a:lstStyle>
          <a:p>
            <a:pPr lvl="0"/>
            <a:r>
              <a:rPr kumimoji="1" lang="ja-JP" altLang="en-US" dirty="0"/>
              <a:t>マスター テキストの書式設定</a:t>
            </a:r>
          </a:p>
        </p:txBody>
      </p:sp>
      <p:sp>
        <p:nvSpPr>
          <p:cNvPr id="14" name="タイトル 13"/>
          <p:cNvSpPr>
            <a:spLocks noGrp="1"/>
          </p:cNvSpPr>
          <p:nvPr>
            <p:ph type="title"/>
          </p:nvPr>
        </p:nvSpPr>
        <p:spPr>
          <a:xfrm>
            <a:off x="-600" y="0"/>
            <a:ext cx="9905613" cy="407333"/>
          </a:xfrm>
          <a:solidFill>
            <a:srgbClr val="FFD966"/>
          </a:solidFill>
        </p:spPr>
        <p:txBody>
          <a:bodyPr>
            <a:normAutofit/>
          </a:bodyPr>
          <a:lstStyle>
            <a:lvl1pPr algn="ctr">
              <a:defRPr sz="1800" b="1">
                <a:latin typeface="メイリオ" panose="020B0604030504040204" pitchFamily="50" charset="-128"/>
                <a:ea typeface="メイリオ"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4170826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4.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10.xml"/><Relationship Id="rId1" Type="http://schemas.openxmlformats.org/officeDocument/2006/relationships/slideLayout" Target="../slideLayouts/slideLayout102.xml"/><Relationship Id="rId6" Type="http://schemas.openxmlformats.org/officeDocument/2006/relationships/image" Target="../media/image4.wmf"/><Relationship Id="rId5" Type="http://schemas.openxmlformats.org/officeDocument/2006/relationships/image" Target="../media/image7.png"/><Relationship Id="rId4" Type="http://schemas.openxmlformats.org/officeDocument/2006/relationships/image" Target="../media/image6.pn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05.xml"/><Relationship Id="rId7" Type="http://schemas.openxmlformats.org/officeDocument/2006/relationships/image" Target="../media/image2.png"/><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image" Target="../media/image1.png"/><Relationship Id="rId5" Type="http://schemas.openxmlformats.org/officeDocument/2006/relationships/theme" Target="../theme/theme11.xml"/><Relationship Id="rId4" Type="http://schemas.openxmlformats.org/officeDocument/2006/relationships/slideLayout" Target="../slideLayouts/slideLayout106.xml"/><Relationship Id="rId9" Type="http://schemas.openxmlformats.org/officeDocument/2006/relationships/image" Target="../media/image4.w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image" Target="../media/image2.png"/><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image" Target="../media/image1.png"/><Relationship Id="rId2" Type="http://schemas.openxmlformats.org/officeDocument/2006/relationships/slideLayout" Target="../slideLayouts/slideLayout108.xml"/><Relationship Id="rId16" Type="http://schemas.openxmlformats.org/officeDocument/2006/relationships/theme" Target="../theme/theme12.xml"/><Relationship Id="rId20" Type="http://schemas.openxmlformats.org/officeDocument/2006/relationships/image" Target="../media/image4.w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image" Target="../media/image3.png"/><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24.xml"/><Relationship Id="rId7" Type="http://schemas.openxmlformats.org/officeDocument/2006/relationships/theme" Target="../theme/theme13.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5" Type="http://schemas.openxmlformats.org/officeDocument/2006/relationships/slideLayout" Target="../slideLayouts/slideLayout126.xml"/><Relationship Id="rId10" Type="http://schemas.openxmlformats.org/officeDocument/2006/relationships/image" Target="../media/image7.png"/><Relationship Id="rId4" Type="http://schemas.openxmlformats.org/officeDocument/2006/relationships/slideLayout" Target="../slideLayouts/slideLayout125.xml"/><Relationship Id="rId9" Type="http://schemas.openxmlformats.org/officeDocument/2006/relationships/image" Target="../media/image8.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image" Target="../media/image1.png"/><Relationship Id="rId3" Type="http://schemas.openxmlformats.org/officeDocument/2006/relationships/slideLayout" Target="../slideLayouts/slideLayout130.xml"/><Relationship Id="rId7" Type="http://schemas.openxmlformats.org/officeDocument/2006/relationships/slideLayout" Target="../slideLayouts/slideLayout134.xml"/><Relationship Id="rId12" Type="http://schemas.openxmlformats.org/officeDocument/2006/relationships/theme" Target="../theme/theme14.xml"/><Relationship Id="rId2" Type="http://schemas.openxmlformats.org/officeDocument/2006/relationships/slideLayout" Target="../slideLayouts/slideLayout129.xml"/><Relationship Id="rId16" Type="http://schemas.openxmlformats.org/officeDocument/2006/relationships/image" Target="../media/image4.wmf"/><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5" Type="http://schemas.openxmlformats.org/officeDocument/2006/relationships/slideLayout" Target="../slideLayouts/slideLayout132.xml"/><Relationship Id="rId15" Type="http://schemas.openxmlformats.org/officeDocument/2006/relationships/image" Target="../media/image3.png"/><Relationship Id="rId10" Type="http://schemas.openxmlformats.org/officeDocument/2006/relationships/slideLayout" Target="../slideLayouts/slideLayout13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4.w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5.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4.w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7.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theme" Target="../theme/theme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image" Target="../media/image4.wmf"/><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image" Target="../media/image3.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image" Target="../media/image2.png"/><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image" Target="../media/image1.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5.xml"/><Relationship Id="rId2" Type="http://schemas.openxmlformats.org/officeDocument/2006/relationships/slideLayout" Target="../slideLayouts/slideLayout55.xml"/><Relationship Id="rId16" Type="http://schemas.openxmlformats.org/officeDocument/2006/relationships/image" Target="../media/image4.wmf"/><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image" Target="../media/image3.png"/><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5.pn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6.xml"/><Relationship Id="rId2" Type="http://schemas.openxmlformats.org/officeDocument/2006/relationships/slideLayout" Target="../slideLayouts/slideLayout66.xml"/><Relationship Id="rId16" Type="http://schemas.openxmlformats.org/officeDocument/2006/relationships/image" Target="../media/image4.wmf"/><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7.png"/><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image" Target="../media/image1.png"/><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7.xml"/><Relationship Id="rId2" Type="http://schemas.openxmlformats.org/officeDocument/2006/relationships/slideLayout" Target="../slideLayouts/slideLayout77.xml"/><Relationship Id="rId16" Type="http://schemas.openxmlformats.org/officeDocument/2006/relationships/image" Target="../media/image4.w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image" Target="../media/image3.png"/><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image" Target="../media/image7.png"/><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image" Target="../media/image6.png"/><Relationship Id="rId2" Type="http://schemas.openxmlformats.org/officeDocument/2006/relationships/slideLayout" Target="../slideLayouts/slideLayout88.xml"/><Relationship Id="rId16" Type="http://schemas.openxmlformats.org/officeDocument/2006/relationships/image" Target="../media/image5.png"/><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heme" Target="../theme/theme8.xml"/><Relationship Id="rId10" Type="http://schemas.openxmlformats.org/officeDocument/2006/relationships/slideLayout" Target="../slideLayouts/slideLayout96.xml"/><Relationship Id="rId19" Type="http://schemas.openxmlformats.org/officeDocument/2006/relationships/image" Target="../media/image4.wmf"/><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9.xml"/><Relationship Id="rId1" Type="http://schemas.openxmlformats.org/officeDocument/2006/relationships/slideLayout" Target="../slideLayouts/slideLayout101.xml"/><Relationship Id="rId6" Type="http://schemas.openxmlformats.org/officeDocument/2006/relationships/image" Target="../media/image4.wmf"/><Relationship Id="rId5" Type="http://schemas.openxmlformats.org/officeDocument/2006/relationships/image" Target="../media/image7.png"/><Relationship Id="rId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95300" y="1811338"/>
            <a:ext cx="8913813" cy="5119687"/>
          </a:xfrm>
          <a:prstGeom prst="rect">
            <a:avLst/>
          </a:prstGeom>
          <a:noFill/>
          <a:ln w="9525">
            <a:noFill/>
            <a:miter lim="800000"/>
            <a:headEnd/>
            <a:tailEnd/>
          </a:ln>
        </p:spPr>
        <p:txBody>
          <a:bodyPr vert="horz" wrap="square" lIns="100931" tIns="50466" rIns="100931" bIns="50466"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p:cNvSpPr>
            <a:spLocks noGrp="1" noChangeArrowheads="1"/>
          </p:cNvSpPr>
          <p:nvPr>
            <p:ph type="dt" sz="half" idx="2"/>
          </p:nvPr>
        </p:nvSpPr>
        <p:spPr bwMode="auto">
          <a:xfrm>
            <a:off x="495300" y="7065963"/>
            <a:ext cx="2311400" cy="539750"/>
          </a:xfrm>
          <a:prstGeom prst="rect">
            <a:avLst/>
          </a:prstGeom>
          <a:noFill/>
          <a:ln w="9525">
            <a:noFill/>
            <a:miter lim="800000"/>
            <a:headEnd/>
            <a:tailEnd/>
          </a:ln>
          <a:effectLst/>
        </p:spPr>
        <p:txBody>
          <a:bodyPr vert="horz" wrap="square" lIns="100931" tIns="50466" rIns="100931" bIns="50466" numCol="1" anchor="t" anchorCtr="0" compatLnSpc="1">
            <a:prstTxWarp prst="textNoShape">
              <a:avLst/>
            </a:prstTxWarp>
          </a:bodyPr>
          <a:lstStyle>
            <a:lvl1pPr>
              <a:defRPr sz="1500"/>
            </a:lvl1pPr>
          </a:lstStyle>
          <a:p>
            <a:pPr>
              <a:defRPr/>
            </a:pPr>
            <a:endParaRPr lang="en-US" altLang="ja-JP"/>
          </a:p>
        </p:txBody>
      </p:sp>
      <p:sp>
        <p:nvSpPr>
          <p:cNvPr id="1029" name="Rectangle 5"/>
          <p:cNvSpPr>
            <a:spLocks noGrp="1" noChangeArrowheads="1"/>
          </p:cNvSpPr>
          <p:nvPr>
            <p:ph type="ftr" sz="quarter" idx="3"/>
          </p:nvPr>
        </p:nvSpPr>
        <p:spPr bwMode="auto">
          <a:xfrm>
            <a:off x="3384550" y="7065963"/>
            <a:ext cx="3135313" cy="539750"/>
          </a:xfrm>
          <a:prstGeom prst="rect">
            <a:avLst/>
          </a:prstGeom>
          <a:noFill/>
          <a:ln w="9525">
            <a:noFill/>
            <a:miter lim="800000"/>
            <a:headEnd/>
            <a:tailEnd/>
          </a:ln>
          <a:effectLst/>
        </p:spPr>
        <p:txBody>
          <a:bodyPr vert="horz" wrap="square" lIns="100931" tIns="50466" rIns="100931" bIns="50466" numCol="1" anchor="t" anchorCtr="0" compatLnSpc="1">
            <a:prstTxWarp prst="textNoShape">
              <a:avLst/>
            </a:prstTxWarp>
          </a:bodyPr>
          <a:lstStyle>
            <a:lvl1pPr algn="ctr">
              <a:defRPr sz="1500"/>
            </a:lvl1pPr>
          </a:lstStyle>
          <a:p>
            <a:pPr>
              <a:defRPr/>
            </a:pPr>
            <a:endParaRPr lang="en-US" altLang="ja-JP"/>
          </a:p>
        </p:txBody>
      </p:sp>
      <p:sp>
        <p:nvSpPr>
          <p:cNvPr id="1030" name="Rectangle 6"/>
          <p:cNvSpPr>
            <a:spLocks noGrp="1" noChangeArrowheads="1"/>
          </p:cNvSpPr>
          <p:nvPr>
            <p:ph type="sldNum" sz="quarter" idx="4"/>
          </p:nvPr>
        </p:nvSpPr>
        <p:spPr bwMode="auto">
          <a:xfrm>
            <a:off x="7593013" y="7058025"/>
            <a:ext cx="2311400" cy="538163"/>
          </a:xfrm>
          <a:prstGeom prst="rect">
            <a:avLst/>
          </a:prstGeom>
          <a:noFill/>
          <a:ln w="9525">
            <a:noFill/>
            <a:miter lim="800000"/>
            <a:headEnd/>
            <a:tailEnd/>
          </a:ln>
          <a:effectLst/>
        </p:spPr>
        <p:txBody>
          <a:bodyPr vert="horz" wrap="square" lIns="100931" tIns="50466" rIns="100931" bIns="50466" numCol="1" anchor="t" anchorCtr="0" compatLnSpc="1">
            <a:prstTxWarp prst="textNoShape">
              <a:avLst/>
            </a:prstTxWarp>
          </a:bodyPr>
          <a:lstStyle>
            <a:lvl1pPr algn="r">
              <a:defRPr sz="1500"/>
            </a:lvl1pPr>
          </a:lstStyle>
          <a:p>
            <a:pPr>
              <a:defRPr/>
            </a:pPr>
            <a:fld id="{595AA47C-59FF-418C-ADA9-B21662F028F9}" type="slidenum">
              <a:rPr lang="en-US" altLang="ja-JP"/>
              <a:pPr>
                <a:defRPr/>
              </a:pPr>
              <a:t>‹#›</a:t>
            </a:fld>
            <a:endParaRPr lang="en-US" altLang="ja-JP"/>
          </a:p>
        </p:txBody>
      </p:sp>
      <p:grpSp>
        <p:nvGrpSpPr>
          <p:cNvPr id="2" name="Group 18"/>
          <p:cNvGrpSpPr>
            <a:grpSpLocks/>
          </p:cNvGrpSpPr>
          <p:nvPr userDrawn="1"/>
        </p:nvGrpSpPr>
        <p:grpSpPr bwMode="auto">
          <a:xfrm>
            <a:off x="0" y="0"/>
            <a:ext cx="9904413" cy="617538"/>
            <a:chOff x="0" y="0"/>
            <a:chExt cx="5760" cy="344"/>
          </a:xfrm>
        </p:grpSpPr>
        <p:pic>
          <p:nvPicPr>
            <p:cNvPr id="1033" name="Picture 9" descr="mlit_top"/>
            <p:cNvPicPr>
              <a:picLocks noChangeAspect="1" noChangeArrowheads="1"/>
            </p:cNvPicPr>
            <p:nvPr userDrawn="1"/>
          </p:nvPicPr>
          <p:blipFill>
            <a:blip r:embed="rId13" cstate="print"/>
            <a:srcRect t="26801" b="65286"/>
            <a:stretch>
              <a:fillRect/>
            </a:stretch>
          </p:blipFill>
          <p:spPr bwMode="auto">
            <a:xfrm>
              <a:off x="0" y="300"/>
              <a:ext cx="5760" cy="44"/>
            </a:xfrm>
            <a:prstGeom prst="rect">
              <a:avLst/>
            </a:prstGeom>
            <a:noFill/>
            <a:ln w="9525">
              <a:noFill/>
              <a:miter lim="800000"/>
              <a:headEnd/>
              <a:tailEnd/>
            </a:ln>
          </p:spPr>
        </p:pic>
        <p:grpSp>
          <p:nvGrpSpPr>
            <p:cNvPr id="1034" name="Group 17"/>
            <p:cNvGrpSpPr>
              <a:grpSpLocks/>
            </p:cNvGrpSpPr>
            <p:nvPr userDrawn="1"/>
          </p:nvGrpSpPr>
          <p:grpSpPr bwMode="auto">
            <a:xfrm>
              <a:off x="0" y="0"/>
              <a:ext cx="5760" cy="318"/>
              <a:chOff x="0" y="0"/>
              <a:chExt cx="5760" cy="318"/>
            </a:xfrm>
          </p:grpSpPr>
          <p:pic>
            <p:nvPicPr>
              <p:cNvPr id="1035" name="Picture 11" descr="mlit_top"/>
              <p:cNvPicPr>
                <a:picLocks noChangeAspect="1" noChangeArrowheads="1"/>
              </p:cNvPicPr>
              <p:nvPr userDrawn="1"/>
            </p:nvPicPr>
            <p:blipFill>
              <a:blip r:embed="rId14" cstate="print"/>
              <a:srcRect r="66945" b="42805"/>
              <a:stretch>
                <a:fillRect/>
              </a:stretch>
            </p:blipFill>
            <p:spPr bwMode="auto">
              <a:xfrm>
                <a:off x="3856" y="0"/>
                <a:ext cx="1904" cy="318"/>
              </a:xfrm>
              <a:prstGeom prst="rect">
                <a:avLst/>
              </a:prstGeom>
              <a:noFill/>
              <a:ln w="9525">
                <a:noFill/>
                <a:miter lim="800000"/>
                <a:headEnd/>
                <a:tailEnd/>
              </a:ln>
            </p:spPr>
          </p:pic>
          <p:pic>
            <p:nvPicPr>
              <p:cNvPr id="1036" name="Picture 16" descr="mlit_top"/>
              <p:cNvPicPr>
                <a:picLocks noChangeAspect="1" noChangeArrowheads="1"/>
              </p:cNvPicPr>
              <p:nvPr userDrawn="1"/>
            </p:nvPicPr>
            <p:blipFill>
              <a:blip r:embed="rId15" cstate="print"/>
              <a:srcRect l="50000" b="42805"/>
              <a:stretch>
                <a:fillRect/>
              </a:stretch>
            </p:blipFill>
            <p:spPr bwMode="auto">
              <a:xfrm>
                <a:off x="1043" y="0"/>
                <a:ext cx="2880" cy="318"/>
              </a:xfrm>
              <a:prstGeom prst="rect">
                <a:avLst/>
              </a:prstGeom>
              <a:noFill/>
              <a:ln w="9525">
                <a:noFill/>
                <a:miter lim="800000"/>
                <a:headEnd/>
                <a:tailEnd/>
              </a:ln>
            </p:spPr>
          </p:pic>
          <p:pic>
            <p:nvPicPr>
              <p:cNvPr id="1037" name="Picture 10" descr="mlit_top"/>
              <p:cNvPicPr>
                <a:picLocks noChangeAspect="1" noChangeArrowheads="1"/>
              </p:cNvPicPr>
              <p:nvPr userDrawn="1"/>
            </p:nvPicPr>
            <p:blipFill>
              <a:blip r:embed="rId15" cstate="print"/>
              <a:srcRect l="68906" b="42805"/>
              <a:stretch>
                <a:fillRect/>
              </a:stretch>
            </p:blipFill>
            <p:spPr bwMode="auto">
              <a:xfrm>
                <a:off x="0" y="0"/>
                <a:ext cx="1791" cy="318"/>
              </a:xfrm>
              <a:prstGeom prst="rect">
                <a:avLst/>
              </a:prstGeom>
              <a:noFill/>
              <a:ln w="9525">
                <a:noFill/>
                <a:miter lim="800000"/>
                <a:headEnd/>
                <a:tailEnd/>
              </a:ln>
            </p:spPr>
          </p:pic>
        </p:grpSp>
      </p:grpSp>
      <p:sp>
        <p:nvSpPr>
          <p:cNvPr id="1031" name="Rectangle 2"/>
          <p:cNvSpPr>
            <a:spLocks noGrp="1" noChangeArrowheads="1"/>
          </p:cNvSpPr>
          <p:nvPr>
            <p:ph type="title"/>
          </p:nvPr>
        </p:nvSpPr>
        <p:spPr bwMode="auto">
          <a:xfrm>
            <a:off x="0" y="0"/>
            <a:ext cx="7604125" cy="538163"/>
          </a:xfrm>
          <a:prstGeom prst="rect">
            <a:avLst/>
          </a:prstGeom>
          <a:noFill/>
          <a:ln w="9525">
            <a:noFill/>
            <a:miter lim="800000"/>
            <a:headEnd/>
            <a:tailEnd/>
          </a:ln>
        </p:spPr>
        <p:txBody>
          <a:bodyPr vert="horz" wrap="square" lIns="100931" tIns="50466" rIns="100931" bIns="50466" numCol="1" anchor="ctr" anchorCtr="0" compatLnSpc="1">
            <a:prstTxWarp prst="textNoShape">
              <a:avLst/>
            </a:prstTxWarp>
          </a:bodyPr>
          <a:lstStyle/>
          <a:p>
            <a:pPr lvl="0"/>
            <a:r>
              <a:rPr lang="ja-JP" altLang="en-US"/>
              <a:t>マスタ タイトルの書式設定</a:t>
            </a:r>
          </a:p>
        </p:txBody>
      </p:sp>
      <p:pic>
        <p:nvPicPr>
          <p:cNvPr id="1032" name="Picture 14"/>
          <p:cNvPicPr>
            <a:picLocks noChangeAspect="1" noChangeArrowheads="1"/>
          </p:cNvPicPr>
          <p:nvPr userDrawn="1"/>
        </p:nvPicPr>
        <p:blipFill>
          <a:blip r:embed="rId16" cstate="print"/>
          <a:srcRect t="3670"/>
          <a:stretch>
            <a:fillRect/>
          </a:stretch>
        </p:blipFill>
        <p:spPr bwMode="auto">
          <a:xfrm>
            <a:off x="8224838" y="0"/>
            <a:ext cx="1679575" cy="3778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07"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hf hdr="0" dt="0"/>
  <p:txStyles>
    <p:titleStyle>
      <a:lvl1pPr algn="l" rtl="0" eaLnBrk="0" fontAlgn="base" hangingPunct="0">
        <a:spcBef>
          <a:spcPct val="0"/>
        </a:spcBef>
        <a:spcAft>
          <a:spcPct val="0"/>
        </a:spcAft>
        <a:defRPr kumimoji="1" sz="3100">
          <a:solidFill>
            <a:srgbClr val="4087C8"/>
          </a:solidFill>
          <a:latin typeface="+mj-lt"/>
          <a:ea typeface="+mj-ea"/>
          <a:cs typeface="+mj-cs"/>
        </a:defRPr>
      </a:lvl1pPr>
      <a:lvl2pPr algn="l" rtl="0" eaLnBrk="0" fontAlgn="base" hangingPunct="0">
        <a:spcBef>
          <a:spcPct val="0"/>
        </a:spcBef>
        <a:spcAft>
          <a:spcPct val="0"/>
        </a:spcAft>
        <a:defRPr kumimoji="1" sz="31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31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31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3100">
          <a:solidFill>
            <a:srgbClr val="4087C8"/>
          </a:solidFill>
          <a:latin typeface="HGP創英角ｺﾞｼｯｸUB" pitchFamily="50" charset="-128"/>
          <a:ea typeface="HGP創英角ｺﾞｼｯｸUB" pitchFamily="50" charset="-128"/>
        </a:defRPr>
      </a:lvl5pPr>
      <a:lvl6pPr marL="504657" algn="l" rtl="0" fontAlgn="base">
        <a:spcBef>
          <a:spcPct val="0"/>
        </a:spcBef>
        <a:spcAft>
          <a:spcPct val="0"/>
        </a:spcAft>
        <a:defRPr kumimoji="1" sz="3100">
          <a:solidFill>
            <a:srgbClr val="4087C8"/>
          </a:solidFill>
          <a:latin typeface="HGP創英角ｺﾞｼｯｸUB" pitchFamily="50" charset="-128"/>
          <a:ea typeface="HGP創英角ｺﾞｼｯｸUB" pitchFamily="50" charset="-128"/>
        </a:defRPr>
      </a:lvl6pPr>
      <a:lvl7pPr marL="1009315" algn="l" rtl="0" fontAlgn="base">
        <a:spcBef>
          <a:spcPct val="0"/>
        </a:spcBef>
        <a:spcAft>
          <a:spcPct val="0"/>
        </a:spcAft>
        <a:defRPr kumimoji="1" sz="3100">
          <a:solidFill>
            <a:srgbClr val="4087C8"/>
          </a:solidFill>
          <a:latin typeface="HGP創英角ｺﾞｼｯｸUB" pitchFamily="50" charset="-128"/>
          <a:ea typeface="HGP創英角ｺﾞｼｯｸUB" pitchFamily="50" charset="-128"/>
        </a:defRPr>
      </a:lvl7pPr>
      <a:lvl8pPr marL="1513972" algn="l" rtl="0" fontAlgn="base">
        <a:spcBef>
          <a:spcPct val="0"/>
        </a:spcBef>
        <a:spcAft>
          <a:spcPct val="0"/>
        </a:spcAft>
        <a:defRPr kumimoji="1" sz="3100">
          <a:solidFill>
            <a:srgbClr val="4087C8"/>
          </a:solidFill>
          <a:latin typeface="HGP創英角ｺﾞｼｯｸUB" pitchFamily="50" charset="-128"/>
          <a:ea typeface="HGP創英角ｺﾞｼｯｸUB" pitchFamily="50" charset="-128"/>
        </a:defRPr>
      </a:lvl8pPr>
      <a:lvl9pPr marL="2018629" algn="l" rtl="0" fontAlgn="base">
        <a:spcBef>
          <a:spcPct val="0"/>
        </a:spcBef>
        <a:spcAft>
          <a:spcPct val="0"/>
        </a:spcAft>
        <a:defRPr kumimoji="1" sz="3100">
          <a:solidFill>
            <a:srgbClr val="4087C8"/>
          </a:solidFill>
          <a:latin typeface="HGP創英角ｺﾞｼｯｸUB" pitchFamily="50" charset="-128"/>
          <a:ea typeface="HGP創英角ｺﾞｼｯｸUB" pitchFamily="50" charset="-128"/>
        </a:defRPr>
      </a:lvl9pPr>
    </p:titleStyle>
    <p:bodyStyle>
      <a:lvl1pPr marL="377825" indent="-377825" algn="l" rtl="0" eaLnBrk="0" fontAlgn="base" hangingPunct="0">
        <a:spcBef>
          <a:spcPct val="20000"/>
        </a:spcBef>
        <a:spcAft>
          <a:spcPct val="0"/>
        </a:spcAft>
        <a:buChar char="•"/>
        <a:defRPr kumimoji="1" sz="3500">
          <a:solidFill>
            <a:schemeClr val="tx1"/>
          </a:solidFill>
          <a:latin typeface="+mn-lt"/>
          <a:ea typeface="+mn-ea"/>
          <a:cs typeface="+mn-cs"/>
        </a:defRPr>
      </a:lvl1pPr>
      <a:lvl2pPr marL="819150" indent="-314325" algn="l" rtl="0" eaLnBrk="0" fontAlgn="base" hangingPunct="0">
        <a:spcBef>
          <a:spcPct val="20000"/>
        </a:spcBef>
        <a:spcAft>
          <a:spcPct val="0"/>
        </a:spcAft>
        <a:buChar char="–"/>
        <a:defRPr kumimoji="1" sz="3100">
          <a:solidFill>
            <a:schemeClr val="tx1"/>
          </a:solidFill>
          <a:latin typeface="+mn-lt"/>
          <a:ea typeface="+mn-ea"/>
        </a:defRPr>
      </a:lvl2pPr>
      <a:lvl3pPr marL="1260475" indent="-250825" algn="l" rtl="0" eaLnBrk="0" fontAlgn="base" hangingPunct="0">
        <a:spcBef>
          <a:spcPct val="20000"/>
        </a:spcBef>
        <a:spcAft>
          <a:spcPct val="0"/>
        </a:spcAft>
        <a:buChar char="•"/>
        <a:defRPr kumimoji="1" sz="2600">
          <a:solidFill>
            <a:schemeClr val="tx1"/>
          </a:solidFill>
          <a:latin typeface="+mn-lt"/>
          <a:ea typeface="+mn-ea"/>
        </a:defRPr>
      </a:lvl3pPr>
      <a:lvl4pPr marL="1765300" indent="-250825" algn="l" rtl="0" eaLnBrk="0" fontAlgn="base" hangingPunct="0">
        <a:spcBef>
          <a:spcPct val="20000"/>
        </a:spcBef>
        <a:spcAft>
          <a:spcPct val="0"/>
        </a:spcAft>
        <a:buChar char="–"/>
        <a:defRPr kumimoji="1" sz="2200">
          <a:solidFill>
            <a:schemeClr val="tx1"/>
          </a:solidFill>
          <a:latin typeface="+mn-lt"/>
          <a:ea typeface="+mn-ea"/>
        </a:defRPr>
      </a:lvl4pPr>
      <a:lvl5pPr marL="2270125" indent="-250825" algn="l" rtl="0" eaLnBrk="0" fontAlgn="base" hangingPunct="0">
        <a:spcBef>
          <a:spcPct val="20000"/>
        </a:spcBef>
        <a:spcAft>
          <a:spcPct val="0"/>
        </a:spcAft>
        <a:buChar char="»"/>
        <a:defRPr kumimoji="1" sz="2200">
          <a:solidFill>
            <a:schemeClr val="tx1"/>
          </a:solidFill>
          <a:latin typeface="+mn-lt"/>
          <a:ea typeface="+mn-ea"/>
        </a:defRPr>
      </a:lvl5pPr>
      <a:lvl6pPr marL="2775615" indent="-252329" algn="l" rtl="0" fontAlgn="base">
        <a:spcBef>
          <a:spcPct val="20000"/>
        </a:spcBef>
        <a:spcAft>
          <a:spcPct val="0"/>
        </a:spcAft>
        <a:buChar char="»"/>
        <a:defRPr kumimoji="1" sz="2200">
          <a:solidFill>
            <a:schemeClr val="tx1"/>
          </a:solidFill>
          <a:latin typeface="+mn-lt"/>
          <a:ea typeface="+mn-ea"/>
        </a:defRPr>
      </a:lvl6pPr>
      <a:lvl7pPr marL="3280273" indent="-252329" algn="l" rtl="0" fontAlgn="base">
        <a:spcBef>
          <a:spcPct val="20000"/>
        </a:spcBef>
        <a:spcAft>
          <a:spcPct val="0"/>
        </a:spcAft>
        <a:buChar char="»"/>
        <a:defRPr kumimoji="1" sz="2200">
          <a:solidFill>
            <a:schemeClr val="tx1"/>
          </a:solidFill>
          <a:latin typeface="+mn-lt"/>
          <a:ea typeface="+mn-ea"/>
        </a:defRPr>
      </a:lvl7pPr>
      <a:lvl8pPr marL="3784930" indent="-252329" algn="l" rtl="0" fontAlgn="base">
        <a:spcBef>
          <a:spcPct val="20000"/>
        </a:spcBef>
        <a:spcAft>
          <a:spcPct val="0"/>
        </a:spcAft>
        <a:buChar char="»"/>
        <a:defRPr kumimoji="1" sz="2200">
          <a:solidFill>
            <a:schemeClr val="tx1"/>
          </a:solidFill>
          <a:latin typeface="+mn-lt"/>
          <a:ea typeface="+mn-ea"/>
        </a:defRPr>
      </a:lvl8pPr>
      <a:lvl9pPr marL="4289588" indent="-252329" algn="l" rtl="0" fontAlgn="base">
        <a:spcBef>
          <a:spcPct val="20000"/>
        </a:spcBef>
        <a:spcAft>
          <a:spcPct val="0"/>
        </a:spcAft>
        <a:buChar char="»"/>
        <a:defRPr kumimoji="1" sz="2200">
          <a:solidFill>
            <a:schemeClr val="tx1"/>
          </a:solidFill>
          <a:latin typeface="+mn-lt"/>
          <a:ea typeface="+mn-ea"/>
        </a:defRPr>
      </a:lvl9pPr>
    </p:bodyStyle>
    <p:otherStyle>
      <a:defPPr>
        <a:defRPr lang="ja-JP"/>
      </a:defPPr>
      <a:lvl1pPr marL="0" algn="l" defTabSz="1009315" rtl="0" eaLnBrk="1" latinLnBrk="0" hangingPunct="1">
        <a:defRPr kumimoji="1" sz="2000" kern="1200">
          <a:solidFill>
            <a:schemeClr val="tx1"/>
          </a:solidFill>
          <a:latin typeface="+mn-lt"/>
          <a:ea typeface="+mn-ea"/>
          <a:cs typeface="+mn-cs"/>
        </a:defRPr>
      </a:lvl1pPr>
      <a:lvl2pPr marL="504657" algn="l" defTabSz="1009315" rtl="0" eaLnBrk="1" latinLnBrk="0" hangingPunct="1">
        <a:defRPr kumimoji="1" sz="2000" kern="1200">
          <a:solidFill>
            <a:schemeClr val="tx1"/>
          </a:solidFill>
          <a:latin typeface="+mn-lt"/>
          <a:ea typeface="+mn-ea"/>
          <a:cs typeface="+mn-cs"/>
        </a:defRPr>
      </a:lvl2pPr>
      <a:lvl3pPr marL="1009315" algn="l" defTabSz="1009315" rtl="0" eaLnBrk="1" latinLnBrk="0" hangingPunct="1">
        <a:defRPr kumimoji="1" sz="2000" kern="1200">
          <a:solidFill>
            <a:schemeClr val="tx1"/>
          </a:solidFill>
          <a:latin typeface="+mn-lt"/>
          <a:ea typeface="+mn-ea"/>
          <a:cs typeface="+mn-cs"/>
        </a:defRPr>
      </a:lvl3pPr>
      <a:lvl4pPr marL="1513972" algn="l" defTabSz="1009315" rtl="0" eaLnBrk="1" latinLnBrk="0" hangingPunct="1">
        <a:defRPr kumimoji="1" sz="2000" kern="1200">
          <a:solidFill>
            <a:schemeClr val="tx1"/>
          </a:solidFill>
          <a:latin typeface="+mn-lt"/>
          <a:ea typeface="+mn-ea"/>
          <a:cs typeface="+mn-cs"/>
        </a:defRPr>
      </a:lvl4pPr>
      <a:lvl5pPr marL="2018629" algn="l" defTabSz="1009315" rtl="0" eaLnBrk="1" latinLnBrk="0" hangingPunct="1">
        <a:defRPr kumimoji="1" sz="2000" kern="1200">
          <a:solidFill>
            <a:schemeClr val="tx1"/>
          </a:solidFill>
          <a:latin typeface="+mn-lt"/>
          <a:ea typeface="+mn-ea"/>
          <a:cs typeface="+mn-cs"/>
        </a:defRPr>
      </a:lvl5pPr>
      <a:lvl6pPr marL="2523287" algn="l" defTabSz="1009315" rtl="0" eaLnBrk="1" latinLnBrk="0" hangingPunct="1">
        <a:defRPr kumimoji="1" sz="2000" kern="1200">
          <a:solidFill>
            <a:schemeClr val="tx1"/>
          </a:solidFill>
          <a:latin typeface="+mn-lt"/>
          <a:ea typeface="+mn-ea"/>
          <a:cs typeface="+mn-cs"/>
        </a:defRPr>
      </a:lvl6pPr>
      <a:lvl7pPr marL="3027944" algn="l" defTabSz="1009315" rtl="0" eaLnBrk="1" latinLnBrk="0" hangingPunct="1">
        <a:defRPr kumimoji="1" sz="2000" kern="1200">
          <a:solidFill>
            <a:schemeClr val="tx1"/>
          </a:solidFill>
          <a:latin typeface="+mn-lt"/>
          <a:ea typeface="+mn-ea"/>
          <a:cs typeface="+mn-cs"/>
        </a:defRPr>
      </a:lvl7pPr>
      <a:lvl8pPr marL="3532602" algn="l" defTabSz="1009315" rtl="0" eaLnBrk="1" latinLnBrk="0" hangingPunct="1">
        <a:defRPr kumimoji="1" sz="2000" kern="1200">
          <a:solidFill>
            <a:schemeClr val="tx1"/>
          </a:solidFill>
          <a:latin typeface="+mn-lt"/>
          <a:ea typeface="+mn-ea"/>
          <a:cs typeface="+mn-cs"/>
        </a:defRPr>
      </a:lvl8pPr>
      <a:lvl9pPr marL="4037259" algn="l" defTabSz="1009315" rtl="0" eaLnBrk="1" latinLnBrk="0" hangingPunct="1">
        <a:defRPr kumimoji="1" sz="20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3" name="Rectangle 3"/>
          <p:cNvSpPr>
            <a:spLocks noGrp="1" noChangeArrowheads="1"/>
          </p:cNvSpPr>
          <p:nvPr>
            <p:ph type="body" idx="1"/>
          </p:nvPr>
        </p:nvSpPr>
        <p:spPr>
          <a:xfrm>
            <a:off x="495221" y="1810601"/>
            <a:ext cx="8913972" cy="512104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44" name="Rectangle 4"/>
          <p:cNvSpPr>
            <a:spLocks noGrp="1" noChangeArrowheads="1"/>
          </p:cNvSpPr>
          <p:nvPr>
            <p:ph type="dt" sz="half" idx="2"/>
          </p:nvPr>
        </p:nvSpPr>
        <p:spPr>
          <a:xfrm>
            <a:off x="495221" y="706635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92">
                <a:ea typeface="ＭＳ Ｐゴシック" pitchFamily="50" charset="-128"/>
              </a:defRPr>
            </a:lvl1pPr>
          </a:lstStyle>
          <a:p>
            <a:pPr>
              <a:defRPr/>
            </a:pPr>
            <a:endParaRPr lang="en-US" altLang="ja-JP" dirty="0">
              <a:solidFill>
                <a:srgbClr val="000000"/>
              </a:solidFill>
            </a:endParaRPr>
          </a:p>
        </p:txBody>
      </p:sp>
      <p:sp>
        <p:nvSpPr>
          <p:cNvPr id="1945" name="Rectangle 5"/>
          <p:cNvSpPr>
            <a:spLocks noGrp="1" noChangeArrowheads="1"/>
          </p:cNvSpPr>
          <p:nvPr>
            <p:ph type="ftr" sz="quarter" idx="3"/>
          </p:nvPr>
        </p:nvSpPr>
        <p:spPr>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92">
                <a:ea typeface="ＭＳ Ｐゴシック" pitchFamily="50" charset="-128"/>
              </a:defRPr>
            </a:lvl1pPr>
          </a:lstStyle>
          <a:p>
            <a:pPr>
              <a:defRPr/>
            </a:pPr>
            <a:endParaRPr lang="en-US" altLang="ja-JP" dirty="0">
              <a:solidFill>
                <a:srgbClr val="000000"/>
              </a:solidFill>
            </a:endParaRPr>
          </a:p>
        </p:txBody>
      </p:sp>
      <p:sp>
        <p:nvSpPr>
          <p:cNvPr id="1946" name="Rectangle 6"/>
          <p:cNvSpPr>
            <a:spLocks noGrp="1" noChangeArrowheads="1"/>
          </p:cNvSpPr>
          <p:nvPr>
            <p:ph type="sldNum" sz="quarter" idx="4"/>
          </p:nvPr>
        </p:nvSpPr>
        <p:spPr>
          <a:xfrm>
            <a:off x="7593383" y="705737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92">
                <a:ea typeface="ＭＳ Ｐゴシック" pitchFamily="50" charset="-128"/>
              </a:defRPr>
            </a:lvl1pPr>
          </a:lstStyle>
          <a:p>
            <a:pPr>
              <a:defRPr/>
            </a:pPr>
            <a:fld id="{FFDCE21E-3BF4-4A13-BE4A-B95BE9787BE2}" type="slidenum">
              <a:rPr lang="en-US" altLang="ja-JP">
                <a:solidFill>
                  <a:srgbClr val="000000"/>
                </a:solidFill>
              </a:rPr>
              <a:pPr>
                <a:defRPr/>
              </a:pPr>
              <a:t>‹#›</a:t>
            </a:fld>
            <a:endParaRPr lang="en-US" altLang="ja-JP" dirty="0">
              <a:solidFill>
                <a:srgbClr val="000000"/>
              </a:solidFill>
            </a:endParaRPr>
          </a:p>
        </p:txBody>
      </p:sp>
      <p:grpSp>
        <p:nvGrpSpPr>
          <p:cNvPr id="1947" name="Group 18"/>
          <p:cNvGrpSpPr/>
          <p:nvPr userDrawn="1"/>
        </p:nvGrpSpPr>
        <p:grpSpPr>
          <a:xfrm>
            <a:off x="0" y="0"/>
            <a:ext cx="9904413" cy="617902"/>
            <a:chOff x="0" y="0"/>
            <a:chExt cx="5760" cy="344"/>
          </a:xfrm>
        </p:grpSpPr>
        <p:pic>
          <p:nvPicPr>
            <p:cNvPr id="1948" name="Picture 9" descr="mlit_top"/>
            <p:cNvPicPr>
              <a:picLocks noChangeAspect="1" noChangeArrowheads="1"/>
            </p:cNvPicPr>
            <p:nvPr userDrawn="1"/>
          </p:nvPicPr>
          <p:blipFill>
            <a:blip r:embed="rId3" cstate="email">
              <a:extLst>
                <a:ext uri="{28A0092B-C50C-407E-A947-70E740481C1C}">
                  <a14:useLocalDpi xmlns:a14="http://schemas.microsoft.com/office/drawing/2010/main"/>
                </a:ext>
              </a:extLst>
            </a:blip>
            <a:srcRect t="26801" b="65286"/>
            <a:stretch>
              <a:fillRect/>
            </a:stretch>
          </p:blipFill>
          <p:spPr>
            <a:xfrm>
              <a:off x="0" y="300"/>
              <a:ext cx="5760" cy="44"/>
            </a:xfrm>
            <a:prstGeom prst="rect">
              <a:avLst/>
            </a:prstGeom>
            <a:noFill/>
            <a:ln>
              <a:noFill/>
            </a:ln>
          </p:spPr>
        </p:pic>
        <p:grpSp>
          <p:nvGrpSpPr>
            <p:cNvPr id="1949" name="Group 17"/>
            <p:cNvGrpSpPr/>
            <p:nvPr userDrawn="1"/>
          </p:nvGrpSpPr>
          <p:grpSpPr>
            <a:xfrm>
              <a:off x="0" y="0"/>
              <a:ext cx="5760" cy="318"/>
              <a:chOff x="0" y="0"/>
              <a:chExt cx="5760" cy="318"/>
            </a:xfrm>
          </p:grpSpPr>
          <p:pic>
            <p:nvPicPr>
              <p:cNvPr id="1950" name="Picture 11" descr="mlit_top"/>
              <p:cNvPicPr>
                <a:picLocks noChangeAspect="1" noChangeArrowheads="1"/>
              </p:cNvPicPr>
              <p:nvPr userDrawn="1"/>
            </p:nvPicPr>
            <p:blipFill>
              <a:blip r:embed="rId4" cstate="email">
                <a:extLst>
                  <a:ext uri="{28A0092B-C50C-407E-A947-70E740481C1C}">
                    <a14:useLocalDpi xmlns:a14="http://schemas.microsoft.com/office/drawing/2010/main"/>
                  </a:ext>
                </a:extLst>
              </a:blip>
              <a:srcRect r="66945" b="42805"/>
              <a:stretch>
                <a:fillRect/>
              </a:stretch>
            </p:blipFill>
            <p:spPr>
              <a:xfrm>
                <a:off x="3856" y="0"/>
                <a:ext cx="1904" cy="318"/>
              </a:xfrm>
              <a:prstGeom prst="rect">
                <a:avLst/>
              </a:prstGeom>
              <a:noFill/>
              <a:ln>
                <a:noFill/>
              </a:ln>
            </p:spPr>
          </p:pic>
          <p:pic>
            <p:nvPicPr>
              <p:cNvPr id="1951" name="Picture 16" descr="mlit_top"/>
              <p:cNvPicPr>
                <a:picLocks noChangeAspect="1" noChangeArrowheads="1"/>
              </p:cNvPicPr>
              <p:nvPr userDrawn="1"/>
            </p:nvPicPr>
            <p:blipFill>
              <a:blip r:embed="rId5" cstate="email">
                <a:extLst>
                  <a:ext uri="{28A0092B-C50C-407E-A947-70E740481C1C}">
                    <a14:useLocalDpi xmlns:a14="http://schemas.microsoft.com/office/drawing/2010/main"/>
                  </a:ext>
                </a:extLst>
              </a:blip>
              <a:srcRect l="50000" b="42805"/>
              <a:stretch>
                <a:fillRect/>
              </a:stretch>
            </p:blipFill>
            <p:spPr>
              <a:xfrm>
                <a:off x="1043" y="0"/>
                <a:ext cx="2880" cy="318"/>
              </a:xfrm>
              <a:prstGeom prst="rect">
                <a:avLst/>
              </a:prstGeom>
              <a:noFill/>
              <a:ln>
                <a:noFill/>
              </a:ln>
            </p:spPr>
          </p:pic>
          <p:pic>
            <p:nvPicPr>
              <p:cNvPr id="1952" name="Picture 10" descr="mlit_top"/>
              <p:cNvPicPr>
                <a:picLocks noChangeAspect="1" noChangeArrowheads="1"/>
              </p:cNvPicPr>
              <p:nvPr userDrawn="1"/>
            </p:nvPicPr>
            <p:blipFill>
              <a:blip r:embed="rId5" cstate="email">
                <a:extLst>
                  <a:ext uri="{28A0092B-C50C-407E-A947-70E740481C1C}">
                    <a14:useLocalDpi xmlns:a14="http://schemas.microsoft.com/office/drawing/2010/main"/>
                  </a:ext>
                </a:extLst>
              </a:blip>
              <a:srcRect l="68906" b="42805"/>
              <a:stretch>
                <a:fillRect/>
              </a:stretch>
            </p:blipFill>
            <p:spPr>
              <a:xfrm>
                <a:off x="0" y="0"/>
                <a:ext cx="1791" cy="318"/>
              </a:xfrm>
              <a:prstGeom prst="rect">
                <a:avLst/>
              </a:prstGeom>
              <a:noFill/>
              <a:ln>
                <a:noFill/>
              </a:ln>
            </p:spPr>
          </p:pic>
        </p:grpSp>
      </p:grpSp>
      <p:sp>
        <p:nvSpPr>
          <p:cNvPr id="1953" name="Rectangle 2"/>
          <p:cNvSpPr>
            <a:spLocks noGrp="1" noChangeArrowheads="1"/>
          </p:cNvSpPr>
          <p:nvPr>
            <p:ph type="title"/>
          </p:nvPr>
        </p:nvSpPr>
        <p:spPr>
          <a:xfrm>
            <a:off x="2" y="0"/>
            <a:ext cx="5342537" cy="538868"/>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954" name="Picture 14"/>
          <p:cNvPicPr>
            <a:picLocks noChangeAspect="1" noChangeArrowheads="1"/>
          </p:cNvPicPr>
          <p:nvPr userDrawn="1"/>
        </p:nvPicPr>
        <p:blipFill>
          <a:blip r:embed="rId6" cstate="email">
            <a:extLst>
              <a:ext uri="{28A0092B-C50C-407E-A947-70E740481C1C}">
                <a14:useLocalDpi xmlns:a14="http://schemas.microsoft.com/office/drawing/2010/main"/>
              </a:ext>
            </a:extLst>
          </a:blip>
          <a:srcRect t="3670"/>
          <a:stretch>
            <a:fillRect/>
          </a:stretch>
        </p:blipFill>
        <p:spPr>
          <a:xfrm>
            <a:off x="8224448" y="4"/>
            <a:ext cx="1679967" cy="377208"/>
          </a:xfrm>
          <a:prstGeom prst="rect">
            <a:avLst/>
          </a:prstGeom>
          <a:noFill/>
          <a:ln>
            <a:noFill/>
          </a:ln>
        </p:spPr>
      </p:pic>
    </p:spTree>
    <p:extLst>
      <p:ext uri="{BB962C8B-B14F-4D97-AF65-F5344CB8AC3E}">
        <p14:creationId xmlns:p14="http://schemas.microsoft.com/office/powerpoint/2010/main" val="1366804245"/>
      </p:ext>
    </p:extLst>
  </p:cSld>
  <p:clrMap bg1="lt1" tx1="dk1" bg2="lt2" tx2="dk2" accent1="accent1" accent2="accent2" accent3="accent3" accent4="accent4" accent5="accent5" accent6="accent6" hlink="hlink" folHlink="folHlink"/>
  <p:sldLayoutIdLst>
    <p:sldLayoutId id="2147483865" r:id="rId1"/>
  </p:sldLayoutIdLst>
  <p:hf hdr="0" dt="0"/>
  <p:txStyles>
    <p:titleStyle>
      <a:lvl1pPr algn="l" rtl="0" eaLnBrk="1" fontAlgn="base" hangingPunct="1">
        <a:spcBef>
          <a:spcPct val="0"/>
        </a:spcBef>
        <a:spcAft>
          <a:spcPct val="0"/>
        </a:spcAft>
        <a:defRPr kumimoji="1" sz="2584">
          <a:solidFill>
            <a:srgbClr val="4087C8"/>
          </a:solidFill>
          <a:latin typeface="+mj-lt"/>
          <a:ea typeface="+mj-ea"/>
          <a:cs typeface="+mj-cs"/>
        </a:defRPr>
      </a:lvl1pPr>
      <a:lvl2pPr algn="l" rtl="0" eaLnBrk="1" fontAlgn="base" hangingPunct="1">
        <a:spcBef>
          <a:spcPct val="0"/>
        </a:spcBef>
        <a:spcAft>
          <a:spcPct val="0"/>
        </a:spcAft>
        <a:defRPr kumimoji="1" sz="2584">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584">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584">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584">
          <a:solidFill>
            <a:srgbClr val="4087C8"/>
          </a:solidFill>
          <a:latin typeface="HGP創英角ｺﾞｼｯｸUB" pitchFamily="50" charset="-128"/>
          <a:ea typeface="HGP創英角ｺﾞｼｯｸUB" pitchFamily="50" charset="-128"/>
        </a:defRPr>
      </a:lvl5pPr>
      <a:lvl6pPr marL="421957" algn="l" rtl="0" eaLnBrk="1" fontAlgn="base" hangingPunct="1">
        <a:spcBef>
          <a:spcPct val="0"/>
        </a:spcBef>
        <a:spcAft>
          <a:spcPct val="0"/>
        </a:spcAft>
        <a:defRPr kumimoji="1" sz="2584">
          <a:solidFill>
            <a:srgbClr val="4087C8"/>
          </a:solidFill>
          <a:latin typeface="HGP創英角ｺﾞｼｯｸUB" pitchFamily="50" charset="-128"/>
          <a:ea typeface="HGP創英角ｺﾞｼｯｸUB" pitchFamily="50" charset="-128"/>
        </a:defRPr>
      </a:lvl6pPr>
      <a:lvl7pPr marL="843914" algn="l" rtl="0" eaLnBrk="1" fontAlgn="base" hangingPunct="1">
        <a:spcBef>
          <a:spcPct val="0"/>
        </a:spcBef>
        <a:spcAft>
          <a:spcPct val="0"/>
        </a:spcAft>
        <a:defRPr kumimoji="1" sz="2584">
          <a:solidFill>
            <a:srgbClr val="4087C8"/>
          </a:solidFill>
          <a:latin typeface="HGP創英角ｺﾞｼｯｸUB" pitchFamily="50" charset="-128"/>
          <a:ea typeface="HGP創英角ｺﾞｼｯｸUB" pitchFamily="50" charset="-128"/>
        </a:defRPr>
      </a:lvl7pPr>
      <a:lvl8pPr marL="1265871" algn="l" rtl="0" eaLnBrk="1" fontAlgn="base" hangingPunct="1">
        <a:spcBef>
          <a:spcPct val="0"/>
        </a:spcBef>
        <a:spcAft>
          <a:spcPct val="0"/>
        </a:spcAft>
        <a:defRPr kumimoji="1" sz="2584">
          <a:solidFill>
            <a:srgbClr val="4087C8"/>
          </a:solidFill>
          <a:latin typeface="HGP創英角ｺﾞｼｯｸUB" pitchFamily="50" charset="-128"/>
          <a:ea typeface="HGP創英角ｺﾞｼｯｸUB" pitchFamily="50" charset="-128"/>
        </a:defRPr>
      </a:lvl8pPr>
      <a:lvl9pPr marL="1687827" algn="l" rtl="0" eaLnBrk="1" fontAlgn="base" hangingPunct="1">
        <a:spcBef>
          <a:spcPct val="0"/>
        </a:spcBef>
        <a:spcAft>
          <a:spcPct val="0"/>
        </a:spcAft>
        <a:defRPr kumimoji="1" sz="2584">
          <a:solidFill>
            <a:srgbClr val="4087C8"/>
          </a:solidFill>
          <a:latin typeface="HGP創英角ｺﾞｼｯｸUB" pitchFamily="50" charset="-128"/>
          <a:ea typeface="HGP創英角ｺﾞｼｯｸUB" pitchFamily="50" charset="-128"/>
        </a:defRPr>
      </a:lvl9pPr>
    </p:titleStyle>
    <p:bodyStyle>
      <a:lvl1pPr marL="316468" indent="-316468" algn="l" rtl="0" eaLnBrk="1" fontAlgn="base" hangingPunct="1">
        <a:spcBef>
          <a:spcPct val="20000"/>
        </a:spcBef>
        <a:spcAft>
          <a:spcPct val="0"/>
        </a:spcAft>
        <a:buChar char="•"/>
        <a:defRPr kumimoji="1" sz="2953">
          <a:solidFill>
            <a:schemeClr val="tx1"/>
          </a:solidFill>
          <a:latin typeface="+mn-lt"/>
          <a:ea typeface="+mn-ea"/>
          <a:cs typeface="+mn-cs"/>
        </a:defRPr>
      </a:lvl1pPr>
      <a:lvl2pPr marL="685680" indent="-263723" algn="l" rtl="0" eaLnBrk="1" fontAlgn="base" hangingPunct="1">
        <a:spcBef>
          <a:spcPct val="20000"/>
        </a:spcBef>
        <a:spcAft>
          <a:spcPct val="0"/>
        </a:spcAft>
        <a:buChar char="–"/>
        <a:defRPr kumimoji="1" sz="2584">
          <a:solidFill>
            <a:schemeClr val="tx1"/>
          </a:solidFill>
          <a:latin typeface="+mn-lt"/>
          <a:ea typeface="+mn-ea"/>
        </a:defRPr>
      </a:lvl2pPr>
      <a:lvl3pPr marL="1054892" indent="-210979" algn="l" rtl="0" eaLnBrk="1" fontAlgn="base" hangingPunct="1">
        <a:spcBef>
          <a:spcPct val="20000"/>
        </a:spcBef>
        <a:spcAft>
          <a:spcPct val="0"/>
        </a:spcAft>
        <a:buChar char="•"/>
        <a:defRPr kumimoji="1" sz="2215">
          <a:solidFill>
            <a:schemeClr val="tx1"/>
          </a:solidFill>
          <a:latin typeface="+mn-lt"/>
          <a:ea typeface="+mn-ea"/>
        </a:defRPr>
      </a:lvl3pPr>
      <a:lvl4pPr marL="1476850" indent="-210979" algn="l" rtl="0" eaLnBrk="1" fontAlgn="base" hangingPunct="1">
        <a:spcBef>
          <a:spcPct val="20000"/>
        </a:spcBef>
        <a:spcAft>
          <a:spcPct val="0"/>
        </a:spcAft>
        <a:buChar char="–"/>
        <a:defRPr kumimoji="1" sz="1846">
          <a:solidFill>
            <a:schemeClr val="tx1"/>
          </a:solidFill>
          <a:latin typeface="+mn-lt"/>
          <a:ea typeface="+mn-ea"/>
        </a:defRPr>
      </a:lvl4pPr>
      <a:lvl5pPr marL="1898806" indent="-210979" algn="l" rtl="0" eaLnBrk="1" fontAlgn="base" hangingPunct="1">
        <a:spcBef>
          <a:spcPct val="20000"/>
        </a:spcBef>
        <a:spcAft>
          <a:spcPct val="0"/>
        </a:spcAft>
        <a:buChar char="»"/>
        <a:defRPr kumimoji="1" sz="1846">
          <a:solidFill>
            <a:schemeClr val="tx1"/>
          </a:solidFill>
          <a:latin typeface="+mn-lt"/>
          <a:ea typeface="+mn-ea"/>
        </a:defRPr>
      </a:lvl5pPr>
      <a:lvl6pPr marL="2320763" indent="-210979" algn="l" rtl="0" eaLnBrk="1" fontAlgn="base" hangingPunct="1">
        <a:spcBef>
          <a:spcPct val="20000"/>
        </a:spcBef>
        <a:spcAft>
          <a:spcPct val="0"/>
        </a:spcAft>
        <a:buChar char="»"/>
        <a:defRPr kumimoji="1" sz="1846">
          <a:solidFill>
            <a:schemeClr val="tx1"/>
          </a:solidFill>
          <a:latin typeface="+mn-lt"/>
          <a:ea typeface="+mn-ea"/>
        </a:defRPr>
      </a:lvl6pPr>
      <a:lvl7pPr marL="2742720" indent="-210979" algn="l" rtl="0" eaLnBrk="1" fontAlgn="base" hangingPunct="1">
        <a:spcBef>
          <a:spcPct val="20000"/>
        </a:spcBef>
        <a:spcAft>
          <a:spcPct val="0"/>
        </a:spcAft>
        <a:buChar char="»"/>
        <a:defRPr kumimoji="1" sz="1846">
          <a:solidFill>
            <a:schemeClr val="tx1"/>
          </a:solidFill>
          <a:latin typeface="+mn-lt"/>
          <a:ea typeface="+mn-ea"/>
        </a:defRPr>
      </a:lvl7pPr>
      <a:lvl8pPr marL="3164677" indent="-210979" algn="l" rtl="0" eaLnBrk="1" fontAlgn="base" hangingPunct="1">
        <a:spcBef>
          <a:spcPct val="20000"/>
        </a:spcBef>
        <a:spcAft>
          <a:spcPct val="0"/>
        </a:spcAft>
        <a:buChar char="»"/>
        <a:defRPr kumimoji="1" sz="1846">
          <a:solidFill>
            <a:schemeClr val="tx1"/>
          </a:solidFill>
          <a:latin typeface="+mn-lt"/>
          <a:ea typeface="+mn-ea"/>
        </a:defRPr>
      </a:lvl8pPr>
      <a:lvl9pPr marL="3586634" indent="-210979" algn="l" rtl="0" eaLnBrk="1" fontAlgn="base" hangingPunct="1">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3914" rtl="0" eaLnBrk="1" latinLnBrk="0" hangingPunct="1">
        <a:defRPr kumimoji="1" sz="1662" kern="1200">
          <a:solidFill>
            <a:schemeClr val="tx1"/>
          </a:solidFill>
          <a:latin typeface="+mn-lt"/>
          <a:ea typeface="+mn-ea"/>
          <a:cs typeface="+mn-cs"/>
        </a:defRPr>
      </a:lvl1pPr>
      <a:lvl2pPr marL="421957" algn="l" defTabSz="843914" rtl="0" eaLnBrk="1" latinLnBrk="0" hangingPunct="1">
        <a:defRPr kumimoji="1" sz="1662" kern="1200">
          <a:solidFill>
            <a:schemeClr val="tx1"/>
          </a:solidFill>
          <a:latin typeface="+mn-lt"/>
          <a:ea typeface="+mn-ea"/>
          <a:cs typeface="+mn-cs"/>
        </a:defRPr>
      </a:lvl2pPr>
      <a:lvl3pPr marL="843914" algn="l" defTabSz="843914" rtl="0" eaLnBrk="1" latinLnBrk="0" hangingPunct="1">
        <a:defRPr kumimoji="1" sz="1662" kern="1200">
          <a:solidFill>
            <a:schemeClr val="tx1"/>
          </a:solidFill>
          <a:latin typeface="+mn-lt"/>
          <a:ea typeface="+mn-ea"/>
          <a:cs typeface="+mn-cs"/>
        </a:defRPr>
      </a:lvl3pPr>
      <a:lvl4pPr marL="1265871" algn="l" defTabSz="843914" rtl="0" eaLnBrk="1" latinLnBrk="0" hangingPunct="1">
        <a:defRPr kumimoji="1" sz="1662" kern="1200">
          <a:solidFill>
            <a:schemeClr val="tx1"/>
          </a:solidFill>
          <a:latin typeface="+mn-lt"/>
          <a:ea typeface="+mn-ea"/>
          <a:cs typeface="+mn-cs"/>
        </a:defRPr>
      </a:lvl4pPr>
      <a:lvl5pPr marL="1687827" algn="l" defTabSz="843914" rtl="0" eaLnBrk="1" latinLnBrk="0" hangingPunct="1">
        <a:defRPr kumimoji="1" sz="1662" kern="1200">
          <a:solidFill>
            <a:schemeClr val="tx1"/>
          </a:solidFill>
          <a:latin typeface="+mn-lt"/>
          <a:ea typeface="+mn-ea"/>
          <a:cs typeface="+mn-cs"/>
        </a:defRPr>
      </a:lvl5pPr>
      <a:lvl6pPr marL="2109785" algn="l" defTabSz="843914" rtl="0" eaLnBrk="1" latinLnBrk="0" hangingPunct="1">
        <a:defRPr kumimoji="1" sz="1662" kern="1200">
          <a:solidFill>
            <a:schemeClr val="tx1"/>
          </a:solidFill>
          <a:latin typeface="+mn-lt"/>
          <a:ea typeface="+mn-ea"/>
          <a:cs typeface="+mn-cs"/>
        </a:defRPr>
      </a:lvl6pPr>
      <a:lvl7pPr marL="2531742" algn="l" defTabSz="843914" rtl="0" eaLnBrk="1" latinLnBrk="0" hangingPunct="1">
        <a:defRPr kumimoji="1" sz="1662" kern="1200">
          <a:solidFill>
            <a:schemeClr val="tx1"/>
          </a:solidFill>
          <a:latin typeface="+mn-lt"/>
          <a:ea typeface="+mn-ea"/>
          <a:cs typeface="+mn-cs"/>
        </a:defRPr>
      </a:lvl7pPr>
      <a:lvl8pPr marL="2953698" algn="l" defTabSz="843914" rtl="0" eaLnBrk="1" latinLnBrk="0" hangingPunct="1">
        <a:defRPr kumimoji="1" sz="1662" kern="1200">
          <a:solidFill>
            <a:schemeClr val="tx1"/>
          </a:solidFill>
          <a:latin typeface="+mn-lt"/>
          <a:ea typeface="+mn-ea"/>
          <a:cs typeface="+mn-cs"/>
        </a:defRPr>
      </a:lvl8pPr>
      <a:lvl9pPr marL="3375656" algn="l" defTabSz="843914" rtl="0" eaLnBrk="1" latinLnBrk="0" hangingPunct="1">
        <a:defRPr kumimoji="1" sz="1662"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95221" y="1810599"/>
            <a:ext cx="8913972" cy="51210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p:cNvSpPr>
            <a:spLocks noGrp="1" noChangeArrowheads="1"/>
          </p:cNvSpPr>
          <p:nvPr>
            <p:ph type="dt" sz="half" idx="2"/>
          </p:nvPr>
        </p:nvSpPr>
        <p:spPr bwMode="auto">
          <a:xfrm>
            <a:off x="495221" y="706635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50" charset="-128"/>
              </a:defRPr>
            </a:lvl1pPr>
          </a:lstStyle>
          <a:p>
            <a:pPr>
              <a:defRPr/>
            </a:pPr>
            <a:endParaRPr lang="en-US" altLang="ja-JP"/>
          </a:p>
        </p:txBody>
      </p:sp>
      <p:sp>
        <p:nvSpPr>
          <p:cNvPr id="1029" name="Rectangle 5"/>
          <p:cNvSpPr>
            <a:spLocks noGrp="1" noChangeArrowheads="1"/>
          </p:cNvSpPr>
          <p:nvPr>
            <p:ph type="ftr" sz="quarter" idx="3"/>
          </p:nvPr>
        </p:nvSpPr>
        <p:spPr bwMode="auto">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50" charset="-128"/>
              </a:defRPr>
            </a:lvl1pPr>
          </a:lstStyle>
          <a:p>
            <a:pPr>
              <a:defRPr/>
            </a:pPr>
            <a:endParaRPr lang="en-US" altLang="ja-JP"/>
          </a:p>
        </p:txBody>
      </p:sp>
      <p:sp>
        <p:nvSpPr>
          <p:cNvPr id="1030" name="Rectangle 6"/>
          <p:cNvSpPr>
            <a:spLocks noGrp="1" noChangeArrowheads="1"/>
          </p:cNvSpPr>
          <p:nvPr>
            <p:ph type="sldNum" sz="quarter" idx="4"/>
          </p:nvPr>
        </p:nvSpPr>
        <p:spPr bwMode="auto">
          <a:xfrm>
            <a:off x="7593383" y="705737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50" charset="-128"/>
              </a:defRPr>
            </a:lvl1pPr>
          </a:lstStyle>
          <a:p>
            <a:pPr>
              <a:defRPr/>
            </a:pPr>
            <a:fld id="{FFDCE21E-3BF4-4A13-BE4A-B95BE9787BE2}" type="slidenum">
              <a:rPr lang="en-US" altLang="ja-JP"/>
              <a:pPr>
                <a:defRPr/>
              </a:pPr>
              <a:t>‹#›</a:t>
            </a:fld>
            <a:endParaRPr lang="en-US" altLang="ja-JP"/>
          </a:p>
        </p:txBody>
      </p:sp>
      <p:grpSp>
        <p:nvGrpSpPr>
          <p:cNvPr id="2" name="Group 18"/>
          <p:cNvGrpSpPr>
            <a:grpSpLocks/>
          </p:cNvGrpSpPr>
          <p:nvPr userDrawn="1"/>
        </p:nvGrpSpPr>
        <p:grpSpPr bwMode="auto">
          <a:xfrm>
            <a:off x="0" y="0"/>
            <a:ext cx="9904413" cy="617902"/>
            <a:chOff x="0" y="0"/>
            <a:chExt cx="5760" cy="344"/>
          </a:xfrm>
        </p:grpSpPr>
        <p:pic>
          <p:nvPicPr>
            <p:cNvPr id="1034" name="Picture 9" descr="mlit_top"/>
            <p:cNvPicPr>
              <a:picLocks noChangeAspect="1" noChangeArrowheads="1"/>
            </p:cNvPicPr>
            <p:nvPr userDrawn="1"/>
          </p:nvPicPr>
          <p:blipFill>
            <a:blip r:embed="rId6" cstate="hqprint">
              <a:extLst>
                <a:ext uri="{28A0092B-C50C-407E-A947-70E740481C1C}">
                  <a14:useLocalDpi xmlns:a14="http://schemas.microsoft.com/office/drawing/2010/main"/>
                </a:ext>
              </a:extLst>
            </a:blip>
            <a:srcRect t="26801" b="65286"/>
            <a:stretch>
              <a:fillRect/>
            </a:stretch>
          </p:blipFill>
          <p:spPr bwMode="auto">
            <a:xfrm>
              <a:off x="0" y="300"/>
              <a:ext cx="5760" cy="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35" name="Group 17"/>
            <p:cNvGrpSpPr>
              <a:grpSpLocks/>
            </p:cNvGrpSpPr>
            <p:nvPr userDrawn="1"/>
          </p:nvGrpSpPr>
          <p:grpSpPr bwMode="auto">
            <a:xfrm>
              <a:off x="0" y="0"/>
              <a:ext cx="5760" cy="318"/>
              <a:chOff x="0" y="0"/>
              <a:chExt cx="5760" cy="318"/>
            </a:xfrm>
          </p:grpSpPr>
          <p:pic>
            <p:nvPicPr>
              <p:cNvPr id="1036" name="Picture 11" descr="mlit_top"/>
              <p:cNvPicPr>
                <a:picLocks noChangeAspect="1" noChangeArrowheads="1"/>
              </p:cNvPicPr>
              <p:nvPr userDrawn="1"/>
            </p:nvPicPr>
            <p:blipFill>
              <a:blip r:embed="rId7" cstate="hqprint">
                <a:extLst>
                  <a:ext uri="{28A0092B-C50C-407E-A947-70E740481C1C}">
                    <a14:useLocalDpi xmlns:a14="http://schemas.microsoft.com/office/drawing/2010/main"/>
                  </a:ext>
                </a:extLst>
              </a:blip>
              <a:srcRect r="66945" b="42805"/>
              <a:stretch>
                <a:fillRect/>
              </a:stretch>
            </p:blipFill>
            <p:spPr bwMode="auto">
              <a:xfrm>
                <a:off x="3856" y="0"/>
                <a:ext cx="1904" cy="3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7" name="Picture 16" descr="mlit_top"/>
              <p:cNvPicPr>
                <a:picLocks noChangeAspect="1" noChangeArrowheads="1"/>
              </p:cNvPicPr>
              <p:nvPr userDrawn="1"/>
            </p:nvPicPr>
            <p:blipFill>
              <a:blip r:embed="rId8" cstate="hqprint">
                <a:extLst>
                  <a:ext uri="{28A0092B-C50C-407E-A947-70E740481C1C}">
                    <a14:useLocalDpi xmlns:a14="http://schemas.microsoft.com/office/drawing/2010/main"/>
                  </a:ext>
                </a:extLst>
              </a:blip>
              <a:srcRect l="50000" b="42805"/>
              <a:stretch>
                <a:fillRect/>
              </a:stretch>
            </p:blipFill>
            <p:spPr bwMode="auto">
              <a:xfrm>
                <a:off x="1043" y="0"/>
                <a:ext cx="2880" cy="3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8" name="Picture 10" descr="mlit_top"/>
              <p:cNvPicPr>
                <a:picLocks noChangeAspect="1" noChangeArrowheads="1"/>
              </p:cNvPicPr>
              <p:nvPr userDrawn="1"/>
            </p:nvPicPr>
            <p:blipFill>
              <a:blip r:embed="rId8" cstate="hqprint">
                <a:extLst>
                  <a:ext uri="{28A0092B-C50C-407E-A947-70E740481C1C}">
                    <a14:useLocalDpi xmlns:a14="http://schemas.microsoft.com/office/drawing/2010/main"/>
                  </a:ext>
                </a:extLst>
              </a:blip>
              <a:srcRect l="68906" b="42805"/>
              <a:stretch>
                <a:fillRect/>
              </a:stretch>
            </p:blipFill>
            <p:spPr bwMode="auto">
              <a:xfrm>
                <a:off x="0" y="0"/>
                <a:ext cx="1791" cy="3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sp>
        <p:nvSpPr>
          <p:cNvPr id="1031" name="Rectangle 2"/>
          <p:cNvSpPr>
            <a:spLocks noGrp="1" noChangeArrowheads="1"/>
          </p:cNvSpPr>
          <p:nvPr>
            <p:ph type="title"/>
          </p:nvPr>
        </p:nvSpPr>
        <p:spPr bwMode="auto">
          <a:xfrm>
            <a:off x="1" y="0"/>
            <a:ext cx="5342537" cy="5388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32" name="Picture 14"/>
          <p:cNvPicPr>
            <a:picLocks noChangeAspect="1" noChangeArrowheads="1"/>
          </p:cNvPicPr>
          <p:nvPr userDrawn="1"/>
        </p:nvPicPr>
        <p:blipFill>
          <a:blip r:embed="rId9" cstate="print">
            <a:extLst>
              <a:ext uri="{28A0092B-C50C-407E-A947-70E740481C1C}">
                <a14:useLocalDpi xmlns:a14="http://schemas.microsoft.com/office/drawing/2010/main"/>
              </a:ext>
            </a:extLst>
          </a:blip>
          <a:srcRect t="3670"/>
          <a:stretch>
            <a:fillRect/>
          </a:stretch>
        </p:blipFill>
        <p:spPr bwMode="auto">
          <a:xfrm>
            <a:off x="8224447" y="2"/>
            <a:ext cx="1679967" cy="3772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006506273"/>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Lst>
  <p:hf hdr="0" dt="0"/>
  <p:txStyles>
    <p:titleStyle>
      <a:lvl1pPr algn="l" rtl="0" eaLnBrk="1" fontAlgn="base" hangingPunct="1">
        <a:spcBef>
          <a:spcPct val="0"/>
        </a:spcBef>
        <a:spcAft>
          <a:spcPct val="0"/>
        </a:spcAft>
        <a:defRPr kumimoji="1" sz="2799">
          <a:solidFill>
            <a:srgbClr val="4087C8"/>
          </a:solidFill>
          <a:latin typeface="+mj-lt"/>
          <a:ea typeface="+mj-ea"/>
          <a:cs typeface="+mj-cs"/>
        </a:defRPr>
      </a:lvl1pPr>
      <a:lvl2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5pPr>
      <a:lvl6pPr marL="457109"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6pPr>
      <a:lvl7pPr marL="914217"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7pPr>
      <a:lvl8pPr marL="1371326"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8pPr>
      <a:lvl9pPr marL="1828434"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9pPr>
    </p:titleStyle>
    <p:bodyStyle>
      <a:lvl1pPr marL="342831" indent="-342831" algn="l" rtl="0" eaLnBrk="1" fontAlgn="base" hangingPunct="1">
        <a:spcBef>
          <a:spcPct val="20000"/>
        </a:spcBef>
        <a:spcAft>
          <a:spcPct val="0"/>
        </a:spcAft>
        <a:buChar char="•"/>
        <a:defRPr kumimoji="1" sz="3199">
          <a:solidFill>
            <a:schemeClr val="tx1"/>
          </a:solidFill>
          <a:latin typeface="+mn-lt"/>
          <a:ea typeface="+mn-ea"/>
          <a:cs typeface="+mn-cs"/>
        </a:defRPr>
      </a:lvl1pPr>
      <a:lvl2pPr marL="742801" indent="-285693" algn="l" rtl="0" eaLnBrk="1" fontAlgn="base" hangingPunct="1">
        <a:spcBef>
          <a:spcPct val="20000"/>
        </a:spcBef>
        <a:spcAft>
          <a:spcPct val="0"/>
        </a:spcAft>
        <a:buChar char="–"/>
        <a:defRPr kumimoji="1" sz="2799">
          <a:solidFill>
            <a:schemeClr val="tx1"/>
          </a:solidFill>
          <a:latin typeface="+mn-lt"/>
          <a:ea typeface="+mn-ea"/>
        </a:defRPr>
      </a:lvl2pPr>
      <a:lvl3pPr marL="1142771" indent="-228554" algn="l" rtl="0" eaLnBrk="1" fontAlgn="base" hangingPunct="1">
        <a:spcBef>
          <a:spcPct val="20000"/>
        </a:spcBef>
        <a:spcAft>
          <a:spcPct val="0"/>
        </a:spcAft>
        <a:buChar char="•"/>
        <a:defRPr kumimoji="1" sz="2400">
          <a:solidFill>
            <a:schemeClr val="tx1"/>
          </a:solidFill>
          <a:latin typeface="+mn-lt"/>
          <a:ea typeface="+mn-ea"/>
        </a:defRPr>
      </a:lvl3pPr>
      <a:lvl4pPr marL="1599880" indent="-228554" algn="l" rtl="0" eaLnBrk="1" fontAlgn="base" hangingPunct="1">
        <a:spcBef>
          <a:spcPct val="20000"/>
        </a:spcBef>
        <a:spcAft>
          <a:spcPct val="0"/>
        </a:spcAft>
        <a:buChar char="–"/>
        <a:defRPr kumimoji="1" sz="2000">
          <a:solidFill>
            <a:schemeClr val="tx1"/>
          </a:solidFill>
          <a:latin typeface="+mn-lt"/>
          <a:ea typeface="+mn-ea"/>
        </a:defRPr>
      </a:lvl4pPr>
      <a:lvl5pPr marL="2056989" indent="-228554" algn="l" rtl="0" eaLnBrk="1" fontAlgn="base" hangingPunct="1">
        <a:spcBef>
          <a:spcPct val="20000"/>
        </a:spcBef>
        <a:spcAft>
          <a:spcPct val="0"/>
        </a:spcAft>
        <a:buChar char="»"/>
        <a:defRPr kumimoji="1" sz="2000">
          <a:solidFill>
            <a:schemeClr val="tx1"/>
          </a:solidFill>
          <a:latin typeface="+mn-lt"/>
          <a:ea typeface="+mn-ea"/>
        </a:defRPr>
      </a:lvl5pPr>
      <a:lvl6pPr marL="2514097" indent="-228554" algn="l" rtl="0" eaLnBrk="1" fontAlgn="base" hangingPunct="1">
        <a:spcBef>
          <a:spcPct val="20000"/>
        </a:spcBef>
        <a:spcAft>
          <a:spcPct val="0"/>
        </a:spcAft>
        <a:buChar char="»"/>
        <a:defRPr kumimoji="1" sz="2000">
          <a:solidFill>
            <a:schemeClr val="tx1"/>
          </a:solidFill>
          <a:latin typeface="+mn-lt"/>
          <a:ea typeface="+mn-ea"/>
        </a:defRPr>
      </a:lvl6pPr>
      <a:lvl7pPr marL="2971206" indent="-228554" algn="l" rtl="0" eaLnBrk="1" fontAlgn="base" hangingPunct="1">
        <a:spcBef>
          <a:spcPct val="20000"/>
        </a:spcBef>
        <a:spcAft>
          <a:spcPct val="0"/>
        </a:spcAft>
        <a:buChar char="»"/>
        <a:defRPr kumimoji="1" sz="2000">
          <a:solidFill>
            <a:schemeClr val="tx1"/>
          </a:solidFill>
          <a:latin typeface="+mn-lt"/>
          <a:ea typeface="+mn-ea"/>
        </a:defRPr>
      </a:lvl7pPr>
      <a:lvl8pPr marL="3428314" indent="-228554" algn="l" rtl="0" eaLnBrk="1" fontAlgn="base" hangingPunct="1">
        <a:spcBef>
          <a:spcPct val="20000"/>
        </a:spcBef>
        <a:spcAft>
          <a:spcPct val="0"/>
        </a:spcAft>
        <a:buChar char="»"/>
        <a:defRPr kumimoji="1" sz="2000">
          <a:solidFill>
            <a:schemeClr val="tx1"/>
          </a:solidFill>
          <a:latin typeface="+mn-lt"/>
          <a:ea typeface="+mn-ea"/>
        </a:defRPr>
      </a:lvl8pPr>
      <a:lvl9pPr marL="3885423" indent="-228554"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217" rtl="0" eaLnBrk="1" latinLnBrk="0" hangingPunct="1">
        <a:defRPr kumimoji="1" sz="1800" kern="1200">
          <a:solidFill>
            <a:schemeClr val="tx1"/>
          </a:solidFill>
          <a:latin typeface="+mn-lt"/>
          <a:ea typeface="+mn-ea"/>
          <a:cs typeface="+mn-cs"/>
        </a:defRPr>
      </a:lvl1pPr>
      <a:lvl2pPr marL="457109" algn="l" defTabSz="914217" rtl="0" eaLnBrk="1" latinLnBrk="0" hangingPunct="1">
        <a:defRPr kumimoji="1" sz="1800" kern="1200">
          <a:solidFill>
            <a:schemeClr val="tx1"/>
          </a:solidFill>
          <a:latin typeface="+mn-lt"/>
          <a:ea typeface="+mn-ea"/>
          <a:cs typeface="+mn-cs"/>
        </a:defRPr>
      </a:lvl2pPr>
      <a:lvl3pPr marL="914217" algn="l" defTabSz="914217" rtl="0" eaLnBrk="1" latinLnBrk="0" hangingPunct="1">
        <a:defRPr kumimoji="1" sz="1800" kern="1200">
          <a:solidFill>
            <a:schemeClr val="tx1"/>
          </a:solidFill>
          <a:latin typeface="+mn-lt"/>
          <a:ea typeface="+mn-ea"/>
          <a:cs typeface="+mn-cs"/>
        </a:defRPr>
      </a:lvl3pPr>
      <a:lvl4pPr marL="1371326" algn="l" defTabSz="914217" rtl="0" eaLnBrk="1" latinLnBrk="0" hangingPunct="1">
        <a:defRPr kumimoji="1" sz="1800" kern="1200">
          <a:solidFill>
            <a:schemeClr val="tx1"/>
          </a:solidFill>
          <a:latin typeface="+mn-lt"/>
          <a:ea typeface="+mn-ea"/>
          <a:cs typeface="+mn-cs"/>
        </a:defRPr>
      </a:lvl4pPr>
      <a:lvl5pPr marL="1828434" algn="l" defTabSz="914217" rtl="0" eaLnBrk="1" latinLnBrk="0" hangingPunct="1">
        <a:defRPr kumimoji="1" sz="1800" kern="1200">
          <a:solidFill>
            <a:schemeClr val="tx1"/>
          </a:solidFill>
          <a:latin typeface="+mn-lt"/>
          <a:ea typeface="+mn-ea"/>
          <a:cs typeface="+mn-cs"/>
        </a:defRPr>
      </a:lvl5pPr>
      <a:lvl6pPr marL="2285543" algn="l" defTabSz="914217" rtl="0" eaLnBrk="1" latinLnBrk="0" hangingPunct="1">
        <a:defRPr kumimoji="1" sz="1800" kern="1200">
          <a:solidFill>
            <a:schemeClr val="tx1"/>
          </a:solidFill>
          <a:latin typeface="+mn-lt"/>
          <a:ea typeface="+mn-ea"/>
          <a:cs typeface="+mn-cs"/>
        </a:defRPr>
      </a:lvl6pPr>
      <a:lvl7pPr marL="2742651" algn="l" defTabSz="914217" rtl="0" eaLnBrk="1" latinLnBrk="0" hangingPunct="1">
        <a:defRPr kumimoji="1" sz="1800" kern="1200">
          <a:solidFill>
            <a:schemeClr val="tx1"/>
          </a:solidFill>
          <a:latin typeface="+mn-lt"/>
          <a:ea typeface="+mn-ea"/>
          <a:cs typeface="+mn-cs"/>
        </a:defRPr>
      </a:lvl7pPr>
      <a:lvl8pPr marL="3199760" algn="l" defTabSz="914217" rtl="0" eaLnBrk="1" latinLnBrk="0" hangingPunct="1">
        <a:defRPr kumimoji="1" sz="1800" kern="1200">
          <a:solidFill>
            <a:schemeClr val="tx1"/>
          </a:solidFill>
          <a:latin typeface="+mn-lt"/>
          <a:ea typeface="+mn-ea"/>
          <a:cs typeface="+mn-cs"/>
        </a:defRPr>
      </a:lvl8pPr>
      <a:lvl9pPr marL="3656868" algn="l" defTabSz="914217" rtl="0" eaLnBrk="1" latinLnBrk="0" hangingPunct="1">
        <a:defRPr kumimoji="1"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95221" y="1810599"/>
            <a:ext cx="8913972" cy="5121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9" name="Rectangle 5"/>
          <p:cNvSpPr>
            <a:spLocks noGrp="1" noChangeArrowheads="1"/>
          </p:cNvSpPr>
          <p:nvPr>
            <p:ph type="ftr" sz="quarter" idx="3"/>
          </p:nvPr>
        </p:nvSpPr>
        <p:spPr bwMode="auto">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399">
                <a:ea typeface="ＭＳ Ｐゴシック" pitchFamily="50" charset="-128"/>
              </a:defRPr>
            </a:lvl1pPr>
          </a:lstStyle>
          <a:p>
            <a:pPr>
              <a:defRPr/>
            </a:pPr>
            <a:endParaRPr lang="en-US" altLang="ja-JP"/>
          </a:p>
        </p:txBody>
      </p:sp>
      <p:sp>
        <p:nvSpPr>
          <p:cNvPr id="1030" name="Rectangle 6"/>
          <p:cNvSpPr>
            <a:spLocks noGrp="1" noChangeArrowheads="1"/>
          </p:cNvSpPr>
          <p:nvPr>
            <p:ph type="sldNum" sz="quarter" idx="4"/>
          </p:nvPr>
        </p:nvSpPr>
        <p:spPr bwMode="auto">
          <a:xfrm>
            <a:off x="7593383" y="7365362"/>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399">
                <a:ea typeface="ＭＳ Ｐゴシック" pitchFamily="50" charset="-128"/>
              </a:defRPr>
            </a:lvl1pPr>
          </a:lstStyle>
          <a:p>
            <a:pPr>
              <a:defRPr/>
            </a:pPr>
            <a:fld id="{FFDCE21E-3BF4-4A13-BE4A-B95BE9787BE2}" type="slidenum">
              <a:rPr lang="en-US" altLang="ja-JP"/>
              <a:pPr>
                <a:defRPr/>
              </a:pPr>
              <a:t>‹#›</a:t>
            </a:fld>
            <a:endParaRPr lang="en-US" altLang="ja-JP" dirty="0"/>
          </a:p>
        </p:txBody>
      </p:sp>
      <p:grpSp>
        <p:nvGrpSpPr>
          <p:cNvPr id="2" name="Group 18"/>
          <p:cNvGrpSpPr>
            <a:grpSpLocks/>
          </p:cNvGrpSpPr>
          <p:nvPr userDrawn="1"/>
        </p:nvGrpSpPr>
        <p:grpSpPr bwMode="auto">
          <a:xfrm>
            <a:off x="0" y="3"/>
            <a:ext cx="9904413" cy="702296"/>
            <a:chOff x="0" y="0"/>
            <a:chExt cx="5760" cy="344"/>
          </a:xfrm>
        </p:grpSpPr>
        <p:pic>
          <p:nvPicPr>
            <p:cNvPr id="1034" name="Picture 9" descr="mlit_top"/>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t="26801" b="65286"/>
            <a:stretch>
              <a:fillRect/>
            </a:stretch>
          </p:blipFill>
          <p:spPr bwMode="auto">
            <a:xfrm>
              <a:off x="0" y="300"/>
              <a:ext cx="576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5" name="Group 17"/>
            <p:cNvGrpSpPr>
              <a:grpSpLocks/>
            </p:cNvGrpSpPr>
            <p:nvPr userDrawn="1"/>
          </p:nvGrpSpPr>
          <p:grpSpPr bwMode="auto">
            <a:xfrm>
              <a:off x="0" y="0"/>
              <a:ext cx="5760" cy="318"/>
              <a:chOff x="0" y="0"/>
              <a:chExt cx="5760" cy="318"/>
            </a:xfrm>
          </p:grpSpPr>
          <p:pic>
            <p:nvPicPr>
              <p:cNvPr id="1036" name="Picture 11" descr="mlit_top"/>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r="66945" b="42805"/>
              <a:stretch>
                <a:fillRect/>
              </a:stretch>
            </p:blipFill>
            <p:spPr bwMode="auto">
              <a:xfrm>
                <a:off x="3856" y="0"/>
                <a:ext cx="1904"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6" descr="mlit_top"/>
              <p:cNvPicPr>
                <a:picLocks noChangeAspect="1" noChangeArrowheads="1"/>
              </p:cNvPicPr>
              <p:nvPr userDrawn="1"/>
            </p:nvPicPr>
            <p:blipFill>
              <a:blip r:embed="rId19" cstate="email">
                <a:extLst>
                  <a:ext uri="{28A0092B-C50C-407E-A947-70E740481C1C}">
                    <a14:useLocalDpi xmlns:a14="http://schemas.microsoft.com/office/drawing/2010/main" val="0"/>
                  </a:ext>
                </a:extLst>
              </a:blip>
              <a:srcRect l="50000" b="42805"/>
              <a:stretch>
                <a:fillRect/>
              </a:stretch>
            </p:blipFill>
            <p:spPr bwMode="auto">
              <a:xfrm>
                <a:off x="1043" y="0"/>
                <a:ext cx="2880"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0" descr="mlit_top"/>
              <p:cNvPicPr>
                <a:picLocks noChangeAspect="1" noChangeArrowheads="1"/>
              </p:cNvPicPr>
              <p:nvPr userDrawn="1"/>
            </p:nvPicPr>
            <p:blipFill>
              <a:blip r:embed="rId19" cstate="email">
                <a:extLst>
                  <a:ext uri="{28A0092B-C50C-407E-A947-70E740481C1C}">
                    <a14:useLocalDpi xmlns:a14="http://schemas.microsoft.com/office/drawing/2010/main" val="0"/>
                  </a:ext>
                </a:extLst>
              </a:blip>
              <a:srcRect l="68906" b="42805"/>
              <a:stretch>
                <a:fillRect/>
              </a:stretch>
            </p:blipFill>
            <p:spPr bwMode="auto">
              <a:xfrm>
                <a:off x="0" y="0"/>
                <a:ext cx="1791"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031" name="Rectangle 2"/>
          <p:cNvSpPr>
            <a:spLocks noGrp="1" noChangeArrowheads="1"/>
          </p:cNvSpPr>
          <p:nvPr>
            <p:ph type="title"/>
          </p:nvPr>
        </p:nvSpPr>
        <p:spPr bwMode="auto">
          <a:xfrm>
            <a:off x="2" y="0"/>
            <a:ext cx="8384037" cy="538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pic>
        <p:nvPicPr>
          <p:cNvPr id="1032" name="Picture 14"/>
          <p:cNvPicPr>
            <a:picLocks noChangeAspect="1" noChangeArrowheads="1"/>
          </p:cNvPicPr>
          <p:nvPr userDrawn="1"/>
        </p:nvPicPr>
        <p:blipFill>
          <a:blip r:embed="rId20" cstate="email">
            <a:extLst>
              <a:ext uri="{28A0092B-C50C-407E-A947-70E740481C1C}">
                <a14:useLocalDpi xmlns:a14="http://schemas.microsoft.com/office/drawing/2010/main" val="0"/>
              </a:ext>
            </a:extLst>
          </a:blip>
          <a:srcRect t="3670"/>
          <a:stretch>
            <a:fillRect/>
          </a:stretch>
        </p:blipFill>
        <p:spPr bwMode="auto">
          <a:xfrm>
            <a:off x="8224448" y="3"/>
            <a:ext cx="1679967" cy="37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02663891"/>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Lst>
  <p:hf hdr="0" ftr="0" dt="0"/>
  <p:txStyles>
    <p:titleStyle>
      <a:lvl1pPr algn="l" rtl="0" eaLnBrk="1" fontAlgn="base" hangingPunct="1">
        <a:spcBef>
          <a:spcPct val="0"/>
        </a:spcBef>
        <a:spcAft>
          <a:spcPct val="0"/>
        </a:spcAft>
        <a:defRPr kumimoji="1" sz="2799">
          <a:solidFill>
            <a:srgbClr val="4087C8"/>
          </a:solidFill>
          <a:latin typeface="+mj-lt"/>
          <a:ea typeface="+mj-ea"/>
          <a:cs typeface="+mj-cs"/>
        </a:defRPr>
      </a:lvl1pPr>
      <a:lvl2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5pPr>
      <a:lvl6pPr marL="457150"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6pPr>
      <a:lvl7pPr marL="914300"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7pPr>
      <a:lvl8pPr marL="1371450"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8pPr>
      <a:lvl9pPr marL="1828601"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9pPr>
    </p:titleStyle>
    <p:bodyStyle>
      <a:lvl1pPr marL="342863" indent="-342863" algn="l" rtl="0" eaLnBrk="1" fontAlgn="base" hangingPunct="1">
        <a:spcBef>
          <a:spcPct val="20000"/>
        </a:spcBef>
        <a:spcAft>
          <a:spcPct val="0"/>
        </a:spcAft>
        <a:buChar char="•"/>
        <a:defRPr kumimoji="1" sz="3200">
          <a:solidFill>
            <a:schemeClr val="tx1"/>
          </a:solidFill>
          <a:latin typeface="+mn-lt"/>
          <a:ea typeface="+mn-ea"/>
          <a:cs typeface="+mn-cs"/>
        </a:defRPr>
      </a:lvl1pPr>
      <a:lvl2pPr marL="742868" indent="-285719" algn="l" rtl="0" eaLnBrk="1" fontAlgn="base" hangingPunct="1">
        <a:spcBef>
          <a:spcPct val="20000"/>
        </a:spcBef>
        <a:spcAft>
          <a:spcPct val="0"/>
        </a:spcAft>
        <a:buChar char="–"/>
        <a:defRPr kumimoji="1" sz="2799">
          <a:solidFill>
            <a:schemeClr val="tx1"/>
          </a:solidFill>
          <a:latin typeface="+mn-lt"/>
          <a:ea typeface="+mn-ea"/>
        </a:defRPr>
      </a:lvl2pPr>
      <a:lvl3pPr marL="1142876" indent="-228576" algn="l" rtl="0" eaLnBrk="1" fontAlgn="base" hangingPunct="1">
        <a:spcBef>
          <a:spcPct val="20000"/>
        </a:spcBef>
        <a:spcAft>
          <a:spcPct val="0"/>
        </a:spcAft>
        <a:buChar char="•"/>
        <a:defRPr kumimoji="1" sz="2400">
          <a:solidFill>
            <a:schemeClr val="tx1"/>
          </a:solidFill>
          <a:latin typeface="+mn-lt"/>
          <a:ea typeface="+mn-ea"/>
        </a:defRPr>
      </a:lvl3pPr>
      <a:lvl4pPr marL="1600025" indent="-228576" algn="l" rtl="0" eaLnBrk="1" fontAlgn="base" hangingPunct="1">
        <a:spcBef>
          <a:spcPct val="20000"/>
        </a:spcBef>
        <a:spcAft>
          <a:spcPct val="0"/>
        </a:spcAft>
        <a:buChar char="–"/>
        <a:defRPr kumimoji="1" sz="2000">
          <a:solidFill>
            <a:schemeClr val="tx1"/>
          </a:solidFill>
          <a:latin typeface="+mn-lt"/>
          <a:ea typeface="+mn-ea"/>
        </a:defRPr>
      </a:lvl4pPr>
      <a:lvl5pPr marL="2057176" indent="-228576" algn="l" rtl="0" eaLnBrk="1" fontAlgn="base" hangingPunct="1">
        <a:spcBef>
          <a:spcPct val="20000"/>
        </a:spcBef>
        <a:spcAft>
          <a:spcPct val="0"/>
        </a:spcAft>
        <a:buChar char="»"/>
        <a:defRPr kumimoji="1" sz="2000">
          <a:solidFill>
            <a:schemeClr val="tx1"/>
          </a:solidFill>
          <a:latin typeface="+mn-lt"/>
          <a:ea typeface="+mn-ea"/>
        </a:defRPr>
      </a:lvl5pPr>
      <a:lvl6pPr marL="2514326" indent="-228576" algn="l" rtl="0" eaLnBrk="1" fontAlgn="base" hangingPunct="1">
        <a:spcBef>
          <a:spcPct val="20000"/>
        </a:spcBef>
        <a:spcAft>
          <a:spcPct val="0"/>
        </a:spcAft>
        <a:buChar char="»"/>
        <a:defRPr kumimoji="1" sz="2000">
          <a:solidFill>
            <a:schemeClr val="tx1"/>
          </a:solidFill>
          <a:latin typeface="+mn-lt"/>
          <a:ea typeface="+mn-ea"/>
        </a:defRPr>
      </a:lvl6pPr>
      <a:lvl7pPr marL="2971475" indent="-228576" algn="l" rtl="0" eaLnBrk="1" fontAlgn="base" hangingPunct="1">
        <a:spcBef>
          <a:spcPct val="20000"/>
        </a:spcBef>
        <a:spcAft>
          <a:spcPct val="0"/>
        </a:spcAft>
        <a:buChar char="»"/>
        <a:defRPr kumimoji="1" sz="2000">
          <a:solidFill>
            <a:schemeClr val="tx1"/>
          </a:solidFill>
          <a:latin typeface="+mn-lt"/>
          <a:ea typeface="+mn-ea"/>
        </a:defRPr>
      </a:lvl7pPr>
      <a:lvl8pPr marL="3428626" indent="-228576" algn="l" rtl="0" eaLnBrk="1" fontAlgn="base" hangingPunct="1">
        <a:spcBef>
          <a:spcPct val="20000"/>
        </a:spcBef>
        <a:spcAft>
          <a:spcPct val="0"/>
        </a:spcAft>
        <a:buChar char="»"/>
        <a:defRPr kumimoji="1" sz="2000">
          <a:solidFill>
            <a:schemeClr val="tx1"/>
          </a:solidFill>
          <a:latin typeface="+mn-lt"/>
          <a:ea typeface="+mn-ea"/>
        </a:defRPr>
      </a:lvl8pPr>
      <a:lvl9pPr marL="3885776" indent="-228576"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300" rtl="0" eaLnBrk="1" latinLnBrk="0" hangingPunct="1">
        <a:defRPr kumimoji="1" sz="1799" kern="1200">
          <a:solidFill>
            <a:schemeClr val="tx1"/>
          </a:solidFill>
          <a:latin typeface="+mn-lt"/>
          <a:ea typeface="+mn-ea"/>
          <a:cs typeface="+mn-cs"/>
        </a:defRPr>
      </a:lvl1pPr>
      <a:lvl2pPr marL="457150" algn="l" defTabSz="914300" rtl="0" eaLnBrk="1" latinLnBrk="0" hangingPunct="1">
        <a:defRPr kumimoji="1" sz="1799" kern="1200">
          <a:solidFill>
            <a:schemeClr val="tx1"/>
          </a:solidFill>
          <a:latin typeface="+mn-lt"/>
          <a:ea typeface="+mn-ea"/>
          <a:cs typeface="+mn-cs"/>
        </a:defRPr>
      </a:lvl2pPr>
      <a:lvl3pPr marL="914300" algn="l" defTabSz="914300" rtl="0" eaLnBrk="1" latinLnBrk="0" hangingPunct="1">
        <a:defRPr kumimoji="1" sz="1799" kern="1200">
          <a:solidFill>
            <a:schemeClr val="tx1"/>
          </a:solidFill>
          <a:latin typeface="+mn-lt"/>
          <a:ea typeface="+mn-ea"/>
          <a:cs typeface="+mn-cs"/>
        </a:defRPr>
      </a:lvl3pPr>
      <a:lvl4pPr marL="1371450" algn="l" defTabSz="914300" rtl="0" eaLnBrk="1" latinLnBrk="0" hangingPunct="1">
        <a:defRPr kumimoji="1" sz="1799" kern="1200">
          <a:solidFill>
            <a:schemeClr val="tx1"/>
          </a:solidFill>
          <a:latin typeface="+mn-lt"/>
          <a:ea typeface="+mn-ea"/>
          <a:cs typeface="+mn-cs"/>
        </a:defRPr>
      </a:lvl4pPr>
      <a:lvl5pPr marL="1828601" algn="l" defTabSz="914300" rtl="0" eaLnBrk="1" latinLnBrk="0" hangingPunct="1">
        <a:defRPr kumimoji="1" sz="1799" kern="1200">
          <a:solidFill>
            <a:schemeClr val="tx1"/>
          </a:solidFill>
          <a:latin typeface="+mn-lt"/>
          <a:ea typeface="+mn-ea"/>
          <a:cs typeface="+mn-cs"/>
        </a:defRPr>
      </a:lvl5pPr>
      <a:lvl6pPr marL="2285751" algn="l" defTabSz="914300" rtl="0" eaLnBrk="1" latinLnBrk="0" hangingPunct="1">
        <a:defRPr kumimoji="1" sz="1799" kern="1200">
          <a:solidFill>
            <a:schemeClr val="tx1"/>
          </a:solidFill>
          <a:latin typeface="+mn-lt"/>
          <a:ea typeface="+mn-ea"/>
          <a:cs typeface="+mn-cs"/>
        </a:defRPr>
      </a:lvl6pPr>
      <a:lvl7pPr marL="2742901" algn="l" defTabSz="914300" rtl="0" eaLnBrk="1" latinLnBrk="0" hangingPunct="1">
        <a:defRPr kumimoji="1" sz="1799" kern="1200">
          <a:solidFill>
            <a:schemeClr val="tx1"/>
          </a:solidFill>
          <a:latin typeface="+mn-lt"/>
          <a:ea typeface="+mn-ea"/>
          <a:cs typeface="+mn-cs"/>
        </a:defRPr>
      </a:lvl7pPr>
      <a:lvl8pPr marL="3200051" algn="l" defTabSz="914300" rtl="0" eaLnBrk="1" latinLnBrk="0" hangingPunct="1">
        <a:defRPr kumimoji="1" sz="1799" kern="1200">
          <a:solidFill>
            <a:schemeClr val="tx1"/>
          </a:solidFill>
          <a:latin typeface="+mn-lt"/>
          <a:ea typeface="+mn-ea"/>
          <a:cs typeface="+mn-cs"/>
        </a:defRPr>
      </a:lvl8pPr>
      <a:lvl9pPr marL="3657201" algn="l" defTabSz="914300" rtl="0" eaLnBrk="1" latinLnBrk="0" hangingPunct="1">
        <a:defRPr kumimoji="1" sz="17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3"/>
          <p:cNvSpPr>
            <a:spLocks noGrp="1" noChangeArrowheads="1"/>
          </p:cNvSpPr>
          <p:nvPr>
            <p:ph type="body" idx="1"/>
          </p:nvPr>
        </p:nvSpPr>
        <p:spPr>
          <a:xfrm>
            <a:off x="495221" y="1810606"/>
            <a:ext cx="8913972" cy="5121043"/>
          </a:xfrm>
          <a:prstGeom prst="rect">
            <a:avLst/>
          </a:prstGeom>
          <a:noFill/>
          <a:ln w="9525">
            <a:noFill/>
            <a:miter lim="800000"/>
            <a:headEnd/>
            <a:tailEnd/>
          </a:ln>
        </p:spPr>
        <p:txBody>
          <a:bodyPr vert="horz" wrap="square" lIns="91410" tIns="45706" rIns="91410" bIns="45706"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6" name="Rectangle 4"/>
          <p:cNvSpPr>
            <a:spLocks noGrp="1" noChangeArrowheads="1"/>
          </p:cNvSpPr>
          <p:nvPr>
            <p:ph type="dt" sz="half" idx="2"/>
          </p:nvPr>
        </p:nvSpPr>
        <p:spPr>
          <a:xfrm>
            <a:off x="495224" y="7066356"/>
            <a:ext cx="2311030" cy="538868"/>
          </a:xfrm>
          <a:prstGeom prst="rect">
            <a:avLst/>
          </a:prstGeom>
          <a:noFill/>
          <a:ln w="9525">
            <a:noFill/>
            <a:miter lim="800000"/>
            <a:headEnd/>
            <a:tailEnd/>
          </a:ln>
          <a:effectLst/>
        </p:spPr>
        <p:txBody>
          <a:bodyPr vert="horz" wrap="square" lIns="91410" tIns="45706" rIns="91410" bIns="45706" numCol="1" anchor="t" anchorCtr="0" compatLnSpc="1">
            <a:prstTxWarp prst="textNoShape">
              <a:avLst/>
            </a:prstTxWarp>
          </a:bodyPr>
          <a:lstStyle>
            <a:lvl1pPr>
              <a:defRPr sz="1516"/>
            </a:lvl1pPr>
          </a:lstStyle>
          <a:p>
            <a:pPr>
              <a:defRPr/>
            </a:pPr>
            <a:endParaRPr lang="en-US" altLang="ja-JP"/>
          </a:p>
        </p:txBody>
      </p:sp>
      <p:sp>
        <p:nvSpPr>
          <p:cNvPr id="1027" name="Rectangle 5"/>
          <p:cNvSpPr>
            <a:spLocks noGrp="1" noChangeArrowheads="1"/>
          </p:cNvSpPr>
          <p:nvPr>
            <p:ph type="ftr" sz="quarter" idx="3"/>
          </p:nvPr>
        </p:nvSpPr>
        <p:spPr>
          <a:xfrm>
            <a:off x="3384008" y="7066356"/>
            <a:ext cx="3136397" cy="538868"/>
          </a:xfrm>
          <a:prstGeom prst="rect">
            <a:avLst/>
          </a:prstGeom>
          <a:noFill/>
          <a:ln w="9525">
            <a:noFill/>
            <a:miter lim="800000"/>
            <a:headEnd/>
            <a:tailEnd/>
          </a:ln>
          <a:effectLst/>
        </p:spPr>
        <p:txBody>
          <a:bodyPr vert="horz" wrap="square" lIns="91410" tIns="45706" rIns="91410" bIns="45706" numCol="1" anchor="t" anchorCtr="0" compatLnSpc="1">
            <a:prstTxWarp prst="textNoShape">
              <a:avLst/>
            </a:prstTxWarp>
          </a:bodyPr>
          <a:lstStyle>
            <a:lvl1pPr algn="ctr">
              <a:defRPr sz="1516"/>
            </a:lvl1pPr>
          </a:lstStyle>
          <a:p>
            <a:pPr>
              <a:defRPr/>
            </a:pPr>
            <a:endParaRPr lang="en-US" altLang="ja-JP"/>
          </a:p>
        </p:txBody>
      </p:sp>
      <p:sp>
        <p:nvSpPr>
          <p:cNvPr id="1028" name="Rectangle 6"/>
          <p:cNvSpPr>
            <a:spLocks noGrp="1" noChangeArrowheads="1"/>
          </p:cNvSpPr>
          <p:nvPr>
            <p:ph type="sldNum" sz="quarter" idx="4"/>
          </p:nvPr>
        </p:nvSpPr>
        <p:spPr>
          <a:xfrm>
            <a:off x="9164000" y="7383306"/>
            <a:ext cx="740413" cy="375917"/>
          </a:xfrm>
          <a:prstGeom prst="rect">
            <a:avLst/>
          </a:prstGeom>
          <a:noFill/>
          <a:ln w="9525">
            <a:noFill/>
            <a:miter lim="800000"/>
            <a:headEnd/>
            <a:tailEnd/>
          </a:ln>
          <a:effectLst/>
        </p:spPr>
        <p:txBody>
          <a:bodyPr vert="horz" wrap="square" lIns="91410" tIns="45706" rIns="91410" bIns="45706" numCol="1" anchor="t" anchorCtr="0" compatLnSpc="1">
            <a:prstTxWarp prst="textNoShape">
              <a:avLst/>
            </a:prstTxWarp>
          </a:bodyPr>
          <a:lstStyle>
            <a:lvl1pPr algn="r">
              <a:defRPr sz="1516"/>
            </a:lvl1pPr>
          </a:lstStyle>
          <a:p>
            <a:pPr>
              <a:defRPr/>
            </a:pPr>
            <a:fld id="{57B2D45D-537A-4194-9175-374C6F5A7D62}" type="slidenum">
              <a:rPr lang="en-US" altLang="ja-JP" smtClean="0"/>
              <a:pPr>
                <a:defRPr/>
              </a:pPr>
              <a:t>‹#›</a:t>
            </a:fld>
            <a:endParaRPr lang="en-US" altLang="ja-JP" dirty="0"/>
          </a:p>
        </p:txBody>
      </p:sp>
      <p:grpSp>
        <p:nvGrpSpPr>
          <p:cNvPr id="1029" name="Group 18"/>
          <p:cNvGrpSpPr/>
          <p:nvPr userDrawn="1"/>
        </p:nvGrpSpPr>
        <p:grpSpPr>
          <a:xfrm>
            <a:off x="0" y="0"/>
            <a:ext cx="9904413" cy="617902"/>
            <a:chOff x="0" y="0"/>
            <a:chExt cx="5760" cy="344"/>
          </a:xfrm>
        </p:grpSpPr>
        <p:pic>
          <p:nvPicPr>
            <p:cNvPr id="1030" name="Picture 9" descr="mlit_top"/>
            <p:cNvPicPr>
              <a:picLocks noChangeAspect="1" noChangeArrowheads="1"/>
            </p:cNvPicPr>
            <p:nvPr userDrawn="1"/>
          </p:nvPicPr>
          <p:blipFill>
            <a:blip r:embed="rId8"/>
            <a:srcRect t="26801" b="65286"/>
            <a:stretch>
              <a:fillRect/>
            </a:stretch>
          </p:blipFill>
          <p:spPr>
            <a:xfrm>
              <a:off x="0" y="300"/>
              <a:ext cx="5760" cy="44"/>
            </a:xfrm>
            <a:prstGeom prst="rect">
              <a:avLst/>
            </a:prstGeom>
            <a:noFill/>
            <a:ln w="9525">
              <a:noFill/>
              <a:miter lim="800000"/>
              <a:headEnd/>
              <a:tailEnd/>
            </a:ln>
          </p:spPr>
        </p:pic>
        <p:grpSp>
          <p:nvGrpSpPr>
            <p:cNvPr id="1031" name="Group 17"/>
            <p:cNvGrpSpPr/>
            <p:nvPr userDrawn="1"/>
          </p:nvGrpSpPr>
          <p:grpSpPr>
            <a:xfrm>
              <a:off x="0" y="0"/>
              <a:ext cx="5760" cy="318"/>
              <a:chOff x="0" y="0"/>
              <a:chExt cx="5760" cy="318"/>
            </a:xfrm>
          </p:grpSpPr>
          <p:pic>
            <p:nvPicPr>
              <p:cNvPr id="1032" name="Picture 11" descr="mlit_top"/>
              <p:cNvPicPr>
                <a:picLocks noChangeAspect="1" noChangeArrowheads="1"/>
              </p:cNvPicPr>
              <p:nvPr userDrawn="1"/>
            </p:nvPicPr>
            <p:blipFill>
              <a:blip r:embed="rId9"/>
              <a:srcRect r="66945" b="42805"/>
              <a:stretch>
                <a:fillRect/>
              </a:stretch>
            </p:blipFill>
            <p:spPr>
              <a:xfrm>
                <a:off x="3856" y="0"/>
                <a:ext cx="1904" cy="318"/>
              </a:xfrm>
              <a:prstGeom prst="rect">
                <a:avLst/>
              </a:prstGeom>
              <a:noFill/>
              <a:ln w="9525">
                <a:noFill/>
                <a:miter lim="800000"/>
                <a:headEnd/>
                <a:tailEnd/>
              </a:ln>
            </p:spPr>
          </p:pic>
          <p:pic>
            <p:nvPicPr>
              <p:cNvPr id="1033" name="Picture 16" descr="mlit_top"/>
              <p:cNvPicPr>
                <a:picLocks noChangeAspect="1" noChangeArrowheads="1"/>
              </p:cNvPicPr>
              <p:nvPr userDrawn="1"/>
            </p:nvPicPr>
            <p:blipFill>
              <a:blip r:embed="rId10"/>
              <a:srcRect l="50000" b="42805"/>
              <a:stretch>
                <a:fillRect/>
              </a:stretch>
            </p:blipFill>
            <p:spPr>
              <a:xfrm>
                <a:off x="1043" y="0"/>
                <a:ext cx="2880" cy="318"/>
              </a:xfrm>
              <a:prstGeom prst="rect">
                <a:avLst/>
              </a:prstGeom>
              <a:noFill/>
              <a:ln w="9525">
                <a:noFill/>
                <a:miter lim="800000"/>
                <a:headEnd/>
                <a:tailEnd/>
              </a:ln>
            </p:spPr>
          </p:pic>
          <p:pic>
            <p:nvPicPr>
              <p:cNvPr id="1034" name="Picture 10" descr="mlit_top"/>
              <p:cNvPicPr>
                <a:picLocks noChangeAspect="1" noChangeArrowheads="1"/>
              </p:cNvPicPr>
              <p:nvPr userDrawn="1"/>
            </p:nvPicPr>
            <p:blipFill>
              <a:blip r:embed="rId10"/>
              <a:srcRect l="68906" b="42805"/>
              <a:stretch>
                <a:fillRect/>
              </a:stretch>
            </p:blipFill>
            <p:spPr>
              <a:xfrm>
                <a:off x="0" y="0"/>
                <a:ext cx="1791" cy="318"/>
              </a:xfrm>
              <a:prstGeom prst="rect">
                <a:avLst/>
              </a:prstGeom>
              <a:noFill/>
              <a:ln w="9525">
                <a:noFill/>
                <a:miter lim="800000"/>
                <a:headEnd/>
                <a:tailEnd/>
              </a:ln>
            </p:spPr>
          </p:pic>
        </p:grpSp>
      </p:grpSp>
      <p:sp>
        <p:nvSpPr>
          <p:cNvPr id="1035" name="Rectangle 2"/>
          <p:cNvSpPr>
            <a:spLocks noGrp="1" noChangeArrowheads="1"/>
          </p:cNvSpPr>
          <p:nvPr>
            <p:ph type="title"/>
          </p:nvPr>
        </p:nvSpPr>
        <p:spPr>
          <a:xfrm>
            <a:off x="7" y="2"/>
            <a:ext cx="7603700" cy="538868"/>
          </a:xfrm>
          <a:prstGeom prst="rect">
            <a:avLst/>
          </a:prstGeom>
          <a:noFill/>
          <a:ln w="9525">
            <a:noFill/>
            <a:miter lim="800000"/>
            <a:headEnd/>
            <a:tailEnd/>
          </a:ln>
        </p:spPr>
        <p:txBody>
          <a:bodyPr vert="horz" wrap="square" lIns="91410" tIns="45706" rIns="91410" bIns="45706"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1403879888"/>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Lst>
  <p:hf hdr="0" ftr="0" dt="0"/>
  <p:txStyles>
    <p:titleStyle>
      <a:lvl1pPr algn="l" rtl="0" eaLnBrk="0" fontAlgn="base" hangingPunct="0">
        <a:spcBef>
          <a:spcPct val="0"/>
        </a:spcBef>
        <a:spcAft>
          <a:spcPct val="0"/>
        </a:spcAft>
        <a:defRPr kumimoji="1" sz="3033">
          <a:solidFill>
            <a:srgbClr val="4087C8"/>
          </a:solidFill>
          <a:latin typeface="+mj-lt"/>
          <a:ea typeface="+mj-ea"/>
          <a:cs typeface="+mj-cs"/>
        </a:defRPr>
      </a:lvl1pPr>
      <a:lvl2pPr algn="l" rtl="0" eaLnBrk="0" fontAlgn="base" hangingPunct="0">
        <a:spcBef>
          <a:spcPct val="0"/>
        </a:spcBef>
        <a:spcAft>
          <a:spcPct val="0"/>
        </a:spcAft>
        <a:defRPr kumimoji="1" sz="3033">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3033">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3033">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3033">
          <a:solidFill>
            <a:srgbClr val="4087C8"/>
          </a:solidFill>
          <a:latin typeface="HGP創英角ｺﾞｼｯｸUB" pitchFamily="50" charset="-128"/>
          <a:ea typeface="HGP創英角ｺﾞｼｯｸUB" pitchFamily="50" charset="-128"/>
        </a:defRPr>
      </a:lvl5pPr>
      <a:lvl6pPr marL="495072"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6pPr>
      <a:lvl7pPr marL="990140"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7pPr>
      <a:lvl8pPr marL="1485210"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8pPr>
      <a:lvl9pPr marL="1980280"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9pPr>
    </p:titleStyle>
    <p:bodyStyle>
      <a:lvl1pPr marL="371305" indent="-371305" algn="l" rtl="0" eaLnBrk="0" fontAlgn="base" hangingPunct="0">
        <a:spcBef>
          <a:spcPct val="20000"/>
        </a:spcBef>
        <a:spcAft>
          <a:spcPct val="0"/>
        </a:spcAft>
        <a:buChar char="•"/>
        <a:defRPr kumimoji="1" sz="3466">
          <a:solidFill>
            <a:schemeClr val="tx1"/>
          </a:solidFill>
          <a:latin typeface="+mn-lt"/>
          <a:ea typeface="+mn-ea"/>
          <a:cs typeface="+mn-cs"/>
        </a:defRPr>
      </a:lvl1pPr>
      <a:lvl2pPr marL="804488" indent="-309419" algn="l" rtl="0" eaLnBrk="0" fontAlgn="base" hangingPunct="0">
        <a:spcBef>
          <a:spcPct val="20000"/>
        </a:spcBef>
        <a:spcAft>
          <a:spcPct val="0"/>
        </a:spcAft>
        <a:buChar char="–"/>
        <a:defRPr kumimoji="1" sz="3033">
          <a:solidFill>
            <a:schemeClr val="tx1"/>
          </a:solidFill>
          <a:latin typeface="+mn-lt"/>
          <a:ea typeface="+mn-ea"/>
        </a:defRPr>
      </a:lvl2pPr>
      <a:lvl3pPr marL="1237675" indent="-247537" algn="l" rtl="0" eaLnBrk="0" fontAlgn="base" hangingPunct="0">
        <a:spcBef>
          <a:spcPct val="20000"/>
        </a:spcBef>
        <a:spcAft>
          <a:spcPct val="0"/>
        </a:spcAft>
        <a:buChar char="•"/>
        <a:defRPr kumimoji="1" sz="2600">
          <a:solidFill>
            <a:schemeClr val="tx1"/>
          </a:solidFill>
          <a:latin typeface="+mn-lt"/>
          <a:ea typeface="+mn-ea"/>
        </a:defRPr>
      </a:lvl3pPr>
      <a:lvl4pPr marL="1732746" indent="-247537" algn="l" rtl="0" eaLnBrk="0" fontAlgn="base" hangingPunct="0">
        <a:spcBef>
          <a:spcPct val="20000"/>
        </a:spcBef>
        <a:spcAft>
          <a:spcPct val="0"/>
        </a:spcAft>
        <a:buChar char="–"/>
        <a:defRPr kumimoji="1" sz="2166">
          <a:solidFill>
            <a:schemeClr val="tx1"/>
          </a:solidFill>
          <a:latin typeface="+mn-lt"/>
          <a:ea typeface="+mn-ea"/>
        </a:defRPr>
      </a:lvl4pPr>
      <a:lvl5pPr marL="2227815" indent="-247537" algn="l" rtl="0" eaLnBrk="0" fontAlgn="base" hangingPunct="0">
        <a:spcBef>
          <a:spcPct val="20000"/>
        </a:spcBef>
        <a:spcAft>
          <a:spcPct val="0"/>
        </a:spcAft>
        <a:buChar char="»"/>
        <a:defRPr kumimoji="1" sz="2166">
          <a:solidFill>
            <a:schemeClr val="tx1"/>
          </a:solidFill>
          <a:latin typeface="+mn-lt"/>
          <a:ea typeface="+mn-ea"/>
        </a:defRPr>
      </a:lvl5pPr>
      <a:lvl6pPr marL="2722885" indent="-247537" algn="l" rtl="0" fontAlgn="base">
        <a:spcBef>
          <a:spcPct val="20000"/>
        </a:spcBef>
        <a:spcAft>
          <a:spcPct val="0"/>
        </a:spcAft>
        <a:buChar char="»"/>
        <a:defRPr kumimoji="1" sz="2166">
          <a:solidFill>
            <a:schemeClr val="tx1"/>
          </a:solidFill>
          <a:latin typeface="+mn-lt"/>
          <a:ea typeface="+mn-ea"/>
        </a:defRPr>
      </a:lvl6pPr>
      <a:lvl7pPr marL="3217956" indent="-247537" algn="l" rtl="0" fontAlgn="base">
        <a:spcBef>
          <a:spcPct val="20000"/>
        </a:spcBef>
        <a:spcAft>
          <a:spcPct val="0"/>
        </a:spcAft>
        <a:buChar char="»"/>
        <a:defRPr kumimoji="1" sz="2166">
          <a:solidFill>
            <a:schemeClr val="tx1"/>
          </a:solidFill>
          <a:latin typeface="+mn-lt"/>
          <a:ea typeface="+mn-ea"/>
        </a:defRPr>
      </a:lvl7pPr>
      <a:lvl8pPr marL="3713025" indent="-247537" algn="l" rtl="0" fontAlgn="base">
        <a:spcBef>
          <a:spcPct val="20000"/>
        </a:spcBef>
        <a:spcAft>
          <a:spcPct val="0"/>
        </a:spcAft>
        <a:buChar char="»"/>
        <a:defRPr kumimoji="1" sz="2166">
          <a:solidFill>
            <a:schemeClr val="tx1"/>
          </a:solidFill>
          <a:latin typeface="+mn-lt"/>
          <a:ea typeface="+mn-ea"/>
        </a:defRPr>
      </a:lvl8pPr>
      <a:lvl9pPr marL="4208097" indent="-247537" algn="l" rtl="0" fontAlgn="base">
        <a:spcBef>
          <a:spcPct val="20000"/>
        </a:spcBef>
        <a:spcAft>
          <a:spcPct val="0"/>
        </a:spcAft>
        <a:buChar char="»"/>
        <a:defRPr kumimoji="1" sz="2166">
          <a:solidFill>
            <a:schemeClr val="tx1"/>
          </a:solidFill>
          <a:latin typeface="+mn-lt"/>
          <a:ea typeface="+mn-ea"/>
        </a:defRPr>
      </a:lvl9pPr>
    </p:bodyStyle>
    <p:otherStyle>
      <a:defPPr>
        <a:defRPr lang="ja-JP"/>
      </a:defPPr>
      <a:lvl1pPr marL="0" algn="l" defTabSz="990140" rtl="0" eaLnBrk="1" latinLnBrk="0" hangingPunct="1">
        <a:defRPr kumimoji="1" sz="1950" kern="1200">
          <a:solidFill>
            <a:schemeClr val="tx1"/>
          </a:solidFill>
          <a:latin typeface="+mn-lt"/>
          <a:ea typeface="+mn-ea"/>
          <a:cs typeface="+mn-cs"/>
        </a:defRPr>
      </a:lvl1pPr>
      <a:lvl2pPr marL="495072" algn="l" defTabSz="990140" rtl="0" eaLnBrk="1" latinLnBrk="0" hangingPunct="1">
        <a:defRPr kumimoji="1" sz="1950" kern="1200">
          <a:solidFill>
            <a:schemeClr val="tx1"/>
          </a:solidFill>
          <a:latin typeface="+mn-lt"/>
          <a:ea typeface="+mn-ea"/>
          <a:cs typeface="+mn-cs"/>
        </a:defRPr>
      </a:lvl2pPr>
      <a:lvl3pPr marL="990140" algn="l" defTabSz="990140" rtl="0" eaLnBrk="1" latinLnBrk="0" hangingPunct="1">
        <a:defRPr kumimoji="1" sz="1950" kern="1200">
          <a:solidFill>
            <a:schemeClr val="tx1"/>
          </a:solidFill>
          <a:latin typeface="+mn-lt"/>
          <a:ea typeface="+mn-ea"/>
          <a:cs typeface="+mn-cs"/>
        </a:defRPr>
      </a:lvl3pPr>
      <a:lvl4pPr marL="1485210" algn="l" defTabSz="990140" rtl="0" eaLnBrk="1" latinLnBrk="0" hangingPunct="1">
        <a:defRPr kumimoji="1" sz="1950" kern="1200">
          <a:solidFill>
            <a:schemeClr val="tx1"/>
          </a:solidFill>
          <a:latin typeface="+mn-lt"/>
          <a:ea typeface="+mn-ea"/>
          <a:cs typeface="+mn-cs"/>
        </a:defRPr>
      </a:lvl4pPr>
      <a:lvl5pPr marL="1980280" algn="l" defTabSz="990140" rtl="0" eaLnBrk="1" latinLnBrk="0" hangingPunct="1">
        <a:defRPr kumimoji="1" sz="1950" kern="1200">
          <a:solidFill>
            <a:schemeClr val="tx1"/>
          </a:solidFill>
          <a:latin typeface="+mn-lt"/>
          <a:ea typeface="+mn-ea"/>
          <a:cs typeface="+mn-cs"/>
        </a:defRPr>
      </a:lvl5pPr>
      <a:lvl6pPr marL="2475352" algn="l" defTabSz="990140" rtl="0" eaLnBrk="1" latinLnBrk="0" hangingPunct="1">
        <a:defRPr kumimoji="1" sz="1950" kern="1200">
          <a:solidFill>
            <a:schemeClr val="tx1"/>
          </a:solidFill>
          <a:latin typeface="+mn-lt"/>
          <a:ea typeface="+mn-ea"/>
          <a:cs typeface="+mn-cs"/>
        </a:defRPr>
      </a:lvl6pPr>
      <a:lvl7pPr marL="2970419" algn="l" defTabSz="990140" rtl="0" eaLnBrk="1" latinLnBrk="0" hangingPunct="1">
        <a:defRPr kumimoji="1" sz="1950" kern="1200">
          <a:solidFill>
            <a:schemeClr val="tx1"/>
          </a:solidFill>
          <a:latin typeface="+mn-lt"/>
          <a:ea typeface="+mn-ea"/>
          <a:cs typeface="+mn-cs"/>
        </a:defRPr>
      </a:lvl7pPr>
      <a:lvl8pPr marL="3465492" algn="l" defTabSz="990140" rtl="0" eaLnBrk="1" latinLnBrk="0" hangingPunct="1">
        <a:defRPr kumimoji="1" sz="1950" kern="1200">
          <a:solidFill>
            <a:schemeClr val="tx1"/>
          </a:solidFill>
          <a:latin typeface="+mn-lt"/>
          <a:ea typeface="+mn-ea"/>
          <a:cs typeface="+mn-cs"/>
        </a:defRPr>
      </a:lvl8pPr>
      <a:lvl9pPr marL="3960562" algn="l" defTabSz="990140" rtl="0" eaLnBrk="1" latinLnBrk="0" hangingPunct="1">
        <a:defRPr kumimoji="1" sz="19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95221" y="1810597"/>
            <a:ext cx="8913972" cy="5121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9" name="Rectangle 5"/>
          <p:cNvSpPr>
            <a:spLocks noGrp="1" noChangeArrowheads="1"/>
          </p:cNvSpPr>
          <p:nvPr>
            <p:ph type="ftr" sz="quarter" idx="3"/>
          </p:nvPr>
        </p:nvSpPr>
        <p:spPr bwMode="auto">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516">
                <a:ea typeface="ＭＳ Ｐゴシック" pitchFamily="50" charset="-128"/>
              </a:defRPr>
            </a:lvl1pPr>
          </a:lstStyle>
          <a:p>
            <a:pPr>
              <a:defRPr/>
            </a:pPr>
            <a:endParaRPr lang="en-US" altLang="ja-JP" dirty="0"/>
          </a:p>
        </p:txBody>
      </p:sp>
      <p:sp>
        <p:nvSpPr>
          <p:cNvPr id="1030" name="Rectangle 6"/>
          <p:cNvSpPr>
            <a:spLocks noGrp="1" noChangeArrowheads="1"/>
          </p:cNvSpPr>
          <p:nvPr>
            <p:ph type="sldNum" sz="quarter" idx="4"/>
          </p:nvPr>
        </p:nvSpPr>
        <p:spPr bwMode="auto">
          <a:xfrm>
            <a:off x="7593383" y="7464782"/>
            <a:ext cx="2311030" cy="3259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516">
                <a:ea typeface="ＭＳ Ｐゴシック" pitchFamily="50" charset="-128"/>
              </a:defRPr>
            </a:lvl1pPr>
          </a:lstStyle>
          <a:p>
            <a:pPr>
              <a:defRPr/>
            </a:pPr>
            <a:fld id="{FFDCE21E-3BF4-4A13-BE4A-B95BE9787BE2}" type="slidenum">
              <a:rPr lang="en-US" altLang="ja-JP"/>
              <a:pPr>
                <a:defRPr/>
              </a:pPr>
              <a:t>‹#›</a:t>
            </a:fld>
            <a:endParaRPr lang="en-US" altLang="ja-JP" dirty="0"/>
          </a:p>
        </p:txBody>
      </p:sp>
      <p:grpSp>
        <p:nvGrpSpPr>
          <p:cNvPr id="2" name="Group 18"/>
          <p:cNvGrpSpPr>
            <a:grpSpLocks/>
          </p:cNvGrpSpPr>
          <p:nvPr userDrawn="1"/>
        </p:nvGrpSpPr>
        <p:grpSpPr bwMode="auto">
          <a:xfrm>
            <a:off x="0" y="-1"/>
            <a:ext cx="9904413" cy="846861"/>
            <a:chOff x="0" y="0"/>
            <a:chExt cx="5760" cy="344"/>
          </a:xfrm>
        </p:grpSpPr>
        <p:pic>
          <p:nvPicPr>
            <p:cNvPr id="1034" name="Picture 9" descr="mlit_top"/>
            <p:cNvPicPr>
              <a:picLocks noChangeAspect="1" noChangeArrowheads="1"/>
            </p:cNvPicPr>
            <p:nvPr userDrawn="1"/>
          </p:nvPicPr>
          <p:blipFill>
            <a:blip r:embed="rId13" cstate="email">
              <a:extLst>
                <a:ext uri="{28A0092B-C50C-407E-A947-70E740481C1C}">
                  <a14:useLocalDpi xmlns:a14="http://schemas.microsoft.com/office/drawing/2010/main" val="0"/>
                </a:ext>
              </a:extLst>
            </a:blip>
            <a:srcRect t="26801" b="65286"/>
            <a:stretch>
              <a:fillRect/>
            </a:stretch>
          </p:blipFill>
          <p:spPr bwMode="auto">
            <a:xfrm>
              <a:off x="0" y="300"/>
              <a:ext cx="5760" cy="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5" name="Group 17"/>
            <p:cNvGrpSpPr>
              <a:grpSpLocks/>
            </p:cNvGrpSpPr>
            <p:nvPr userDrawn="1"/>
          </p:nvGrpSpPr>
          <p:grpSpPr bwMode="auto">
            <a:xfrm>
              <a:off x="0" y="0"/>
              <a:ext cx="5760" cy="318"/>
              <a:chOff x="0" y="0"/>
              <a:chExt cx="5760" cy="318"/>
            </a:xfrm>
          </p:grpSpPr>
          <p:pic>
            <p:nvPicPr>
              <p:cNvPr id="1036" name="Picture 11" descr="mlit_top"/>
              <p:cNvPicPr>
                <a:picLocks noChangeAspect="1" noChangeArrowheads="1"/>
              </p:cNvPicPr>
              <p:nvPr userDrawn="1"/>
            </p:nvPicPr>
            <p:blipFill>
              <a:blip r:embed="rId14" cstate="email">
                <a:extLst>
                  <a:ext uri="{28A0092B-C50C-407E-A947-70E740481C1C}">
                    <a14:useLocalDpi xmlns:a14="http://schemas.microsoft.com/office/drawing/2010/main" val="0"/>
                  </a:ext>
                </a:extLst>
              </a:blip>
              <a:srcRect r="66945" b="42805"/>
              <a:stretch>
                <a:fillRect/>
              </a:stretch>
            </p:blipFill>
            <p:spPr bwMode="auto">
              <a:xfrm>
                <a:off x="3856" y="0"/>
                <a:ext cx="1904"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7" name="Picture 16" descr="mlit_top"/>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l="50000" b="42805"/>
              <a:stretch>
                <a:fillRect/>
              </a:stretch>
            </p:blipFill>
            <p:spPr bwMode="auto">
              <a:xfrm>
                <a:off x="1043" y="0"/>
                <a:ext cx="2880"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8" name="Picture 10" descr="mlit_top"/>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l="68906" b="42805"/>
              <a:stretch>
                <a:fillRect/>
              </a:stretch>
            </p:blipFill>
            <p:spPr bwMode="auto">
              <a:xfrm>
                <a:off x="0" y="0"/>
                <a:ext cx="1791" cy="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031" name="Rectangle 2"/>
          <p:cNvSpPr>
            <a:spLocks noGrp="1" noChangeArrowheads="1"/>
          </p:cNvSpPr>
          <p:nvPr>
            <p:ph type="title"/>
          </p:nvPr>
        </p:nvSpPr>
        <p:spPr bwMode="auto">
          <a:xfrm>
            <a:off x="0" y="0"/>
            <a:ext cx="8384038" cy="538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pic>
        <p:nvPicPr>
          <p:cNvPr id="1032" name="Picture 14"/>
          <p:cNvPicPr>
            <a:picLocks noChangeAspect="1" noChangeArrowheads="1"/>
          </p:cNvPicPr>
          <p:nvPr userDrawn="1"/>
        </p:nvPicPr>
        <p:blipFill>
          <a:blip r:embed="rId16" cstate="email">
            <a:extLst>
              <a:ext uri="{28A0092B-C50C-407E-A947-70E740481C1C}">
                <a14:useLocalDpi xmlns:a14="http://schemas.microsoft.com/office/drawing/2010/main" val="0"/>
              </a:ext>
            </a:extLst>
          </a:blip>
          <a:srcRect t="3670"/>
          <a:stretch>
            <a:fillRect/>
          </a:stretch>
        </p:blipFill>
        <p:spPr bwMode="auto">
          <a:xfrm>
            <a:off x="8224447" y="0"/>
            <a:ext cx="1679967" cy="37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4016975"/>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Lst>
  <p:hf hdr="0" ftr="0" dt="0"/>
  <p:txStyles>
    <p:titleStyle>
      <a:lvl1pPr algn="l" rtl="0" eaLnBrk="1" fontAlgn="base" hangingPunct="1">
        <a:spcBef>
          <a:spcPct val="0"/>
        </a:spcBef>
        <a:spcAft>
          <a:spcPct val="0"/>
        </a:spcAft>
        <a:defRPr kumimoji="1" sz="3033">
          <a:solidFill>
            <a:srgbClr val="4087C8"/>
          </a:solidFill>
          <a:latin typeface="+mj-lt"/>
          <a:ea typeface="+mj-ea"/>
          <a:cs typeface="+mj-cs"/>
        </a:defRPr>
      </a:lvl1pPr>
      <a:lvl2pPr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5pPr>
      <a:lvl6pPr marL="495239"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6pPr>
      <a:lvl7pPr marL="990478"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7pPr>
      <a:lvl8pPr marL="1485717"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8pPr>
      <a:lvl9pPr marL="1980956"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9pPr>
    </p:titleStyle>
    <p:bodyStyle>
      <a:lvl1pPr marL="371429" indent="-371429" algn="l" rtl="0" eaLnBrk="1" fontAlgn="base" hangingPunct="1">
        <a:spcBef>
          <a:spcPct val="20000"/>
        </a:spcBef>
        <a:spcAft>
          <a:spcPct val="0"/>
        </a:spcAft>
        <a:buChar char="•"/>
        <a:defRPr kumimoji="1" sz="3466">
          <a:solidFill>
            <a:schemeClr val="tx1"/>
          </a:solidFill>
          <a:latin typeface="+mn-lt"/>
          <a:ea typeface="+mn-ea"/>
          <a:cs typeface="+mn-cs"/>
        </a:defRPr>
      </a:lvl1pPr>
      <a:lvl2pPr marL="804763" indent="-309524" algn="l" rtl="0" eaLnBrk="1" fontAlgn="base" hangingPunct="1">
        <a:spcBef>
          <a:spcPct val="20000"/>
        </a:spcBef>
        <a:spcAft>
          <a:spcPct val="0"/>
        </a:spcAft>
        <a:buChar char="–"/>
        <a:defRPr kumimoji="1" sz="3033">
          <a:solidFill>
            <a:schemeClr val="tx1"/>
          </a:solidFill>
          <a:latin typeface="+mn-lt"/>
          <a:ea typeface="+mn-ea"/>
        </a:defRPr>
      </a:lvl2pPr>
      <a:lvl3pPr marL="1238098" indent="-247620" algn="l" rtl="0" eaLnBrk="1" fontAlgn="base" hangingPunct="1">
        <a:spcBef>
          <a:spcPct val="20000"/>
        </a:spcBef>
        <a:spcAft>
          <a:spcPct val="0"/>
        </a:spcAft>
        <a:buChar char="•"/>
        <a:defRPr kumimoji="1" sz="2600">
          <a:solidFill>
            <a:schemeClr val="tx1"/>
          </a:solidFill>
          <a:latin typeface="+mn-lt"/>
          <a:ea typeface="+mn-ea"/>
        </a:defRPr>
      </a:lvl3pPr>
      <a:lvl4pPr marL="1733337" indent="-247620" algn="l" rtl="0" eaLnBrk="1" fontAlgn="base" hangingPunct="1">
        <a:spcBef>
          <a:spcPct val="20000"/>
        </a:spcBef>
        <a:spcAft>
          <a:spcPct val="0"/>
        </a:spcAft>
        <a:buChar char="–"/>
        <a:defRPr kumimoji="1" sz="2166">
          <a:solidFill>
            <a:schemeClr val="tx1"/>
          </a:solidFill>
          <a:latin typeface="+mn-lt"/>
          <a:ea typeface="+mn-ea"/>
        </a:defRPr>
      </a:lvl4pPr>
      <a:lvl5pPr marL="2228576" indent="-247620" algn="l" rtl="0" eaLnBrk="1" fontAlgn="base" hangingPunct="1">
        <a:spcBef>
          <a:spcPct val="20000"/>
        </a:spcBef>
        <a:spcAft>
          <a:spcPct val="0"/>
        </a:spcAft>
        <a:buChar char="»"/>
        <a:defRPr kumimoji="1" sz="2166">
          <a:solidFill>
            <a:schemeClr val="tx1"/>
          </a:solidFill>
          <a:latin typeface="+mn-lt"/>
          <a:ea typeface="+mn-ea"/>
        </a:defRPr>
      </a:lvl5pPr>
      <a:lvl6pPr marL="2723815" indent="-247620" algn="l" rtl="0" eaLnBrk="1" fontAlgn="base" hangingPunct="1">
        <a:spcBef>
          <a:spcPct val="20000"/>
        </a:spcBef>
        <a:spcAft>
          <a:spcPct val="0"/>
        </a:spcAft>
        <a:buChar char="»"/>
        <a:defRPr kumimoji="1" sz="2166">
          <a:solidFill>
            <a:schemeClr val="tx1"/>
          </a:solidFill>
          <a:latin typeface="+mn-lt"/>
          <a:ea typeface="+mn-ea"/>
        </a:defRPr>
      </a:lvl6pPr>
      <a:lvl7pPr marL="3219054" indent="-247620" algn="l" rtl="0" eaLnBrk="1" fontAlgn="base" hangingPunct="1">
        <a:spcBef>
          <a:spcPct val="20000"/>
        </a:spcBef>
        <a:spcAft>
          <a:spcPct val="0"/>
        </a:spcAft>
        <a:buChar char="»"/>
        <a:defRPr kumimoji="1" sz="2166">
          <a:solidFill>
            <a:schemeClr val="tx1"/>
          </a:solidFill>
          <a:latin typeface="+mn-lt"/>
          <a:ea typeface="+mn-ea"/>
        </a:defRPr>
      </a:lvl7pPr>
      <a:lvl8pPr marL="3714293" indent="-247620" algn="l" rtl="0" eaLnBrk="1" fontAlgn="base" hangingPunct="1">
        <a:spcBef>
          <a:spcPct val="20000"/>
        </a:spcBef>
        <a:spcAft>
          <a:spcPct val="0"/>
        </a:spcAft>
        <a:buChar char="»"/>
        <a:defRPr kumimoji="1" sz="2166">
          <a:solidFill>
            <a:schemeClr val="tx1"/>
          </a:solidFill>
          <a:latin typeface="+mn-lt"/>
          <a:ea typeface="+mn-ea"/>
        </a:defRPr>
      </a:lvl8pPr>
      <a:lvl9pPr marL="4209532" indent="-247620" algn="l" rtl="0" eaLnBrk="1" fontAlgn="base" hangingPunct="1">
        <a:spcBef>
          <a:spcPct val="20000"/>
        </a:spcBef>
        <a:spcAft>
          <a:spcPct val="0"/>
        </a:spcAft>
        <a:buChar char="»"/>
        <a:defRPr kumimoji="1" sz="2166">
          <a:solidFill>
            <a:schemeClr val="tx1"/>
          </a:solidFill>
          <a:latin typeface="+mn-lt"/>
          <a:ea typeface="+mn-ea"/>
        </a:defRPr>
      </a:lvl9pPr>
    </p:bodyStyle>
    <p:otherStyle>
      <a:defPPr>
        <a:defRPr lang="ja-JP"/>
      </a:defPPr>
      <a:lvl1pPr marL="0" algn="l" defTabSz="990478" rtl="0" eaLnBrk="1" latinLnBrk="0" hangingPunct="1">
        <a:defRPr kumimoji="1" sz="1950" kern="1200">
          <a:solidFill>
            <a:schemeClr val="tx1"/>
          </a:solidFill>
          <a:latin typeface="+mn-lt"/>
          <a:ea typeface="+mn-ea"/>
          <a:cs typeface="+mn-cs"/>
        </a:defRPr>
      </a:lvl1pPr>
      <a:lvl2pPr marL="495239" algn="l" defTabSz="990478" rtl="0" eaLnBrk="1" latinLnBrk="0" hangingPunct="1">
        <a:defRPr kumimoji="1" sz="1950" kern="1200">
          <a:solidFill>
            <a:schemeClr val="tx1"/>
          </a:solidFill>
          <a:latin typeface="+mn-lt"/>
          <a:ea typeface="+mn-ea"/>
          <a:cs typeface="+mn-cs"/>
        </a:defRPr>
      </a:lvl2pPr>
      <a:lvl3pPr marL="990478" algn="l" defTabSz="990478" rtl="0" eaLnBrk="1" latinLnBrk="0" hangingPunct="1">
        <a:defRPr kumimoji="1" sz="1950" kern="1200">
          <a:solidFill>
            <a:schemeClr val="tx1"/>
          </a:solidFill>
          <a:latin typeface="+mn-lt"/>
          <a:ea typeface="+mn-ea"/>
          <a:cs typeface="+mn-cs"/>
        </a:defRPr>
      </a:lvl3pPr>
      <a:lvl4pPr marL="1485717" algn="l" defTabSz="990478" rtl="0" eaLnBrk="1" latinLnBrk="0" hangingPunct="1">
        <a:defRPr kumimoji="1" sz="1950" kern="1200">
          <a:solidFill>
            <a:schemeClr val="tx1"/>
          </a:solidFill>
          <a:latin typeface="+mn-lt"/>
          <a:ea typeface="+mn-ea"/>
          <a:cs typeface="+mn-cs"/>
        </a:defRPr>
      </a:lvl4pPr>
      <a:lvl5pPr marL="1980956" algn="l" defTabSz="990478" rtl="0" eaLnBrk="1" latinLnBrk="0" hangingPunct="1">
        <a:defRPr kumimoji="1" sz="1950" kern="1200">
          <a:solidFill>
            <a:schemeClr val="tx1"/>
          </a:solidFill>
          <a:latin typeface="+mn-lt"/>
          <a:ea typeface="+mn-ea"/>
          <a:cs typeface="+mn-cs"/>
        </a:defRPr>
      </a:lvl5pPr>
      <a:lvl6pPr marL="2476195" algn="l" defTabSz="990478" rtl="0" eaLnBrk="1" latinLnBrk="0" hangingPunct="1">
        <a:defRPr kumimoji="1" sz="1950" kern="1200">
          <a:solidFill>
            <a:schemeClr val="tx1"/>
          </a:solidFill>
          <a:latin typeface="+mn-lt"/>
          <a:ea typeface="+mn-ea"/>
          <a:cs typeface="+mn-cs"/>
        </a:defRPr>
      </a:lvl6pPr>
      <a:lvl7pPr marL="2971434" algn="l" defTabSz="990478" rtl="0" eaLnBrk="1" latinLnBrk="0" hangingPunct="1">
        <a:defRPr kumimoji="1" sz="1950" kern="1200">
          <a:solidFill>
            <a:schemeClr val="tx1"/>
          </a:solidFill>
          <a:latin typeface="+mn-lt"/>
          <a:ea typeface="+mn-ea"/>
          <a:cs typeface="+mn-cs"/>
        </a:defRPr>
      </a:lvl7pPr>
      <a:lvl8pPr marL="3466673" algn="l" defTabSz="990478" rtl="0" eaLnBrk="1" latinLnBrk="0" hangingPunct="1">
        <a:defRPr kumimoji="1" sz="1950" kern="1200">
          <a:solidFill>
            <a:schemeClr val="tx1"/>
          </a:solidFill>
          <a:latin typeface="+mn-lt"/>
          <a:ea typeface="+mn-ea"/>
          <a:cs typeface="+mn-cs"/>
        </a:defRPr>
      </a:lvl8pPr>
      <a:lvl9pPr marL="3961912" algn="l" defTabSz="990478" rtl="0" eaLnBrk="1" latinLnBrk="0" hangingPunct="1">
        <a:defRPr kumimoji="1" sz="19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495221" y="1810600"/>
            <a:ext cx="8913972" cy="512104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p:cNvSpPr>
            <a:spLocks noGrp="1" noChangeArrowheads="1"/>
          </p:cNvSpPr>
          <p:nvPr>
            <p:ph type="dt" sz="half" idx="2"/>
          </p:nvPr>
        </p:nvSpPr>
        <p:spPr bwMode="auto">
          <a:xfrm>
            <a:off x="495221" y="706635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516"/>
            </a:lvl1pPr>
          </a:lstStyle>
          <a:p>
            <a:endParaRPr lang="en-US" altLang="ja-JP">
              <a:solidFill>
                <a:srgbClr val="000000"/>
              </a:solidFill>
              <a:ea typeface="ＭＳ Ｐゴシック" charset="-128"/>
            </a:endParaRPr>
          </a:p>
        </p:txBody>
      </p:sp>
      <p:sp>
        <p:nvSpPr>
          <p:cNvPr id="1029" name="Rectangle 5"/>
          <p:cNvSpPr>
            <a:spLocks noGrp="1" noChangeArrowheads="1"/>
          </p:cNvSpPr>
          <p:nvPr>
            <p:ph type="ftr" sz="quarter" idx="3"/>
          </p:nvPr>
        </p:nvSpPr>
        <p:spPr bwMode="auto">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516"/>
            </a:lvl1pPr>
          </a:lstStyle>
          <a:p>
            <a:endParaRPr lang="en-US" altLang="ja-JP">
              <a:solidFill>
                <a:srgbClr val="000000"/>
              </a:solidFill>
              <a:ea typeface="ＭＳ Ｐゴシック" charset="-128"/>
            </a:endParaRPr>
          </a:p>
        </p:txBody>
      </p:sp>
      <p:sp>
        <p:nvSpPr>
          <p:cNvPr id="1030" name="Rectangle 6"/>
          <p:cNvSpPr>
            <a:spLocks noGrp="1" noChangeArrowheads="1"/>
          </p:cNvSpPr>
          <p:nvPr>
            <p:ph type="sldNum" sz="quarter" idx="4"/>
          </p:nvPr>
        </p:nvSpPr>
        <p:spPr bwMode="auto">
          <a:xfrm>
            <a:off x="7593383" y="7229414"/>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516"/>
            </a:lvl1pPr>
          </a:lstStyle>
          <a:p>
            <a:fld id="{57950FF0-37FE-4981-894D-F0C11BFC87C5}" type="slidenum">
              <a:rPr lang="en-US" altLang="ja-JP">
                <a:solidFill>
                  <a:srgbClr val="000000"/>
                </a:solidFill>
                <a:ea typeface="ＭＳ Ｐゴシック" charset="-128"/>
              </a:rPr>
              <a:pPr/>
              <a:t>‹#›</a:t>
            </a:fld>
            <a:endParaRPr lang="en-US" altLang="ja-JP">
              <a:solidFill>
                <a:srgbClr val="000000"/>
              </a:solidFill>
              <a:ea typeface="ＭＳ Ｐゴシック" charset="-128"/>
            </a:endParaRPr>
          </a:p>
        </p:txBody>
      </p:sp>
      <p:grpSp>
        <p:nvGrpSpPr>
          <p:cNvPr id="1042" name="Group 18"/>
          <p:cNvGrpSpPr>
            <a:grpSpLocks/>
          </p:cNvGrpSpPr>
          <p:nvPr userDrawn="1"/>
        </p:nvGrpSpPr>
        <p:grpSpPr bwMode="auto">
          <a:xfrm>
            <a:off x="0" y="0"/>
            <a:ext cx="9904413" cy="617902"/>
            <a:chOff x="0" y="0"/>
            <a:chExt cx="5760" cy="344"/>
          </a:xfrm>
        </p:grpSpPr>
        <p:pic>
          <p:nvPicPr>
            <p:cNvPr id="1033" name="Picture 9" descr="mlit_top"/>
            <p:cNvPicPr>
              <a:picLocks noChangeAspect="1" noChangeArrowheads="1"/>
            </p:cNvPicPr>
            <p:nvPr userDrawn="1"/>
          </p:nvPicPr>
          <p:blipFill>
            <a:blip r:embed="rId13" cstate="print"/>
            <a:srcRect t="26801" b="65286"/>
            <a:stretch>
              <a:fillRect/>
            </a:stretch>
          </p:blipFill>
          <p:spPr bwMode="auto">
            <a:xfrm>
              <a:off x="0" y="300"/>
              <a:ext cx="5760" cy="44"/>
            </a:xfrm>
            <a:prstGeom prst="rect">
              <a:avLst/>
            </a:prstGeom>
            <a:noFill/>
          </p:spPr>
        </p:pic>
        <p:grpSp>
          <p:nvGrpSpPr>
            <p:cNvPr id="1041" name="Group 17"/>
            <p:cNvGrpSpPr>
              <a:grpSpLocks/>
            </p:cNvGrpSpPr>
            <p:nvPr userDrawn="1"/>
          </p:nvGrpSpPr>
          <p:grpSpPr bwMode="auto">
            <a:xfrm>
              <a:off x="0" y="0"/>
              <a:ext cx="5760" cy="318"/>
              <a:chOff x="0" y="0"/>
              <a:chExt cx="5760" cy="318"/>
            </a:xfrm>
          </p:grpSpPr>
          <p:pic>
            <p:nvPicPr>
              <p:cNvPr id="1035" name="Picture 11" descr="mlit_top"/>
              <p:cNvPicPr>
                <a:picLocks noChangeAspect="1" noChangeArrowheads="1"/>
              </p:cNvPicPr>
              <p:nvPr userDrawn="1"/>
            </p:nvPicPr>
            <p:blipFill>
              <a:blip r:embed="rId14" cstate="print"/>
              <a:srcRect r="66945" b="42805"/>
              <a:stretch>
                <a:fillRect/>
              </a:stretch>
            </p:blipFill>
            <p:spPr bwMode="auto">
              <a:xfrm>
                <a:off x="3856" y="0"/>
                <a:ext cx="1904" cy="318"/>
              </a:xfrm>
              <a:prstGeom prst="rect">
                <a:avLst/>
              </a:prstGeom>
              <a:noFill/>
            </p:spPr>
          </p:pic>
          <p:pic>
            <p:nvPicPr>
              <p:cNvPr id="1040" name="Picture 16" descr="mlit_top"/>
              <p:cNvPicPr>
                <a:picLocks noChangeAspect="1" noChangeArrowheads="1"/>
              </p:cNvPicPr>
              <p:nvPr userDrawn="1"/>
            </p:nvPicPr>
            <p:blipFill>
              <a:blip r:embed="rId15" cstate="print"/>
              <a:srcRect l="50000" b="42805"/>
              <a:stretch>
                <a:fillRect/>
              </a:stretch>
            </p:blipFill>
            <p:spPr bwMode="auto">
              <a:xfrm>
                <a:off x="1043" y="0"/>
                <a:ext cx="2880" cy="318"/>
              </a:xfrm>
              <a:prstGeom prst="rect">
                <a:avLst/>
              </a:prstGeom>
              <a:noFill/>
            </p:spPr>
          </p:pic>
          <p:pic>
            <p:nvPicPr>
              <p:cNvPr id="1034" name="Picture 10" descr="mlit_top"/>
              <p:cNvPicPr>
                <a:picLocks noChangeAspect="1" noChangeArrowheads="1"/>
              </p:cNvPicPr>
              <p:nvPr userDrawn="1"/>
            </p:nvPicPr>
            <p:blipFill>
              <a:blip r:embed="rId15" cstate="print"/>
              <a:srcRect l="68906" b="42805"/>
              <a:stretch>
                <a:fillRect/>
              </a:stretch>
            </p:blipFill>
            <p:spPr bwMode="auto">
              <a:xfrm>
                <a:off x="0" y="0"/>
                <a:ext cx="1791" cy="318"/>
              </a:xfrm>
              <a:prstGeom prst="rect">
                <a:avLst/>
              </a:prstGeom>
              <a:noFill/>
            </p:spPr>
          </p:pic>
        </p:grpSp>
      </p:grpSp>
      <p:sp>
        <p:nvSpPr>
          <p:cNvPr id="1026" name="Rectangle 2"/>
          <p:cNvSpPr>
            <a:spLocks noGrp="1" noChangeArrowheads="1"/>
          </p:cNvSpPr>
          <p:nvPr>
            <p:ph type="title"/>
          </p:nvPr>
        </p:nvSpPr>
        <p:spPr bwMode="auto">
          <a:xfrm>
            <a:off x="2" y="0"/>
            <a:ext cx="7603700" cy="53886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38" name="Picture 14"/>
          <p:cNvPicPr>
            <a:picLocks noChangeAspect="1" noChangeArrowheads="1"/>
          </p:cNvPicPr>
          <p:nvPr userDrawn="1"/>
        </p:nvPicPr>
        <p:blipFill>
          <a:blip r:embed="rId16" cstate="print"/>
          <a:srcRect t="3670"/>
          <a:stretch>
            <a:fillRect/>
          </a:stretch>
        </p:blipFill>
        <p:spPr bwMode="auto">
          <a:xfrm>
            <a:off x="8224448" y="3"/>
            <a:ext cx="1679967" cy="377208"/>
          </a:xfrm>
          <a:prstGeom prst="rect">
            <a:avLst/>
          </a:prstGeom>
          <a:noFill/>
          <a:ln w="9525">
            <a:noFill/>
            <a:miter lim="800000"/>
            <a:headEnd/>
            <a:tailEnd/>
          </a:ln>
          <a:effectLst/>
        </p:spPr>
      </p:pic>
    </p:spTree>
    <p:extLst>
      <p:ext uri="{BB962C8B-B14F-4D97-AF65-F5344CB8AC3E}">
        <p14:creationId xmlns:p14="http://schemas.microsoft.com/office/powerpoint/2010/main" val="6485735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dt="0"/>
  <p:txStyles>
    <p:titleStyle>
      <a:lvl1pPr algn="l" rtl="0" fontAlgn="base">
        <a:spcBef>
          <a:spcPct val="0"/>
        </a:spcBef>
        <a:spcAft>
          <a:spcPct val="0"/>
        </a:spcAft>
        <a:defRPr kumimoji="1" sz="3033">
          <a:solidFill>
            <a:srgbClr val="4087C8"/>
          </a:solidFill>
          <a:latin typeface="+mj-lt"/>
          <a:ea typeface="+mj-ea"/>
          <a:cs typeface="+mj-cs"/>
        </a:defRPr>
      </a:lvl1pPr>
      <a:lvl2pPr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2pPr>
      <a:lvl3pPr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3pPr>
      <a:lvl4pPr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4pPr>
      <a:lvl5pPr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5pPr>
      <a:lvl6pPr marL="495237"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6pPr>
      <a:lvl7pPr marL="990473"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7pPr>
      <a:lvl8pPr marL="1485708"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8pPr>
      <a:lvl9pPr marL="1980944" algn="l" rtl="0" fontAlgn="base">
        <a:spcBef>
          <a:spcPct val="0"/>
        </a:spcBef>
        <a:spcAft>
          <a:spcPct val="0"/>
        </a:spcAft>
        <a:defRPr kumimoji="1" sz="3033">
          <a:solidFill>
            <a:srgbClr val="4087C8"/>
          </a:solidFill>
          <a:latin typeface="HGP創英角ｺﾞｼｯｸUB" pitchFamily="50" charset="-128"/>
          <a:ea typeface="HGP創英角ｺﾞｼｯｸUB" pitchFamily="50" charset="-128"/>
        </a:defRPr>
      </a:lvl9pPr>
    </p:titleStyle>
    <p:bodyStyle>
      <a:lvl1pPr marL="371427" indent="-371427" algn="l" rtl="0" fontAlgn="base">
        <a:spcBef>
          <a:spcPct val="20000"/>
        </a:spcBef>
        <a:spcAft>
          <a:spcPct val="0"/>
        </a:spcAft>
        <a:buChar char="•"/>
        <a:defRPr kumimoji="1" sz="3466">
          <a:solidFill>
            <a:schemeClr val="tx1"/>
          </a:solidFill>
          <a:latin typeface="+mn-lt"/>
          <a:ea typeface="+mn-ea"/>
          <a:cs typeface="+mn-cs"/>
        </a:defRPr>
      </a:lvl1pPr>
      <a:lvl2pPr marL="804759" indent="-309522" algn="l" rtl="0" fontAlgn="base">
        <a:spcBef>
          <a:spcPct val="20000"/>
        </a:spcBef>
        <a:spcAft>
          <a:spcPct val="0"/>
        </a:spcAft>
        <a:buChar char="–"/>
        <a:defRPr kumimoji="1" sz="3033">
          <a:solidFill>
            <a:schemeClr val="tx1"/>
          </a:solidFill>
          <a:latin typeface="+mn-lt"/>
          <a:ea typeface="+mn-ea"/>
        </a:defRPr>
      </a:lvl2pPr>
      <a:lvl3pPr marL="1238090" indent="-247617" algn="l" rtl="0" fontAlgn="base">
        <a:spcBef>
          <a:spcPct val="20000"/>
        </a:spcBef>
        <a:spcAft>
          <a:spcPct val="0"/>
        </a:spcAft>
        <a:buChar char="•"/>
        <a:defRPr kumimoji="1" sz="2600">
          <a:solidFill>
            <a:schemeClr val="tx1"/>
          </a:solidFill>
          <a:latin typeface="+mn-lt"/>
          <a:ea typeface="+mn-ea"/>
        </a:defRPr>
      </a:lvl3pPr>
      <a:lvl4pPr marL="1733327" indent="-247617" algn="l" rtl="0" fontAlgn="base">
        <a:spcBef>
          <a:spcPct val="20000"/>
        </a:spcBef>
        <a:spcAft>
          <a:spcPct val="0"/>
        </a:spcAft>
        <a:buChar char="–"/>
        <a:defRPr kumimoji="1" sz="2166">
          <a:solidFill>
            <a:schemeClr val="tx1"/>
          </a:solidFill>
          <a:latin typeface="+mn-lt"/>
          <a:ea typeface="+mn-ea"/>
        </a:defRPr>
      </a:lvl4pPr>
      <a:lvl5pPr marL="2228563" indent="-247617" algn="l" rtl="0" fontAlgn="base">
        <a:spcBef>
          <a:spcPct val="20000"/>
        </a:spcBef>
        <a:spcAft>
          <a:spcPct val="0"/>
        </a:spcAft>
        <a:buChar char="»"/>
        <a:defRPr kumimoji="1" sz="2166">
          <a:solidFill>
            <a:schemeClr val="tx1"/>
          </a:solidFill>
          <a:latin typeface="+mn-lt"/>
          <a:ea typeface="+mn-ea"/>
        </a:defRPr>
      </a:lvl5pPr>
      <a:lvl6pPr marL="2723798" indent="-247617" algn="l" rtl="0" fontAlgn="base">
        <a:spcBef>
          <a:spcPct val="20000"/>
        </a:spcBef>
        <a:spcAft>
          <a:spcPct val="0"/>
        </a:spcAft>
        <a:buChar char="»"/>
        <a:defRPr kumimoji="1" sz="2166">
          <a:solidFill>
            <a:schemeClr val="tx1"/>
          </a:solidFill>
          <a:latin typeface="+mn-lt"/>
          <a:ea typeface="+mn-ea"/>
        </a:defRPr>
      </a:lvl6pPr>
      <a:lvl7pPr marL="3219035" indent="-247617" algn="l" rtl="0" fontAlgn="base">
        <a:spcBef>
          <a:spcPct val="20000"/>
        </a:spcBef>
        <a:spcAft>
          <a:spcPct val="0"/>
        </a:spcAft>
        <a:buChar char="»"/>
        <a:defRPr kumimoji="1" sz="2166">
          <a:solidFill>
            <a:schemeClr val="tx1"/>
          </a:solidFill>
          <a:latin typeface="+mn-lt"/>
          <a:ea typeface="+mn-ea"/>
        </a:defRPr>
      </a:lvl7pPr>
      <a:lvl8pPr marL="3714271" indent="-247617" algn="l" rtl="0" fontAlgn="base">
        <a:spcBef>
          <a:spcPct val="20000"/>
        </a:spcBef>
        <a:spcAft>
          <a:spcPct val="0"/>
        </a:spcAft>
        <a:buChar char="»"/>
        <a:defRPr kumimoji="1" sz="2166">
          <a:solidFill>
            <a:schemeClr val="tx1"/>
          </a:solidFill>
          <a:latin typeface="+mn-lt"/>
          <a:ea typeface="+mn-ea"/>
        </a:defRPr>
      </a:lvl8pPr>
      <a:lvl9pPr marL="4209507" indent="-247617" algn="l" rtl="0" fontAlgn="base">
        <a:spcBef>
          <a:spcPct val="20000"/>
        </a:spcBef>
        <a:spcAft>
          <a:spcPct val="0"/>
        </a:spcAft>
        <a:buChar char="»"/>
        <a:defRPr kumimoji="1" sz="2166">
          <a:solidFill>
            <a:schemeClr val="tx1"/>
          </a:solidFill>
          <a:latin typeface="+mn-lt"/>
          <a:ea typeface="+mn-ea"/>
        </a:defRPr>
      </a:lvl9pPr>
    </p:bodyStyle>
    <p:otherStyle>
      <a:defPPr>
        <a:defRPr lang="ja-JP"/>
      </a:defPPr>
      <a:lvl1pPr marL="0" algn="l" defTabSz="990473" rtl="0" eaLnBrk="1" latinLnBrk="0" hangingPunct="1">
        <a:defRPr kumimoji="1" sz="1950" kern="1200">
          <a:solidFill>
            <a:schemeClr val="tx1"/>
          </a:solidFill>
          <a:latin typeface="+mn-lt"/>
          <a:ea typeface="+mn-ea"/>
          <a:cs typeface="+mn-cs"/>
        </a:defRPr>
      </a:lvl1pPr>
      <a:lvl2pPr marL="495237" algn="l" defTabSz="990473" rtl="0" eaLnBrk="1" latinLnBrk="0" hangingPunct="1">
        <a:defRPr kumimoji="1" sz="1950" kern="1200">
          <a:solidFill>
            <a:schemeClr val="tx1"/>
          </a:solidFill>
          <a:latin typeface="+mn-lt"/>
          <a:ea typeface="+mn-ea"/>
          <a:cs typeface="+mn-cs"/>
        </a:defRPr>
      </a:lvl2pPr>
      <a:lvl3pPr marL="990473" algn="l" defTabSz="990473" rtl="0" eaLnBrk="1" latinLnBrk="0" hangingPunct="1">
        <a:defRPr kumimoji="1" sz="1950" kern="1200">
          <a:solidFill>
            <a:schemeClr val="tx1"/>
          </a:solidFill>
          <a:latin typeface="+mn-lt"/>
          <a:ea typeface="+mn-ea"/>
          <a:cs typeface="+mn-cs"/>
        </a:defRPr>
      </a:lvl3pPr>
      <a:lvl4pPr marL="1485708" algn="l" defTabSz="990473" rtl="0" eaLnBrk="1" latinLnBrk="0" hangingPunct="1">
        <a:defRPr kumimoji="1" sz="1950" kern="1200">
          <a:solidFill>
            <a:schemeClr val="tx1"/>
          </a:solidFill>
          <a:latin typeface="+mn-lt"/>
          <a:ea typeface="+mn-ea"/>
          <a:cs typeface="+mn-cs"/>
        </a:defRPr>
      </a:lvl4pPr>
      <a:lvl5pPr marL="1980944" algn="l" defTabSz="990473" rtl="0" eaLnBrk="1" latinLnBrk="0" hangingPunct="1">
        <a:defRPr kumimoji="1" sz="1950" kern="1200">
          <a:solidFill>
            <a:schemeClr val="tx1"/>
          </a:solidFill>
          <a:latin typeface="+mn-lt"/>
          <a:ea typeface="+mn-ea"/>
          <a:cs typeface="+mn-cs"/>
        </a:defRPr>
      </a:lvl5pPr>
      <a:lvl6pPr marL="2476181" algn="l" defTabSz="990473" rtl="0" eaLnBrk="1" latinLnBrk="0" hangingPunct="1">
        <a:defRPr kumimoji="1" sz="1950" kern="1200">
          <a:solidFill>
            <a:schemeClr val="tx1"/>
          </a:solidFill>
          <a:latin typeface="+mn-lt"/>
          <a:ea typeface="+mn-ea"/>
          <a:cs typeface="+mn-cs"/>
        </a:defRPr>
      </a:lvl6pPr>
      <a:lvl7pPr marL="2971418" algn="l" defTabSz="990473" rtl="0" eaLnBrk="1" latinLnBrk="0" hangingPunct="1">
        <a:defRPr kumimoji="1" sz="1950" kern="1200">
          <a:solidFill>
            <a:schemeClr val="tx1"/>
          </a:solidFill>
          <a:latin typeface="+mn-lt"/>
          <a:ea typeface="+mn-ea"/>
          <a:cs typeface="+mn-cs"/>
        </a:defRPr>
      </a:lvl7pPr>
      <a:lvl8pPr marL="3466653" algn="l" defTabSz="990473" rtl="0" eaLnBrk="1" latinLnBrk="0" hangingPunct="1">
        <a:defRPr kumimoji="1" sz="1950" kern="1200">
          <a:solidFill>
            <a:schemeClr val="tx1"/>
          </a:solidFill>
          <a:latin typeface="+mn-lt"/>
          <a:ea typeface="+mn-ea"/>
          <a:cs typeface="+mn-cs"/>
        </a:defRPr>
      </a:lvl8pPr>
      <a:lvl9pPr marL="3961890" algn="l" defTabSz="990473" rtl="0" eaLnBrk="1" latinLnBrk="0" hangingPunct="1">
        <a:defRPr kumimoji="1" sz="19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3"/>
          <p:cNvSpPr>
            <a:spLocks noGrp="1" noChangeArrowheads="1"/>
          </p:cNvSpPr>
          <p:nvPr>
            <p:ph type="body" idx="1"/>
          </p:nvPr>
        </p:nvSpPr>
        <p:spPr>
          <a:xfrm>
            <a:off x="495221" y="1810597"/>
            <a:ext cx="8913972" cy="512104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4"/>
          <p:cNvSpPr>
            <a:spLocks noGrp="1" noChangeArrowheads="1"/>
          </p:cNvSpPr>
          <p:nvPr>
            <p:ph type="dt" sz="half" idx="2"/>
          </p:nvPr>
        </p:nvSpPr>
        <p:spPr>
          <a:xfrm>
            <a:off x="495221" y="706635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516">
                <a:ea typeface="ＭＳ Ｐゴシック" pitchFamily="50" charset="-128"/>
              </a:defRPr>
            </a:lvl1pPr>
          </a:lstStyle>
          <a:p>
            <a:pPr>
              <a:defRPr/>
            </a:pPr>
            <a:endParaRPr lang="en-US" altLang="ja-JP" dirty="0"/>
          </a:p>
        </p:txBody>
      </p:sp>
      <p:sp>
        <p:nvSpPr>
          <p:cNvPr id="1027" name="Rectangle 5"/>
          <p:cNvSpPr>
            <a:spLocks noGrp="1" noChangeArrowheads="1"/>
          </p:cNvSpPr>
          <p:nvPr>
            <p:ph type="ftr" sz="quarter" idx="3"/>
          </p:nvPr>
        </p:nvSpPr>
        <p:spPr>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516">
                <a:ea typeface="ＭＳ Ｐゴシック" pitchFamily="50" charset="-128"/>
              </a:defRPr>
            </a:lvl1pPr>
          </a:lstStyle>
          <a:p>
            <a:pPr>
              <a:defRPr/>
            </a:pPr>
            <a:endParaRPr lang="en-US" altLang="ja-JP" dirty="0"/>
          </a:p>
        </p:txBody>
      </p:sp>
      <p:sp>
        <p:nvSpPr>
          <p:cNvPr id="1028" name="Rectangle 6"/>
          <p:cNvSpPr>
            <a:spLocks noGrp="1" noChangeArrowheads="1"/>
          </p:cNvSpPr>
          <p:nvPr>
            <p:ph type="sldNum" sz="quarter" idx="4"/>
          </p:nvPr>
        </p:nvSpPr>
        <p:spPr>
          <a:xfrm>
            <a:off x="7593383" y="7229414"/>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516">
                <a:ea typeface="ＭＳ Ｐゴシック" pitchFamily="50" charset="-128"/>
              </a:defRPr>
            </a:lvl1pPr>
          </a:lstStyle>
          <a:p>
            <a:pPr>
              <a:defRPr/>
            </a:pPr>
            <a:fld id="{FFDCE21E-3BF4-4A13-BE4A-B95BE9787BE2}" type="slidenum">
              <a:rPr lang="en-US" altLang="ja-JP"/>
              <a:pPr>
                <a:defRPr/>
              </a:pPr>
              <a:t>‹#›</a:t>
            </a:fld>
            <a:endParaRPr lang="en-US" altLang="ja-JP" dirty="0"/>
          </a:p>
        </p:txBody>
      </p:sp>
      <p:grpSp>
        <p:nvGrpSpPr>
          <p:cNvPr id="1029" name="Group 18"/>
          <p:cNvGrpSpPr/>
          <p:nvPr userDrawn="1"/>
        </p:nvGrpSpPr>
        <p:grpSpPr>
          <a:xfrm>
            <a:off x="0" y="0"/>
            <a:ext cx="9904413" cy="617902"/>
            <a:chOff x="0" y="0"/>
            <a:chExt cx="5760" cy="344"/>
          </a:xfrm>
        </p:grpSpPr>
        <p:pic>
          <p:nvPicPr>
            <p:cNvPr id="1030" name="Picture 9" descr="mlit_top"/>
            <p:cNvPicPr>
              <a:picLocks noChangeAspect="1" noChangeArrowheads="1"/>
            </p:cNvPicPr>
            <p:nvPr userDrawn="1"/>
          </p:nvPicPr>
          <p:blipFill>
            <a:blip r:embed="rId13"/>
            <a:srcRect t="26801" b="65286"/>
            <a:stretch>
              <a:fillRect/>
            </a:stretch>
          </p:blipFill>
          <p:spPr>
            <a:xfrm>
              <a:off x="0" y="300"/>
              <a:ext cx="5760" cy="44"/>
            </a:xfrm>
            <a:prstGeom prst="rect">
              <a:avLst/>
            </a:prstGeom>
            <a:noFill/>
            <a:ln>
              <a:noFill/>
            </a:ln>
          </p:spPr>
        </p:pic>
        <p:grpSp>
          <p:nvGrpSpPr>
            <p:cNvPr id="1031" name="Group 17"/>
            <p:cNvGrpSpPr/>
            <p:nvPr userDrawn="1"/>
          </p:nvGrpSpPr>
          <p:grpSpPr>
            <a:xfrm>
              <a:off x="0" y="0"/>
              <a:ext cx="5760" cy="318"/>
              <a:chOff x="0" y="0"/>
              <a:chExt cx="5760" cy="318"/>
            </a:xfrm>
          </p:grpSpPr>
          <p:pic>
            <p:nvPicPr>
              <p:cNvPr id="1032" name="Picture 11" descr="mlit_top"/>
              <p:cNvPicPr>
                <a:picLocks noChangeAspect="1" noChangeArrowheads="1"/>
              </p:cNvPicPr>
              <p:nvPr userDrawn="1"/>
            </p:nvPicPr>
            <p:blipFill>
              <a:blip r:embed="rId14"/>
              <a:srcRect r="66945" b="42805"/>
              <a:stretch>
                <a:fillRect/>
              </a:stretch>
            </p:blipFill>
            <p:spPr>
              <a:xfrm>
                <a:off x="3856" y="0"/>
                <a:ext cx="1904" cy="318"/>
              </a:xfrm>
              <a:prstGeom prst="rect">
                <a:avLst/>
              </a:prstGeom>
              <a:noFill/>
              <a:ln>
                <a:noFill/>
              </a:ln>
            </p:spPr>
          </p:pic>
          <p:pic>
            <p:nvPicPr>
              <p:cNvPr id="1033" name="Picture 16" descr="mlit_top"/>
              <p:cNvPicPr>
                <a:picLocks noChangeAspect="1" noChangeArrowheads="1"/>
              </p:cNvPicPr>
              <p:nvPr userDrawn="1"/>
            </p:nvPicPr>
            <p:blipFill>
              <a:blip r:embed="rId15"/>
              <a:srcRect l="50000" b="42805"/>
              <a:stretch>
                <a:fillRect/>
              </a:stretch>
            </p:blipFill>
            <p:spPr>
              <a:xfrm>
                <a:off x="1043" y="0"/>
                <a:ext cx="2880" cy="318"/>
              </a:xfrm>
              <a:prstGeom prst="rect">
                <a:avLst/>
              </a:prstGeom>
              <a:noFill/>
              <a:ln>
                <a:noFill/>
              </a:ln>
            </p:spPr>
          </p:pic>
          <p:pic>
            <p:nvPicPr>
              <p:cNvPr id="1034" name="Picture 10" descr="mlit_top"/>
              <p:cNvPicPr>
                <a:picLocks noChangeAspect="1" noChangeArrowheads="1"/>
              </p:cNvPicPr>
              <p:nvPr userDrawn="1"/>
            </p:nvPicPr>
            <p:blipFill>
              <a:blip r:embed="rId15"/>
              <a:srcRect l="68906" b="42805"/>
              <a:stretch>
                <a:fillRect/>
              </a:stretch>
            </p:blipFill>
            <p:spPr>
              <a:xfrm>
                <a:off x="0" y="0"/>
                <a:ext cx="1791" cy="318"/>
              </a:xfrm>
              <a:prstGeom prst="rect">
                <a:avLst/>
              </a:prstGeom>
              <a:noFill/>
              <a:ln>
                <a:noFill/>
              </a:ln>
            </p:spPr>
          </p:pic>
        </p:grpSp>
      </p:grpSp>
      <p:sp>
        <p:nvSpPr>
          <p:cNvPr id="1035" name="Rectangle 2"/>
          <p:cNvSpPr>
            <a:spLocks noGrp="1" noChangeArrowheads="1"/>
          </p:cNvSpPr>
          <p:nvPr>
            <p:ph type="title"/>
          </p:nvPr>
        </p:nvSpPr>
        <p:spPr>
          <a:xfrm>
            <a:off x="1" y="0"/>
            <a:ext cx="5342537" cy="538868"/>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36" name="Picture 14"/>
          <p:cNvPicPr>
            <a:picLocks noChangeAspect="1" noChangeArrowheads="1"/>
          </p:cNvPicPr>
          <p:nvPr userDrawn="1"/>
        </p:nvPicPr>
        <p:blipFill>
          <a:blip r:embed="rId16"/>
          <a:srcRect t="3670"/>
          <a:stretch>
            <a:fillRect/>
          </a:stretch>
        </p:blipFill>
        <p:spPr>
          <a:xfrm>
            <a:off x="8224447" y="0"/>
            <a:ext cx="1679967" cy="377208"/>
          </a:xfrm>
          <a:prstGeom prst="rect">
            <a:avLst/>
          </a:prstGeom>
          <a:noFill/>
          <a:ln>
            <a:noFill/>
          </a:ln>
        </p:spPr>
      </p:pic>
    </p:spTree>
    <p:extLst>
      <p:ext uri="{BB962C8B-B14F-4D97-AF65-F5344CB8AC3E}">
        <p14:creationId xmlns:p14="http://schemas.microsoft.com/office/powerpoint/2010/main" val="16072393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dt="0"/>
  <p:txStyles>
    <p:titleStyle>
      <a:lvl1pPr algn="l" rtl="0" eaLnBrk="1" fontAlgn="base" hangingPunct="1">
        <a:spcBef>
          <a:spcPct val="0"/>
        </a:spcBef>
        <a:spcAft>
          <a:spcPct val="0"/>
        </a:spcAft>
        <a:defRPr kumimoji="1" sz="3033">
          <a:solidFill>
            <a:srgbClr val="4087C8"/>
          </a:solidFill>
          <a:latin typeface="+mj-lt"/>
          <a:ea typeface="+mj-ea"/>
          <a:cs typeface="+mj-cs"/>
        </a:defRPr>
      </a:lvl1pPr>
      <a:lvl2pPr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5pPr>
      <a:lvl6pPr marL="495239"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6pPr>
      <a:lvl7pPr marL="990478"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7pPr>
      <a:lvl8pPr marL="1485717"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8pPr>
      <a:lvl9pPr marL="1980956" algn="l" rtl="0" eaLnBrk="1" fontAlgn="base" hangingPunct="1">
        <a:spcBef>
          <a:spcPct val="0"/>
        </a:spcBef>
        <a:spcAft>
          <a:spcPct val="0"/>
        </a:spcAft>
        <a:defRPr kumimoji="1" sz="3033">
          <a:solidFill>
            <a:srgbClr val="4087C8"/>
          </a:solidFill>
          <a:latin typeface="HGP創英角ｺﾞｼｯｸUB" pitchFamily="50" charset="-128"/>
          <a:ea typeface="HGP創英角ｺﾞｼｯｸUB" pitchFamily="50" charset="-128"/>
        </a:defRPr>
      </a:lvl9pPr>
    </p:titleStyle>
    <p:bodyStyle>
      <a:lvl1pPr marL="371429" indent="-371429" algn="l" rtl="0" eaLnBrk="1" fontAlgn="base" hangingPunct="1">
        <a:spcBef>
          <a:spcPct val="20000"/>
        </a:spcBef>
        <a:spcAft>
          <a:spcPct val="0"/>
        </a:spcAft>
        <a:buChar char="•"/>
        <a:defRPr kumimoji="1" sz="3466">
          <a:solidFill>
            <a:schemeClr val="tx1"/>
          </a:solidFill>
          <a:latin typeface="+mn-lt"/>
          <a:ea typeface="+mn-ea"/>
          <a:cs typeface="+mn-cs"/>
        </a:defRPr>
      </a:lvl1pPr>
      <a:lvl2pPr marL="804763" indent="-309524" algn="l" rtl="0" eaLnBrk="1" fontAlgn="base" hangingPunct="1">
        <a:spcBef>
          <a:spcPct val="20000"/>
        </a:spcBef>
        <a:spcAft>
          <a:spcPct val="0"/>
        </a:spcAft>
        <a:buChar char="–"/>
        <a:defRPr kumimoji="1" sz="3033">
          <a:solidFill>
            <a:schemeClr val="tx1"/>
          </a:solidFill>
          <a:latin typeface="+mn-lt"/>
          <a:ea typeface="+mn-ea"/>
        </a:defRPr>
      </a:lvl2pPr>
      <a:lvl3pPr marL="1238098" indent="-247620" algn="l" rtl="0" eaLnBrk="1" fontAlgn="base" hangingPunct="1">
        <a:spcBef>
          <a:spcPct val="20000"/>
        </a:spcBef>
        <a:spcAft>
          <a:spcPct val="0"/>
        </a:spcAft>
        <a:buChar char="•"/>
        <a:defRPr kumimoji="1" sz="2600">
          <a:solidFill>
            <a:schemeClr val="tx1"/>
          </a:solidFill>
          <a:latin typeface="+mn-lt"/>
          <a:ea typeface="+mn-ea"/>
        </a:defRPr>
      </a:lvl3pPr>
      <a:lvl4pPr marL="1733337" indent="-247620" algn="l" rtl="0" eaLnBrk="1" fontAlgn="base" hangingPunct="1">
        <a:spcBef>
          <a:spcPct val="20000"/>
        </a:spcBef>
        <a:spcAft>
          <a:spcPct val="0"/>
        </a:spcAft>
        <a:buChar char="–"/>
        <a:defRPr kumimoji="1" sz="2166">
          <a:solidFill>
            <a:schemeClr val="tx1"/>
          </a:solidFill>
          <a:latin typeface="+mn-lt"/>
          <a:ea typeface="+mn-ea"/>
        </a:defRPr>
      </a:lvl4pPr>
      <a:lvl5pPr marL="2228576" indent="-247620" algn="l" rtl="0" eaLnBrk="1" fontAlgn="base" hangingPunct="1">
        <a:spcBef>
          <a:spcPct val="20000"/>
        </a:spcBef>
        <a:spcAft>
          <a:spcPct val="0"/>
        </a:spcAft>
        <a:buChar char="»"/>
        <a:defRPr kumimoji="1" sz="2166">
          <a:solidFill>
            <a:schemeClr val="tx1"/>
          </a:solidFill>
          <a:latin typeface="+mn-lt"/>
          <a:ea typeface="+mn-ea"/>
        </a:defRPr>
      </a:lvl5pPr>
      <a:lvl6pPr marL="2723815" indent="-247620" algn="l" rtl="0" eaLnBrk="1" fontAlgn="base" hangingPunct="1">
        <a:spcBef>
          <a:spcPct val="20000"/>
        </a:spcBef>
        <a:spcAft>
          <a:spcPct val="0"/>
        </a:spcAft>
        <a:buChar char="»"/>
        <a:defRPr kumimoji="1" sz="2166">
          <a:solidFill>
            <a:schemeClr val="tx1"/>
          </a:solidFill>
          <a:latin typeface="+mn-lt"/>
          <a:ea typeface="+mn-ea"/>
        </a:defRPr>
      </a:lvl6pPr>
      <a:lvl7pPr marL="3219054" indent="-247620" algn="l" rtl="0" eaLnBrk="1" fontAlgn="base" hangingPunct="1">
        <a:spcBef>
          <a:spcPct val="20000"/>
        </a:spcBef>
        <a:spcAft>
          <a:spcPct val="0"/>
        </a:spcAft>
        <a:buChar char="»"/>
        <a:defRPr kumimoji="1" sz="2166">
          <a:solidFill>
            <a:schemeClr val="tx1"/>
          </a:solidFill>
          <a:latin typeface="+mn-lt"/>
          <a:ea typeface="+mn-ea"/>
        </a:defRPr>
      </a:lvl7pPr>
      <a:lvl8pPr marL="3714293" indent="-247620" algn="l" rtl="0" eaLnBrk="1" fontAlgn="base" hangingPunct="1">
        <a:spcBef>
          <a:spcPct val="20000"/>
        </a:spcBef>
        <a:spcAft>
          <a:spcPct val="0"/>
        </a:spcAft>
        <a:buChar char="»"/>
        <a:defRPr kumimoji="1" sz="2166">
          <a:solidFill>
            <a:schemeClr val="tx1"/>
          </a:solidFill>
          <a:latin typeface="+mn-lt"/>
          <a:ea typeface="+mn-ea"/>
        </a:defRPr>
      </a:lvl8pPr>
      <a:lvl9pPr marL="4209532" indent="-247620" algn="l" rtl="0" eaLnBrk="1" fontAlgn="base" hangingPunct="1">
        <a:spcBef>
          <a:spcPct val="20000"/>
        </a:spcBef>
        <a:spcAft>
          <a:spcPct val="0"/>
        </a:spcAft>
        <a:buChar char="»"/>
        <a:defRPr kumimoji="1" sz="2166">
          <a:solidFill>
            <a:schemeClr val="tx1"/>
          </a:solidFill>
          <a:latin typeface="+mn-lt"/>
          <a:ea typeface="+mn-ea"/>
        </a:defRPr>
      </a:lvl9pPr>
    </p:bodyStyle>
    <p:otherStyle>
      <a:defPPr>
        <a:defRPr lang="ja-JP"/>
      </a:defPPr>
      <a:lvl1pPr marL="0" algn="l" defTabSz="990478" rtl="0" eaLnBrk="1" latinLnBrk="0" hangingPunct="1">
        <a:defRPr kumimoji="1" sz="1950" kern="1200">
          <a:solidFill>
            <a:schemeClr val="tx1"/>
          </a:solidFill>
          <a:latin typeface="+mn-lt"/>
          <a:ea typeface="+mn-ea"/>
          <a:cs typeface="+mn-cs"/>
        </a:defRPr>
      </a:lvl1pPr>
      <a:lvl2pPr marL="495239" algn="l" defTabSz="990478" rtl="0" eaLnBrk="1" latinLnBrk="0" hangingPunct="1">
        <a:defRPr kumimoji="1" sz="1950" kern="1200">
          <a:solidFill>
            <a:schemeClr val="tx1"/>
          </a:solidFill>
          <a:latin typeface="+mn-lt"/>
          <a:ea typeface="+mn-ea"/>
          <a:cs typeface="+mn-cs"/>
        </a:defRPr>
      </a:lvl2pPr>
      <a:lvl3pPr marL="990478" algn="l" defTabSz="990478" rtl="0" eaLnBrk="1" latinLnBrk="0" hangingPunct="1">
        <a:defRPr kumimoji="1" sz="1950" kern="1200">
          <a:solidFill>
            <a:schemeClr val="tx1"/>
          </a:solidFill>
          <a:latin typeface="+mn-lt"/>
          <a:ea typeface="+mn-ea"/>
          <a:cs typeface="+mn-cs"/>
        </a:defRPr>
      </a:lvl3pPr>
      <a:lvl4pPr marL="1485717" algn="l" defTabSz="990478" rtl="0" eaLnBrk="1" latinLnBrk="0" hangingPunct="1">
        <a:defRPr kumimoji="1" sz="1950" kern="1200">
          <a:solidFill>
            <a:schemeClr val="tx1"/>
          </a:solidFill>
          <a:latin typeface="+mn-lt"/>
          <a:ea typeface="+mn-ea"/>
          <a:cs typeface="+mn-cs"/>
        </a:defRPr>
      </a:lvl4pPr>
      <a:lvl5pPr marL="1980956" algn="l" defTabSz="990478" rtl="0" eaLnBrk="1" latinLnBrk="0" hangingPunct="1">
        <a:defRPr kumimoji="1" sz="1950" kern="1200">
          <a:solidFill>
            <a:schemeClr val="tx1"/>
          </a:solidFill>
          <a:latin typeface="+mn-lt"/>
          <a:ea typeface="+mn-ea"/>
          <a:cs typeface="+mn-cs"/>
        </a:defRPr>
      </a:lvl5pPr>
      <a:lvl6pPr marL="2476195" algn="l" defTabSz="990478" rtl="0" eaLnBrk="1" latinLnBrk="0" hangingPunct="1">
        <a:defRPr kumimoji="1" sz="1950" kern="1200">
          <a:solidFill>
            <a:schemeClr val="tx1"/>
          </a:solidFill>
          <a:latin typeface="+mn-lt"/>
          <a:ea typeface="+mn-ea"/>
          <a:cs typeface="+mn-cs"/>
        </a:defRPr>
      </a:lvl6pPr>
      <a:lvl7pPr marL="2971434" algn="l" defTabSz="990478" rtl="0" eaLnBrk="1" latinLnBrk="0" hangingPunct="1">
        <a:defRPr kumimoji="1" sz="1950" kern="1200">
          <a:solidFill>
            <a:schemeClr val="tx1"/>
          </a:solidFill>
          <a:latin typeface="+mn-lt"/>
          <a:ea typeface="+mn-ea"/>
          <a:cs typeface="+mn-cs"/>
        </a:defRPr>
      </a:lvl7pPr>
      <a:lvl8pPr marL="3466673" algn="l" defTabSz="990478" rtl="0" eaLnBrk="1" latinLnBrk="0" hangingPunct="1">
        <a:defRPr kumimoji="1" sz="1950" kern="1200">
          <a:solidFill>
            <a:schemeClr val="tx1"/>
          </a:solidFill>
          <a:latin typeface="+mn-lt"/>
          <a:ea typeface="+mn-ea"/>
          <a:cs typeface="+mn-cs"/>
        </a:defRPr>
      </a:lvl8pPr>
      <a:lvl9pPr marL="3961912" algn="l" defTabSz="990478" rtl="0" eaLnBrk="1" latinLnBrk="0" hangingPunct="1">
        <a:defRPr kumimoji="1" sz="19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95221" y="1810604"/>
            <a:ext cx="8913972" cy="51210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p:cNvSpPr>
            <a:spLocks noGrp="1" noChangeArrowheads="1"/>
          </p:cNvSpPr>
          <p:nvPr>
            <p:ph type="dt" sz="half" idx="2"/>
          </p:nvPr>
        </p:nvSpPr>
        <p:spPr bwMode="auto">
          <a:xfrm>
            <a:off x="495221" y="706635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92">
                <a:ea typeface="ＭＳ Ｐゴシック" pitchFamily="50" charset="-128"/>
              </a:defRPr>
            </a:lvl1pPr>
          </a:lstStyle>
          <a:p>
            <a:pPr>
              <a:defRPr/>
            </a:pPr>
            <a:endParaRPr lang="en-US" altLang="ja-JP">
              <a:solidFill>
                <a:prstClr val="black"/>
              </a:solidFill>
              <a:latin typeface="Arial"/>
            </a:endParaRPr>
          </a:p>
        </p:txBody>
      </p:sp>
      <p:sp>
        <p:nvSpPr>
          <p:cNvPr id="1029" name="Rectangle 5"/>
          <p:cNvSpPr>
            <a:spLocks noGrp="1" noChangeArrowheads="1"/>
          </p:cNvSpPr>
          <p:nvPr>
            <p:ph type="ftr" sz="quarter" idx="3"/>
          </p:nvPr>
        </p:nvSpPr>
        <p:spPr bwMode="auto">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92">
                <a:ea typeface="ＭＳ Ｐゴシック" pitchFamily="50" charset="-128"/>
              </a:defRPr>
            </a:lvl1pPr>
          </a:lstStyle>
          <a:p>
            <a:pPr>
              <a:defRPr/>
            </a:pPr>
            <a:endParaRPr lang="en-US" altLang="ja-JP">
              <a:solidFill>
                <a:prstClr val="black"/>
              </a:solidFill>
              <a:latin typeface="Arial"/>
            </a:endParaRPr>
          </a:p>
        </p:txBody>
      </p:sp>
      <p:grpSp>
        <p:nvGrpSpPr>
          <p:cNvPr id="2" name="Group 18"/>
          <p:cNvGrpSpPr>
            <a:grpSpLocks/>
          </p:cNvGrpSpPr>
          <p:nvPr userDrawn="1"/>
        </p:nvGrpSpPr>
        <p:grpSpPr bwMode="auto">
          <a:xfrm>
            <a:off x="0" y="0"/>
            <a:ext cx="9904413" cy="617902"/>
            <a:chOff x="0" y="0"/>
            <a:chExt cx="5760" cy="344"/>
          </a:xfrm>
        </p:grpSpPr>
        <p:pic>
          <p:nvPicPr>
            <p:cNvPr id="1033" name="Picture 9" descr="mlit_top"/>
            <p:cNvPicPr>
              <a:picLocks noChangeAspect="1" noChangeArrowheads="1"/>
            </p:cNvPicPr>
            <p:nvPr userDrawn="1"/>
          </p:nvPicPr>
          <p:blipFill>
            <a:blip r:embed="rId22" cstate="email"/>
            <a:srcRect t="26801" b="65286"/>
            <a:stretch>
              <a:fillRect/>
            </a:stretch>
          </p:blipFill>
          <p:spPr bwMode="auto">
            <a:xfrm>
              <a:off x="0" y="300"/>
              <a:ext cx="5760" cy="44"/>
            </a:xfrm>
            <a:prstGeom prst="rect">
              <a:avLst/>
            </a:prstGeom>
            <a:noFill/>
            <a:ln w="9525">
              <a:noFill/>
              <a:miter lim="800000"/>
              <a:headEnd/>
              <a:tailEnd/>
            </a:ln>
          </p:spPr>
        </p:pic>
        <p:grpSp>
          <p:nvGrpSpPr>
            <p:cNvPr id="3" name="Group 17"/>
            <p:cNvGrpSpPr>
              <a:grpSpLocks/>
            </p:cNvGrpSpPr>
            <p:nvPr userDrawn="1"/>
          </p:nvGrpSpPr>
          <p:grpSpPr bwMode="auto">
            <a:xfrm>
              <a:off x="0" y="0"/>
              <a:ext cx="5760" cy="318"/>
              <a:chOff x="0" y="0"/>
              <a:chExt cx="5760" cy="318"/>
            </a:xfrm>
          </p:grpSpPr>
          <p:pic>
            <p:nvPicPr>
              <p:cNvPr id="1035" name="Picture 11" descr="mlit_top"/>
              <p:cNvPicPr>
                <a:picLocks noChangeAspect="1" noChangeArrowheads="1"/>
              </p:cNvPicPr>
              <p:nvPr userDrawn="1"/>
            </p:nvPicPr>
            <p:blipFill>
              <a:blip r:embed="rId23" cstate="email"/>
              <a:srcRect r="66945" b="42805"/>
              <a:stretch>
                <a:fillRect/>
              </a:stretch>
            </p:blipFill>
            <p:spPr bwMode="auto">
              <a:xfrm>
                <a:off x="3856" y="0"/>
                <a:ext cx="1904" cy="318"/>
              </a:xfrm>
              <a:prstGeom prst="rect">
                <a:avLst/>
              </a:prstGeom>
              <a:noFill/>
              <a:ln w="9525">
                <a:noFill/>
                <a:miter lim="800000"/>
                <a:headEnd/>
                <a:tailEnd/>
              </a:ln>
            </p:spPr>
          </p:pic>
          <p:pic>
            <p:nvPicPr>
              <p:cNvPr id="1036" name="Picture 16" descr="mlit_top"/>
              <p:cNvPicPr>
                <a:picLocks noChangeAspect="1" noChangeArrowheads="1"/>
              </p:cNvPicPr>
              <p:nvPr userDrawn="1"/>
            </p:nvPicPr>
            <p:blipFill>
              <a:blip r:embed="rId24" cstate="email"/>
              <a:srcRect l="50000" b="42805"/>
              <a:stretch>
                <a:fillRect/>
              </a:stretch>
            </p:blipFill>
            <p:spPr bwMode="auto">
              <a:xfrm>
                <a:off x="1043" y="0"/>
                <a:ext cx="2880" cy="318"/>
              </a:xfrm>
              <a:prstGeom prst="rect">
                <a:avLst/>
              </a:prstGeom>
              <a:noFill/>
              <a:ln w="9525">
                <a:noFill/>
                <a:miter lim="800000"/>
                <a:headEnd/>
                <a:tailEnd/>
              </a:ln>
            </p:spPr>
          </p:pic>
          <p:pic>
            <p:nvPicPr>
              <p:cNvPr id="1037" name="Picture 10" descr="mlit_top"/>
              <p:cNvPicPr>
                <a:picLocks noChangeAspect="1" noChangeArrowheads="1"/>
              </p:cNvPicPr>
              <p:nvPr userDrawn="1"/>
            </p:nvPicPr>
            <p:blipFill>
              <a:blip r:embed="rId24" cstate="email"/>
              <a:srcRect l="68906" b="42805"/>
              <a:stretch>
                <a:fillRect/>
              </a:stretch>
            </p:blipFill>
            <p:spPr bwMode="auto">
              <a:xfrm>
                <a:off x="0" y="0"/>
                <a:ext cx="1791" cy="318"/>
              </a:xfrm>
              <a:prstGeom prst="rect">
                <a:avLst/>
              </a:prstGeom>
              <a:noFill/>
              <a:ln w="9525">
                <a:noFill/>
                <a:miter lim="800000"/>
                <a:headEnd/>
                <a:tailEnd/>
              </a:ln>
            </p:spPr>
          </p:pic>
        </p:grpSp>
      </p:grpSp>
      <p:sp>
        <p:nvSpPr>
          <p:cNvPr id="1031" name="Rectangle 2"/>
          <p:cNvSpPr>
            <a:spLocks noGrp="1" noChangeArrowheads="1"/>
          </p:cNvSpPr>
          <p:nvPr>
            <p:ph type="title"/>
          </p:nvPr>
        </p:nvSpPr>
        <p:spPr bwMode="auto">
          <a:xfrm>
            <a:off x="4" y="0"/>
            <a:ext cx="7604496" cy="53886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2" name="Picture 14"/>
          <p:cNvPicPr>
            <a:picLocks noChangeAspect="1" noChangeArrowheads="1"/>
          </p:cNvPicPr>
          <p:nvPr userDrawn="1"/>
        </p:nvPicPr>
        <p:blipFill>
          <a:blip r:embed="rId25" cstate="email">
            <a:extLst>
              <a:ext uri="{28A0092B-C50C-407E-A947-70E740481C1C}">
                <a14:useLocalDpi xmlns:a14="http://schemas.microsoft.com/office/drawing/2010/main" val="0"/>
              </a:ext>
            </a:extLst>
          </a:blip>
          <a:srcRect t="3670"/>
          <a:stretch>
            <a:fillRect/>
          </a:stretch>
        </p:blipFill>
        <p:spPr bwMode="auto">
          <a:xfrm>
            <a:off x="8224447" y="2"/>
            <a:ext cx="1679967" cy="37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643740"/>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871" r:id="rId20"/>
  </p:sldLayoutIdLst>
  <p:hf hdr="0" dt="0"/>
  <p:txStyles>
    <p:titleStyle>
      <a:lvl1pPr algn="l" rtl="0" eaLnBrk="0" fontAlgn="base" hangingPunct="0">
        <a:spcBef>
          <a:spcPct val="0"/>
        </a:spcBef>
        <a:spcAft>
          <a:spcPct val="0"/>
        </a:spcAft>
        <a:defRPr kumimoji="1" sz="2584">
          <a:solidFill>
            <a:srgbClr val="4087C8"/>
          </a:solidFill>
          <a:latin typeface="+mj-lt"/>
          <a:ea typeface="+mj-ea"/>
          <a:cs typeface="+mj-cs"/>
        </a:defRPr>
      </a:lvl1pPr>
      <a:lvl2pPr algn="l" rtl="0" eaLnBrk="0" fontAlgn="base" hangingPunct="0">
        <a:spcBef>
          <a:spcPct val="0"/>
        </a:spcBef>
        <a:spcAft>
          <a:spcPct val="0"/>
        </a:spcAft>
        <a:defRPr kumimoji="1" sz="2584">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584">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584">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584">
          <a:solidFill>
            <a:srgbClr val="4087C8"/>
          </a:solidFill>
          <a:latin typeface="HGP創英角ｺﾞｼｯｸUB" pitchFamily="50" charset="-128"/>
          <a:ea typeface="HGP創英角ｺﾞｼｯｸUB" pitchFamily="50" charset="-128"/>
        </a:defRPr>
      </a:lvl5pPr>
      <a:lvl6pPr marL="421957" algn="l" rtl="0" fontAlgn="base">
        <a:spcBef>
          <a:spcPct val="0"/>
        </a:spcBef>
        <a:spcAft>
          <a:spcPct val="0"/>
        </a:spcAft>
        <a:defRPr kumimoji="1" sz="2584">
          <a:solidFill>
            <a:srgbClr val="4087C8"/>
          </a:solidFill>
          <a:latin typeface="HGP創英角ｺﾞｼｯｸUB" pitchFamily="50" charset="-128"/>
          <a:ea typeface="HGP創英角ｺﾞｼｯｸUB" pitchFamily="50" charset="-128"/>
        </a:defRPr>
      </a:lvl6pPr>
      <a:lvl7pPr marL="843914" algn="l" rtl="0" fontAlgn="base">
        <a:spcBef>
          <a:spcPct val="0"/>
        </a:spcBef>
        <a:spcAft>
          <a:spcPct val="0"/>
        </a:spcAft>
        <a:defRPr kumimoji="1" sz="2584">
          <a:solidFill>
            <a:srgbClr val="4087C8"/>
          </a:solidFill>
          <a:latin typeface="HGP創英角ｺﾞｼｯｸUB" pitchFamily="50" charset="-128"/>
          <a:ea typeface="HGP創英角ｺﾞｼｯｸUB" pitchFamily="50" charset="-128"/>
        </a:defRPr>
      </a:lvl7pPr>
      <a:lvl8pPr marL="1265871" algn="l" rtl="0" fontAlgn="base">
        <a:spcBef>
          <a:spcPct val="0"/>
        </a:spcBef>
        <a:spcAft>
          <a:spcPct val="0"/>
        </a:spcAft>
        <a:defRPr kumimoji="1" sz="2584">
          <a:solidFill>
            <a:srgbClr val="4087C8"/>
          </a:solidFill>
          <a:latin typeface="HGP創英角ｺﾞｼｯｸUB" pitchFamily="50" charset="-128"/>
          <a:ea typeface="HGP創英角ｺﾞｼｯｸUB" pitchFamily="50" charset="-128"/>
        </a:defRPr>
      </a:lvl8pPr>
      <a:lvl9pPr marL="1687827" algn="l" rtl="0" fontAlgn="base">
        <a:spcBef>
          <a:spcPct val="0"/>
        </a:spcBef>
        <a:spcAft>
          <a:spcPct val="0"/>
        </a:spcAft>
        <a:defRPr kumimoji="1" sz="2584">
          <a:solidFill>
            <a:srgbClr val="4087C8"/>
          </a:solidFill>
          <a:latin typeface="HGP創英角ｺﾞｼｯｸUB" pitchFamily="50" charset="-128"/>
          <a:ea typeface="HGP創英角ｺﾞｼｯｸUB" pitchFamily="50" charset="-128"/>
        </a:defRPr>
      </a:lvl9pPr>
    </p:titleStyle>
    <p:bodyStyle>
      <a:lvl1pPr marL="316468" indent="-316468" algn="l" rtl="0" eaLnBrk="0" fontAlgn="base" hangingPunct="0">
        <a:spcBef>
          <a:spcPct val="20000"/>
        </a:spcBef>
        <a:spcAft>
          <a:spcPct val="0"/>
        </a:spcAft>
        <a:buChar char="•"/>
        <a:defRPr kumimoji="1" sz="2953">
          <a:solidFill>
            <a:schemeClr val="tx1"/>
          </a:solidFill>
          <a:latin typeface="+mn-lt"/>
          <a:ea typeface="+mn-ea"/>
          <a:cs typeface="+mn-cs"/>
        </a:defRPr>
      </a:lvl1pPr>
      <a:lvl2pPr marL="685680" indent="-263723" algn="l" rtl="0" eaLnBrk="0" fontAlgn="base" hangingPunct="0">
        <a:spcBef>
          <a:spcPct val="20000"/>
        </a:spcBef>
        <a:spcAft>
          <a:spcPct val="0"/>
        </a:spcAft>
        <a:buChar char="–"/>
        <a:defRPr kumimoji="1" sz="2584">
          <a:solidFill>
            <a:schemeClr val="tx1"/>
          </a:solidFill>
          <a:latin typeface="+mn-lt"/>
          <a:ea typeface="+mn-ea"/>
        </a:defRPr>
      </a:lvl2pPr>
      <a:lvl3pPr marL="1054892" indent="-210979" algn="l" rtl="0" eaLnBrk="0" fontAlgn="base" hangingPunct="0">
        <a:spcBef>
          <a:spcPct val="20000"/>
        </a:spcBef>
        <a:spcAft>
          <a:spcPct val="0"/>
        </a:spcAft>
        <a:buChar char="•"/>
        <a:defRPr kumimoji="1" sz="2215">
          <a:solidFill>
            <a:schemeClr val="tx1"/>
          </a:solidFill>
          <a:latin typeface="+mn-lt"/>
          <a:ea typeface="+mn-ea"/>
        </a:defRPr>
      </a:lvl3pPr>
      <a:lvl4pPr marL="1476850" indent="-210979" algn="l" rtl="0" eaLnBrk="0" fontAlgn="base" hangingPunct="0">
        <a:spcBef>
          <a:spcPct val="20000"/>
        </a:spcBef>
        <a:spcAft>
          <a:spcPct val="0"/>
        </a:spcAft>
        <a:buChar char="–"/>
        <a:defRPr kumimoji="1" sz="1846">
          <a:solidFill>
            <a:schemeClr val="tx1"/>
          </a:solidFill>
          <a:latin typeface="+mn-lt"/>
          <a:ea typeface="+mn-ea"/>
        </a:defRPr>
      </a:lvl4pPr>
      <a:lvl5pPr marL="1898806" indent="-210979" algn="l" rtl="0" eaLnBrk="0" fontAlgn="base" hangingPunct="0">
        <a:spcBef>
          <a:spcPct val="20000"/>
        </a:spcBef>
        <a:spcAft>
          <a:spcPct val="0"/>
        </a:spcAft>
        <a:buChar char="»"/>
        <a:defRPr kumimoji="1" sz="1846">
          <a:solidFill>
            <a:schemeClr val="tx1"/>
          </a:solidFill>
          <a:latin typeface="+mn-lt"/>
          <a:ea typeface="+mn-ea"/>
        </a:defRPr>
      </a:lvl5pPr>
      <a:lvl6pPr marL="2320763" indent="-210979" algn="l" rtl="0" fontAlgn="base">
        <a:spcBef>
          <a:spcPct val="20000"/>
        </a:spcBef>
        <a:spcAft>
          <a:spcPct val="0"/>
        </a:spcAft>
        <a:buChar char="»"/>
        <a:defRPr kumimoji="1" sz="1846">
          <a:solidFill>
            <a:schemeClr val="tx1"/>
          </a:solidFill>
          <a:latin typeface="+mn-lt"/>
          <a:ea typeface="+mn-ea"/>
        </a:defRPr>
      </a:lvl6pPr>
      <a:lvl7pPr marL="2742720" indent="-210979" algn="l" rtl="0" fontAlgn="base">
        <a:spcBef>
          <a:spcPct val="20000"/>
        </a:spcBef>
        <a:spcAft>
          <a:spcPct val="0"/>
        </a:spcAft>
        <a:buChar char="»"/>
        <a:defRPr kumimoji="1" sz="1846">
          <a:solidFill>
            <a:schemeClr val="tx1"/>
          </a:solidFill>
          <a:latin typeface="+mn-lt"/>
          <a:ea typeface="+mn-ea"/>
        </a:defRPr>
      </a:lvl7pPr>
      <a:lvl8pPr marL="3164677" indent="-210979" algn="l" rtl="0" fontAlgn="base">
        <a:spcBef>
          <a:spcPct val="20000"/>
        </a:spcBef>
        <a:spcAft>
          <a:spcPct val="0"/>
        </a:spcAft>
        <a:buChar char="»"/>
        <a:defRPr kumimoji="1" sz="1846">
          <a:solidFill>
            <a:schemeClr val="tx1"/>
          </a:solidFill>
          <a:latin typeface="+mn-lt"/>
          <a:ea typeface="+mn-ea"/>
        </a:defRPr>
      </a:lvl8pPr>
      <a:lvl9pPr marL="3586634" indent="-210979"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3914" rtl="0" eaLnBrk="1" latinLnBrk="0" hangingPunct="1">
        <a:defRPr kumimoji="1" sz="1662" kern="1200">
          <a:solidFill>
            <a:schemeClr val="tx1"/>
          </a:solidFill>
          <a:latin typeface="+mn-lt"/>
          <a:ea typeface="+mn-ea"/>
          <a:cs typeface="+mn-cs"/>
        </a:defRPr>
      </a:lvl1pPr>
      <a:lvl2pPr marL="421957" algn="l" defTabSz="843914" rtl="0" eaLnBrk="1" latinLnBrk="0" hangingPunct="1">
        <a:defRPr kumimoji="1" sz="1662" kern="1200">
          <a:solidFill>
            <a:schemeClr val="tx1"/>
          </a:solidFill>
          <a:latin typeface="+mn-lt"/>
          <a:ea typeface="+mn-ea"/>
          <a:cs typeface="+mn-cs"/>
        </a:defRPr>
      </a:lvl2pPr>
      <a:lvl3pPr marL="843914" algn="l" defTabSz="843914" rtl="0" eaLnBrk="1" latinLnBrk="0" hangingPunct="1">
        <a:defRPr kumimoji="1" sz="1662" kern="1200">
          <a:solidFill>
            <a:schemeClr val="tx1"/>
          </a:solidFill>
          <a:latin typeface="+mn-lt"/>
          <a:ea typeface="+mn-ea"/>
          <a:cs typeface="+mn-cs"/>
        </a:defRPr>
      </a:lvl3pPr>
      <a:lvl4pPr marL="1265871" algn="l" defTabSz="843914" rtl="0" eaLnBrk="1" latinLnBrk="0" hangingPunct="1">
        <a:defRPr kumimoji="1" sz="1662" kern="1200">
          <a:solidFill>
            <a:schemeClr val="tx1"/>
          </a:solidFill>
          <a:latin typeface="+mn-lt"/>
          <a:ea typeface="+mn-ea"/>
          <a:cs typeface="+mn-cs"/>
        </a:defRPr>
      </a:lvl4pPr>
      <a:lvl5pPr marL="1687827" algn="l" defTabSz="843914" rtl="0" eaLnBrk="1" latinLnBrk="0" hangingPunct="1">
        <a:defRPr kumimoji="1" sz="1662" kern="1200">
          <a:solidFill>
            <a:schemeClr val="tx1"/>
          </a:solidFill>
          <a:latin typeface="+mn-lt"/>
          <a:ea typeface="+mn-ea"/>
          <a:cs typeface="+mn-cs"/>
        </a:defRPr>
      </a:lvl5pPr>
      <a:lvl6pPr marL="2109785" algn="l" defTabSz="843914" rtl="0" eaLnBrk="1" latinLnBrk="0" hangingPunct="1">
        <a:defRPr kumimoji="1" sz="1662" kern="1200">
          <a:solidFill>
            <a:schemeClr val="tx1"/>
          </a:solidFill>
          <a:latin typeface="+mn-lt"/>
          <a:ea typeface="+mn-ea"/>
          <a:cs typeface="+mn-cs"/>
        </a:defRPr>
      </a:lvl6pPr>
      <a:lvl7pPr marL="2531742" algn="l" defTabSz="843914" rtl="0" eaLnBrk="1" latinLnBrk="0" hangingPunct="1">
        <a:defRPr kumimoji="1" sz="1662" kern="1200">
          <a:solidFill>
            <a:schemeClr val="tx1"/>
          </a:solidFill>
          <a:latin typeface="+mn-lt"/>
          <a:ea typeface="+mn-ea"/>
          <a:cs typeface="+mn-cs"/>
        </a:defRPr>
      </a:lvl7pPr>
      <a:lvl8pPr marL="2953698" algn="l" defTabSz="843914" rtl="0" eaLnBrk="1" latinLnBrk="0" hangingPunct="1">
        <a:defRPr kumimoji="1" sz="1662" kern="1200">
          <a:solidFill>
            <a:schemeClr val="tx1"/>
          </a:solidFill>
          <a:latin typeface="+mn-lt"/>
          <a:ea typeface="+mn-ea"/>
          <a:cs typeface="+mn-cs"/>
        </a:defRPr>
      </a:lvl8pPr>
      <a:lvl9pPr marL="3375656" algn="l" defTabSz="843914" rtl="0" eaLnBrk="1" latinLnBrk="0" hangingPunct="1">
        <a:defRPr kumimoji="1" sz="16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495302" y="1811339"/>
            <a:ext cx="8913812" cy="5119687"/>
          </a:xfrm>
          <a:prstGeom prst="rect">
            <a:avLst/>
          </a:prstGeom>
          <a:noFill/>
          <a:ln w="9525">
            <a:noFill/>
            <a:miter lim="800000"/>
            <a:headEnd/>
            <a:tailEnd/>
          </a:ln>
        </p:spPr>
        <p:txBody>
          <a:bodyPr vert="horz" wrap="square" lIns="100931" tIns="50466" rIns="100931" bIns="50466"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p:cNvSpPr>
            <a:spLocks noGrp="1" noChangeArrowheads="1"/>
          </p:cNvSpPr>
          <p:nvPr>
            <p:ph type="dt" sz="half" idx="2"/>
          </p:nvPr>
        </p:nvSpPr>
        <p:spPr bwMode="auto">
          <a:xfrm>
            <a:off x="495300" y="7065965"/>
            <a:ext cx="2311400" cy="539749"/>
          </a:xfrm>
          <a:prstGeom prst="rect">
            <a:avLst/>
          </a:prstGeom>
          <a:noFill/>
          <a:ln w="9525">
            <a:noFill/>
            <a:miter lim="800000"/>
            <a:headEnd/>
            <a:tailEnd/>
          </a:ln>
          <a:effectLst/>
        </p:spPr>
        <p:txBody>
          <a:bodyPr vert="horz" wrap="square" lIns="100931" tIns="50466" rIns="100931" bIns="50466" numCol="1" anchor="t" anchorCtr="0" compatLnSpc="1">
            <a:prstTxWarp prst="textNoShape">
              <a:avLst/>
            </a:prstTxWarp>
          </a:bodyPr>
          <a:lstStyle>
            <a:lvl1pPr>
              <a:defRPr sz="1436"/>
            </a:lvl1pPr>
          </a:lstStyle>
          <a:p>
            <a:pPr>
              <a:defRPr/>
            </a:pPr>
            <a:endParaRPr lang="en-US" altLang="ja-JP"/>
          </a:p>
        </p:txBody>
      </p:sp>
      <p:sp>
        <p:nvSpPr>
          <p:cNvPr id="1029" name="Rectangle 5"/>
          <p:cNvSpPr>
            <a:spLocks noGrp="1" noChangeArrowheads="1"/>
          </p:cNvSpPr>
          <p:nvPr>
            <p:ph type="ftr" sz="quarter" idx="3"/>
          </p:nvPr>
        </p:nvSpPr>
        <p:spPr bwMode="auto">
          <a:xfrm>
            <a:off x="3384551" y="7065965"/>
            <a:ext cx="3135313" cy="539749"/>
          </a:xfrm>
          <a:prstGeom prst="rect">
            <a:avLst/>
          </a:prstGeom>
          <a:noFill/>
          <a:ln w="9525">
            <a:noFill/>
            <a:miter lim="800000"/>
            <a:headEnd/>
            <a:tailEnd/>
          </a:ln>
          <a:effectLst/>
        </p:spPr>
        <p:txBody>
          <a:bodyPr vert="horz" wrap="square" lIns="100931" tIns="50466" rIns="100931" bIns="50466" numCol="1" anchor="t" anchorCtr="0" compatLnSpc="1">
            <a:prstTxWarp prst="textNoShape">
              <a:avLst/>
            </a:prstTxWarp>
          </a:bodyPr>
          <a:lstStyle>
            <a:lvl1pPr algn="ctr">
              <a:defRPr sz="1436"/>
            </a:lvl1pPr>
          </a:lstStyle>
          <a:p>
            <a:pPr>
              <a:defRPr/>
            </a:pPr>
            <a:endParaRPr lang="en-US" altLang="ja-JP"/>
          </a:p>
        </p:txBody>
      </p:sp>
      <p:sp>
        <p:nvSpPr>
          <p:cNvPr id="1030" name="Rectangle 6"/>
          <p:cNvSpPr>
            <a:spLocks noGrp="1" noChangeArrowheads="1"/>
          </p:cNvSpPr>
          <p:nvPr>
            <p:ph type="sldNum" sz="quarter" idx="4"/>
          </p:nvPr>
        </p:nvSpPr>
        <p:spPr bwMode="auto">
          <a:xfrm>
            <a:off x="7593013" y="7058026"/>
            <a:ext cx="2311400" cy="538163"/>
          </a:xfrm>
          <a:prstGeom prst="rect">
            <a:avLst/>
          </a:prstGeom>
          <a:noFill/>
          <a:ln w="9525">
            <a:noFill/>
            <a:miter lim="800000"/>
            <a:headEnd/>
            <a:tailEnd/>
          </a:ln>
          <a:effectLst/>
        </p:spPr>
        <p:txBody>
          <a:bodyPr vert="horz" wrap="square" lIns="100931" tIns="50466" rIns="100931" bIns="50466" numCol="1" anchor="t" anchorCtr="0" compatLnSpc="1">
            <a:prstTxWarp prst="textNoShape">
              <a:avLst/>
            </a:prstTxWarp>
          </a:bodyPr>
          <a:lstStyle>
            <a:lvl1pPr algn="r">
              <a:defRPr sz="1436"/>
            </a:lvl1pPr>
          </a:lstStyle>
          <a:p>
            <a:pPr>
              <a:defRPr/>
            </a:pPr>
            <a:fld id="{595AA47C-59FF-418C-ADA9-B21662F028F9}" type="slidenum">
              <a:rPr lang="en-US" altLang="ja-JP"/>
              <a:pPr>
                <a:defRPr/>
              </a:pPr>
              <a:t>‹#›</a:t>
            </a:fld>
            <a:endParaRPr lang="en-US" altLang="ja-JP"/>
          </a:p>
        </p:txBody>
      </p:sp>
      <p:grpSp>
        <p:nvGrpSpPr>
          <p:cNvPr id="2" name="Group 18"/>
          <p:cNvGrpSpPr>
            <a:grpSpLocks/>
          </p:cNvGrpSpPr>
          <p:nvPr userDrawn="1"/>
        </p:nvGrpSpPr>
        <p:grpSpPr bwMode="auto">
          <a:xfrm>
            <a:off x="0" y="0"/>
            <a:ext cx="9904413" cy="617538"/>
            <a:chOff x="0" y="0"/>
            <a:chExt cx="5760" cy="344"/>
          </a:xfrm>
        </p:grpSpPr>
        <p:pic>
          <p:nvPicPr>
            <p:cNvPr id="1033" name="Picture 9" descr="mlit_top"/>
            <p:cNvPicPr>
              <a:picLocks noChangeAspect="1" noChangeArrowheads="1"/>
            </p:cNvPicPr>
            <p:nvPr userDrawn="1"/>
          </p:nvPicPr>
          <p:blipFill>
            <a:blip r:embed="rId13" cstate="print"/>
            <a:srcRect t="26801" b="65286"/>
            <a:stretch>
              <a:fillRect/>
            </a:stretch>
          </p:blipFill>
          <p:spPr bwMode="auto">
            <a:xfrm>
              <a:off x="0" y="300"/>
              <a:ext cx="5760" cy="44"/>
            </a:xfrm>
            <a:prstGeom prst="rect">
              <a:avLst/>
            </a:prstGeom>
            <a:noFill/>
            <a:ln w="9525">
              <a:noFill/>
              <a:miter lim="800000"/>
              <a:headEnd/>
              <a:tailEnd/>
            </a:ln>
          </p:spPr>
        </p:pic>
        <p:grpSp>
          <p:nvGrpSpPr>
            <p:cNvPr id="1034" name="Group 17"/>
            <p:cNvGrpSpPr>
              <a:grpSpLocks/>
            </p:cNvGrpSpPr>
            <p:nvPr userDrawn="1"/>
          </p:nvGrpSpPr>
          <p:grpSpPr bwMode="auto">
            <a:xfrm>
              <a:off x="0" y="0"/>
              <a:ext cx="5760" cy="318"/>
              <a:chOff x="0" y="0"/>
              <a:chExt cx="5760" cy="318"/>
            </a:xfrm>
          </p:grpSpPr>
          <p:pic>
            <p:nvPicPr>
              <p:cNvPr id="1035" name="Picture 11" descr="mlit_top"/>
              <p:cNvPicPr>
                <a:picLocks noChangeAspect="1" noChangeArrowheads="1"/>
              </p:cNvPicPr>
              <p:nvPr userDrawn="1"/>
            </p:nvPicPr>
            <p:blipFill>
              <a:blip r:embed="rId14" cstate="print"/>
              <a:srcRect r="66945" b="42805"/>
              <a:stretch>
                <a:fillRect/>
              </a:stretch>
            </p:blipFill>
            <p:spPr bwMode="auto">
              <a:xfrm>
                <a:off x="3856" y="0"/>
                <a:ext cx="1904" cy="318"/>
              </a:xfrm>
              <a:prstGeom prst="rect">
                <a:avLst/>
              </a:prstGeom>
              <a:noFill/>
              <a:ln w="9525">
                <a:noFill/>
                <a:miter lim="800000"/>
                <a:headEnd/>
                <a:tailEnd/>
              </a:ln>
            </p:spPr>
          </p:pic>
          <p:pic>
            <p:nvPicPr>
              <p:cNvPr id="1036" name="Picture 16" descr="mlit_top"/>
              <p:cNvPicPr>
                <a:picLocks noChangeAspect="1" noChangeArrowheads="1"/>
              </p:cNvPicPr>
              <p:nvPr userDrawn="1"/>
            </p:nvPicPr>
            <p:blipFill>
              <a:blip r:embed="rId15" cstate="print"/>
              <a:srcRect l="50000" b="42805"/>
              <a:stretch>
                <a:fillRect/>
              </a:stretch>
            </p:blipFill>
            <p:spPr bwMode="auto">
              <a:xfrm>
                <a:off x="1043" y="0"/>
                <a:ext cx="2880" cy="318"/>
              </a:xfrm>
              <a:prstGeom prst="rect">
                <a:avLst/>
              </a:prstGeom>
              <a:noFill/>
              <a:ln w="9525">
                <a:noFill/>
                <a:miter lim="800000"/>
                <a:headEnd/>
                <a:tailEnd/>
              </a:ln>
            </p:spPr>
          </p:pic>
          <p:pic>
            <p:nvPicPr>
              <p:cNvPr id="1037" name="Picture 10" descr="mlit_top"/>
              <p:cNvPicPr>
                <a:picLocks noChangeAspect="1" noChangeArrowheads="1"/>
              </p:cNvPicPr>
              <p:nvPr userDrawn="1"/>
            </p:nvPicPr>
            <p:blipFill>
              <a:blip r:embed="rId15" cstate="print"/>
              <a:srcRect l="68906" b="42805"/>
              <a:stretch>
                <a:fillRect/>
              </a:stretch>
            </p:blipFill>
            <p:spPr bwMode="auto">
              <a:xfrm>
                <a:off x="0" y="0"/>
                <a:ext cx="1791" cy="318"/>
              </a:xfrm>
              <a:prstGeom prst="rect">
                <a:avLst/>
              </a:prstGeom>
              <a:noFill/>
              <a:ln w="9525">
                <a:noFill/>
                <a:miter lim="800000"/>
                <a:headEnd/>
                <a:tailEnd/>
              </a:ln>
            </p:spPr>
          </p:pic>
        </p:grpSp>
      </p:grpSp>
      <p:sp>
        <p:nvSpPr>
          <p:cNvPr id="1031" name="Rectangle 2"/>
          <p:cNvSpPr>
            <a:spLocks noGrp="1" noChangeArrowheads="1"/>
          </p:cNvSpPr>
          <p:nvPr>
            <p:ph type="title"/>
          </p:nvPr>
        </p:nvSpPr>
        <p:spPr bwMode="auto">
          <a:xfrm>
            <a:off x="1" y="1"/>
            <a:ext cx="7604125" cy="538163"/>
          </a:xfrm>
          <a:prstGeom prst="rect">
            <a:avLst/>
          </a:prstGeom>
          <a:noFill/>
          <a:ln w="9525">
            <a:noFill/>
            <a:miter lim="800000"/>
            <a:headEnd/>
            <a:tailEnd/>
          </a:ln>
        </p:spPr>
        <p:txBody>
          <a:bodyPr vert="horz" wrap="square" lIns="100931" tIns="50466" rIns="100931" bIns="50466" numCol="1" anchor="ctr" anchorCtr="0" compatLnSpc="1">
            <a:prstTxWarp prst="textNoShape">
              <a:avLst/>
            </a:prstTxWarp>
          </a:bodyPr>
          <a:lstStyle/>
          <a:p>
            <a:pPr lvl="0"/>
            <a:r>
              <a:rPr lang="ja-JP" altLang="en-US"/>
              <a:t>マスタ タイトルの書式設定</a:t>
            </a:r>
          </a:p>
        </p:txBody>
      </p:sp>
      <p:pic>
        <p:nvPicPr>
          <p:cNvPr id="1032" name="Picture 14"/>
          <p:cNvPicPr>
            <a:picLocks noChangeAspect="1" noChangeArrowheads="1"/>
          </p:cNvPicPr>
          <p:nvPr userDrawn="1"/>
        </p:nvPicPr>
        <p:blipFill>
          <a:blip r:embed="rId16" cstate="print"/>
          <a:srcRect t="3670"/>
          <a:stretch>
            <a:fillRect/>
          </a:stretch>
        </p:blipFill>
        <p:spPr bwMode="auto">
          <a:xfrm>
            <a:off x="8224839" y="1"/>
            <a:ext cx="1679575" cy="377825"/>
          </a:xfrm>
          <a:prstGeom prst="rect">
            <a:avLst/>
          </a:prstGeom>
          <a:noFill/>
          <a:ln w="9525">
            <a:noFill/>
            <a:miter lim="800000"/>
            <a:headEnd/>
            <a:tailEnd/>
          </a:ln>
        </p:spPr>
      </p:pic>
    </p:spTree>
    <p:extLst>
      <p:ext uri="{BB962C8B-B14F-4D97-AF65-F5344CB8AC3E}">
        <p14:creationId xmlns:p14="http://schemas.microsoft.com/office/powerpoint/2010/main" val="1595453047"/>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hf hdr="0" dt="0"/>
  <p:txStyles>
    <p:titleStyle>
      <a:lvl1pPr algn="l" rtl="0" eaLnBrk="0" fontAlgn="base" hangingPunct="0">
        <a:spcBef>
          <a:spcPct val="0"/>
        </a:spcBef>
        <a:spcAft>
          <a:spcPct val="0"/>
        </a:spcAft>
        <a:defRPr kumimoji="1" sz="2968">
          <a:solidFill>
            <a:srgbClr val="4087C8"/>
          </a:solidFill>
          <a:latin typeface="+mj-lt"/>
          <a:ea typeface="+mj-ea"/>
          <a:cs typeface="+mj-cs"/>
        </a:defRPr>
      </a:lvl1pPr>
      <a:lvl2pPr algn="l" rtl="0" eaLnBrk="0" fontAlgn="base" hangingPunct="0">
        <a:spcBef>
          <a:spcPct val="0"/>
        </a:spcBef>
        <a:spcAft>
          <a:spcPct val="0"/>
        </a:spcAft>
        <a:defRPr kumimoji="1" sz="2968">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968">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968">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968">
          <a:solidFill>
            <a:srgbClr val="4087C8"/>
          </a:solidFill>
          <a:latin typeface="HGP創英角ｺﾞｼｯｸUB" pitchFamily="50" charset="-128"/>
          <a:ea typeface="HGP創英角ｺﾞｼｯｸUB" pitchFamily="50" charset="-128"/>
        </a:defRPr>
      </a:lvl5pPr>
      <a:lvl6pPr marL="483125" algn="l" rtl="0" fontAlgn="base">
        <a:spcBef>
          <a:spcPct val="0"/>
        </a:spcBef>
        <a:spcAft>
          <a:spcPct val="0"/>
        </a:spcAft>
        <a:defRPr kumimoji="1" sz="2968">
          <a:solidFill>
            <a:srgbClr val="4087C8"/>
          </a:solidFill>
          <a:latin typeface="HGP創英角ｺﾞｼｯｸUB" pitchFamily="50" charset="-128"/>
          <a:ea typeface="HGP創英角ｺﾞｼｯｸUB" pitchFamily="50" charset="-128"/>
        </a:defRPr>
      </a:lvl6pPr>
      <a:lvl7pPr marL="966250" algn="l" rtl="0" fontAlgn="base">
        <a:spcBef>
          <a:spcPct val="0"/>
        </a:spcBef>
        <a:spcAft>
          <a:spcPct val="0"/>
        </a:spcAft>
        <a:defRPr kumimoji="1" sz="2968">
          <a:solidFill>
            <a:srgbClr val="4087C8"/>
          </a:solidFill>
          <a:latin typeface="HGP創英角ｺﾞｼｯｸUB" pitchFamily="50" charset="-128"/>
          <a:ea typeface="HGP創英角ｺﾞｼｯｸUB" pitchFamily="50" charset="-128"/>
        </a:defRPr>
      </a:lvl7pPr>
      <a:lvl8pPr marL="1449374" algn="l" rtl="0" fontAlgn="base">
        <a:spcBef>
          <a:spcPct val="0"/>
        </a:spcBef>
        <a:spcAft>
          <a:spcPct val="0"/>
        </a:spcAft>
        <a:defRPr kumimoji="1" sz="2968">
          <a:solidFill>
            <a:srgbClr val="4087C8"/>
          </a:solidFill>
          <a:latin typeface="HGP創英角ｺﾞｼｯｸUB" pitchFamily="50" charset="-128"/>
          <a:ea typeface="HGP創英角ｺﾞｼｯｸUB" pitchFamily="50" charset="-128"/>
        </a:defRPr>
      </a:lvl8pPr>
      <a:lvl9pPr marL="1932498" algn="l" rtl="0" fontAlgn="base">
        <a:spcBef>
          <a:spcPct val="0"/>
        </a:spcBef>
        <a:spcAft>
          <a:spcPct val="0"/>
        </a:spcAft>
        <a:defRPr kumimoji="1" sz="2968">
          <a:solidFill>
            <a:srgbClr val="4087C8"/>
          </a:solidFill>
          <a:latin typeface="HGP創英角ｺﾞｼｯｸUB" pitchFamily="50" charset="-128"/>
          <a:ea typeface="HGP創英角ｺﾞｼｯｸUB" pitchFamily="50" charset="-128"/>
        </a:defRPr>
      </a:lvl9pPr>
    </p:titleStyle>
    <p:bodyStyle>
      <a:lvl1pPr marL="361704" indent="-361704" algn="l" rtl="0" eaLnBrk="0" fontAlgn="base" hangingPunct="0">
        <a:spcBef>
          <a:spcPct val="20000"/>
        </a:spcBef>
        <a:spcAft>
          <a:spcPct val="0"/>
        </a:spcAft>
        <a:buChar char="•"/>
        <a:defRPr kumimoji="1" sz="3350">
          <a:solidFill>
            <a:schemeClr val="tx1"/>
          </a:solidFill>
          <a:latin typeface="+mn-lt"/>
          <a:ea typeface="+mn-ea"/>
          <a:cs typeface="+mn-cs"/>
        </a:defRPr>
      </a:lvl1pPr>
      <a:lvl2pPr marL="784199" indent="-300913" algn="l" rtl="0" eaLnBrk="0" fontAlgn="base" hangingPunct="0">
        <a:spcBef>
          <a:spcPct val="20000"/>
        </a:spcBef>
        <a:spcAft>
          <a:spcPct val="0"/>
        </a:spcAft>
        <a:buChar char="–"/>
        <a:defRPr kumimoji="1" sz="2968">
          <a:solidFill>
            <a:schemeClr val="tx1"/>
          </a:solidFill>
          <a:latin typeface="+mn-lt"/>
          <a:ea typeface="+mn-ea"/>
        </a:defRPr>
      </a:lvl2pPr>
      <a:lvl3pPr marL="1206693" indent="-240123" algn="l" rtl="0" eaLnBrk="0" fontAlgn="base" hangingPunct="0">
        <a:spcBef>
          <a:spcPct val="20000"/>
        </a:spcBef>
        <a:spcAft>
          <a:spcPct val="0"/>
        </a:spcAft>
        <a:buChar char="•"/>
        <a:defRPr kumimoji="1" sz="2489">
          <a:solidFill>
            <a:schemeClr val="tx1"/>
          </a:solidFill>
          <a:latin typeface="+mn-lt"/>
          <a:ea typeface="+mn-ea"/>
        </a:defRPr>
      </a:lvl3pPr>
      <a:lvl4pPr marL="1689978" indent="-240123" algn="l" rtl="0" eaLnBrk="0" fontAlgn="base" hangingPunct="0">
        <a:spcBef>
          <a:spcPct val="20000"/>
        </a:spcBef>
        <a:spcAft>
          <a:spcPct val="0"/>
        </a:spcAft>
        <a:buChar char="–"/>
        <a:defRPr kumimoji="1" sz="2106">
          <a:solidFill>
            <a:schemeClr val="tx1"/>
          </a:solidFill>
          <a:latin typeface="+mn-lt"/>
          <a:ea typeface="+mn-ea"/>
        </a:defRPr>
      </a:lvl4pPr>
      <a:lvl5pPr marL="2173263" indent="-240123" algn="l" rtl="0" eaLnBrk="0" fontAlgn="base" hangingPunct="0">
        <a:spcBef>
          <a:spcPct val="20000"/>
        </a:spcBef>
        <a:spcAft>
          <a:spcPct val="0"/>
        </a:spcAft>
        <a:buChar char="»"/>
        <a:defRPr kumimoji="1" sz="2106">
          <a:solidFill>
            <a:schemeClr val="tx1"/>
          </a:solidFill>
          <a:latin typeface="+mn-lt"/>
          <a:ea typeface="+mn-ea"/>
        </a:defRPr>
      </a:lvl5pPr>
      <a:lvl6pPr marL="2657186" indent="-241562" algn="l" rtl="0" fontAlgn="base">
        <a:spcBef>
          <a:spcPct val="20000"/>
        </a:spcBef>
        <a:spcAft>
          <a:spcPct val="0"/>
        </a:spcAft>
        <a:buChar char="»"/>
        <a:defRPr kumimoji="1" sz="2106">
          <a:solidFill>
            <a:schemeClr val="tx1"/>
          </a:solidFill>
          <a:latin typeface="+mn-lt"/>
          <a:ea typeface="+mn-ea"/>
        </a:defRPr>
      </a:lvl6pPr>
      <a:lvl7pPr marL="3140311" indent="-241562" algn="l" rtl="0" fontAlgn="base">
        <a:spcBef>
          <a:spcPct val="20000"/>
        </a:spcBef>
        <a:spcAft>
          <a:spcPct val="0"/>
        </a:spcAft>
        <a:buChar char="»"/>
        <a:defRPr kumimoji="1" sz="2106">
          <a:solidFill>
            <a:schemeClr val="tx1"/>
          </a:solidFill>
          <a:latin typeface="+mn-lt"/>
          <a:ea typeface="+mn-ea"/>
        </a:defRPr>
      </a:lvl7pPr>
      <a:lvl8pPr marL="3623435" indent="-241562" algn="l" rtl="0" fontAlgn="base">
        <a:spcBef>
          <a:spcPct val="20000"/>
        </a:spcBef>
        <a:spcAft>
          <a:spcPct val="0"/>
        </a:spcAft>
        <a:buChar char="»"/>
        <a:defRPr kumimoji="1" sz="2106">
          <a:solidFill>
            <a:schemeClr val="tx1"/>
          </a:solidFill>
          <a:latin typeface="+mn-lt"/>
          <a:ea typeface="+mn-ea"/>
        </a:defRPr>
      </a:lvl8pPr>
      <a:lvl9pPr marL="4106561" indent="-241562" algn="l" rtl="0" fontAlgn="base">
        <a:spcBef>
          <a:spcPct val="20000"/>
        </a:spcBef>
        <a:spcAft>
          <a:spcPct val="0"/>
        </a:spcAft>
        <a:buChar char="»"/>
        <a:defRPr kumimoji="1" sz="2106">
          <a:solidFill>
            <a:schemeClr val="tx1"/>
          </a:solidFill>
          <a:latin typeface="+mn-lt"/>
          <a:ea typeface="+mn-ea"/>
        </a:defRPr>
      </a:lvl9pPr>
    </p:bodyStyle>
    <p:otherStyle>
      <a:defPPr>
        <a:defRPr lang="ja-JP"/>
      </a:defPPr>
      <a:lvl1pPr marL="0" algn="l" defTabSz="966250" rtl="0" eaLnBrk="1" latinLnBrk="0" hangingPunct="1">
        <a:defRPr kumimoji="1" sz="1915" kern="1200">
          <a:solidFill>
            <a:schemeClr val="tx1"/>
          </a:solidFill>
          <a:latin typeface="+mn-lt"/>
          <a:ea typeface="+mn-ea"/>
          <a:cs typeface="+mn-cs"/>
        </a:defRPr>
      </a:lvl1pPr>
      <a:lvl2pPr marL="483125" algn="l" defTabSz="966250" rtl="0" eaLnBrk="1" latinLnBrk="0" hangingPunct="1">
        <a:defRPr kumimoji="1" sz="1915" kern="1200">
          <a:solidFill>
            <a:schemeClr val="tx1"/>
          </a:solidFill>
          <a:latin typeface="+mn-lt"/>
          <a:ea typeface="+mn-ea"/>
          <a:cs typeface="+mn-cs"/>
        </a:defRPr>
      </a:lvl2pPr>
      <a:lvl3pPr marL="966250" algn="l" defTabSz="966250" rtl="0" eaLnBrk="1" latinLnBrk="0" hangingPunct="1">
        <a:defRPr kumimoji="1" sz="1915" kern="1200">
          <a:solidFill>
            <a:schemeClr val="tx1"/>
          </a:solidFill>
          <a:latin typeface="+mn-lt"/>
          <a:ea typeface="+mn-ea"/>
          <a:cs typeface="+mn-cs"/>
        </a:defRPr>
      </a:lvl3pPr>
      <a:lvl4pPr marL="1449374" algn="l" defTabSz="966250" rtl="0" eaLnBrk="1" latinLnBrk="0" hangingPunct="1">
        <a:defRPr kumimoji="1" sz="1915" kern="1200">
          <a:solidFill>
            <a:schemeClr val="tx1"/>
          </a:solidFill>
          <a:latin typeface="+mn-lt"/>
          <a:ea typeface="+mn-ea"/>
          <a:cs typeface="+mn-cs"/>
        </a:defRPr>
      </a:lvl4pPr>
      <a:lvl5pPr marL="1932498" algn="l" defTabSz="966250" rtl="0" eaLnBrk="1" latinLnBrk="0" hangingPunct="1">
        <a:defRPr kumimoji="1" sz="1915" kern="1200">
          <a:solidFill>
            <a:schemeClr val="tx1"/>
          </a:solidFill>
          <a:latin typeface="+mn-lt"/>
          <a:ea typeface="+mn-ea"/>
          <a:cs typeface="+mn-cs"/>
        </a:defRPr>
      </a:lvl5pPr>
      <a:lvl6pPr marL="2415624" algn="l" defTabSz="966250" rtl="0" eaLnBrk="1" latinLnBrk="0" hangingPunct="1">
        <a:defRPr kumimoji="1" sz="1915" kern="1200">
          <a:solidFill>
            <a:schemeClr val="tx1"/>
          </a:solidFill>
          <a:latin typeface="+mn-lt"/>
          <a:ea typeface="+mn-ea"/>
          <a:cs typeface="+mn-cs"/>
        </a:defRPr>
      </a:lvl6pPr>
      <a:lvl7pPr marL="2898748" algn="l" defTabSz="966250" rtl="0" eaLnBrk="1" latinLnBrk="0" hangingPunct="1">
        <a:defRPr kumimoji="1" sz="1915" kern="1200">
          <a:solidFill>
            <a:schemeClr val="tx1"/>
          </a:solidFill>
          <a:latin typeface="+mn-lt"/>
          <a:ea typeface="+mn-ea"/>
          <a:cs typeface="+mn-cs"/>
        </a:defRPr>
      </a:lvl7pPr>
      <a:lvl8pPr marL="3381874" algn="l" defTabSz="966250" rtl="0" eaLnBrk="1" latinLnBrk="0" hangingPunct="1">
        <a:defRPr kumimoji="1" sz="1915" kern="1200">
          <a:solidFill>
            <a:schemeClr val="tx1"/>
          </a:solidFill>
          <a:latin typeface="+mn-lt"/>
          <a:ea typeface="+mn-ea"/>
          <a:cs typeface="+mn-cs"/>
        </a:defRPr>
      </a:lvl8pPr>
      <a:lvl9pPr marL="3864998" algn="l" defTabSz="966250" rtl="0" eaLnBrk="1" latinLnBrk="0" hangingPunct="1">
        <a:defRPr kumimoji="1" sz="191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3"/>
          <p:cNvSpPr>
            <a:spLocks noGrp="1" noChangeArrowheads="1"/>
          </p:cNvSpPr>
          <p:nvPr>
            <p:ph type="body" idx="1"/>
          </p:nvPr>
        </p:nvSpPr>
        <p:spPr>
          <a:xfrm>
            <a:off x="495221" y="1810599"/>
            <a:ext cx="8913972" cy="512104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4"/>
          <p:cNvSpPr>
            <a:spLocks noGrp="1" noChangeArrowheads="1"/>
          </p:cNvSpPr>
          <p:nvPr>
            <p:ph type="dt" sz="half" idx="2"/>
          </p:nvPr>
        </p:nvSpPr>
        <p:spPr>
          <a:xfrm>
            <a:off x="495221" y="706635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50" charset="-128"/>
              </a:defRPr>
            </a:lvl1pPr>
          </a:lstStyle>
          <a:p>
            <a:pPr>
              <a:defRPr/>
            </a:pPr>
            <a:endParaRPr lang="en-US" altLang="ja-JP" dirty="0"/>
          </a:p>
        </p:txBody>
      </p:sp>
      <p:sp>
        <p:nvSpPr>
          <p:cNvPr id="1027" name="Rectangle 5"/>
          <p:cNvSpPr>
            <a:spLocks noGrp="1" noChangeArrowheads="1"/>
          </p:cNvSpPr>
          <p:nvPr>
            <p:ph type="ftr" sz="quarter" idx="3"/>
          </p:nvPr>
        </p:nvSpPr>
        <p:spPr>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50" charset="-128"/>
              </a:defRPr>
            </a:lvl1pPr>
          </a:lstStyle>
          <a:p>
            <a:pPr>
              <a:defRPr/>
            </a:pPr>
            <a:endParaRPr lang="en-US" altLang="ja-JP" dirty="0"/>
          </a:p>
        </p:txBody>
      </p:sp>
      <p:sp>
        <p:nvSpPr>
          <p:cNvPr id="1028" name="Rectangle 6"/>
          <p:cNvSpPr>
            <a:spLocks noGrp="1" noChangeArrowheads="1"/>
          </p:cNvSpPr>
          <p:nvPr>
            <p:ph type="sldNum" sz="quarter" idx="4"/>
          </p:nvPr>
        </p:nvSpPr>
        <p:spPr>
          <a:xfrm>
            <a:off x="7593383" y="705737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50" charset="-128"/>
              </a:defRPr>
            </a:lvl1pPr>
          </a:lstStyle>
          <a:p>
            <a:pPr>
              <a:defRPr/>
            </a:pPr>
            <a:fld id="{FFDCE21E-3BF4-4A13-BE4A-B95BE9787BE2}" type="slidenum">
              <a:rPr lang="en-US" altLang="ja-JP"/>
              <a:pPr>
                <a:defRPr/>
              </a:pPr>
              <a:t>‹#›</a:t>
            </a:fld>
            <a:endParaRPr lang="en-US" altLang="ja-JP" dirty="0"/>
          </a:p>
        </p:txBody>
      </p:sp>
      <p:grpSp>
        <p:nvGrpSpPr>
          <p:cNvPr id="1029" name="Group 18"/>
          <p:cNvGrpSpPr/>
          <p:nvPr userDrawn="1"/>
        </p:nvGrpSpPr>
        <p:grpSpPr>
          <a:xfrm>
            <a:off x="0" y="0"/>
            <a:ext cx="9904413" cy="617902"/>
            <a:chOff x="0" y="0"/>
            <a:chExt cx="5760" cy="344"/>
          </a:xfrm>
        </p:grpSpPr>
        <p:pic>
          <p:nvPicPr>
            <p:cNvPr id="1030" name="Picture 9" descr="mlit_top"/>
            <p:cNvPicPr>
              <a:picLocks noChangeAspect="1" noChangeArrowheads="1"/>
            </p:cNvPicPr>
            <p:nvPr userDrawn="1"/>
          </p:nvPicPr>
          <p:blipFill>
            <a:blip r:embed="rId13"/>
            <a:srcRect t="26801" b="65286"/>
            <a:stretch>
              <a:fillRect/>
            </a:stretch>
          </p:blipFill>
          <p:spPr>
            <a:xfrm>
              <a:off x="0" y="300"/>
              <a:ext cx="5760" cy="44"/>
            </a:xfrm>
            <a:prstGeom prst="rect">
              <a:avLst/>
            </a:prstGeom>
            <a:noFill/>
            <a:ln>
              <a:noFill/>
            </a:ln>
          </p:spPr>
        </p:pic>
        <p:grpSp>
          <p:nvGrpSpPr>
            <p:cNvPr id="1031" name="Group 17"/>
            <p:cNvGrpSpPr/>
            <p:nvPr userDrawn="1"/>
          </p:nvGrpSpPr>
          <p:grpSpPr>
            <a:xfrm>
              <a:off x="0" y="0"/>
              <a:ext cx="5760" cy="318"/>
              <a:chOff x="0" y="0"/>
              <a:chExt cx="5760" cy="318"/>
            </a:xfrm>
          </p:grpSpPr>
          <p:pic>
            <p:nvPicPr>
              <p:cNvPr id="1032" name="Picture 11" descr="mlit_top"/>
              <p:cNvPicPr>
                <a:picLocks noChangeAspect="1" noChangeArrowheads="1"/>
              </p:cNvPicPr>
              <p:nvPr userDrawn="1"/>
            </p:nvPicPr>
            <p:blipFill>
              <a:blip r:embed="rId14"/>
              <a:srcRect r="66945" b="42805"/>
              <a:stretch>
                <a:fillRect/>
              </a:stretch>
            </p:blipFill>
            <p:spPr>
              <a:xfrm>
                <a:off x="3856" y="0"/>
                <a:ext cx="1904" cy="318"/>
              </a:xfrm>
              <a:prstGeom prst="rect">
                <a:avLst/>
              </a:prstGeom>
              <a:noFill/>
              <a:ln>
                <a:noFill/>
              </a:ln>
            </p:spPr>
          </p:pic>
          <p:pic>
            <p:nvPicPr>
              <p:cNvPr id="1033" name="Picture 16" descr="mlit_top"/>
              <p:cNvPicPr>
                <a:picLocks noChangeAspect="1" noChangeArrowheads="1"/>
              </p:cNvPicPr>
              <p:nvPr userDrawn="1"/>
            </p:nvPicPr>
            <p:blipFill>
              <a:blip r:embed="rId15"/>
              <a:srcRect l="50000" b="42805"/>
              <a:stretch>
                <a:fillRect/>
              </a:stretch>
            </p:blipFill>
            <p:spPr>
              <a:xfrm>
                <a:off x="1043" y="0"/>
                <a:ext cx="2880" cy="318"/>
              </a:xfrm>
              <a:prstGeom prst="rect">
                <a:avLst/>
              </a:prstGeom>
              <a:noFill/>
              <a:ln>
                <a:noFill/>
              </a:ln>
            </p:spPr>
          </p:pic>
          <p:pic>
            <p:nvPicPr>
              <p:cNvPr id="1034" name="Picture 10" descr="mlit_top"/>
              <p:cNvPicPr>
                <a:picLocks noChangeAspect="1" noChangeArrowheads="1"/>
              </p:cNvPicPr>
              <p:nvPr userDrawn="1"/>
            </p:nvPicPr>
            <p:blipFill>
              <a:blip r:embed="rId15"/>
              <a:srcRect l="68906" b="42805"/>
              <a:stretch>
                <a:fillRect/>
              </a:stretch>
            </p:blipFill>
            <p:spPr>
              <a:xfrm>
                <a:off x="0" y="0"/>
                <a:ext cx="1791" cy="318"/>
              </a:xfrm>
              <a:prstGeom prst="rect">
                <a:avLst/>
              </a:prstGeom>
              <a:noFill/>
              <a:ln>
                <a:noFill/>
              </a:ln>
            </p:spPr>
          </p:pic>
        </p:grpSp>
      </p:grpSp>
      <p:sp>
        <p:nvSpPr>
          <p:cNvPr id="1035" name="Rectangle 2"/>
          <p:cNvSpPr>
            <a:spLocks noGrp="1" noChangeArrowheads="1"/>
          </p:cNvSpPr>
          <p:nvPr>
            <p:ph type="title"/>
          </p:nvPr>
        </p:nvSpPr>
        <p:spPr>
          <a:xfrm>
            <a:off x="1" y="0"/>
            <a:ext cx="5342537" cy="538868"/>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36" name="Picture 14"/>
          <p:cNvPicPr>
            <a:picLocks noChangeAspect="1" noChangeArrowheads="1"/>
          </p:cNvPicPr>
          <p:nvPr userDrawn="1"/>
        </p:nvPicPr>
        <p:blipFill>
          <a:blip r:embed="rId16"/>
          <a:srcRect t="3670"/>
          <a:stretch>
            <a:fillRect/>
          </a:stretch>
        </p:blipFill>
        <p:spPr>
          <a:xfrm>
            <a:off x="8224447" y="2"/>
            <a:ext cx="1679967" cy="377208"/>
          </a:xfrm>
          <a:prstGeom prst="rect">
            <a:avLst/>
          </a:prstGeom>
          <a:noFill/>
          <a:ln>
            <a:noFill/>
          </a:ln>
        </p:spPr>
      </p:pic>
    </p:spTree>
    <p:extLst>
      <p:ext uri="{BB962C8B-B14F-4D97-AF65-F5344CB8AC3E}">
        <p14:creationId xmlns:p14="http://schemas.microsoft.com/office/powerpoint/2010/main" val="1053897296"/>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hf hdr="0" dt="0"/>
  <p:txStyles>
    <p:titleStyle>
      <a:lvl1pPr algn="l" rtl="0" eaLnBrk="1" fontAlgn="base" hangingPunct="1">
        <a:spcBef>
          <a:spcPct val="0"/>
        </a:spcBef>
        <a:spcAft>
          <a:spcPct val="0"/>
        </a:spcAft>
        <a:defRPr kumimoji="1" sz="2799">
          <a:solidFill>
            <a:srgbClr val="4087C8"/>
          </a:solidFill>
          <a:latin typeface="+mj-lt"/>
          <a:ea typeface="+mj-ea"/>
          <a:cs typeface="+mj-cs"/>
        </a:defRPr>
      </a:lvl1pPr>
      <a:lvl2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5pPr>
      <a:lvl6pPr marL="457109"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6pPr>
      <a:lvl7pPr marL="914217"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7pPr>
      <a:lvl8pPr marL="1371326"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8pPr>
      <a:lvl9pPr marL="1828434"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9pPr>
    </p:titleStyle>
    <p:bodyStyle>
      <a:lvl1pPr marL="342831" indent="-342831" algn="l" rtl="0" eaLnBrk="1" fontAlgn="base" hangingPunct="1">
        <a:spcBef>
          <a:spcPct val="20000"/>
        </a:spcBef>
        <a:spcAft>
          <a:spcPct val="0"/>
        </a:spcAft>
        <a:buChar char="•"/>
        <a:defRPr kumimoji="1" sz="3199">
          <a:solidFill>
            <a:schemeClr val="tx1"/>
          </a:solidFill>
          <a:latin typeface="+mn-lt"/>
          <a:ea typeface="+mn-ea"/>
          <a:cs typeface="+mn-cs"/>
        </a:defRPr>
      </a:lvl1pPr>
      <a:lvl2pPr marL="742801" indent="-285693" algn="l" rtl="0" eaLnBrk="1" fontAlgn="base" hangingPunct="1">
        <a:spcBef>
          <a:spcPct val="20000"/>
        </a:spcBef>
        <a:spcAft>
          <a:spcPct val="0"/>
        </a:spcAft>
        <a:buChar char="–"/>
        <a:defRPr kumimoji="1" sz="2799">
          <a:solidFill>
            <a:schemeClr val="tx1"/>
          </a:solidFill>
          <a:latin typeface="+mn-lt"/>
          <a:ea typeface="+mn-ea"/>
        </a:defRPr>
      </a:lvl2pPr>
      <a:lvl3pPr marL="1142771" indent="-228554" algn="l" rtl="0" eaLnBrk="1" fontAlgn="base" hangingPunct="1">
        <a:spcBef>
          <a:spcPct val="20000"/>
        </a:spcBef>
        <a:spcAft>
          <a:spcPct val="0"/>
        </a:spcAft>
        <a:buChar char="•"/>
        <a:defRPr kumimoji="1" sz="2400">
          <a:solidFill>
            <a:schemeClr val="tx1"/>
          </a:solidFill>
          <a:latin typeface="+mn-lt"/>
          <a:ea typeface="+mn-ea"/>
        </a:defRPr>
      </a:lvl3pPr>
      <a:lvl4pPr marL="1599880" indent="-228554" algn="l" rtl="0" eaLnBrk="1" fontAlgn="base" hangingPunct="1">
        <a:spcBef>
          <a:spcPct val="20000"/>
        </a:spcBef>
        <a:spcAft>
          <a:spcPct val="0"/>
        </a:spcAft>
        <a:buChar char="–"/>
        <a:defRPr kumimoji="1" sz="2000">
          <a:solidFill>
            <a:schemeClr val="tx1"/>
          </a:solidFill>
          <a:latin typeface="+mn-lt"/>
          <a:ea typeface="+mn-ea"/>
        </a:defRPr>
      </a:lvl4pPr>
      <a:lvl5pPr marL="2056989" indent="-228554" algn="l" rtl="0" eaLnBrk="1" fontAlgn="base" hangingPunct="1">
        <a:spcBef>
          <a:spcPct val="20000"/>
        </a:spcBef>
        <a:spcAft>
          <a:spcPct val="0"/>
        </a:spcAft>
        <a:buChar char="»"/>
        <a:defRPr kumimoji="1" sz="2000">
          <a:solidFill>
            <a:schemeClr val="tx1"/>
          </a:solidFill>
          <a:latin typeface="+mn-lt"/>
          <a:ea typeface="+mn-ea"/>
        </a:defRPr>
      </a:lvl5pPr>
      <a:lvl6pPr marL="2514097" indent="-228554" algn="l" rtl="0" eaLnBrk="1" fontAlgn="base" hangingPunct="1">
        <a:spcBef>
          <a:spcPct val="20000"/>
        </a:spcBef>
        <a:spcAft>
          <a:spcPct val="0"/>
        </a:spcAft>
        <a:buChar char="»"/>
        <a:defRPr kumimoji="1" sz="2000">
          <a:solidFill>
            <a:schemeClr val="tx1"/>
          </a:solidFill>
          <a:latin typeface="+mn-lt"/>
          <a:ea typeface="+mn-ea"/>
        </a:defRPr>
      </a:lvl6pPr>
      <a:lvl7pPr marL="2971206" indent="-228554" algn="l" rtl="0" eaLnBrk="1" fontAlgn="base" hangingPunct="1">
        <a:spcBef>
          <a:spcPct val="20000"/>
        </a:spcBef>
        <a:spcAft>
          <a:spcPct val="0"/>
        </a:spcAft>
        <a:buChar char="»"/>
        <a:defRPr kumimoji="1" sz="2000">
          <a:solidFill>
            <a:schemeClr val="tx1"/>
          </a:solidFill>
          <a:latin typeface="+mn-lt"/>
          <a:ea typeface="+mn-ea"/>
        </a:defRPr>
      </a:lvl7pPr>
      <a:lvl8pPr marL="3428314" indent="-228554" algn="l" rtl="0" eaLnBrk="1" fontAlgn="base" hangingPunct="1">
        <a:spcBef>
          <a:spcPct val="20000"/>
        </a:spcBef>
        <a:spcAft>
          <a:spcPct val="0"/>
        </a:spcAft>
        <a:buChar char="»"/>
        <a:defRPr kumimoji="1" sz="2000">
          <a:solidFill>
            <a:schemeClr val="tx1"/>
          </a:solidFill>
          <a:latin typeface="+mn-lt"/>
          <a:ea typeface="+mn-ea"/>
        </a:defRPr>
      </a:lvl8pPr>
      <a:lvl9pPr marL="3885423" indent="-228554"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217" rtl="0" eaLnBrk="1" latinLnBrk="0" hangingPunct="1">
        <a:defRPr kumimoji="1" sz="1800" kern="1200">
          <a:solidFill>
            <a:schemeClr val="tx1"/>
          </a:solidFill>
          <a:latin typeface="+mn-lt"/>
          <a:ea typeface="+mn-ea"/>
          <a:cs typeface="+mn-cs"/>
        </a:defRPr>
      </a:lvl1pPr>
      <a:lvl2pPr marL="457109" algn="l" defTabSz="914217" rtl="0" eaLnBrk="1" latinLnBrk="0" hangingPunct="1">
        <a:defRPr kumimoji="1" sz="1800" kern="1200">
          <a:solidFill>
            <a:schemeClr val="tx1"/>
          </a:solidFill>
          <a:latin typeface="+mn-lt"/>
          <a:ea typeface="+mn-ea"/>
          <a:cs typeface="+mn-cs"/>
        </a:defRPr>
      </a:lvl2pPr>
      <a:lvl3pPr marL="914217" algn="l" defTabSz="914217" rtl="0" eaLnBrk="1" latinLnBrk="0" hangingPunct="1">
        <a:defRPr kumimoji="1" sz="1800" kern="1200">
          <a:solidFill>
            <a:schemeClr val="tx1"/>
          </a:solidFill>
          <a:latin typeface="+mn-lt"/>
          <a:ea typeface="+mn-ea"/>
          <a:cs typeface="+mn-cs"/>
        </a:defRPr>
      </a:lvl3pPr>
      <a:lvl4pPr marL="1371326" algn="l" defTabSz="914217" rtl="0" eaLnBrk="1" latinLnBrk="0" hangingPunct="1">
        <a:defRPr kumimoji="1" sz="1800" kern="1200">
          <a:solidFill>
            <a:schemeClr val="tx1"/>
          </a:solidFill>
          <a:latin typeface="+mn-lt"/>
          <a:ea typeface="+mn-ea"/>
          <a:cs typeface="+mn-cs"/>
        </a:defRPr>
      </a:lvl4pPr>
      <a:lvl5pPr marL="1828434" algn="l" defTabSz="914217" rtl="0" eaLnBrk="1" latinLnBrk="0" hangingPunct="1">
        <a:defRPr kumimoji="1" sz="1800" kern="1200">
          <a:solidFill>
            <a:schemeClr val="tx1"/>
          </a:solidFill>
          <a:latin typeface="+mn-lt"/>
          <a:ea typeface="+mn-ea"/>
          <a:cs typeface="+mn-cs"/>
        </a:defRPr>
      </a:lvl5pPr>
      <a:lvl6pPr marL="2285543" algn="l" defTabSz="914217" rtl="0" eaLnBrk="1" latinLnBrk="0" hangingPunct="1">
        <a:defRPr kumimoji="1" sz="1800" kern="1200">
          <a:solidFill>
            <a:schemeClr val="tx1"/>
          </a:solidFill>
          <a:latin typeface="+mn-lt"/>
          <a:ea typeface="+mn-ea"/>
          <a:cs typeface="+mn-cs"/>
        </a:defRPr>
      </a:lvl6pPr>
      <a:lvl7pPr marL="2742651" algn="l" defTabSz="914217" rtl="0" eaLnBrk="1" latinLnBrk="0" hangingPunct="1">
        <a:defRPr kumimoji="1" sz="1800" kern="1200">
          <a:solidFill>
            <a:schemeClr val="tx1"/>
          </a:solidFill>
          <a:latin typeface="+mn-lt"/>
          <a:ea typeface="+mn-ea"/>
          <a:cs typeface="+mn-cs"/>
        </a:defRPr>
      </a:lvl7pPr>
      <a:lvl8pPr marL="3199760" algn="l" defTabSz="914217" rtl="0" eaLnBrk="1" latinLnBrk="0" hangingPunct="1">
        <a:defRPr kumimoji="1" sz="1800" kern="1200">
          <a:solidFill>
            <a:schemeClr val="tx1"/>
          </a:solidFill>
          <a:latin typeface="+mn-lt"/>
          <a:ea typeface="+mn-ea"/>
          <a:cs typeface="+mn-cs"/>
        </a:defRPr>
      </a:lvl8pPr>
      <a:lvl9pPr marL="3656868" algn="l" defTabSz="914217"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495221" y="1810601"/>
            <a:ext cx="8913972" cy="512104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8" name="Rectangle 4"/>
          <p:cNvSpPr>
            <a:spLocks noGrp="1" noChangeArrowheads="1"/>
          </p:cNvSpPr>
          <p:nvPr>
            <p:ph type="dt" sz="half" idx="2"/>
          </p:nvPr>
        </p:nvSpPr>
        <p:spPr bwMode="auto">
          <a:xfrm>
            <a:off x="495221" y="706635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51"/>
            </a:lvl1pPr>
          </a:lstStyle>
          <a:p>
            <a:endParaRPr lang="en-US" altLang="ja-JP">
              <a:solidFill>
                <a:srgbClr val="000000"/>
              </a:solidFill>
              <a:ea typeface="ＭＳ Ｐゴシック" charset="-128"/>
            </a:endParaRPr>
          </a:p>
        </p:txBody>
      </p:sp>
      <p:sp>
        <p:nvSpPr>
          <p:cNvPr id="1029" name="Rectangle 5"/>
          <p:cNvSpPr>
            <a:spLocks noGrp="1" noChangeArrowheads="1"/>
          </p:cNvSpPr>
          <p:nvPr>
            <p:ph type="ftr" sz="quarter" idx="3"/>
          </p:nvPr>
        </p:nvSpPr>
        <p:spPr bwMode="auto">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51"/>
            </a:lvl1pPr>
          </a:lstStyle>
          <a:p>
            <a:endParaRPr lang="en-US" altLang="ja-JP">
              <a:solidFill>
                <a:srgbClr val="000000"/>
              </a:solidFill>
              <a:ea typeface="ＭＳ Ｐゴシック" charset="-128"/>
            </a:endParaRPr>
          </a:p>
        </p:txBody>
      </p:sp>
      <p:sp>
        <p:nvSpPr>
          <p:cNvPr id="1030" name="Rectangle 6"/>
          <p:cNvSpPr>
            <a:spLocks noGrp="1" noChangeArrowheads="1"/>
          </p:cNvSpPr>
          <p:nvPr>
            <p:ph type="sldNum" sz="quarter" idx="4"/>
          </p:nvPr>
        </p:nvSpPr>
        <p:spPr bwMode="auto">
          <a:xfrm>
            <a:off x="7593383" y="7229414"/>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51"/>
            </a:lvl1pPr>
          </a:lstStyle>
          <a:p>
            <a:fld id="{57950FF0-37FE-4981-894D-F0C11BFC87C5}" type="slidenum">
              <a:rPr lang="en-US" altLang="ja-JP">
                <a:solidFill>
                  <a:srgbClr val="000000"/>
                </a:solidFill>
                <a:ea typeface="ＭＳ Ｐゴシック" charset="-128"/>
              </a:rPr>
              <a:pPr/>
              <a:t>‹#›</a:t>
            </a:fld>
            <a:endParaRPr lang="en-US" altLang="ja-JP">
              <a:solidFill>
                <a:srgbClr val="000000"/>
              </a:solidFill>
              <a:ea typeface="ＭＳ Ｐゴシック" charset="-128"/>
            </a:endParaRPr>
          </a:p>
        </p:txBody>
      </p:sp>
      <p:grpSp>
        <p:nvGrpSpPr>
          <p:cNvPr id="1042" name="Group 18"/>
          <p:cNvGrpSpPr>
            <a:grpSpLocks/>
          </p:cNvGrpSpPr>
          <p:nvPr userDrawn="1"/>
        </p:nvGrpSpPr>
        <p:grpSpPr bwMode="auto">
          <a:xfrm>
            <a:off x="0" y="0"/>
            <a:ext cx="9904413" cy="617902"/>
            <a:chOff x="0" y="0"/>
            <a:chExt cx="5760" cy="344"/>
          </a:xfrm>
        </p:grpSpPr>
        <p:pic>
          <p:nvPicPr>
            <p:cNvPr id="1033" name="Picture 9" descr="mlit_top"/>
            <p:cNvPicPr>
              <a:picLocks noChangeAspect="1" noChangeArrowheads="1"/>
            </p:cNvPicPr>
            <p:nvPr userDrawn="1"/>
          </p:nvPicPr>
          <p:blipFill>
            <a:blip r:embed="rId13" cstate="print"/>
            <a:srcRect t="26801" b="65286"/>
            <a:stretch>
              <a:fillRect/>
            </a:stretch>
          </p:blipFill>
          <p:spPr bwMode="auto">
            <a:xfrm>
              <a:off x="0" y="300"/>
              <a:ext cx="5760" cy="44"/>
            </a:xfrm>
            <a:prstGeom prst="rect">
              <a:avLst/>
            </a:prstGeom>
            <a:noFill/>
          </p:spPr>
        </p:pic>
        <p:grpSp>
          <p:nvGrpSpPr>
            <p:cNvPr id="1041" name="Group 17"/>
            <p:cNvGrpSpPr>
              <a:grpSpLocks/>
            </p:cNvGrpSpPr>
            <p:nvPr userDrawn="1"/>
          </p:nvGrpSpPr>
          <p:grpSpPr bwMode="auto">
            <a:xfrm>
              <a:off x="0" y="0"/>
              <a:ext cx="5760" cy="318"/>
              <a:chOff x="0" y="0"/>
              <a:chExt cx="5760" cy="318"/>
            </a:xfrm>
          </p:grpSpPr>
          <p:pic>
            <p:nvPicPr>
              <p:cNvPr id="1035" name="Picture 11" descr="mlit_top"/>
              <p:cNvPicPr>
                <a:picLocks noChangeAspect="1" noChangeArrowheads="1"/>
              </p:cNvPicPr>
              <p:nvPr userDrawn="1"/>
            </p:nvPicPr>
            <p:blipFill>
              <a:blip r:embed="rId14" cstate="print"/>
              <a:srcRect r="66945" b="42805"/>
              <a:stretch>
                <a:fillRect/>
              </a:stretch>
            </p:blipFill>
            <p:spPr bwMode="auto">
              <a:xfrm>
                <a:off x="3856" y="0"/>
                <a:ext cx="1904" cy="318"/>
              </a:xfrm>
              <a:prstGeom prst="rect">
                <a:avLst/>
              </a:prstGeom>
              <a:noFill/>
            </p:spPr>
          </p:pic>
          <p:pic>
            <p:nvPicPr>
              <p:cNvPr id="1040" name="Picture 16" descr="mlit_top"/>
              <p:cNvPicPr>
                <a:picLocks noChangeAspect="1" noChangeArrowheads="1"/>
              </p:cNvPicPr>
              <p:nvPr userDrawn="1"/>
            </p:nvPicPr>
            <p:blipFill>
              <a:blip r:embed="rId15" cstate="print"/>
              <a:srcRect l="50000" b="42805"/>
              <a:stretch>
                <a:fillRect/>
              </a:stretch>
            </p:blipFill>
            <p:spPr bwMode="auto">
              <a:xfrm>
                <a:off x="1043" y="0"/>
                <a:ext cx="2880" cy="318"/>
              </a:xfrm>
              <a:prstGeom prst="rect">
                <a:avLst/>
              </a:prstGeom>
              <a:noFill/>
            </p:spPr>
          </p:pic>
          <p:pic>
            <p:nvPicPr>
              <p:cNvPr id="1034" name="Picture 10" descr="mlit_top"/>
              <p:cNvPicPr>
                <a:picLocks noChangeAspect="1" noChangeArrowheads="1"/>
              </p:cNvPicPr>
              <p:nvPr userDrawn="1"/>
            </p:nvPicPr>
            <p:blipFill>
              <a:blip r:embed="rId15" cstate="print"/>
              <a:srcRect l="68906" b="42805"/>
              <a:stretch>
                <a:fillRect/>
              </a:stretch>
            </p:blipFill>
            <p:spPr bwMode="auto">
              <a:xfrm>
                <a:off x="0" y="0"/>
                <a:ext cx="1791" cy="318"/>
              </a:xfrm>
              <a:prstGeom prst="rect">
                <a:avLst/>
              </a:prstGeom>
              <a:noFill/>
            </p:spPr>
          </p:pic>
        </p:grpSp>
      </p:grpSp>
      <p:sp>
        <p:nvSpPr>
          <p:cNvPr id="1026" name="Rectangle 2"/>
          <p:cNvSpPr>
            <a:spLocks noGrp="1" noChangeArrowheads="1"/>
          </p:cNvSpPr>
          <p:nvPr>
            <p:ph type="title"/>
          </p:nvPr>
        </p:nvSpPr>
        <p:spPr bwMode="auto">
          <a:xfrm>
            <a:off x="3" y="0"/>
            <a:ext cx="7603700" cy="53886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38" name="Picture 14"/>
          <p:cNvPicPr>
            <a:picLocks noChangeAspect="1" noChangeArrowheads="1"/>
          </p:cNvPicPr>
          <p:nvPr userDrawn="1"/>
        </p:nvPicPr>
        <p:blipFill>
          <a:blip r:embed="rId16" cstate="print"/>
          <a:srcRect t="3670"/>
          <a:stretch>
            <a:fillRect/>
          </a:stretch>
        </p:blipFill>
        <p:spPr bwMode="auto">
          <a:xfrm>
            <a:off x="8224449" y="4"/>
            <a:ext cx="1679967" cy="377208"/>
          </a:xfrm>
          <a:prstGeom prst="rect">
            <a:avLst/>
          </a:prstGeom>
          <a:noFill/>
          <a:ln w="9525">
            <a:noFill/>
            <a:miter lim="800000"/>
            <a:headEnd/>
            <a:tailEnd/>
          </a:ln>
          <a:effectLst/>
        </p:spPr>
      </p:pic>
    </p:spTree>
    <p:extLst>
      <p:ext uri="{BB962C8B-B14F-4D97-AF65-F5344CB8AC3E}">
        <p14:creationId xmlns:p14="http://schemas.microsoft.com/office/powerpoint/2010/main" val="2090000480"/>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dt="0"/>
  <p:txStyles>
    <p:titleStyle>
      <a:lvl1pPr algn="l" rtl="0" fontAlgn="base">
        <a:spcBef>
          <a:spcPct val="0"/>
        </a:spcBef>
        <a:spcAft>
          <a:spcPct val="0"/>
        </a:spcAft>
        <a:defRPr kumimoji="1" sz="2904">
          <a:solidFill>
            <a:srgbClr val="4087C8"/>
          </a:solidFill>
          <a:latin typeface="+mj-lt"/>
          <a:ea typeface="+mj-ea"/>
          <a:cs typeface="+mj-cs"/>
        </a:defRPr>
      </a:lvl1pPr>
      <a:lvl2pPr algn="l" rtl="0" fontAlgn="base">
        <a:spcBef>
          <a:spcPct val="0"/>
        </a:spcBef>
        <a:spcAft>
          <a:spcPct val="0"/>
        </a:spcAft>
        <a:defRPr kumimoji="1" sz="2904">
          <a:solidFill>
            <a:srgbClr val="4087C8"/>
          </a:solidFill>
          <a:latin typeface="HGP創英角ｺﾞｼｯｸUB" pitchFamily="50" charset="-128"/>
          <a:ea typeface="HGP創英角ｺﾞｼｯｸUB" pitchFamily="50" charset="-128"/>
        </a:defRPr>
      </a:lvl2pPr>
      <a:lvl3pPr algn="l" rtl="0" fontAlgn="base">
        <a:spcBef>
          <a:spcPct val="0"/>
        </a:spcBef>
        <a:spcAft>
          <a:spcPct val="0"/>
        </a:spcAft>
        <a:defRPr kumimoji="1" sz="2904">
          <a:solidFill>
            <a:srgbClr val="4087C8"/>
          </a:solidFill>
          <a:latin typeface="HGP創英角ｺﾞｼｯｸUB" pitchFamily="50" charset="-128"/>
          <a:ea typeface="HGP創英角ｺﾞｼｯｸUB" pitchFamily="50" charset="-128"/>
        </a:defRPr>
      </a:lvl3pPr>
      <a:lvl4pPr algn="l" rtl="0" fontAlgn="base">
        <a:spcBef>
          <a:spcPct val="0"/>
        </a:spcBef>
        <a:spcAft>
          <a:spcPct val="0"/>
        </a:spcAft>
        <a:defRPr kumimoji="1" sz="2904">
          <a:solidFill>
            <a:srgbClr val="4087C8"/>
          </a:solidFill>
          <a:latin typeface="HGP創英角ｺﾞｼｯｸUB" pitchFamily="50" charset="-128"/>
          <a:ea typeface="HGP創英角ｺﾞｼｯｸUB" pitchFamily="50" charset="-128"/>
        </a:defRPr>
      </a:lvl4pPr>
      <a:lvl5pPr algn="l" rtl="0" fontAlgn="base">
        <a:spcBef>
          <a:spcPct val="0"/>
        </a:spcBef>
        <a:spcAft>
          <a:spcPct val="0"/>
        </a:spcAft>
        <a:defRPr kumimoji="1" sz="2904">
          <a:solidFill>
            <a:srgbClr val="4087C8"/>
          </a:solidFill>
          <a:latin typeface="HGP創英角ｺﾞｼｯｸUB" pitchFamily="50" charset="-128"/>
          <a:ea typeface="HGP創英角ｺﾞｼｯｸUB" pitchFamily="50" charset="-128"/>
        </a:defRPr>
      </a:lvl5pPr>
      <a:lvl6pPr marL="474106" algn="l" rtl="0" fontAlgn="base">
        <a:spcBef>
          <a:spcPct val="0"/>
        </a:spcBef>
        <a:spcAft>
          <a:spcPct val="0"/>
        </a:spcAft>
        <a:defRPr kumimoji="1" sz="2904">
          <a:solidFill>
            <a:srgbClr val="4087C8"/>
          </a:solidFill>
          <a:latin typeface="HGP創英角ｺﾞｼｯｸUB" pitchFamily="50" charset="-128"/>
          <a:ea typeface="HGP創英角ｺﾞｼｯｸUB" pitchFamily="50" charset="-128"/>
        </a:defRPr>
      </a:lvl6pPr>
      <a:lvl7pPr marL="948212" algn="l" rtl="0" fontAlgn="base">
        <a:spcBef>
          <a:spcPct val="0"/>
        </a:spcBef>
        <a:spcAft>
          <a:spcPct val="0"/>
        </a:spcAft>
        <a:defRPr kumimoji="1" sz="2904">
          <a:solidFill>
            <a:srgbClr val="4087C8"/>
          </a:solidFill>
          <a:latin typeface="HGP創英角ｺﾞｼｯｸUB" pitchFamily="50" charset="-128"/>
          <a:ea typeface="HGP創英角ｺﾞｼｯｸUB" pitchFamily="50" charset="-128"/>
        </a:defRPr>
      </a:lvl7pPr>
      <a:lvl8pPr marL="1422316" algn="l" rtl="0" fontAlgn="base">
        <a:spcBef>
          <a:spcPct val="0"/>
        </a:spcBef>
        <a:spcAft>
          <a:spcPct val="0"/>
        </a:spcAft>
        <a:defRPr kumimoji="1" sz="2904">
          <a:solidFill>
            <a:srgbClr val="4087C8"/>
          </a:solidFill>
          <a:latin typeface="HGP創英角ｺﾞｼｯｸUB" pitchFamily="50" charset="-128"/>
          <a:ea typeface="HGP創英角ｺﾞｼｯｸUB" pitchFamily="50" charset="-128"/>
        </a:defRPr>
      </a:lvl8pPr>
      <a:lvl9pPr marL="1896421" algn="l" rtl="0" fontAlgn="base">
        <a:spcBef>
          <a:spcPct val="0"/>
        </a:spcBef>
        <a:spcAft>
          <a:spcPct val="0"/>
        </a:spcAft>
        <a:defRPr kumimoji="1" sz="2904">
          <a:solidFill>
            <a:srgbClr val="4087C8"/>
          </a:solidFill>
          <a:latin typeface="HGP創英角ｺﾞｼｯｸUB" pitchFamily="50" charset="-128"/>
          <a:ea typeface="HGP創英角ｺﾞｼｯｸUB" pitchFamily="50" charset="-128"/>
        </a:defRPr>
      </a:lvl9pPr>
    </p:titleStyle>
    <p:bodyStyle>
      <a:lvl1pPr marL="355579" indent="-355579" algn="l" rtl="0" fontAlgn="base">
        <a:spcBef>
          <a:spcPct val="20000"/>
        </a:spcBef>
        <a:spcAft>
          <a:spcPct val="0"/>
        </a:spcAft>
        <a:buChar char="•"/>
        <a:defRPr kumimoji="1" sz="3318">
          <a:solidFill>
            <a:schemeClr val="tx1"/>
          </a:solidFill>
          <a:latin typeface="+mn-lt"/>
          <a:ea typeface="+mn-ea"/>
          <a:cs typeface="+mn-cs"/>
        </a:defRPr>
      </a:lvl1pPr>
      <a:lvl2pPr marL="770422" indent="-296316" algn="l" rtl="0" fontAlgn="base">
        <a:spcBef>
          <a:spcPct val="20000"/>
        </a:spcBef>
        <a:spcAft>
          <a:spcPct val="0"/>
        </a:spcAft>
        <a:buChar char="–"/>
        <a:defRPr kumimoji="1" sz="2904">
          <a:solidFill>
            <a:schemeClr val="tx1"/>
          </a:solidFill>
          <a:latin typeface="+mn-lt"/>
          <a:ea typeface="+mn-ea"/>
        </a:defRPr>
      </a:lvl2pPr>
      <a:lvl3pPr marL="1185263" indent="-237052" algn="l" rtl="0" fontAlgn="base">
        <a:spcBef>
          <a:spcPct val="20000"/>
        </a:spcBef>
        <a:spcAft>
          <a:spcPct val="0"/>
        </a:spcAft>
        <a:buChar char="•"/>
        <a:defRPr kumimoji="1" sz="2489">
          <a:solidFill>
            <a:schemeClr val="tx1"/>
          </a:solidFill>
          <a:latin typeface="+mn-lt"/>
          <a:ea typeface="+mn-ea"/>
        </a:defRPr>
      </a:lvl3pPr>
      <a:lvl4pPr marL="1659369" indent="-237052" algn="l" rtl="0" fontAlgn="base">
        <a:spcBef>
          <a:spcPct val="20000"/>
        </a:spcBef>
        <a:spcAft>
          <a:spcPct val="0"/>
        </a:spcAft>
        <a:buChar char="–"/>
        <a:defRPr kumimoji="1" sz="2073">
          <a:solidFill>
            <a:schemeClr val="tx1"/>
          </a:solidFill>
          <a:latin typeface="+mn-lt"/>
          <a:ea typeface="+mn-ea"/>
        </a:defRPr>
      </a:lvl4pPr>
      <a:lvl5pPr marL="2133475" indent="-237052" algn="l" rtl="0" fontAlgn="base">
        <a:spcBef>
          <a:spcPct val="20000"/>
        </a:spcBef>
        <a:spcAft>
          <a:spcPct val="0"/>
        </a:spcAft>
        <a:buChar char="»"/>
        <a:defRPr kumimoji="1" sz="2073">
          <a:solidFill>
            <a:schemeClr val="tx1"/>
          </a:solidFill>
          <a:latin typeface="+mn-lt"/>
          <a:ea typeface="+mn-ea"/>
        </a:defRPr>
      </a:lvl5pPr>
      <a:lvl6pPr marL="2607580" indent="-237052" algn="l" rtl="0" fontAlgn="base">
        <a:spcBef>
          <a:spcPct val="20000"/>
        </a:spcBef>
        <a:spcAft>
          <a:spcPct val="0"/>
        </a:spcAft>
        <a:buChar char="»"/>
        <a:defRPr kumimoji="1" sz="2073">
          <a:solidFill>
            <a:schemeClr val="tx1"/>
          </a:solidFill>
          <a:latin typeface="+mn-lt"/>
          <a:ea typeface="+mn-ea"/>
        </a:defRPr>
      </a:lvl6pPr>
      <a:lvl7pPr marL="3081686" indent="-237052" algn="l" rtl="0" fontAlgn="base">
        <a:spcBef>
          <a:spcPct val="20000"/>
        </a:spcBef>
        <a:spcAft>
          <a:spcPct val="0"/>
        </a:spcAft>
        <a:buChar char="»"/>
        <a:defRPr kumimoji="1" sz="2073">
          <a:solidFill>
            <a:schemeClr val="tx1"/>
          </a:solidFill>
          <a:latin typeface="+mn-lt"/>
          <a:ea typeface="+mn-ea"/>
        </a:defRPr>
      </a:lvl7pPr>
      <a:lvl8pPr marL="3555791" indent="-237052" algn="l" rtl="0" fontAlgn="base">
        <a:spcBef>
          <a:spcPct val="20000"/>
        </a:spcBef>
        <a:spcAft>
          <a:spcPct val="0"/>
        </a:spcAft>
        <a:buChar char="»"/>
        <a:defRPr kumimoji="1" sz="2073">
          <a:solidFill>
            <a:schemeClr val="tx1"/>
          </a:solidFill>
          <a:latin typeface="+mn-lt"/>
          <a:ea typeface="+mn-ea"/>
        </a:defRPr>
      </a:lvl8pPr>
      <a:lvl9pPr marL="4029896" indent="-237052" algn="l" rtl="0" fontAlgn="base">
        <a:spcBef>
          <a:spcPct val="20000"/>
        </a:spcBef>
        <a:spcAft>
          <a:spcPct val="0"/>
        </a:spcAft>
        <a:buChar char="»"/>
        <a:defRPr kumimoji="1" sz="2073">
          <a:solidFill>
            <a:schemeClr val="tx1"/>
          </a:solidFill>
          <a:latin typeface="+mn-lt"/>
          <a:ea typeface="+mn-ea"/>
        </a:defRPr>
      </a:lvl9pPr>
    </p:bodyStyle>
    <p:otherStyle>
      <a:defPPr>
        <a:defRPr lang="ja-JP"/>
      </a:defPPr>
      <a:lvl1pPr marL="0" algn="l" defTabSz="948212" rtl="0" eaLnBrk="1" latinLnBrk="0" hangingPunct="1">
        <a:defRPr kumimoji="1" sz="1866" kern="1200">
          <a:solidFill>
            <a:schemeClr val="tx1"/>
          </a:solidFill>
          <a:latin typeface="+mn-lt"/>
          <a:ea typeface="+mn-ea"/>
          <a:cs typeface="+mn-cs"/>
        </a:defRPr>
      </a:lvl1pPr>
      <a:lvl2pPr marL="474106" algn="l" defTabSz="948212" rtl="0" eaLnBrk="1" latinLnBrk="0" hangingPunct="1">
        <a:defRPr kumimoji="1" sz="1866" kern="1200">
          <a:solidFill>
            <a:schemeClr val="tx1"/>
          </a:solidFill>
          <a:latin typeface="+mn-lt"/>
          <a:ea typeface="+mn-ea"/>
          <a:cs typeface="+mn-cs"/>
        </a:defRPr>
      </a:lvl2pPr>
      <a:lvl3pPr marL="948212" algn="l" defTabSz="948212" rtl="0" eaLnBrk="1" latinLnBrk="0" hangingPunct="1">
        <a:defRPr kumimoji="1" sz="1866" kern="1200">
          <a:solidFill>
            <a:schemeClr val="tx1"/>
          </a:solidFill>
          <a:latin typeface="+mn-lt"/>
          <a:ea typeface="+mn-ea"/>
          <a:cs typeface="+mn-cs"/>
        </a:defRPr>
      </a:lvl3pPr>
      <a:lvl4pPr marL="1422316" algn="l" defTabSz="948212" rtl="0" eaLnBrk="1" latinLnBrk="0" hangingPunct="1">
        <a:defRPr kumimoji="1" sz="1866" kern="1200">
          <a:solidFill>
            <a:schemeClr val="tx1"/>
          </a:solidFill>
          <a:latin typeface="+mn-lt"/>
          <a:ea typeface="+mn-ea"/>
          <a:cs typeface="+mn-cs"/>
        </a:defRPr>
      </a:lvl4pPr>
      <a:lvl5pPr marL="1896421" algn="l" defTabSz="948212" rtl="0" eaLnBrk="1" latinLnBrk="0" hangingPunct="1">
        <a:defRPr kumimoji="1" sz="1866" kern="1200">
          <a:solidFill>
            <a:schemeClr val="tx1"/>
          </a:solidFill>
          <a:latin typeface="+mn-lt"/>
          <a:ea typeface="+mn-ea"/>
          <a:cs typeface="+mn-cs"/>
        </a:defRPr>
      </a:lvl5pPr>
      <a:lvl6pPr marL="2370528" algn="l" defTabSz="948212" rtl="0" eaLnBrk="1" latinLnBrk="0" hangingPunct="1">
        <a:defRPr kumimoji="1" sz="1866" kern="1200">
          <a:solidFill>
            <a:schemeClr val="tx1"/>
          </a:solidFill>
          <a:latin typeface="+mn-lt"/>
          <a:ea typeface="+mn-ea"/>
          <a:cs typeface="+mn-cs"/>
        </a:defRPr>
      </a:lvl6pPr>
      <a:lvl7pPr marL="2844634" algn="l" defTabSz="948212" rtl="0" eaLnBrk="1" latinLnBrk="0" hangingPunct="1">
        <a:defRPr kumimoji="1" sz="1866" kern="1200">
          <a:solidFill>
            <a:schemeClr val="tx1"/>
          </a:solidFill>
          <a:latin typeface="+mn-lt"/>
          <a:ea typeface="+mn-ea"/>
          <a:cs typeface="+mn-cs"/>
        </a:defRPr>
      </a:lvl7pPr>
      <a:lvl8pPr marL="3318738" algn="l" defTabSz="948212" rtl="0" eaLnBrk="1" latinLnBrk="0" hangingPunct="1">
        <a:defRPr kumimoji="1" sz="1866" kern="1200">
          <a:solidFill>
            <a:schemeClr val="tx1"/>
          </a:solidFill>
          <a:latin typeface="+mn-lt"/>
          <a:ea typeface="+mn-ea"/>
          <a:cs typeface="+mn-cs"/>
        </a:defRPr>
      </a:lvl8pPr>
      <a:lvl9pPr marL="3792844" algn="l" defTabSz="948212" rtl="0" eaLnBrk="1" latinLnBrk="0" hangingPunct="1">
        <a:defRPr kumimoji="1" sz="186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3" name="Rectangle 3"/>
          <p:cNvSpPr>
            <a:spLocks noGrp="1" noChangeArrowheads="1"/>
          </p:cNvSpPr>
          <p:nvPr>
            <p:ph type="body" idx="1"/>
          </p:nvPr>
        </p:nvSpPr>
        <p:spPr>
          <a:xfrm>
            <a:off x="495221" y="1810599"/>
            <a:ext cx="8913972" cy="512104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44" name="Rectangle 4"/>
          <p:cNvSpPr>
            <a:spLocks noGrp="1" noChangeArrowheads="1"/>
          </p:cNvSpPr>
          <p:nvPr>
            <p:ph type="dt" sz="half" idx="2"/>
          </p:nvPr>
        </p:nvSpPr>
        <p:spPr>
          <a:xfrm>
            <a:off x="495221" y="706635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50" charset="-128"/>
              </a:defRPr>
            </a:lvl1pPr>
          </a:lstStyle>
          <a:p>
            <a:pPr>
              <a:defRPr/>
            </a:pPr>
            <a:endParaRPr lang="en-US" altLang="ja-JP">
              <a:solidFill>
                <a:srgbClr val="000000"/>
              </a:solidFill>
            </a:endParaRPr>
          </a:p>
        </p:txBody>
      </p:sp>
      <p:sp>
        <p:nvSpPr>
          <p:cNvPr id="1945" name="Rectangle 5"/>
          <p:cNvSpPr>
            <a:spLocks noGrp="1" noChangeArrowheads="1"/>
          </p:cNvSpPr>
          <p:nvPr>
            <p:ph type="ftr" sz="quarter" idx="3"/>
          </p:nvPr>
        </p:nvSpPr>
        <p:spPr>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50" charset="-128"/>
              </a:defRPr>
            </a:lvl1pPr>
          </a:lstStyle>
          <a:p>
            <a:pPr>
              <a:defRPr/>
            </a:pPr>
            <a:endParaRPr lang="en-US" altLang="ja-JP">
              <a:solidFill>
                <a:srgbClr val="000000"/>
              </a:solidFill>
            </a:endParaRPr>
          </a:p>
        </p:txBody>
      </p:sp>
      <p:sp>
        <p:nvSpPr>
          <p:cNvPr id="1946" name="Rectangle 6"/>
          <p:cNvSpPr>
            <a:spLocks noGrp="1" noChangeArrowheads="1"/>
          </p:cNvSpPr>
          <p:nvPr>
            <p:ph type="sldNum" sz="quarter" idx="4"/>
          </p:nvPr>
        </p:nvSpPr>
        <p:spPr>
          <a:xfrm>
            <a:off x="7593383" y="705737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50" charset="-128"/>
              </a:defRPr>
            </a:lvl1pPr>
          </a:lstStyle>
          <a:p>
            <a:pPr>
              <a:defRPr/>
            </a:pPr>
            <a:fld id="{FFDCE21E-3BF4-4A13-BE4A-B95BE9787BE2}" type="slidenum">
              <a:rPr lang="en-US" altLang="ja-JP">
                <a:solidFill>
                  <a:srgbClr val="000000"/>
                </a:solidFill>
              </a:rPr>
              <a:pPr>
                <a:defRPr/>
              </a:pPr>
              <a:t>‹#›</a:t>
            </a:fld>
            <a:endParaRPr lang="en-US" altLang="ja-JP">
              <a:solidFill>
                <a:srgbClr val="000000"/>
              </a:solidFill>
            </a:endParaRPr>
          </a:p>
        </p:txBody>
      </p:sp>
      <p:grpSp>
        <p:nvGrpSpPr>
          <p:cNvPr id="1947" name="Group 18"/>
          <p:cNvGrpSpPr/>
          <p:nvPr userDrawn="1"/>
        </p:nvGrpSpPr>
        <p:grpSpPr>
          <a:xfrm>
            <a:off x="0" y="0"/>
            <a:ext cx="9904413" cy="617902"/>
            <a:chOff x="0" y="0"/>
            <a:chExt cx="5760" cy="344"/>
          </a:xfrm>
        </p:grpSpPr>
        <p:pic>
          <p:nvPicPr>
            <p:cNvPr id="1948" name="Picture 9" descr="mlit_top"/>
            <p:cNvPicPr>
              <a:picLocks noChangeAspect="1" noChangeArrowheads="1"/>
            </p:cNvPicPr>
            <p:nvPr userDrawn="1"/>
          </p:nvPicPr>
          <p:blipFill>
            <a:blip r:embed="rId16" cstate="email">
              <a:extLst>
                <a:ext uri="{28A0092B-C50C-407E-A947-70E740481C1C}">
                  <a14:useLocalDpi xmlns:a14="http://schemas.microsoft.com/office/drawing/2010/main" val="0"/>
                </a:ext>
              </a:extLst>
            </a:blip>
            <a:srcRect t="26801" b="65286"/>
            <a:stretch>
              <a:fillRect/>
            </a:stretch>
          </p:blipFill>
          <p:spPr>
            <a:xfrm>
              <a:off x="0" y="300"/>
              <a:ext cx="5760" cy="44"/>
            </a:xfrm>
            <a:prstGeom prst="rect">
              <a:avLst/>
            </a:prstGeom>
            <a:noFill/>
            <a:ln>
              <a:noFill/>
            </a:ln>
          </p:spPr>
        </p:pic>
        <p:grpSp>
          <p:nvGrpSpPr>
            <p:cNvPr id="1949" name="Group 17"/>
            <p:cNvGrpSpPr/>
            <p:nvPr userDrawn="1"/>
          </p:nvGrpSpPr>
          <p:grpSpPr>
            <a:xfrm>
              <a:off x="0" y="0"/>
              <a:ext cx="5760" cy="318"/>
              <a:chOff x="0" y="0"/>
              <a:chExt cx="5760" cy="318"/>
            </a:xfrm>
          </p:grpSpPr>
          <p:pic>
            <p:nvPicPr>
              <p:cNvPr id="1950" name="Picture 11" descr="mlit_top"/>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r="66945" b="42805"/>
              <a:stretch>
                <a:fillRect/>
              </a:stretch>
            </p:blipFill>
            <p:spPr>
              <a:xfrm>
                <a:off x="3856" y="0"/>
                <a:ext cx="1904" cy="318"/>
              </a:xfrm>
              <a:prstGeom prst="rect">
                <a:avLst/>
              </a:prstGeom>
              <a:noFill/>
              <a:ln>
                <a:noFill/>
              </a:ln>
            </p:spPr>
          </p:pic>
          <p:pic>
            <p:nvPicPr>
              <p:cNvPr id="1951" name="Picture 16" descr="mlit_top"/>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l="50000" b="42805"/>
              <a:stretch>
                <a:fillRect/>
              </a:stretch>
            </p:blipFill>
            <p:spPr>
              <a:xfrm>
                <a:off x="1043" y="0"/>
                <a:ext cx="2880" cy="318"/>
              </a:xfrm>
              <a:prstGeom prst="rect">
                <a:avLst/>
              </a:prstGeom>
              <a:noFill/>
              <a:ln>
                <a:noFill/>
              </a:ln>
            </p:spPr>
          </p:pic>
          <p:pic>
            <p:nvPicPr>
              <p:cNvPr id="1952" name="Picture 10" descr="mlit_top"/>
              <p:cNvPicPr>
                <a:picLocks noChangeAspect="1" noChangeArrowheads="1"/>
              </p:cNvPicPr>
              <p:nvPr userDrawn="1"/>
            </p:nvPicPr>
            <p:blipFill>
              <a:blip r:embed="rId18" cstate="email">
                <a:extLst>
                  <a:ext uri="{28A0092B-C50C-407E-A947-70E740481C1C}">
                    <a14:useLocalDpi xmlns:a14="http://schemas.microsoft.com/office/drawing/2010/main" val="0"/>
                  </a:ext>
                </a:extLst>
              </a:blip>
              <a:srcRect l="68906" b="42805"/>
              <a:stretch>
                <a:fillRect/>
              </a:stretch>
            </p:blipFill>
            <p:spPr>
              <a:xfrm>
                <a:off x="0" y="0"/>
                <a:ext cx="1791" cy="318"/>
              </a:xfrm>
              <a:prstGeom prst="rect">
                <a:avLst/>
              </a:prstGeom>
              <a:noFill/>
              <a:ln>
                <a:noFill/>
              </a:ln>
            </p:spPr>
          </p:pic>
        </p:grpSp>
      </p:grpSp>
      <p:sp>
        <p:nvSpPr>
          <p:cNvPr id="1953" name="Rectangle 2"/>
          <p:cNvSpPr>
            <a:spLocks noGrp="1" noChangeArrowheads="1"/>
          </p:cNvSpPr>
          <p:nvPr>
            <p:ph type="title"/>
          </p:nvPr>
        </p:nvSpPr>
        <p:spPr>
          <a:xfrm>
            <a:off x="1" y="0"/>
            <a:ext cx="5342537" cy="538868"/>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954" name="Picture 14"/>
          <p:cNvPicPr>
            <a:picLocks noChangeAspect="1" noChangeArrowheads="1"/>
          </p:cNvPicPr>
          <p:nvPr userDrawn="1"/>
        </p:nvPicPr>
        <p:blipFill>
          <a:blip r:embed="rId19" cstate="email">
            <a:extLst>
              <a:ext uri="{28A0092B-C50C-407E-A947-70E740481C1C}">
                <a14:useLocalDpi xmlns:a14="http://schemas.microsoft.com/office/drawing/2010/main" val="0"/>
              </a:ext>
            </a:extLst>
          </a:blip>
          <a:srcRect t="3670"/>
          <a:stretch>
            <a:fillRect/>
          </a:stretch>
        </p:blipFill>
        <p:spPr>
          <a:xfrm>
            <a:off x="8224447" y="2"/>
            <a:ext cx="1679967" cy="377208"/>
          </a:xfrm>
          <a:prstGeom prst="rect">
            <a:avLst/>
          </a:prstGeom>
          <a:noFill/>
          <a:ln>
            <a:noFill/>
          </a:ln>
        </p:spPr>
      </p:pic>
    </p:spTree>
    <p:extLst>
      <p:ext uri="{BB962C8B-B14F-4D97-AF65-F5344CB8AC3E}">
        <p14:creationId xmlns:p14="http://schemas.microsoft.com/office/powerpoint/2010/main" val="3164879887"/>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Lst>
  <p:hf hdr="0" dt="0"/>
  <p:txStyles>
    <p:titleStyle>
      <a:lvl1pPr algn="l" rtl="0" eaLnBrk="1" fontAlgn="base" hangingPunct="1">
        <a:spcBef>
          <a:spcPct val="0"/>
        </a:spcBef>
        <a:spcAft>
          <a:spcPct val="0"/>
        </a:spcAft>
        <a:defRPr kumimoji="1" sz="2799">
          <a:solidFill>
            <a:srgbClr val="4087C8"/>
          </a:solidFill>
          <a:latin typeface="+mj-lt"/>
          <a:ea typeface="+mj-ea"/>
          <a:cs typeface="+mj-cs"/>
        </a:defRPr>
      </a:lvl1pPr>
      <a:lvl2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5pPr>
      <a:lvl6pPr marL="457109"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6pPr>
      <a:lvl7pPr marL="914217"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7pPr>
      <a:lvl8pPr marL="1371326"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8pPr>
      <a:lvl9pPr marL="1828434" algn="l" rtl="0" eaLnBrk="1" fontAlgn="base" hangingPunct="1">
        <a:spcBef>
          <a:spcPct val="0"/>
        </a:spcBef>
        <a:spcAft>
          <a:spcPct val="0"/>
        </a:spcAft>
        <a:defRPr kumimoji="1" sz="2799">
          <a:solidFill>
            <a:srgbClr val="4087C8"/>
          </a:solidFill>
          <a:latin typeface="HGP創英角ｺﾞｼｯｸUB" pitchFamily="50" charset="-128"/>
          <a:ea typeface="HGP創英角ｺﾞｼｯｸUB" pitchFamily="50" charset="-128"/>
        </a:defRPr>
      </a:lvl9pPr>
    </p:titleStyle>
    <p:bodyStyle>
      <a:lvl1pPr marL="342831" indent="-342831" algn="l" rtl="0" eaLnBrk="1" fontAlgn="base" hangingPunct="1">
        <a:spcBef>
          <a:spcPct val="20000"/>
        </a:spcBef>
        <a:spcAft>
          <a:spcPct val="0"/>
        </a:spcAft>
        <a:buChar char="•"/>
        <a:defRPr kumimoji="1" sz="3199">
          <a:solidFill>
            <a:schemeClr val="tx1"/>
          </a:solidFill>
          <a:latin typeface="+mn-lt"/>
          <a:ea typeface="+mn-ea"/>
          <a:cs typeface="+mn-cs"/>
        </a:defRPr>
      </a:lvl1pPr>
      <a:lvl2pPr marL="742801" indent="-285693" algn="l" rtl="0" eaLnBrk="1" fontAlgn="base" hangingPunct="1">
        <a:spcBef>
          <a:spcPct val="20000"/>
        </a:spcBef>
        <a:spcAft>
          <a:spcPct val="0"/>
        </a:spcAft>
        <a:buChar char="–"/>
        <a:defRPr kumimoji="1" sz="2799">
          <a:solidFill>
            <a:schemeClr val="tx1"/>
          </a:solidFill>
          <a:latin typeface="+mn-lt"/>
          <a:ea typeface="+mn-ea"/>
        </a:defRPr>
      </a:lvl2pPr>
      <a:lvl3pPr marL="1142771" indent="-228554" algn="l" rtl="0" eaLnBrk="1" fontAlgn="base" hangingPunct="1">
        <a:spcBef>
          <a:spcPct val="20000"/>
        </a:spcBef>
        <a:spcAft>
          <a:spcPct val="0"/>
        </a:spcAft>
        <a:buChar char="•"/>
        <a:defRPr kumimoji="1" sz="2400">
          <a:solidFill>
            <a:schemeClr val="tx1"/>
          </a:solidFill>
          <a:latin typeface="+mn-lt"/>
          <a:ea typeface="+mn-ea"/>
        </a:defRPr>
      </a:lvl3pPr>
      <a:lvl4pPr marL="1599880" indent="-228554" algn="l" rtl="0" eaLnBrk="1" fontAlgn="base" hangingPunct="1">
        <a:spcBef>
          <a:spcPct val="20000"/>
        </a:spcBef>
        <a:spcAft>
          <a:spcPct val="0"/>
        </a:spcAft>
        <a:buChar char="–"/>
        <a:defRPr kumimoji="1" sz="2000">
          <a:solidFill>
            <a:schemeClr val="tx1"/>
          </a:solidFill>
          <a:latin typeface="+mn-lt"/>
          <a:ea typeface="+mn-ea"/>
        </a:defRPr>
      </a:lvl4pPr>
      <a:lvl5pPr marL="2056989" indent="-228554" algn="l" rtl="0" eaLnBrk="1" fontAlgn="base" hangingPunct="1">
        <a:spcBef>
          <a:spcPct val="20000"/>
        </a:spcBef>
        <a:spcAft>
          <a:spcPct val="0"/>
        </a:spcAft>
        <a:buChar char="»"/>
        <a:defRPr kumimoji="1" sz="2000">
          <a:solidFill>
            <a:schemeClr val="tx1"/>
          </a:solidFill>
          <a:latin typeface="+mn-lt"/>
          <a:ea typeface="+mn-ea"/>
        </a:defRPr>
      </a:lvl5pPr>
      <a:lvl6pPr marL="2514097" indent="-228554" algn="l" rtl="0" eaLnBrk="1" fontAlgn="base" hangingPunct="1">
        <a:spcBef>
          <a:spcPct val="20000"/>
        </a:spcBef>
        <a:spcAft>
          <a:spcPct val="0"/>
        </a:spcAft>
        <a:buChar char="»"/>
        <a:defRPr kumimoji="1" sz="2000">
          <a:solidFill>
            <a:schemeClr val="tx1"/>
          </a:solidFill>
          <a:latin typeface="+mn-lt"/>
          <a:ea typeface="+mn-ea"/>
        </a:defRPr>
      </a:lvl6pPr>
      <a:lvl7pPr marL="2971206" indent="-228554" algn="l" rtl="0" eaLnBrk="1" fontAlgn="base" hangingPunct="1">
        <a:spcBef>
          <a:spcPct val="20000"/>
        </a:spcBef>
        <a:spcAft>
          <a:spcPct val="0"/>
        </a:spcAft>
        <a:buChar char="»"/>
        <a:defRPr kumimoji="1" sz="2000">
          <a:solidFill>
            <a:schemeClr val="tx1"/>
          </a:solidFill>
          <a:latin typeface="+mn-lt"/>
          <a:ea typeface="+mn-ea"/>
        </a:defRPr>
      </a:lvl7pPr>
      <a:lvl8pPr marL="3428314" indent="-228554" algn="l" rtl="0" eaLnBrk="1" fontAlgn="base" hangingPunct="1">
        <a:spcBef>
          <a:spcPct val="20000"/>
        </a:spcBef>
        <a:spcAft>
          <a:spcPct val="0"/>
        </a:spcAft>
        <a:buChar char="»"/>
        <a:defRPr kumimoji="1" sz="2000">
          <a:solidFill>
            <a:schemeClr val="tx1"/>
          </a:solidFill>
          <a:latin typeface="+mn-lt"/>
          <a:ea typeface="+mn-ea"/>
        </a:defRPr>
      </a:lvl8pPr>
      <a:lvl9pPr marL="3885423" indent="-228554"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217" rtl="0" eaLnBrk="1" latinLnBrk="0" hangingPunct="1">
        <a:defRPr kumimoji="1" sz="1800" kern="1200">
          <a:solidFill>
            <a:schemeClr val="tx1"/>
          </a:solidFill>
          <a:latin typeface="+mn-lt"/>
          <a:ea typeface="+mn-ea"/>
          <a:cs typeface="+mn-cs"/>
        </a:defRPr>
      </a:lvl1pPr>
      <a:lvl2pPr marL="457109" algn="l" defTabSz="914217" rtl="0" eaLnBrk="1" latinLnBrk="0" hangingPunct="1">
        <a:defRPr kumimoji="1" sz="1800" kern="1200">
          <a:solidFill>
            <a:schemeClr val="tx1"/>
          </a:solidFill>
          <a:latin typeface="+mn-lt"/>
          <a:ea typeface="+mn-ea"/>
          <a:cs typeface="+mn-cs"/>
        </a:defRPr>
      </a:lvl2pPr>
      <a:lvl3pPr marL="914217" algn="l" defTabSz="914217" rtl="0" eaLnBrk="1" latinLnBrk="0" hangingPunct="1">
        <a:defRPr kumimoji="1" sz="1800" kern="1200">
          <a:solidFill>
            <a:schemeClr val="tx1"/>
          </a:solidFill>
          <a:latin typeface="+mn-lt"/>
          <a:ea typeface="+mn-ea"/>
          <a:cs typeface="+mn-cs"/>
        </a:defRPr>
      </a:lvl3pPr>
      <a:lvl4pPr marL="1371326" algn="l" defTabSz="914217" rtl="0" eaLnBrk="1" latinLnBrk="0" hangingPunct="1">
        <a:defRPr kumimoji="1" sz="1800" kern="1200">
          <a:solidFill>
            <a:schemeClr val="tx1"/>
          </a:solidFill>
          <a:latin typeface="+mn-lt"/>
          <a:ea typeface="+mn-ea"/>
          <a:cs typeface="+mn-cs"/>
        </a:defRPr>
      </a:lvl4pPr>
      <a:lvl5pPr marL="1828434" algn="l" defTabSz="914217" rtl="0" eaLnBrk="1" latinLnBrk="0" hangingPunct="1">
        <a:defRPr kumimoji="1" sz="1800" kern="1200">
          <a:solidFill>
            <a:schemeClr val="tx1"/>
          </a:solidFill>
          <a:latin typeface="+mn-lt"/>
          <a:ea typeface="+mn-ea"/>
          <a:cs typeface="+mn-cs"/>
        </a:defRPr>
      </a:lvl5pPr>
      <a:lvl6pPr marL="2285543" algn="l" defTabSz="914217" rtl="0" eaLnBrk="1" latinLnBrk="0" hangingPunct="1">
        <a:defRPr kumimoji="1" sz="1800" kern="1200">
          <a:solidFill>
            <a:schemeClr val="tx1"/>
          </a:solidFill>
          <a:latin typeface="+mn-lt"/>
          <a:ea typeface="+mn-ea"/>
          <a:cs typeface="+mn-cs"/>
        </a:defRPr>
      </a:lvl6pPr>
      <a:lvl7pPr marL="2742651" algn="l" defTabSz="914217" rtl="0" eaLnBrk="1" latinLnBrk="0" hangingPunct="1">
        <a:defRPr kumimoji="1" sz="1800" kern="1200">
          <a:solidFill>
            <a:schemeClr val="tx1"/>
          </a:solidFill>
          <a:latin typeface="+mn-lt"/>
          <a:ea typeface="+mn-ea"/>
          <a:cs typeface="+mn-cs"/>
        </a:defRPr>
      </a:lvl7pPr>
      <a:lvl8pPr marL="3199760" algn="l" defTabSz="914217" rtl="0" eaLnBrk="1" latinLnBrk="0" hangingPunct="1">
        <a:defRPr kumimoji="1" sz="1800" kern="1200">
          <a:solidFill>
            <a:schemeClr val="tx1"/>
          </a:solidFill>
          <a:latin typeface="+mn-lt"/>
          <a:ea typeface="+mn-ea"/>
          <a:cs typeface="+mn-cs"/>
        </a:defRPr>
      </a:lvl8pPr>
      <a:lvl9pPr marL="3656868" algn="l" defTabSz="914217"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42" name="Rectangle 3"/>
          <p:cNvSpPr>
            <a:spLocks noGrp="1" noChangeArrowheads="1"/>
          </p:cNvSpPr>
          <p:nvPr>
            <p:ph type="body" idx="1"/>
          </p:nvPr>
        </p:nvSpPr>
        <p:spPr>
          <a:xfrm>
            <a:off x="495221" y="1810599"/>
            <a:ext cx="8913972" cy="512104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943" name="Rectangle 4"/>
          <p:cNvSpPr>
            <a:spLocks noGrp="1" noChangeArrowheads="1"/>
          </p:cNvSpPr>
          <p:nvPr>
            <p:ph type="dt" sz="half" idx="2"/>
          </p:nvPr>
        </p:nvSpPr>
        <p:spPr>
          <a:xfrm>
            <a:off x="495221" y="706635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517">
                <a:ea typeface="ＭＳ Ｐゴシック" pitchFamily="50" charset="-128"/>
              </a:defRPr>
            </a:lvl1pPr>
          </a:lstStyle>
          <a:p>
            <a:pPr defTabSz="914217">
              <a:defRPr/>
            </a:pPr>
            <a:endParaRPr lang="en-US" altLang="ja-JP" dirty="0">
              <a:solidFill>
                <a:prstClr val="black"/>
              </a:solidFill>
            </a:endParaRPr>
          </a:p>
        </p:txBody>
      </p:sp>
      <p:sp>
        <p:nvSpPr>
          <p:cNvPr id="1944" name="Rectangle 5"/>
          <p:cNvSpPr>
            <a:spLocks noGrp="1" noChangeArrowheads="1"/>
          </p:cNvSpPr>
          <p:nvPr>
            <p:ph type="ftr" sz="quarter" idx="3"/>
          </p:nvPr>
        </p:nvSpPr>
        <p:spPr>
          <a:xfrm>
            <a:off x="3384008" y="7066356"/>
            <a:ext cx="3136397"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517">
                <a:ea typeface="ＭＳ Ｐゴシック" pitchFamily="50" charset="-128"/>
              </a:defRPr>
            </a:lvl1pPr>
          </a:lstStyle>
          <a:p>
            <a:pPr defTabSz="914217">
              <a:defRPr/>
            </a:pPr>
            <a:endParaRPr lang="en-US" altLang="ja-JP" dirty="0">
              <a:solidFill>
                <a:prstClr val="black"/>
              </a:solidFill>
            </a:endParaRPr>
          </a:p>
        </p:txBody>
      </p:sp>
      <p:sp>
        <p:nvSpPr>
          <p:cNvPr id="1945" name="Rectangle 6"/>
          <p:cNvSpPr>
            <a:spLocks noGrp="1" noChangeArrowheads="1"/>
          </p:cNvSpPr>
          <p:nvPr>
            <p:ph type="sldNum" sz="quarter" idx="4"/>
          </p:nvPr>
        </p:nvSpPr>
        <p:spPr>
          <a:xfrm>
            <a:off x="7593383" y="7057376"/>
            <a:ext cx="2311030" cy="5388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50" charset="-128"/>
              </a:defRPr>
            </a:lvl1pPr>
          </a:lstStyle>
          <a:p>
            <a:pPr defTabSz="914217">
              <a:defRPr/>
            </a:pPr>
            <a:fld id="{FFDCE21E-3BF4-4A13-BE4A-B95BE9787BE2}" type="slidenum">
              <a:rPr lang="en-US" altLang="ja-JP" smtClean="0">
                <a:solidFill>
                  <a:prstClr val="black"/>
                </a:solidFill>
              </a:rPr>
              <a:pPr defTabSz="914217">
                <a:defRPr/>
              </a:pPr>
              <a:t>‹#›</a:t>
            </a:fld>
            <a:endParaRPr lang="en-US" altLang="ja-JP" dirty="0">
              <a:solidFill>
                <a:prstClr val="black"/>
              </a:solidFill>
            </a:endParaRPr>
          </a:p>
        </p:txBody>
      </p:sp>
      <p:grpSp>
        <p:nvGrpSpPr>
          <p:cNvPr id="1946" name="Group 18"/>
          <p:cNvGrpSpPr/>
          <p:nvPr userDrawn="1"/>
        </p:nvGrpSpPr>
        <p:grpSpPr>
          <a:xfrm>
            <a:off x="0" y="0"/>
            <a:ext cx="9904413" cy="617902"/>
            <a:chOff x="0" y="0"/>
            <a:chExt cx="5760" cy="344"/>
          </a:xfrm>
        </p:grpSpPr>
        <p:pic>
          <p:nvPicPr>
            <p:cNvPr id="1947" name="Picture 9" descr="mlit_top"/>
            <p:cNvPicPr>
              <a:picLocks noChangeAspect="1" noChangeArrowheads="1"/>
            </p:cNvPicPr>
            <p:nvPr userDrawn="1"/>
          </p:nvPicPr>
          <p:blipFill>
            <a:blip r:embed="rId3"/>
            <a:srcRect t="26801" b="65286"/>
            <a:stretch>
              <a:fillRect/>
            </a:stretch>
          </p:blipFill>
          <p:spPr>
            <a:xfrm>
              <a:off x="0" y="300"/>
              <a:ext cx="5760" cy="44"/>
            </a:xfrm>
            <a:prstGeom prst="rect">
              <a:avLst/>
            </a:prstGeom>
            <a:noFill/>
            <a:ln>
              <a:noFill/>
            </a:ln>
          </p:spPr>
        </p:pic>
        <p:grpSp>
          <p:nvGrpSpPr>
            <p:cNvPr id="1948" name="Group 17"/>
            <p:cNvGrpSpPr/>
            <p:nvPr userDrawn="1"/>
          </p:nvGrpSpPr>
          <p:grpSpPr>
            <a:xfrm>
              <a:off x="0" y="0"/>
              <a:ext cx="5760" cy="318"/>
              <a:chOff x="0" y="0"/>
              <a:chExt cx="5760" cy="318"/>
            </a:xfrm>
          </p:grpSpPr>
          <p:pic>
            <p:nvPicPr>
              <p:cNvPr id="1949" name="Picture 11" descr="mlit_top"/>
              <p:cNvPicPr>
                <a:picLocks noChangeAspect="1" noChangeArrowheads="1"/>
              </p:cNvPicPr>
              <p:nvPr userDrawn="1"/>
            </p:nvPicPr>
            <p:blipFill>
              <a:blip r:embed="rId4"/>
              <a:srcRect r="66945" b="42805"/>
              <a:stretch>
                <a:fillRect/>
              </a:stretch>
            </p:blipFill>
            <p:spPr>
              <a:xfrm>
                <a:off x="3856" y="0"/>
                <a:ext cx="1904" cy="318"/>
              </a:xfrm>
              <a:prstGeom prst="rect">
                <a:avLst/>
              </a:prstGeom>
              <a:noFill/>
              <a:ln>
                <a:noFill/>
              </a:ln>
            </p:spPr>
          </p:pic>
          <p:pic>
            <p:nvPicPr>
              <p:cNvPr id="1950" name="Picture 16" descr="mlit_top"/>
              <p:cNvPicPr>
                <a:picLocks noChangeAspect="1" noChangeArrowheads="1"/>
              </p:cNvPicPr>
              <p:nvPr userDrawn="1"/>
            </p:nvPicPr>
            <p:blipFill>
              <a:blip r:embed="rId5"/>
              <a:srcRect l="50000" b="42805"/>
              <a:stretch>
                <a:fillRect/>
              </a:stretch>
            </p:blipFill>
            <p:spPr>
              <a:xfrm>
                <a:off x="1043" y="0"/>
                <a:ext cx="2880" cy="318"/>
              </a:xfrm>
              <a:prstGeom prst="rect">
                <a:avLst/>
              </a:prstGeom>
              <a:noFill/>
              <a:ln>
                <a:noFill/>
              </a:ln>
            </p:spPr>
          </p:pic>
          <p:pic>
            <p:nvPicPr>
              <p:cNvPr id="1951" name="Picture 10" descr="mlit_top"/>
              <p:cNvPicPr>
                <a:picLocks noChangeAspect="1" noChangeArrowheads="1"/>
              </p:cNvPicPr>
              <p:nvPr userDrawn="1"/>
            </p:nvPicPr>
            <p:blipFill>
              <a:blip r:embed="rId5"/>
              <a:srcRect l="68906" b="42805"/>
              <a:stretch>
                <a:fillRect/>
              </a:stretch>
            </p:blipFill>
            <p:spPr>
              <a:xfrm>
                <a:off x="0" y="0"/>
                <a:ext cx="1791" cy="318"/>
              </a:xfrm>
              <a:prstGeom prst="rect">
                <a:avLst/>
              </a:prstGeom>
              <a:noFill/>
              <a:ln>
                <a:noFill/>
              </a:ln>
            </p:spPr>
          </p:pic>
        </p:grpSp>
      </p:grpSp>
      <p:sp>
        <p:nvSpPr>
          <p:cNvPr id="1952" name="Rectangle 2"/>
          <p:cNvSpPr>
            <a:spLocks noGrp="1" noChangeArrowheads="1"/>
          </p:cNvSpPr>
          <p:nvPr>
            <p:ph type="title"/>
          </p:nvPr>
        </p:nvSpPr>
        <p:spPr>
          <a:xfrm>
            <a:off x="1" y="0"/>
            <a:ext cx="5342537" cy="538868"/>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953" name="Picture 14"/>
          <p:cNvPicPr>
            <a:picLocks noChangeAspect="1" noChangeArrowheads="1"/>
          </p:cNvPicPr>
          <p:nvPr userDrawn="1"/>
        </p:nvPicPr>
        <p:blipFill>
          <a:blip r:embed="rId6"/>
          <a:srcRect t="3670"/>
          <a:stretch>
            <a:fillRect/>
          </a:stretch>
        </p:blipFill>
        <p:spPr>
          <a:xfrm>
            <a:off x="8224447" y="2"/>
            <a:ext cx="1679967" cy="377208"/>
          </a:xfrm>
          <a:prstGeom prst="rect">
            <a:avLst/>
          </a:prstGeom>
          <a:noFill/>
          <a:ln>
            <a:noFill/>
          </a:ln>
        </p:spPr>
      </p:pic>
    </p:spTree>
    <p:extLst>
      <p:ext uri="{BB962C8B-B14F-4D97-AF65-F5344CB8AC3E}">
        <p14:creationId xmlns:p14="http://schemas.microsoft.com/office/powerpoint/2010/main" val="3582148230"/>
      </p:ext>
    </p:extLst>
  </p:cSld>
  <p:clrMap bg1="lt1" tx1="dk1" bg2="lt2" tx2="dk2" accent1="accent1" accent2="accent2" accent3="accent3" accent4="accent4" accent5="accent5" accent6="accent6" hlink="hlink" folHlink="folHlink"/>
  <p:sldLayoutIdLst>
    <p:sldLayoutId id="2147483863" r:id="rId1"/>
  </p:sldLayoutIdLst>
  <p:hf hdr="0" dt="0"/>
  <p:txStyles>
    <p:titleStyle>
      <a:lvl1pPr algn="l" rtl="0" eaLnBrk="1" fontAlgn="base" hangingPunct="1">
        <a:spcBef>
          <a:spcPct val="0"/>
        </a:spcBef>
        <a:spcAft>
          <a:spcPct val="0"/>
        </a:spcAft>
        <a:defRPr kumimoji="1" sz="3032">
          <a:solidFill>
            <a:srgbClr val="4087C8"/>
          </a:solidFill>
          <a:latin typeface="+mj-lt"/>
          <a:ea typeface="+mj-ea"/>
          <a:cs typeface="+mj-cs"/>
        </a:defRPr>
      </a:lvl1pPr>
      <a:lvl2pPr algn="l" rtl="0" eaLnBrk="1" fontAlgn="base" hangingPunct="1">
        <a:spcBef>
          <a:spcPct val="0"/>
        </a:spcBef>
        <a:spcAft>
          <a:spcPct val="0"/>
        </a:spcAft>
        <a:defRPr kumimoji="1" sz="3032">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3032">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3032">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3032">
          <a:solidFill>
            <a:srgbClr val="4087C8"/>
          </a:solidFill>
          <a:latin typeface="HGP創英角ｺﾞｼｯｸUB" pitchFamily="50" charset="-128"/>
          <a:ea typeface="HGP創英角ｺﾞｼｯｸUB" pitchFamily="50" charset="-128"/>
        </a:defRPr>
      </a:lvl5pPr>
      <a:lvl6pPr marL="495186" algn="l" rtl="0" eaLnBrk="1" fontAlgn="base" hangingPunct="1">
        <a:spcBef>
          <a:spcPct val="0"/>
        </a:spcBef>
        <a:spcAft>
          <a:spcPct val="0"/>
        </a:spcAft>
        <a:defRPr kumimoji="1" sz="3032">
          <a:solidFill>
            <a:srgbClr val="4087C8"/>
          </a:solidFill>
          <a:latin typeface="HGP創英角ｺﾞｼｯｸUB" pitchFamily="50" charset="-128"/>
          <a:ea typeface="HGP創英角ｺﾞｼｯｸUB" pitchFamily="50" charset="-128"/>
        </a:defRPr>
      </a:lvl6pPr>
      <a:lvl7pPr marL="990372" algn="l" rtl="0" eaLnBrk="1" fontAlgn="base" hangingPunct="1">
        <a:spcBef>
          <a:spcPct val="0"/>
        </a:spcBef>
        <a:spcAft>
          <a:spcPct val="0"/>
        </a:spcAft>
        <a:defRPr kumimoji="1" sz="3032">
          <a:solidFill>
            <a:srgbClr val="4087C8"/>
          </a:solidFill>
          <a:latin typeface="HGP創英角ｺﾞｼｯｸUB" pitchFamily="50" charset="-128"/>
          <a:ea typeface="HGP創英角ｺﾞｼｯｸUB" pitchFamily="50" charset="-128"/>
        </a:defRPr>
      </a:lvl7pPr>
      <a:lvl8pPr marL="1485557" algn="l" rtl="0" eaLnBrk="1" fontAlgn="base" hangingPunct="1">
        <a:spcBef>
          <a:spcPct val="0"/>
        </a:spcBef>
        <a:spcAft>
          <a:spcPct val="0"/>
        </a:spcAft>
        <a:defRPr kumimoji="1" sz="3032">
          <a:solidFill>
            <a:srgbClr val="4087C8"/>
          </a:solidFill>
          <a:latin typeface="HGP創英角ｺﾞｼｯｸUB" pitchFamily="50" charset="-128"/>
          <a:ea typeface="HGP創英角ｺﾞｼｯｸUB" pitchFamily="50" charset="-128"/>
        </a:defRPr>
      </a:lvl8pPr>
      <a:lvl9pPr marL="1980743" algn="l" rtl="0" eaLnBrk="1" fontAlgn="base" hangingPunct="1">
        <a:spcBef>
          <a:spcPct val="0"/>
        </a:spcBef>
        <a:spcAft>
          <a:spcPct val="0"/>
        </a:spcAft>
        <a:defRPr kumimoji="1" sz="3032">
          <a:solidFill>
            <a:srgbClr val="4087C8"/>
          </a:solidFill>
          <a:latin typeface="HGP創英角ｺﾞｼｯｸUB" pitchFamily="50" charset="-128"/>
          <a:ea typeface="HGP創英角ｺﾞｼｯｸUB" pitchFamily="50" charset="-128"/>
        </a:defRPr>
      </a:lvl9pPr>
    </p:titleStyle>
    <p:bodyStyle>
      <a:lvl1pPr marL="371390" indent="-371390" algn="l" rtl="0" eaLnBrk="1" fontAlgn="base" hangingPunct="1">
        <a:spcBef>
          <a:spcPct val="20000"/>
        </a:spcBef>
        <a:spcAft>
          <a:spcPct val="0"/>
        </a:spcAft>
        <a:buChar char="•"/>
        <a:defRPr kumimoji="1" sz="3466">
          <a:solidFill>
            <a:schemeClr val="tx1"/>
          </a:solidFill>
          <a:latin typeface="+mn-lt"/>
          <a:ea typeface="+mn-ea"/>
          <a:cs typeface="+mn-cs"/>
        </a:defRPr>
      </a:lvl1pPr>
      <a:lvl2pPr marL="804677" indent="-309491" algn="l" rtl="0" eaLnBrk="1" fontAlgn="base" hangingPunct="1">
        <a:spcBef>
          <a:spcPct val="20000"/>
        </a:spcBef>
        <a:spcAft>
          <a:spcPct val="0"/>
        </a:spcAft>
        <a:buChar char="–"/>
        <a:defRPr kumimoji="1" sz="3032">
          <a:solidFill>
            <a:schemeClr val="tx1"/>
          </a:solidFill>
          <a:latin typeface="+mn-lt"/>
          <a:ea typeface="+mn-ea"/>
        </a:defRPr>
      </a:lvl2pPr>
      <a:lvl3pPr marL="1237964" indent="-247592" algn="l" rtl="0" eaLnBrk="1" fontAlgn="base" hangingPunct="1">
        <a:spcBef>
          <a:spcPct val="20000"/>
        </a:spcBef>
        <a:spcAft>
          <a:spcPct val="0"/>
        </a:spcAft>
        <a:buChar char="•"/>
        <a:defRPr kumimoji="1" sz="2599">
          <a:solidFill>
            <a:schemeClr val="tx1"/>
          </a:solidFill>
          <a:latin typeface="+mn-lt"/>
          <a:ea typeface="+mn-ea"/>
        </a:defRPr>
      </a:lvl3pPr>
      <a:lvl4pPr marL="1733150" indent="-247592" algn="l" rtl="0" eaLnBrk="1" fontAlgn="base" hangingPunct="1">
        <a:spcBef>
          <a:spcPct val="20000"/>
        </a:spcBef>
        <a:spcAft>
          <a:spcPct val="0"/>
        </a:spcAft>
        <a:buChar char="–"/>
        <a:defRPr kumimoji="1" sz="2167">
          <a:solidFill>
            <a:schemeClr val="tx1"/>
          </a:solidFill>
          <a:latin typeface="+mn-lt"/>
          <a:ea typeface="+mn-ea"/>
        </a:defRPr>
      </a:lvl4pPr>
      <a:lvl5pPr marL="2228335" indent="-247592" algn="l" rtl="0" eaLnBrk="1" fontAlgn="base" hangingPunct="1">
        <a:spcBef>
          <a:spcPct val="20000"/>
        </a:spcBef>
        <a:spcAft>
          <a:spcPct val="0"/>
        </a:spcAft>
        <a:buChar char="»"/>
        <a:defRPr kumimoji="1" sz="2167">
          <a:solidFill>
            <a:schemeClr val="tx1"/>
          </a:solidFill>
          <a:latin typeface="+mn-lt"/>
          <a:ea typeface="+mn-ea"/>
        </a:defRPr>
      </a:lvl5pPr>
      <a:lvl6pPr marL="2723521" indent="-247592" algn="l" rtl="0" eaLnBrk="1" fontAlgn="base" hangingPunct="1">
        <a:spcBef>
          <a:spcPct val="20000"/>
        </a:spcBef>
        <a:spcAft>
          <a:spcPct val="0"/>
        </a:spcAft>
        <a:buChar char="»"/>
        <a:defRPr kumimoji="1" sz="2167">
          <a:solidFill>
            <a:schemeClr val="tx1"/>
          </a:solidFill>
          <a:latin typeface="+mn-lt"/>
          <a:ea typeface="+mn-ea"/>
        </a:defRPr>
      </a:lvl6pPr>
      <a:lvl7pPr marL="3218707" indent="-247592" algn="l" rtl="0" eaLnBrk="1" fontAlgn="base" hangingPunct="1">
        <a:spcBef>
          <a:spcPct val="20000"/>
        </a:spcBef>
        <a:spcAft>
          <a:spcPct val="0"/>
        </a:spcAft>
        <a:buChar char="»"/>
        <a:defRPr kumimoji="1" sz="2167">
          <a:solidFill>
            <a:schemeClr val="tx1"/>
          </a:solidFill>
          <a:latin typeface="+mn-lt"/>
          <a:ea typeface="+mn-ea"/>
        </a:defRPr>
      </a:lvl7pPr>
      <a:lvl8pPr marL="3713893" indent="-247592" algn="l" rtl="0" eaLnBrk="1" fontAlgn="base" hangingPunct="1">
        <a:spcBef>
          <a:spcPct val="20000"/>
        </a:spcBef>
        <a:spcAft>
          <a:spcPct val="0"/>
        </a:spcAft>
        <a:buChar char="»"/>
        <a:defRPr kumimoji="1" sz="2167">
          <a:solidFill>
            <a:schemeClr val="tx1"/>
          </a:solidFill>
          <a:latin typeface="+mn-lt"/>
          <a:ea typeface="+mn-ea"/>
        </a:defRPr>
      </a:lvl8pPr>
      <a:lvl9pPr marL="4209078" indent="-247592" algn="l" rtl="0" eaLnBrk="1" fontAlgn="base" hangingPunct="1">
        <a:spcBef>
          <a:spcPct val="20000"/>
        </a:spcBef>
        <a:spcAft>
          <a:spcPct val="0"/>
        </a:spcAft>
        <a:buChar char="»"/>
        <a:defRPr kumimoji="1" sz="2167">
          <a:solidFill>
            <a:schemeClr val="tx1"/>
          </a:solidFill>
          <a:latin typeface="+mn-lt"/>
          <a:ea typeface="+mn-ea"/>
        </a:defRPr>
      </a:lvl9pPr>
    </p:bodyStyle>
    <p:otherStyle>
      <a:defPPr>
        <a:defRPr lang="ja-JP"/>
      </a:defPPr>
      <a:lvl1pPr marL="0" algn="l" defTabSz="990372" rtl="0" eaLnBrk="1" latinLnBrk="0" hangingPunct="1">
        <a:defRPr kumimoji="1" sz="1950" kern="1200">
          <a:solidFill>
            <a:schemeClr val="tx1"/>
          </a:solidFill>
          <a:latin typeface="+mn-lt"/>
          <a:ea typeface="+mn-ea"/>
          <a:cs typeface="+mn-cs"/>
        </a:defRPr>
      </a:lvl1pPr>
      <a:lvl2pPr marL="495186" algn="l" defTabSz="990372" rtl="0" eaLnBrk="1" latinLnBrk="0" hangingPunct="1">
        <a:defRPr kumimoji="1" sz="1950" kern="1200">
          <a:solidFill>
            <a:schemeClr val="tx1"/>
          </a:solidFill>
          <a:latin typeface="+mn-lt"/>
          <a:ea typeface="+mn-ea"/>
          <a:cs typeface="+mn-cs"/>
        </a:defRPr>
      </a:lvl2pPr>
      <a:lvl3pPr marL="990372" algn="l" defTabSz="990372" rtl="0" eaLnBrk="1" latinLnBrk="0" hangingPunct="1">
        <a:defRPr kumimoji="1" sz="1950" kern="1200">
          <a:solidFill>
            <a:schemeClr val="tx1"/>
          </a:solidFill>
          <a:latin typeface="+mn-lt"/>
          <a:ea typeface="+mn-ea"/>
          <a:cs typeface="+mn-cs"/>
        </a:defRPr>
      </a:lvl3pPr>
      <a:lvl4pPr marL="1485557" algn="l" defTabSz="990372" rtl="0" eaLnBrk="1" latinLnBrk="0" hangingPunct="1">
        <a:defRPr kumimoji="1" sz="1950" kern="1200">
          <a:solidFill>
            <a:schemeClr val="tx1"/>
          </a:solidFill>
          <a:latin typeface="+mn-lt"/>
          <a:ea typeface="+mn-ea"/>
          <a:cs typeface="+mn-cs"/>
        </a:defRPr>
      </a:lvl4pPr>
      <a:lvl5pPr marL="1980743" algn="l" defTabSz="990372" rtl="0" eaLnBrk="1" latinLnBrk="0" hangingPunct="1">
        <a:defRPr kumimoji="1" sz="1950" kern="1200">
          <a:solidFill>
            <a:schemeClr val="tx1"/>
          </a:solidFill>
          <a:latin typeface="+mn-lt"/>
          <a:ea typeface="+mn-ea"/>
          <a:cs typeface="+mn-cs"/>
        </a:defRPr>
      </a:lvl5pPr>
      <a:lvl6pPr marL="2475929" algn="l" defTabSz="990372" rtl="0" eaLnBrk="1" latinLnBrk="0" hangingPunct="1">
        <a:defRPr kumimoji="1" sz="1950" kern="1200">
          <a:solidFill>
            <a:schemeClr val="tx1"/>
          </a:solidFill>
          <a:latin typeface="+mn-lt"/>
          <a:ea typeface="+mn-ea"/>
          <a:cs typeface="+mn-cs"/>
        </a:defRPr>
      </a:lvl6pPr>
      <a:lvl7pPr marL="2971115" algn="l" defTabSz="990372" rtl="0" eaLnBrk="1" latinLnBrk="0" hangingPunct="1">
        <a:defRPr kumimoji="1" sz="1950" kern="1200">
          <a:solidFill>
            <a:schemeClr val="tx1"/>
          </a:solidFill>
          <a:latin typeface="+mn-lt"/>
          <a:ea typeface="+mn-ea"/>
          <a:cs typeface="+mn-cs"/>
        </a:defRPr>
      </a:lvl7pPr>
      <a:lvl8pPr marL="3466300" algn="l" defTabSz="990372" rtl="0" eaLnBrk="1" latinLnBrk="0" hangingPunct="1">
        <a:defRPr kumimoji="1" sz="1950" kern="1200">
          <a:solidFill>
            <a:schemeClr val="tx1"/>
          </a:solidFill>
          <a:latin typeface="+mn-lt"/>
          <a:ea typeface="+mn-ea"/>
          <a:cs typeface="+mn-cs"/>
        </a:defRPr>
      </a:lvl8pPr>
      <a:lvl9pPr marL="3961486" algn="l" defTabSz="990372" rtl="0" eaLnBrk="1" latinLnBrk="0" hangingPunct="1">
        <a:defRPr kumimoji="1"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12.png"/><Relationship Id="rId5" Type="http://schemas.openxmlformats.org/officeDocument/2006/relationships/chart" Target="../charts/chart5.xml"/><Relationship Id="rId4" Type="http://schemas.openxmlformats.org/officeDocument/2006/relationships/chart" Target="../charts/char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5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jpeg"/><Relationship Id="rId1" Type="http://schemas.openxmlformats.org/officeDocument/2006/relationships/slideLayout" Target="../slideLayouts/slideLayout55.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jpeg"/><Relationship Id="rId10" Type="http://schemas.openxmlformats.org/officeDocument/2006/relationships/image" Target="../media/image30.png"/><Relationship Id="rId4" Type="http://schemas.openxmlformats.org/officeDocument/2006/relationships/image" Target="../media/image24.jpeg"/><Relationship Id="rId9"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55.xml"/><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image" Target="../media/image37.emf"/><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55.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jpe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55.xml"/><Relationship Id="rId6" Type="http://schemas.openxmlformats.org/officeDocument/2006/relationships/chart" Target="../charts/chart6.xml"/><Relationship Id="rId5" Type="http://schemas.openxmlformats.org/officeDocument/2006/relationships/image" Target="../media/image49.png"/><Relationship Id="rId4" Type="http://schemas.openxmlformats.org/officeDocument/2006/relationships/image" Target="../media/image4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2.xml"/><Relationship Id="rId1" Type="http://schemas.openxmlformats.org/officeDocument/2006/relationships/slideLayout" Target="../slideLayouts/slideLayout123.xml"/><Relationship Id="rId6" Type="http://schemas.openxmlformats.org/officeDocument/2006/relationships/image" Target="../media/image53.emf"/><Relationship Id="rId5" Type="http://schemas.openxmlformats.org/officeDocument/2006/relationships/image" Target="../media/image52.emf"/><Relationship Id="rId4" Type="http://schemas.openxmlformats.org/officeDocument/2006/relationships/image" Target="../media/image51.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2.xml"/></Relationships>
</file>

<file path=ppt/slides/_rels/slide28.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8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59.jpeg"/></Relationships>
</file>

<file path=ppt/slides/_rels/slide3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23.xml"/><Relationship Id="rId1" Type="http://schemas.openxmlformats.org/officeDocument/2006/relationships/slideLayout" Target="../slideLayouts/slideLayout13.xml"/><Relationship Id="rId5" Type="http://schemas.openxmlformats.org/officeDocument/2006/relationships/image" Target="../media/image62.jpeg"/><Relationship Id="rId4" Type="http://schemas.openxmlformats.org/officeDocument/2006/relationships/image" Target="../media/image61.jpeg"/></Relationships>
</file>

<file path=ppt/slides/_rels/slide34.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4.xml"/><Relationship Id="rId1" Type="http://schemas.openxmlformats.org/officeDocument/2006/relationships/slideLayout" Target="../slideLayouts/slideLayout77.xml"/><Relationship Id="rId4" Type="http://schemas.openxmlformats.org/officeDocument/2006/relationships/image" Target="../media/image64.png"/></Relationships>
</file>

<file path=ppt/slides/_rels/slide3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5.xml"/><Relationship Id="rId1" Type="http://schemas.openxmlformats.org/officeDocument/2006/relationships/slideLayout" Target="../slideLayouts/slideLayout24.xml"/><Relationship Id="rId5" Type="http://schemas.openxmlformats.org/officeDocument/2006/relationships/image" Target="../media/image67.png"/><Relationship Id="rId4" Type="http://schemas.openxmlformats.org/officeDocument/2006/relationships/image" Target="../media/image66.jpeg"/></Relationships>
</file>

<file path=ppt/slides/_rels/slide3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24.xml"/><Relationship Id="rId5" Type="http://schemas.openxmlformats.org/officeDocument/2006/relationships/image" Target="../media/image70.jpeg"/><Relationship Id="rId4" Type="http://schemas.openxmlformats.org/officeDocument/2006/relationships/image" Target="../media/image69.jpeg"/></Relationships>
</file>

<file path=ppt/slides/_rels/slide3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7.xml"/><Relationship Id="rId1" Type="http://schemas.openxmlformats.org/officeDocument/2006/relationships/slideLayout" Target="../slideLayouts/slideLayout24.xml"/><Relationship Id="rId5" Type="http://schemas.openxmlformats.org/officeDocument/2006/relationships/image" Target="../media/image73.png"/><Relationship Id="rId4" Type="http://schemas.openxmlformats.org/officeDocument/2006/relationships/image" Target="../media/image72.jpeg"/></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8.xml"/><Relationship Id="rId1" Type="http://schemas.openxmlformats.org/officeDocument/2006/relationships/slideLayout" Target="../slideLayouts/slideLayout24.xml"/><Relationship Id="rId5" Type="http://schemas.openxmlformats.org/officeDocument/2006/relationships/image" Target="../media/image76.jpeg"/><Relationship Id="rId4" Type="http://schemas.openxmlformats.org/officeDocument/2006/relationships/image" Target="../media/image75.png"/></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24.xml"/><Relationship Id="rId5" Type="http://schemas.openxmlformats.org/officeDocument/2006/relationships/image" Target="../media/image79.jpeg"/><Relationship Id="rId4" Type="http://schemas.openxmlformats.org/officeDocument/2006/relationships/image" Target="../media/image7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1.xml"/><Relationship Id="rId1" Type="http://schemas.openxmlformats.org/officeDocument/2006/relationships/slideLayout" Target="../slideLayouts/slideLayout102.xml"/><Relationship Id="rId5" Type="http://schemas.openxmlformats.org/officeDocument/2006/relationships/image" Target="../media/image82.png"/><Relationship Id="rId4" Type="http://schemas.openxmlformats.org/officeDocument/2006/relationships/image" Target="../media/image8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34.xml"/><Relationship Id="rId1" Type="http://schemas.openxmlformats.org/officeDocument/2006/relationships/slideLayout" Target="../slideLayouts/slideLayout24.xml"/><Relationship Id="rId6" Type="http://schemas.openxmlformats.org/officeDocument/2006/relationships/image" Target="../media/image86.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6.xml"/><Relationship Id="rId1" Type="http://schemas.openxmlformats.org/officeDocument/2006/relationships/slideLayout" Target="../slideLayouts/slideLayout103.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47.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85.png"/><Relationship Id="rId7" Type="http://schemas.openxmlformats.org/officeDocument/2006/relationships/image" Target="../media/image98.png"/><Relationship Id="rId2" Type="http://schemas.openxmlformats.org/officeDocument/2006/relationships/notesSlide" Target="../notesSlides/notesSlide37.xml"/><Relationship Id="rId1" Type="http://schemas.openxmlformats.org/officeDocument/2006/relationships/slideLayout" Target="../slideLayouts/slideLayout103.xml"/><Relationship Id="rId6" Type="http://schemas.openxmlformats.org/officeDocument/2006/relationships/image" Target="../media/image97.png"/><Relationship Id="rId11" Type="http://schemas.openxmlformats.org/officeDocument/2006/relationships/image" Target="../media/image89.png"/><Relationship Id="rId5" Type="http://schemas.openxmlformats.org/officeDocument/2006/relationships/image" Target="../media/image96.png"/><Relationship Id="rId10" Type="http://schemas.openxmlformats.org/officeDocument/2006/relationships/image" Target="../media/image86.png"/><Relationship Id="rId4" Type="http://schemas.openxmlformats.org/officeDocument/2006/relationships/image" Target="../media/image95.png"/><Relationship Id="rId9" Type="http://schemas.openxmlformats.org/officeDocument/2006/relationships/image" Target="../media/image100.jpeg"/></Relationships>
</file>

<file path=ppt/slides/_rels/slide48.xml.rels><?xml version="1.0" encoding="UTF-8" standalone="yes"?>
<Relationships xmlns="http://schemas.openxmlformats.org/package/2006/relationships"><Relationship Id="rId8" Type="http://schemas.openxmlformats.org/officeDocument/2006/relationships/image" Target="../media/image106.svg"/><Relationship Id="rId13" Type="http://schemas.openxmlformats.org/officeDocument/2006/relationships/image" Target="../media/image86.png"/><Relationship Id="rId3" Type="http://schemas.openxmlformats.org/officeDocument/2006/relationships/image" Target="../media/image101.png"/><Relationship Id="rId7" Type="http://schemas.openxmlformats.org/officeDocument/2006/relationships/image" Target="../media/image105.png"/><Relationship Id="rId12" Type="http://schemas.openxmlformats.org/officeDocument/2006/relationships/image" Target="../media/image85.png"/><Relationship Id="rId2" Type="http://schemas.openxmlformats.org/officeDocument/2006/relationships/notesSlide" Target="../notesSlides/notesSlide38.xml"/><Relationship Id="rId1" Type="http://schemas.openxmlformats.org/officeDocument/2006/relationships/slideLayout" Target="../slideLayouts/slideLayout103.xml"/><Relationship Id="rId6" Type="http://schemas.openxmlformats.org/officeDocument/2006/relationships/image" Target="../media/image104.svg"/><Relationship Id="rId11" Type="http://schemas.openxmlformats.org/officeDocument/2006/relationships/image" Target="../media/image109.jpeg"/><Relationship Id="rId5" Type="http://schemas.openxmlformats.org/officeDocument/2006/relationships/image" Target="../media/image103.png"/><Relationship Id="rId15" Type="http://schemas.openxmlformats.org/officeDocument/2006/relationships/image" Target="../media/image88.png"/><Relationship Id="rId10" Type="http://schemas.openxmlformats.org/officeDocument/2006/relationships/image" Target="../media/image108.png"/><Relationship Id="rId4" Type="http://schemas.openxmlformats.org/officeDocument/2006/relationships/image" Target="../media/image102.svg"/><Relationship Id="rId9" Type="http://schemas.openxmlformats.org/officeDocument/2006/relationships/image" Target="../media/image107.png"/><Relationship Id="rId14" Type="http://schemas.openxmlformats.org/officeDocument/2006/relationships/image" Target="../media/image89.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1.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png"/><Relationship Id="rId7" Type="http://schemas.openxmlformats.org/officeDocument/2006/relationships/image" Target="../media/image86.png"/><Relationship Id="rId2" Type="http://schemas.openxmlformats.org/officeDocument/2006/relationships/notesSlide" Target="../notesSlides/notesSlide40.xml"/><Relationship Id="rId1" Type="http://schemas.openxmlformats.org/officeDocument/2006/relationships/slideLayout" Target="../slideLayouts/slideLayout101.xml"/><Relationship Id="rId6" Type="http://schemas.openxmlformats.org/officeDocument/2006/relationships/image" Target="../media/image85.png"/><Relationship Id="rId5" Type="http://schemas.openxmlformats.org/officeDocument/2006/relationships/image" Target="../media/image90.png"/><Relationship Id="rId4" Type="http://schemas.openxmlformats.org/officeDocument/2006/relationships/image" Target="../media/image83.png"/></Relationships>
</file>

<file path=ppt/slides/_rels/slide52.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114.jpg"/><Relationship Id="rId2" Type="http://schemas.openxmlformats.org/officeDocument/2006/relationships/notesSlide" Target="../notesSlides/notesSlide41.xml"/><Relationship Id="rId1" Type="http://schemas.openxmlformats.org/officeDocument/2006/relationships/slideLayout" Target="../slideLayouts/slideLayout28.xml"/><Relationship Id="rId6" Type="http://schemas.openxmlformats.org/officeDocument/2006/relationships/image" Target="../media/image113.emf"/><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116.png"/></Relationships>
</file>

<file path=ppt/slides/_rels/slide53.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image" Target="../media/image117.png"/><Relationship Id="rId7" Type="http://schemas.openxmlformats.org/officeDocument/2006/relationships/image" Target="../media/image121.jpeg"/><Relationship Id="rId2" Type="http://schemas.openxmlformats.org/officeDocument/2006/relationships/notesSlide" Target="../notesSlides/notesSlide42.xml"/><Relationship Id="rId1" Type="http://schemas.openxmlformats.org/officeDocument/2006/relationships/slideLayout" Target="../slideLayouts/slideLayout28.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54.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43.xml"/><Relationship Id="rId1" Type="http://schemas.openxmlformats.org/officeDocument/2006/relationships/slideLayout" Target="../slideLayouts/slideLayout24.xml"/><Relationship Id="rId4" Type="http://schemas.openxmlformats.org/officeDocument/2006/relationships/image" Target="../media/image124.png"/></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7.xml"/><Relationship Id="rId1" Type="http://schemas.openxmlformats.org/officeDocument/2006/relationships/slideLayout" Target="../slideLayouts/slideLayout49.xml"/><Relationship Id="rId6" Type="http://schemas.openxmlformats.org/officeDocument/2006/relationships/image" Target="../media/image128.emf"/><Relationship Id="rId5" Type="http://schemas.openxmlformats.org/officeDocument/2006/relationships/image" Target="../media/image127.png"/><Relationship Id="rId4" Type="http://schemas.openxmlformats.org/officeDocument/2006/relationships/image" Target="../media/image126.png"/></Relationships>
</file>

<file path=ppt/slides/_rels/slide5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8.xml"/><Relationship Id="rId1" Type="http://schemas.openxmlformats.org/officeDocument/2006/relationships/slideLayout" Target="../slideLayouts/slideLayout35.xml"/><Relationship Id="rId4" Type="http://schemas.openxmlformats.org/officeDocument/2006/relationships/image" Target="../media/image13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3.xml"/></Relationships>
</file>

<file path=ppt/slides/_rels/slide60.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49.xml"/><Relationship Id="rId1" Type="http://schemas.openxmlformats.org/officeDocument/2006/relationships/slideLayout" Target="../slideLayouts/slideLayout53.xml"/><Relationship Id="rId4" Type="http://schemas.openxmlformats.org/officeDocument/2006/relationships/image" Target="../media/image132.tif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a:xfrm>
            <a:off x="1856358" y="1935634"/>
            <a:ext cx="8048054" cy="1800223"/>
          </a:xfrm>
        </p:spPr>
        <p:txBody>
          <a:bodyPr/>
          <a:lstStyle/>
          <a:p>
            <a:pPr eaLnBrk="1" hangingPunct="1">
              <a:lnSpc>
                <a:spcPts val="3599"/>
              </a:lnSpc>
            </a:pPr>
            <a:r>
              <a:rPr lang="ja-JP" altLang="en-US" sz="4000" dirty="0">
                <a:solidFill>
                  <a:schemeClr val="accent6"/>
                </a:solidFill>
                <a:latin typeface="ＤＦ特太ゴシック体" panose="020B0509000000000000" pitchFamily="49" charset="-128"/>
                <a:ea typeface="ＤＦ特太ゴシック体" panose="020B0509000000000000" pitchFamily="49" charset="-128"/>
              </a:rPr>
              <a:t>国土交通省における</a:t>
            </a:r>
            <a:br>
              <a:rPr lang="en-US" altLang="ja-JP" sz="4000" dirty="0">
                <a:solidFill>
                  <a:schemeClr val="accent6"/>
                </a:solidFill>
                <a:latin typeface="ＤＦ特太ゴシック体" panose="020B0509000000000000" pitchFamily="49" charset="-128"/>
                <a:ea typeface="ＤＦ特太ゴシック体" panose="020B0509000000000000" pitchFamily="49" charset="-128"/>
              </a:rPr>
            </a:br>
            <a:br>
              <a:rPr lang="en-US" altLang="ja-JP" sz="4000" dirty="0">
                <a:solidFill>
                  <a:schemeClr val="accent6"/>
                </a:solidFill>
                <a:latin typeface="ＤＦ特太ゴシック体" panose="020B0509000000000000" pitchFamily="49" charset="-128"/>
                <a:ea typeface="ＤＦ特太ゴシック体" panose="020B0509000000000000" pitchFamily="49" charset="-128"/>
              </a:rPr>
            </a:br>
            <a:r>
              <a:rPr lang="ja-JP" altLang="en-US" sz="4000" dirty="0">
                <a:solidFill>
                  <a:schemeClr val="accent6"/>
                </a:solidFill>
                <a:latin typeface="ＤＦ特太ゴシック体" panose="020B0509000000000000" pitchFamily="49" charset="-128"/>
                <a:ea typeface="ＤＦ特太ゴシック体" panose="020B0509000000000000" pitchFamily="49" charset="-128"/>
              </a:rPr>
              <a:t>　山村振興関連施策について</a:t>
            </a:r>
          </a:p>
        </p:txBody>
      </p:sp>
      <p:sp>
        <p:nvSpPr>
          <p:cNvPr id="3075" name="Rectangle 6"/>
          <p:cNvSpPr>
            <a:spLocks noGrp="1" noChangeArrowheads="1"/>
          </p:cNvSpPr>
          <p:nvPr>
            <p:ph type="subTitle" idx="1"/>
          </p:nvPr>
        </p:nvSpPr>
        <p:spPr>
          <a:xfrm>
            <a:off x="3872086" y="4959970"/>
            <a:ext cx="5399735" cy="407104"/>
          </a:xfrm>
        </p:spPr>
        <p:txBody>
          <a:bodyPr/>
          <a:lstStyle/>
          <a:p>
            <a:pPr algn="r" eaLnBrk="1" hangingPunct="1">
              <a:lnSpc>
                <a:spcPts val="2500"/>
              </a:lnSpc>
            </a:pPr>
            <a:r>
              <a:rPr lang="ja-JP" altLang="en-US" sz="2400" dirty="0">
                <a:latin typeface="ＭＳ Ｐゴシック" charset="-128"/>
              </a:rPr>
              <a:t>国土交通省 国土政策局</a:t>
            </a:r>
            <a:endParaRPr lang="en-US" altLang="ja-JP" sz="2400" dirty="0">
              <a:latin typeface="ＭＳ Ｐゴシック" charset="-128"/>
            </a:endParaRPr>
          </a:p>
          <a:p>
            <a:pPr algn="r" eaLnBrk="1" hangingPunct="1">
              <a:lnSpc>
                <a:spcPts val="2500"/>
              </a:lnSpc>
            </a:pPr>
            <a:r>
              <a:rPr lang="ja-JP" altLang="en-US" sz="2400" dirty="0">
                <a:latin typeface="ＭＳ Ｐゴシック" charset="-128"/>
              </a:rPr>
              <a:t>地方振興課　鈴木　伸彦</a:t>
            </a:r>
          </a:p>
        </p:txBody>
      </p:sp>
      <p:sp>
        <p:nvSpPr>
          <p:cNvPr id="7" name="テキスト ボックス 6"/>
          <p:cNvSpPr txBox="1"/>
          <p:nvPr/>
        </p:nvSpPr>
        <p:spPr>
          <a:xfrm>
            <a:off x="7616502" y="18388"/>
            <a:ext cx="2288379" cy="523220"/>
          </a:xfrm>
          <a:prstGeom prst="rect">
            <a:avLst/>
          </a:prstGeom>
          <a:noFill/>
        </p:spPr>
        <p:txBody>
          <a:bodyPr wrap="square" rtlCol="0" anchor="ctr" anchorCtr="0">
            <a:spAutoFit/>
          </a:bodyPr>
          <a:lstStyle/>
          <a:p>
            <a:pPr algn="dist"/>
            <a:r>
              <a:rPr lang="ja-JP" altLang="en-US" sz="1400" dirty="0">
                <a:latin typeface="+mn-ea"/>
                <a:ea typeface="+mn-ea"/>
              </a:rPr>
              <a:t>２０２４年６月７日</a:t>
            </a:r>
            <a:endParaRPr lang="en-US" altLang="ja-JP" sz="1400" dirty="0">
              <a:latin typeface="+mn-ea"/>
              <a:ea typeface="+mn-ea"/>
            </a:endParaRPr>
          </a:p>
          <a:p>
            <a:pPr algn="dist"/>
            <a:r>
              <a:rPr lang="ja-JP" altLang="en-US" sz="1400" spc="170" dirty="0">
                <a:latin typeface="+mn-ea"/>
                <a:ea typeface="+mn-ea"/>
              </a:rPr>
              <a:t>全国山村振興連盟</a:t>
            </a:r>
            <a:endParaRPr lang="en-US" altLang="ja-JP" sz="1400" spc="170" dirty="0">
              <a:latin typeface="+mn-ea"/>
              <a:ea typeface="+mn-ea"/>
            </a:endParaRPr>
          </a:p>
        </p:txBody>
      </p:sp>
    </p:spTree>
    <p:extLst>
      <p:ext uri="{BB962C8B-B14F-4D97-AF65-F5344CB8AC3E}">
        <p14:creationId xmlns:p14="http://schemas.microsoft.com/office/powerpoint/2010/main" val="7879470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 y="63426"/>
            <a:ext cx="7604125" cy="538163"/>
          </a:xfrm>
        </p:spPr>
        <p:txBody>
          <a:bodyPr/>
          <a:lstStyle/>
          <a:p>
            <a:pPr eaLnBrk="1" hangingPunct="1"/>
            <a:r>
              <a:rPr lang="ja-JP" altLang="en-US" sz="2400" dirty="0"/>
              <a:t>総人口の将来推計（日本人・外国人別内訳）</a:t>
            </a:r>
          </a:p>
        </p:txBody>
      </p:sp>
      <p:graphicFrame>
        <p:nvGraphicFramePr>
          <p:cNvPr id="4" name="グラフ 3"/>
          <p:cNvGraphicFramePr>
            <a:graphicFrameLocks/>
          </p:cNvGraphicFramePr>
          <p:nvPr>
            <p:extLst>
              <p:ext uri="{D42A27DB-BD31-4B8C-83A1-F6EECF244321}">
                <p14:modId xmlns:p14="http://schemas.microsoft.com/office/powerpoint/2010/main" val="97932245"/>
              </p:ext>
            </p:extLst>
          </p:nvPr>
        </p:nvGraphicFramePr>
        <p:xfrm>
          <a:off x="388627" y="1162054"/>
          <a:ext cx="9121159" cy="5903710"/>
        </p:xfrm>
        <a:graphic>
          <a:graphicData uri="http://schemas.openxmlformats.org/drawingml/2006/chart">
            <c:chart xmlns:c="http://schemas.openxmlformats.org/drawingml/2006/chart" xmlns:r="http://schemas.openxmlformats.org/officeDocument/2006/relationships" r:id="rId2"/>
          </a:graphicData>
        </a:graphic>
      </p:graphicFrame>
      <p:sp>
        <p:nvSpPr>
          <p:cNvPr id="2" name="テキスト ボックス 1"/>
          <p:cNvSpPr txBox="1"/>
          <p:nvPr/>
        </p:nvSpPr>
        <p:spPr>
          <a:xfrm>
            <a:off x="920404" y="1967498"/>
            <a:ext cx="1367933" cy="253875"/>
          </a:xfrm>
          <a:prstGeom prst="rect">
            <a:avLst/>
          </a:prstGeom>
          <a:noFill/>
        </p:spPr>
        <p:txBody>
          <a:bodyPr wrap="square" rtlCol="0">
            <a:spAutoFit/>
          </a:bodyPr>
          <a:lstStyle/>
          <a:p>
            <a:r>
              <a:rPr lang="ja-JP" altLang="en-US" sz="1050" dirty="0"/>
              <a:t>（万人）</a:t>
            </a:r>
            <a:endParaRPr lang="en-US" altLang="ja-JP" sz="1050" dirty="0"/>
          </a:p>
        </p:txBody>
      </p:sp>
      <p:sp>
        <p:nvSpPr>
          <p:cNvPr id="6" name="テキスト ボックス 5"/>
          <p:cNvSpPr txBox="1"/>
          <p:nvPr/>
        </p:nvSpPr>
        <p:spPr>
          <a:xfrm>
            <a:off x="560422" y="6467860"/>
            <a:ext cx="8639575" cy="415431"/>
          </a:xfrm>
          <a:prstGeom prst="rect">
            <a:avLst/>
          </a:prstGeom>
          <a:noFill/>
        </p:spPr>
        <p:txBody>
          <a:bodyPr wrap="square" rtlCol="0">
            <a:spAutoFit/>
          </a:bodyPr>
          <a:lstStyle/>
          <a:p>
            <a:pPr marL="361885" indent="-361885"/>
            <a:r>
              <a:rPr lang="ja-JP" altLang="en-US" sz="1050" dirty="0"/>
              <a:t>（出典）</a:t>
            </a:r>
            <a:r>
              <a:rPr lang="ja-JP" altLang="en-US" sz="1050" dirty="0">
                <a:solidFill>
                  <a:srgbClr val="000000"/>
                </a:solidFill>
                <a:latin typeface="+mn-ea"/>
              </a:rPr>
              <a:t>国立社会保障・人口問題研究所「日本の将来推計人口（令和５年推計）</a:t>
            </a:r>
            <a:r>
              <a:rPr lang="ja-JP" altLang="en-US" sz="1050" dirty="0">
                <a:latin typeface="+mn-ea"/>
              </a:rPr>
              <a:t>」</a:t>
            </a:r>
            <a:r>
              <a:rPr lang="ja-JP" altLang="en-US" sz="1050" dirty="0">
                <a:solidFill>
                  <a:srgbClr val="000000"/>
                </a:solidFill>
                <a:latin typeface="+mn-ea"/>
              </a:rPr>
              <a:t>をもとに、国土交通省国土政策局作成。</a:t>
            </a:r>
            <a:endParaRPr lang="en-US" altLang="ja-JP" sz="1050" dirty="0">
              <a:solidFill>
                <a:srgbClr val="000000"/>
              </a:solidFill>
              <a:latin typeface="+mn-ea"/>
            </a:endParaRPr>
          </a:p>
          <a:p>
            <a:pPr marL="361885" indent="-361885"/>
            <a:r>
              <a:rPr lang="ja-JP" altLang="en-US" sz="1050" dirty="0">
                <a:solidFill>
                  <a:srgbClr val="000000"/>
                </a:solidFill>
                <a:latin typeface="+mn-ea"/>
              </a:rPr>
              <a:t>　　　　 グラフ内のパーセンテージは総人口に占める外国人人口の割合。</a:t>
            </a:r>
            <a:endParaRPr lang="en-US" altLang="ja-JP" sz="1050" dirty="0">
              <a:solidFill>
                <a:srgbClr val="000000"/>
              </a:solidFill>
              <a:latin typeface="+mn-ea"/>
            </a:endParaRPr>
          </a:p>
        </p:txBody>
      </p:sp>
      <p:sp>
        <p:nvSpPr>
          <p:cNvPr id="5" name="テキスト ボックス 4"/>
          <p:cNvSpPr txBox="1"/>
          <p:nvPr/>
        </p:nvSpPr>
        <p:spPr>
          <a:xfrm>
            <a:off x="179971" y="735442"/>
            <a:ext cx="9538471" cy="738546"/>
          </a:xfrm>
          <a:prstGeom prst="rect">
            <a:avLst/>
          </a:prstGeom>
          <a:noFill/>
          <a:ln w="19050">
            <a:solidFill>
              <a:schemeClr val="tx1"/>
            </a:solidFill>
          </a:ln>
        </p:spPr>
        <p:txBody>
          <a:bodyPr wrap="square" rtlCol="0">
            <a:spAutoFit/>
          </a:bodyPr>
          <a:lstStyle/>
          <a:p>
            <a:r>
              <a:rPr lang="ja-JP" altLang="en-US" sz="1400" dirty="0">
                <a:latin typeface="+mn-ea"/>
                <a:ea typeface="+mn-ea"/>
              </a:rPr>
              <a:t>○総人口において、日本人は減少が加速する一方、外国人は増加。</a:t>
            </a:r>
            <a:endParaRPr lang="en-US" altLang="ja-JP" sz="1400" dirty="0">
              <a:latin typeface="+mn-ea"/>
              <a:ea typeface="+mn-ea"/>
            </a:endParaRPr>
          </a:p>
          <a:p>
            <a:r>
              <a:rPr lang="ja-JP" altLang="en-US" sz="1400" dirty="0">
                <a:latin typeface="+mn-ea"/>
                <a:ea typeface="+mn-ea"/>
              </a:rPr>
              <a:t>○日本人人口は、</a:t>
            </a:r>
            <a:r>
              <a:rPr lang="en-US" altLang="ja-JP" sz="1400" dirty="0">
                <a:latin typeface="+mn-ea"/>
                <a:ea typeface="+mn-ea"/>
              </a:rPr>
              <a:t>2048</a:t>
            </a:r>
            <a:r>
              <a:rPr lang="ja-JP" altLang="en-US" sz="1400" dirty="0">
                <a:latin typeface="+mn-ea"/>
                <a:ea typeface="+mn-ea"/>
              </a:rPr>
              <a:t>年に１億人を割り、</a:t>
            </a:r>
            <a:r>
              <a:rPr lang="en-US" altLang="ja-JP" sz="1400" dirty="0">
                <a:latin typeface="+mn-ea"/>
                <a:ea typeface="+mn-ea"/>
              </a:rPr>
              <a:t>2050</a:t>
            </a:r>
            <a:r>
              <a:rPr lang="ja-JP" altLang="en-US" sz="1400" dirty="0">
                <a:latin typeface="+mn-ea"/>
                <a:ea typeface="+mn-ea"/>
              </a:rPr>
              <a:t>年に</a:t>
            </a:r>
            <a:r>
              <a:rPr lang="en-US" altLang="ja-JP" sz="1400" dirty="0">
                <a:latin typeface="+mn-ea"/>
                <a:ea typeface="+mn-ea"/>
              </a:rPr>
              <a:t>9,740</a:t>
            </a:r>
            <a:r>
              <a:rPr lang="ja-JP" altLang="en-US" sz="1400" dirty="0">
                <a:latin typeface="+mn-ea"/>
                <a:ea typeface="+mn-ea"/>
              </a:rPr>
              <a:t>万人、</a:t>
            </a:r>
            <a:r>
              <a:rPr lang="en-US" altLang="ja-JP" sz="1400" dirty="0">
                <a:latin typeface="+mn-ea"/>
                <a:ea typeface="+mn-ea"/>
              </a:rPr>
              <a:t>2070</a:t>
            </a:r>
            <a:r>
              <a:rPr lang="ja-JP" altLang="en-US" sz="1400" dirty="0">
                <a:latin typeface="+mn-ea"/>
                <a:ea typeface="+mn-ea"/>
              </a:rPr>
              <a:t>年に</a:t>
            </a:r>
            <a:r>
              <a:rPr lang="en-US" altLang="ja-JP" sz="1400" dirty="0">
                <a:latin typeface="+mn-ea"/>
                <a:ea typeface="+mn-ea"/>
              </a:rPr>
              <a:t>7,761</a:t>
            </a:r>
            <a:r>
              <a:rPr lang="ja-JP" altLang="en-US" sz="1400" dirty="0">
                <a:latin typeface="+mn-ea"/>
                <a:ea typeface="+mn-ea"/>
              </a:rPr>
              <a:t>万人。</a:t>
            </a:r>
            <a:endParaRPr lang="en-US" altLang="ja-JP" sz="1400" dirty="0">
              <a:latin typeface="+mn-ea"/>
              <a:ea typeface="+mn-ea"/>
            </a:endParaRPr>
          </a:p>
          <a:p>
            <a:r>
              <a:rPr lang="ja-JP" altLang="en-US" sz="1400" dirty="0">
                <a:latin typeface="+mn-ea"/>
                <a:ea typeface="+mn-ea"/>
              </a:rPr>
              <a:t>○外国人人口は、</a:t>
            </a:r>
            <a:r>
              <a:rPr lang="en-US" altLang="ja-JP" sz="1400" dirty="0">
                <a:latin typeface="+mn-ea"/>
                <a:ea typeface="+mn-ea"/>
              </a:rPr>
              <a:t>2050</a:t>
            </a:r>
            <a:r>
              <a:rPr lang="ja-JP" altLang="en-US" sz="1400" dirty="0">
                <a:latin typeface="+mn-ea"/>
                <a:ea typeface="+mn-ea"/>
              </a:rPr>
              <a:t>年に</a:t>
            </a:r>
            <a:r>
              <a:rPr lang="en-US" altLang="ja-JP" sz="1400" dirty="0">
                <a:latin typeface="+mn-ea"/>
                <a:ea typeface="+mn-ea"/>
              </a:rPr>
              <a:t>729</a:t>
            </a:r>
            <a:r>
              <a:rPr lang="ja-JP" altLang="en-US" sz="1400" dirty="0">
                <a:latin typeface="+mn-ea"/>
                <a:ea typeface="+mn-ea"/>
              </a:rPr>
              <a:t>万人（総人口の</a:t>
            </a:r>
            <a:r>
              <a:rPr lang="en-US" altLang="ja-JP" sz="1400" dirty="0">
                <a:latin typeface="+mn-ea"/>
                <a:ea typeface="+mn-ea"/>
              </a:rPr>
              <a:t>7.0</a:t>
            </a:r>
            <a:r>
              <a:rPr lang="ja-JP" altLang="en-US" sz="1400" dirty="0">
                <a:latin typeface="+mn-ea"/>
                <a:ea typeface="+mn-ea"/>
              </a:rPr>
              <a:t>％）、</a:t>
            </a:r>
            <a:r>
              <a:rPr lang="en-US" altLang="ja-JP" sz="1400" dirty="0">
                <a:latin typeface="+mn-ea"/>
                <a:ea typeface="+mn-ea"/>
              </a:rPr>
              <a:t>2070</a:t>
            </a:r>
            <a:r>
              <a:rPr lang="ja-JP" altLang="en-US" sz="1400" dirty="0">
                <a:latin typeface="+mn-ea"/>
                <a:ea typeface="+mn-ea"/>
              </a:rPr>
              <a:t>年に</a:t>
            </a:r>
            <a:r>
              <a:rPr lang="en-US" altLang="ja-JP" sz="1400" dirty="0">
                <a:latin typeface="+mn-ea"/>
                <a:ea typeface="+mn-ea"/>
              </a:rPr>
              <a:t>939</a:t>
            </a:r>
            <a:r>
              <a:rPr lang="ja-JP" altLang="en-US" sz="1400" dirty="0">
                <a:latin typeface="+mn-ea"/>
                <a:ea typeface="+mn-ea"/>
              </a:rPr>
              <a:t>万人</a:t>
            </a:r>
            <a:r>
              <a:rPr lang="en-US" altLang="ja-JP" sz="1400" dirty="0">
                <a:latin typeface="+mn-ea"/>
                <a:ea typeface="+mn-ea"/>
              </a:rPr>
              <a:t>(</a:t>
            </a:r>
            <a:r>
              <a:rPr lang="ja-JP" altLang="en-US" sz="1400" dirty="0">
                <a:latin typeface="+mn-ea"/>
                <a:ea typeface="+mn-ea"/>
              </a:rPr>
              <a:t>同</a:t>
            </a:r>
            <a:r>
              <a:rPr lang="en-US" altLang="ja-JP" sz="1400" dirty="0">
                <a:latin typeface="+mn-ea"/>
                <a:ea typeface="+mn-ea"/>
              </a:rPr>
              <a:t>10.8</a:t>
            </a:r>
            <a:r>
              <a:rPr lang="ja-JP" altLang="en-US" sz="1400" dirty="0">
                <a:latin typeface="+mn-ea"/>
                <a:ea typeface="+mn-ea"/>
              </a:rPr>
              <a:t>％</a:t>
            </a:r>
            <a:r>
              <a:rPr lang="en-US" altLang="ja-JP" sz="1400" dirty="0">
                <a:latin typeface="+mn-ea"/>
                <a:ea typeface="+mn-ea"/>
              </a:rPr>
              <a:t>)</a:t>
            </a:r>
            <a:r>
              <a:rPr lang="ja-JP" altLang="en-US" sz="1400" dirty="0" err="1">
                <a:latin typeface="+mn-ea"/>
                <a:ea typeface="+mn-ea"/>
              </a:rPr>
              <a:t>。</a:t>
            </a:r>
            <a:endParaRPr lang="ja-JP" altLang="en-US" sz="1400" dirty="0">
              <a:latin typeface="+mn-ea"/>
              <a:ea typeface="+mn-ea"/>
            </a:endParaRPr>
          </a:p>
        </p:txBody>
      </p:sp>
      <p:cxnSp>
        <p:nvCxnSpPr>
          <p:cNvPr id="7" name="直線矢印コネクタ 6"/>
          <p:cNvCxnSpPr/>
          <p:nvPr/>
        </p:nvCxnSpPr>
        <p:spPr>
          <a:xfrm>
            <a:off x="1121156" y="2305776"/>
            <a:ext cx="0" cy="197968"/>
          </a:xfrm>
          <a:prstGeom prst="straightConnector1">
            <a:avLst/>
          </a:prstGeom>
          <a:ln>
            <a:solidFill>
              <a:srgbClr val="FF00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 name="フッター プレースホルダー 2">
            <a:extLst>
              <a:ext uri="{FF2B5EF4-FFF2-40B4-BE49-F238E27FC236}">
                <a16:creationId xmlns:a16="http://schemas.microsoft.com/office/drawing/2014/main" id="{AEFCB4F3-8BF3-A4D3-BE3C-D0F81BE22CE8}"/>
              </a:ext>
            </a:extLst>
          </p:cNvPr>
          <p:cNvSpPr>
            <a:spLocks noGrp="1"/>
          </p:cNvSpPr>
          <p:nvPr>
            <p:ph type="ftr" sz="quarter" idx="11"/>
          </p:nvPr>
        </p:nvSpPr>
        <p:spPr/>
        <p:txBody>
          <a:bodyPr/>
          <a:lstStyle/>
          <a:p>
            <a:pPr>
              <a:defRPr/>
            </a:pPr>
            <a:endParaRPr lang="en-US" altLang="ja-JP"/>
          </a:p>
        </p:txBody>
      </p:sp>
      <p:sp>
        <p:nvSpPr>
          <p:cNvPr id="8" name="スライド番号プレースホルダー 7">
            <a:extLst>
              <a:ext uri="{FF2B5EF4-FFF2-40B4-BE49-F238E27FC236}">
                <a16:creationId xmlns:a16="http://schemas.microsoft.com/office/drawing/2014/main" id="{5C4A4575-6EBA-A0B2-2015-6E739DD30622}"/>
              </a:ext>
            </a:extLst>
          </p:cNvPr>
          <p:cNvSpPr>
            <a:spLocks noGrp="1"/>
          </p:cNvSpPr>
          <p:nvPr>
            <p:ph type="sldNum" sz="quarter" idx="12"/>
          </p:nvPr>
        </p:nvSpPr>
        <p:spPr/>
        <p:txBody>
          <a:bodyPr/>
          <a:lstStyle/>
          <a:p>
            <a:pPr>
              <a:defRPr/>
            </a:pPr>
            <a:fld id="{9C66F1FC-77AF-4AA3-AB67-8C31B36199A9}" type="slidenum">
              <a:rPr lang="en-US" altLang="ja-JP" smtClean="0"/>
              <a:pPr>
                <a:defRPr/>
              </a:pPr>
              <a:t>9</a:t>
            </a:fld>
            <a:endParaRPr lang="en-US" altLang="ja-JP"/>
          </a:p>
        </p:txBody>
      </p:sp>
    </p:spTree>
    <p:extLst>
      <p:ext uri="{BB962C8B-B14F-4D97-AF65-F5344CB8AC3E}">
        <p14:creationId xmlns:p14="http://schemas.microsoft.com/office/powerpoint/2010/main" val="22967969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人口ピラミッド（山間地域＝2010年）.png"/>
          <p:cNvPicPr>
            <a:picLocks noChangeAspect="1"/>
          </p:cNvPicPr>
          <p:nvPr/>
        </p:nvPicPr>
        <p:blipFill>
          <a:blip r:embed="rId3" cstate="print"/>
          <a:stretch>
            <a:fillRect/>
          </a:stretch>
        </p:blipFill>
        <p:spPr>
          <a:xfrm>
            <a:off x="5732169" y="1503302"/>
            <a:ext cx="2339884" cy="1685509"/>
          </a:xfrm>
          <a:prstGeom prst="rect">
            <a:avLst/>
          </a:prstGeom>
        </p:spPr>
      </p:pic>
      <p:sp>
        <p:nvSpPr>
          <p:cNvPr id="2" name="タイトル 1"/>
          <p:cNvSpPr>
            <a:spLocks noGrp="1"/>
          </p:cNvSpPr>
          <p:nvPr>
            <p:ph type="title"/>
          </p:nvPr>
        </p:nvSpPr>
        <p:spPr>
          <a:xfrm>
            <a:off x="0" y="51170"/>
            <a:ext cx="8696022" cy="516312"/>
          </a:xfrm>
        </p:spPr>
        <p:txBody>
          <a:bodyPr/>
          <a:lstStyle/>
          <a:p>
            <a:r>
              <a:rPr lang="ja-JP" altLang="en-US" sz="1950" dirty="0"/>
              <a:t>山間地域の人口</a:t>
            </a:r>
            <a:r>
              <a:rPr lang="en-US" altLang="ja-JP" sz="1950" dirty="0"/>
              <a:t>1000</a:t>
            </a:r>
            <a:r>
              <a:rPr lang="ja-JP" altLang="en-US" sz="1950" dirty="0"/>
              <a:t>人集落の趨勢将来推計人口と移住を見込んだ推計人口</a:t>
            </a:r>
          </a:p>
        </p:txBody>
      </p:sp>
      <p:sp>
        <p:nvSpPr>
          <p:cNvPr id="7" name="テキスト ボックス 6"/>
          <p:cNvSpPr txBox="1"/>
          <p:nvPr/>
        </p:nvSpPr>
        <p:spPr>
          <a:xfrm>
            <a:off x="7760068" y="2557310"/>
            <a:ext cx="771247" cy="345618"/>
          </a:xfrm>
          <a:prstGeom prst="rect">
            <a:avLst/>
          </a:prstGeom>
          <a:solidFill>
            <a:schemeClr val="bg1"/>
          </a:solidFill>
        </p:spPr>
        <p:txBody>
          <a:bodyPr wrap="none" lIns="38994" tIns="38994" rIns="38994" bIns="3899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201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人口</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口＝</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100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a:t>
            </a:r>
          </a:p>
        </p:txBody>
      </p:sp>
      <p:sp>
        <p:nvSpPr>
          <p:cNvPr id="23" name="テキスト ボックス 22"/>
          <p:cNvSpPr txBox="1"/>
          <p:nvPr/>
        </p:nvSpPr>
        <p:spPr>
          <a:xfrm>
            <a:off x="6188995" y="1319690"/>
            <a:ext cx="1436612" cy="2589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83" b="0" i="0" u="none" strike="noStrike" kern="1200" cap="none" spc="0" normalizeH="0" baseline="0" noProof="0" dirty="0">
                <a:ln>
                  <a:noFill/>
                </a:ln>
                <a:solidFill>
                  <a:srgbClr val="000000"/>
                </a:solidFill>
                <a:effectLst/>
                <a:uLnTx/>
                <a:uFillTx/>
                <a:latin typeface="Arial"/>
                <a:ea typeface="ＭＳ Ｐゴシック" pitchFamily="50" charset="-128"/>
                <a:cs typeface="+mn-cs"/>
              </a:rPr>
              <a:t>2010</a:t>
            </a:r>
            <a:r>
              <a:rPr kumimoji="1" lang="ja-JP" altLang="en-US" sz="1083"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人口ピラミッド</a:t>
            </a:r>
          </a:p>
        </p:txBody>
      </p:sp>
      <p:sp>
        <p:nvSpPr>
          <p:cNvPr id="24" name="テキスト ボックス 23"/>
          <p:cNvSpPr txBox="1"/>
          <p:nvPr/>
        </p:nvSpPr>
        <p:spPr>
          <a:xfrm>
            <a:off x="6158501" y="3337271"/>
            <a:ext cx="1715534" cy="25898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83" b="0" i="0" u="none" strike="noStrike" kern="1200" cap="none" spc="0" normalizeH="0" baseline="0" noProof="0" dirty="0">
                <a:ln>
                  <a:noFill/>
                </a:ln>
                <a:solidFill>
                  <a:srgbClr val="000000"/>
                </a:solidFill>
                <a:effectLst/>
                <a:uLnTx/>
                <a:uFillTx/>
                <a:latin typeface="Arial"/>
                <a:ea typeface="ＭＳ Ｐゴシック" pitchFamily="50" charset="-128"/>
                <a:cs typeface="+mn-cs"/>
              </a:rPr>
              <a:t>2050</a:t>
            </a:r>
            <a:r>
              <a:rPr kumimoji="1" lang="ja-JP" altLang="en-US" sz="1083"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推計人口ピラミッド</a:t>
            </a:r>
          </a:p>
        </p:txBody>
      </p:sp>
      <p:sp>
        <p:nvSpPr>
          <p:cNvPr id="19" name="テキスト ボックス 18"/>
          <p:cNvSpPr txBox="1"/>
          <p:nvPr/>
        </p:nvSpPr>
        <p:spPr>
          <a:xfrm>
            <a:off x="2" y="649814"/>
            <a:ext cx="9904411" cy="692497"/>
          </a:xfrm>
          <a:prstGeom prst="rect">
            <a:avLst/>
          </a:prstGeom>
          <a:noFill/>
          <a:ln w="19050">
            <a:solidFill>
              <a:srgbClr val="333399">
                <a:lumMod val="75000"/>
              </a:srgb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山間地域のモデル集落（人口</a:t>
            </a:r>
            <a:r>
              <a:rPr kumimoji="1" lang="en-US" altLang="ja-JP"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1000</a:t>
            </a:r>
            <a:r>
              <a:rPr kumimoji="1" lang="ja-JP" altLang="en-US"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における趨勢による</a:t>
            </a:r>
            <a:r>
              <a:rPr kumimoji="1" lang="en-US" altLang="ja-JP"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2050</a:t>
            </a:r>
            <a:r>
              <a:rPr kumimoji="1" lang="ja-JP" altLang="en-US"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推計人口は、総数は</a:t>
            </a:r>
            <a:r>
              <a:rPr kumimoji="1" lang="en-US" altLang="ja-JP"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309</a:t>
            </a:r>
            <a:r>
              <a:rPr kumimoji="1" lang="ja-JP" altLang="en-US"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にまで減少（△</a:t>
            </a:r>
            <a:r>
              <a:rPr kumimoji="1" lang="en-US" altLang="ja-JP"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69%</a:t>
            </a:r>
            <a:r>
              <a:rPr kumimoji="1" lang="ja-JP" altLang="en-US"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高齢化率</a:t>
            </a:r>
            <a:r>
              <a:rPr kumimoji="1" lang="en-US" altLang="ja-JP"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55%</a:t>
            </a:r>
            <a:r>
              <a:rPr kumimoji="1" lang="ja-JP" altLang="en-US"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となる。</a:t>
            </a:r>
            <a:endParaRPr kumimoji="1" lang="en-US" altLang="ja-JP" sz="1300"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a:t>
            </a:r>
            <a:r>
              <a:rPr kumimoji="1" lang="ja-JP" altLang="en-US" sz="1300" b="0" i="0" u="none" strike="noStrike" kern="1200" cap="none" spc="-22" normalizeH="0" baseline="0" noProof="0" dirty="0">
                <a:ln>
                  <a:noFill/>
                </a:ln>
                <a:solidFill>
                  <a:srgbClr val="000000"/>
                </a:solidFill>
                <a:effectLst/>
                <a:uLnTx/>
                <a:uFillTx/>
                <a:latin typeface="Arial"/>
                <a:ea typeface="ＭＳ Ｐゴシック" pitchFamily="50" charset="-128"/>
                <a:cs typeface="+mn-cs"/>
              </a:rPr>
              <a:t>仮に、移住（</a:t>
            </a:r>
            <a:r>
              <a:rPr kumimoji="1" lang="en-US" altLang="ja-JP" sz="1300" b="0" i="0" u="none" strike="noStrike" kern="1200" cap="none" spc="-22" normalizeH="0" baseline="0" noProof="0" dirty="0">
                <a:ln>
                  <a:noFill/>
                </a:ln>
                <a:solidFill>
                  <a:srgbClr val="000000"/>
                </a:solidFill>
                <a:effectLst/>
                <a:uLnTx/>
                <a:uFillTx/>
                <a:latin typeface="Arial"/>
                <a:ea typeface="ＭＳ Ｐゴシック" pitchFamily="50" charset="-128"/>
                <a:cs typeface="+mn-cs"/>
              </a:rPr>
              <a:t>10</a:t>
            </a:r>
            <a:r>
              <a:rPr kumimoji="1" lang="ja-JP" altLang="en-US" sz="1300" b="0" i="0" u="none" strike="noStrike" kern="1200" cap="none" spc="-22" normalizeH="0" baseline="0" noProof="0" dirty="0">
                <a:ln>
                  <a:noFill/>
                </a:ln>
                <a:solidFill>
                  <a:srgbClr val="000000"/>
                </a:solidFill>
                <a:effectLst/>
                <a:uLnTx/>
                <a:uFillTx/>
                <a:latin typeface="Arial"/>
                <a:ea typeface="ＭＳ Ｐゴシック" pitchFamily="50" charset="-128"/>
                <a:cs typeface="+mn-cs"/>
              </a:rPr>
              <a:t>人／年）を見込んだ場合、人口は減少するものの緩やかな減少にとどまるとともに、小中学生の人口（現状</a:t>
            </a:r>
            <a:r>
              <a:rPr kumimoji="1" lang="en-US" altLang="ja-JP" sz="1300" b="0" i="0" u="none" strike="noStrike" kern="1200" cap="none" spc="-22" normalizeH="0" baseline="0" noProof="0" dirty="0">
                <a:ln>
                  <a:noFill/>
                </a:ln>
                <a:solidFill>
                  <a:srgbClr val="000000"/>
                </a:solidFill>
                <a:effectLst/>
                <a:uLnTx/>
                <a:uFillTx/>
                <a:latin typeface="Arial"/>
                <a:ea typeface="ＭＳ Ｐゴシック" pitchFamily="50" charset="-128"/>
                <a:cs typeface="+mn-cs"/>
              </a:rPr>
              <a:t>71</a:t>
            </a:r>
            <a:r>
              <a:rPr kumimoji="1" lang="ja-JP" altLang="en-US" sz="1300" b="0" i="0" u="none" strike="noStrike" kern="1200" cap="none" spc="-22" normalizeH="0" baseline="0" noProof="0" dirty="0">
                <a:ln>
                  <a:noFill/>
                </a:ln>
                <a:solidFill>
                  <a:srgbClr val="000000"/>
                </a:solidFill>
                <a:effectLst/>
                <a:uLnTx/>
                <a:uFillTx/>
                <a:latin typeface="Arial"/>
                <a:ea typeface="ＭＳ Ｐゴシック" pitchFamily="50" charset="-128"/>
                <a:cs typeface="+mn-cs"/>
              </a:rPr>
              <a:t>人）は一定数を</a:t>
            </a:r>
            <a:endParaRPr kumimoji="1" lang="en-US" altLang="ja-JP" sz="1300" b="0" i="0" u="none" strike="noStrike" kern="1200" cap="none" spc="-22"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300" b="0" i="0" u="none" strike="noStrike" kern="1200" cap="none" spc="0" normalizeH="0" baseline="0" noProof="0" dirty="0">
                <a:ln>
                  <a:noFill/>
                </a:ln>
                <a:solidFill>
                  <a:srgbClr val="000000"/>
                </a:solidFill>
                <a:effectLst/>
                <a:uLnTx/>
                <a:uFillTx/>
                <a:latin typeface="Arial"/>
                <a:ea typeface="ＭＳ Ｐゴシック" pitchFamily="50" charset="-128"/>
                <a:cs typeface="+mn-cs"/>
              </a:rPr>
              <a:t>　維持できる。</a:t>
            </a:r>
          </a:p>
        </p:txBody>
      </p:sp>
      <p:graphicFrame>
        <p:nvGraphicFramePr>
          <p:cNvPr id="28" name="グラフ 27"/>
          <p:cNvGraphicFramePr/>
          <p:nvPr/>
        </p:nvGraphicFramePr>
        <p:xfrm>
          <a:off x="0" y="1387367"/>
          <a:ext cx="4718218" cy="37347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グラフ 28"/>
          <p:cNvGraphicFramePr/>
          <p:nvPr/>
        </p:nvGraphicFramePr>
        <p:xfrm>
          <a:off x="61904" y="5131183"/>
          <a:ext cx="4500324" cy="2310224"/>
        </p:xfrm>
        <a:graphic>
          <a:graphicData uri="http://schemas.openxmlformats.org/drawingml/2006/chart">
            <c:chart xmlns:c="http://schemas.openxmlformats.org/drawingml/2006/chart" xmlns:r="http://schemas.openxmlformats.org/officeDocument/2006/relationships" r:id="rId5"/>
          </a:graphicData>
        </a:graphic>
      </p:graphicFrame>
      <p:grpSp>
        <p:nvGrpSpPr>
          <p:cNvPr id="3" name="グループ化 35"/>
          <p:cNvGrpSpPr/>
          <p:nvPr/>
        </p:nvGrpSpPr>
        <p:grpSpPr>
          <a:xfrm>
            <a:off x="4592166" y="3569191"/>
            <a:ext cx="5322171" cy="2059375"/>
            <a:chOff x="4283968" y="3155057"/>
            <a:chExt cx="4913561" cy="1901266"/>
          </a:xfrm>
        </p:grpSpPr>
        <p:sp>
          <p:nvSpPr>
            <p:cNvPr id="13" name="テキスト ボックス 12"/>
            <p:cNvSpPr txBox="1"/>
            <p:nvPr/>
          </p:nvSpPr>
          <p:spPr>
            <a:xfrm>
              <a:off x="4390331" y="3155057"/>
              <a:ext cx="1114673" cy="138522"/>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趨勢による人口推計</a:t>
              </a:r>
            </a:p>
          </p:txBody>
        </p:sp>
        <p:sp>
          <p:nvSpPr>
            <p:cNvPr id="14" name="テキスト ボックス 13"/>
            <p:cNvSpPr txBox="1"/>
            <p:nvPr/>
          </p:nvSpPr>
          <p:spPr>
            <a:xfrm>
              <a:off x="7713018" y="3155057"/>
              <a:ext cx="1083310" cy="138522"/>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移住（</a:t>
              </a:r>
              <a:r>
                <a:rPr kumimoji="1" lang="en-US" altLang="ja-JP"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10</a:t>
              </a:r>
              <a:r>
                <a:rPr kumimoji="1" lang="ja-JP" altLang="en-US"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a:t>
              </a:r>
              <a:r>
                <a:rPr kumimoji="1" lang="en-US" altLang="ja-JP"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a:t>
              </a:r>
              <a:r>
                <a:rPr kumimoji="1" lang="ja-JP" altLang="en-US"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見込み</a:t>
              </a:r>
            </a:p>
          </p:txBody>
        </p:sp>
        <p:sp>
          <p:nvSpPr>
            <p:cNvPr id="9" name="テキスト ボックス 8"/>
            <p:cNvSpPr txBox="1"/>
            <p:nvPr/>
          </p:nvSpPr>
          <p:spPr>
            <a:xfrm>
              <a:off x="7896994" y="4860429"/>
              <a:ext cx="654317" cy="195894"/>
            </a:xfrm>
            <a:prstGeom prst="rect">
              <a:avLst/>
            </a:prstGeom>
            <a:solidFill>
              <a:schemeClr val="bg1"/>
            </a:solidFill>
          </p:spPr>
          <p:txBody>
            <a:bodyPr wrap="none" lIns="38994" tIns="38994" rIns="38994" bIns="3899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口＝</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743</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a:t>
              </a:r>
            </a:p>
          </p:txBody>
        </p:sp>
        <p:sp>
          <p:nvSpPr>
            <p:cNvPr id="8" name="テキスト ボックス 7"/>
            <p:cNvSpPr txBox="1"/>
            <p:nvPr/>
          </p:nvSpPr>
          <p:spPr>
            <a:xfrm>
              <a:off x="4532759" y="4860429"/>
              <a:ext cx="654317" cy="195894"/>
            </a:xfrm>
            <a:prstGeom prst="rect">
              <a:avLst/>
            </a:prstGeom>
            <a:solidFill>
              <a:schemeClr val="bg1"/>
            </a:solidFill>
          </p:spPr>
          <p:txBody>
            <a:bodyPr wrap="none" lIns="38994" tIns="38994" rIns="38994" bIns="3899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口＝</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309</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a:t>
              </a:r>
            </a:p>
          </p:txBody>
        </p:sp>
        <p:pic>
          <p:nvPicPr>
            <p:cNvPr id="31" name="図 30" descr="人口ピラミッド（山間地域＝2050年趨勢）.png"/>
            <p:cNvPicPr>
              <a:picLocks noChangeAspect="1"/>
            </p:cNvPicPr>
            <p:nvPr/>
          </p:nvPicPr>
          <p:blipFill>
            <a:blip r:embed="rId6" cstate="print"/>
            <a:stretch>
              <a:fillRect/>
            </a:stretch>
          </p:blipFill>
          <p:spPr>
            <a:xfrm>
              <a:off x="4283968" y="3284984"/>
              <a:ext cx="1450653" cy="1615356"/>
            </a:xfrm>
            <a:prstGeom prst="rect">
              <a:avLst/>
            </a:prstGeom>
          </p:spPr>
        </p:pic>
        <p:pic>
          <p:nvPicPr>
            <p:cNvPr id="32" name="図 31" descr="人口ピラミッド（山間地域＝2050年移住5人）.png"/>
            <p:cNvPicPr>
              <a:picLocks noChangeAspect="1"/>
            </p:cNvPicPr>
            <p:nvPr/>
          </p:nvPicPr>
          <p:blipFill>
            <a:blip r:embed="rId7" cstate="print"/>
            <a:stretch>
              <a:fillRect/>
            </a:stretch>
          </p:blipFill>
          <p:spPr>
            <a:xfrm>
              <a:off x="5724178" y="3305175"/>
              <a:ext cx="1474465" cy="1594187"/>
            </a:xfrm>
            <a:prstGeom prst="rect">
              <a:avLst/>
            </a:prstGeom>
          </p:spPr>
        </p:pic>
        <p:pic>
          <p:nvPicPr>
            <p:cNvPr id="33" name="図 32" descr="人口ピラミッド（山間地域＝2050年移住10人）.png"/>
            <p:cNvPicPr>
              <a:picLocks noChangeAspect="1"/>
            </p:cNvPicPr>
            <p:nvPr/>
          </p:nvPicPr>
          <p:blipFill>
            <a:blip r:embed="rId8" cstate="print"/>
            <a:stretch>
              <a:fillRect/>
            </a:stretch>
          </p:blipFill>
          <p:spPr>
            <a:xfrm>
              <a:off x="7193285" y="3284984"/>
              <a:ext cx="2004244" cy="1622483"/>
            </a:xfrm>
            <a:prstGeom prst="rect">
              <a:avLst/>
            </a:prstGeom>
          </p:spPr>
        </p:pic>
        <p:sp>
          <p:nvSpPr>
            <p:cNvPr id="34" name="テキスト ボックス 33"/>
            <p:cNvSpPr txBox="1"/>
            <p:nvPr/>
          </p:nvSpPr>
          <p:spPr>
            <a:xfrm>
              <a:off x="5895653" y="3155057"/>
              <a:ext cx="1019674" cy="138522"/>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移住（</a:t>
              </a:r>
              <a:r>
                <a:rPr kumimoji="1" lang="en-US" altLang="ja-JP"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5</a:t>
              </a:r>
              <a:r>
                <a:rPr kumimoji="1" lang="ja-JP" altLang="en-US"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a:t>
              </a:r>
              <a:r>
                <a:rPr kumimoji="1" lang="en-US" altLang="ja-JP"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a:t>
              </a:r>
              <a:r>
                <a:rPr kumimoji="1" lang="ja-JP" altLang="en-US" sz="975"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見込み</a:t>
              </a:r>
            </a:p>
          </p:txBody>
        </p:sp>
        <p:sp>
          <p:nvSpPr>
            <p:cNvPr id="35" name="テキスト ボックス 34"/>
            <p:cNvSpPr txBox="1"/>
            <p:nvPr/>
          </p:nvSpPr>
          <p:spPr>
            <a:xfrm>
              <a:off x="6059810" y="4860429"/>
              <a:ext cx="654317" cy="195894"/>
            </a:xfrm>
            <a:prstGeom prst="rect">
              <a:avLst/>
            </a:prstGeom>
            <a:solidFill>
              <a:schemeClr val="bg1"/>
            </a:solidFill>
          </p:spPr>
          <p:txBody>
            <a:bodyPr wrap="none" lIns="38994" tIns="38994" rIns="38994" bIns="38994"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口＝</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526</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a:t>
              </a:r>
            </a:p>
          </p:txBody>
        </p:sp>
      </p:grpSp>
      <p:sp>
        <p:nvSpPr>
          <p:cNvPr id="12" name="テキスト ボックス 11"/>
          <p:cNvSpPr txBox="1"/>
          <p:nvPr/>
        </p:nvSpPr>
        <p:spPr>
          <a:xfrm>
            <a:off x="4808190" y="5599160"/>
            <a:ext cx="5030202" cy="1826975"/>
          </a:xfrm>
          <a:prstGeom prst="rect">
            <a:avLst/>
          </a:prstGeom>
          <a:solidFill>
            <a:schemeClr val="bg1"/>
          </a:solidFill>
          <a:ln>
            <a:solidFill>
              <a:schemeClr val="accent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出典） 総務省「国勢調査報告」をもとに国土交通省国土政策局推計</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推計方法）</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山間地域は、農林統計に用いる農業地域類型のうち山間農業地域とした。（</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201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の山間地域の</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　人口は約</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383</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万人）</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山間地域の年齢別人口を集計し、人口</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100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の集落を仮定して、男女・年齢別人口を設定した。</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2005</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及び</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201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国勢調査人口から、山間地域のコーホート変化率を算出し、コーホート変化率法に</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　より、</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201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人口を基準として</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205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までの</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5</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ごとの人口を推計した。</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4</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歳人口の推計には、</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201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年のこども女性比を用いた。出生率に換算すると概ね</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1.47</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である。</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また、１年に</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1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5</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の移住があるものと仮定して、移住を見込んだ人口推計を行った。移住は、</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30</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　歳代前半の夫婦と</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4</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歳代のこども</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1</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人からなる世帯が２</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1)</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世帯、</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20</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歳代前半の男女が各</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2(1)</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名の</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　計</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10(5)</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名を仮定した。移住の仮定については、小田切徳美、藤山浩編著「地域再生のフロンティア」</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　</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p306</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a:t>
            </a:r>
            <a:r>
              <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p309</a:t>
            </a: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を参考として設定した。</a:t>
            </a:r>
            <a:endParaRPr kumimoji="1" lang="en-US" altLang="ja-JP" sz="867" b="0" i="0" u="none" strike="noStrike" kern="1200" cap="none" spc="0" normalizeH="0" baseline="0" noProof="0" dirty="0">
              <a:ln>
                <a:noFill/>
              </a:ln>
              <a:solidFill>
                <a:srgbClr val="000000"/>
              </a:solidFill>
              <a:effectLst/>
              <a:uLnTx/>
              <a:uFillTx/>
              <a:latin typeface="Arial"/>
              <a:ea typeface="ＭＳ Ｐゴシック"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67" b="0" i="0" u="none" strike="noStrike" kern="1200" cap="none" spc="0" normalizeH="0" baseline="0" noProof="0" dirty="0">
                <a:ln>
                  <a:noFill/>
                </a:ln>
                <a:solidFill>
                  <a:srgbClr val="000000"/>
                </a:solidFill>
                <a:effectLst/>
                <a:uLnTx/>
                <a:uFillTx/>
                <a:latin typeface="Arial"/>
                <a:ea typeface="ＭＳ Ｐゴシック" pitchFamily="50" charset="-128"/>
                <a:cs typeface="+mn-cs"/>
              </a:rPr>
              <a:t>○小中学生人口は、該当する年齢階級の人口を案分・合計して推計した。</a:t>
            </a:r>
          </a:p>
        </p:txBody>
      </p:sp>
      <p:sp>
        <p:nvSpPr>
          <p:cNvPr id="37" name="下矢印 36"/>
          <p:cNvSpPr/>
          <p:nvPr/>
        </p:nvSpPr>
        <p:spPr>
          <a:xfrm>
            <a:off x="6356137" y="3181279"/>
            <a:ext cx="1091946" cy="155992"/>
          </a:xfrm>
          <a:prstGeom prst="downArrow">
            <a:avLst/>
          </a:prstGeom>
          <a:ln w="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4" name="フッター プレースホルダー 3">
            <a:extLst>
              <a:ext uri="{FF2B5EF4-FFF2-40B4-BE49-F238E27FC236}">
                <a16:creationId xmlns:a16="http://schemas.microsoft.com/office/drawing/2014/main" id="{C27AAD26-7242-D3AF-65F2-F50CDB08FAE2}"/>
              </a:ext>
            </a:extLst>
          </p:cNvPr>
          <p:cNvSpPr>
            <a:spLocks noGrp="1"/>
          </p:cNvSpPr>
          <p:nvPr>
            <p:ph type="ftr" sz="quarter" idx="11"/>
          </p:nvPr>
        </p:nvSpPr>
        <p:spPr/>
        <p:txBody>
          <a:bodyPr/>
          <a:lstStyle/>
          <a:p>
            <a:endParaRPr lang="en-US" altLang="ja-JP">
              <a:solidFill>
                <a:srgbClr val="000000"/>
              </a:solidFill>
            </a:endParaRPr>
          </a:p>
        </p:txBody>
      </p:sp>
      <p:sp>
        <p:nvSpPr>
          <p:cNvPr id="5" name="スライド番号プレースホルダー 4">
            <a:extLst>
              <a:ext uri="{FF2B5EF4-FFF2-40B4-BE49-F238E27FC236}">
                <a16:creationId xmlns:a16="http://schemas.microsoft.com/office/drawing/2014/main" id="{F881DFD5-C685-BF1B-12EC-4B1F4B6EA6F6}"/>
              </a:ext>
            </a:extLst>
          </p:cNvPr>
          <p:cNvSpPr>
            <a:spLocks noGrp="1"/>
          </p:cNvSpPr>
          <p:nvPr>
            <p:ph type="sldNum" sz="quarter" idx="12"/>
          </p:nvPr>
        </p:nvSpPr>
        <p:spPr/>
        <p:txBody>
          <a:bodyPr/>
          <a:lstStyle/>
          <a:p>
            <a:fld id="{58668CC2-41FA-4E06-ADFC-EC4A0D39D016}" type="slidenum">
              <a:rPr lang="en-US" altLang="ja-JP" smtClean="0">
                <a:solidFill>
                  <a:srgbClr val="000000"/>
                </a:solidFill>
              </a:rPr>
              <a:pPr/>
              <a:t>10</a:t>
            </a:fld>
            <a:endParaRPr lang="en-US" altLang="ja-JP">
              <a:solidFill>
                <a:srgbClr val="000000"/>
              </a:solidFill>
            </a:endParaRPr>
          </a:p>
        </p:txBody>
      </p:sp>
    </p:spTree>
    <p:extLst>
      <p:ext uri="{BB962C8B-B14F-4D97-AF65-F5344CB8AC3E}">
        <p14:creationId xmlns:p14="http://schemas.microsoft.com/office/powerpoint/2010/main" val="2258590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台形 52"/>
          <p:cNvSpPr/>
          <p:nvPr/>
        </p:nvSpPr>
        <p:spPr>
          <a:xfrm>
            <a:off x="170429" y="6571812"/>
            <a:ext cx="9445639" cy="167116"/>
          </a:xfrm>
          <a:prstGeom prst="trapezoid">
            <a:avLst>
              <a:gd name="adj" fmla="val 59798"/>
            </a:avLst>
          </a:prstGeom>
          <a:solidFill>
            <a:srgbClr val="FFCC6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algn="ctr" defTabSz="505366">
              <a:defRPr/>
            </a:pPr>
            <a:endParaRPr lang="ja-JP" altLang="en-US" sz="995">
              <a:solidFill>
                <a:srgbClr val="FFFFFF"/>
              </a:solidFill>
              <a:latin typeface="Arial"/>
              <a:ea typeface="ＭＳ Ｐゴシック"/>
            </a:endParaRPr>
          </a:p>
        </p:txBody>
      </p:sp>
      <p:sp>
        <p:nvSpPr>
          <p:cNvPr id="50" name="正方形/長方形 49"/>
          <p:cNvSpPr/>
          <p:nvPr/>
        </p:nvSpPr>
        <p:spPr>
          <a:xfrm>
            <a:off x="6799367" y="6766781"/>
            <a:ext cx="2845073" cy="501348"/>
          </a:xfrm>
          <a:prstGeom prst="rect">
            <a:avLst/>
          </a:prstGeom>
          <a:solidFill>
            <a:schemeClr val="accent2">
              <a:lumMod val="75000"/>
            </a:schemeClr>
          </a:solidFill>
          <a:ln>
            <a:noFill/>
          </a:ln>
        </p:spPr>
        <p:style>
          <a:lnRef idx="2">
            <a:schemeClr val="accent2"/>
          </a:lnRef>
          <a:fillRef idx="1">
            <a:schemeClr val="lt1"/>
          </a:fillRef>
          <a:effectRef idx="0">
            <a:schemeClr val="accent2"/>
          </a:effectRef>
          <a:fontRef idx="minor">
            <a:schemeClr val="dk1"/>
          </a:fontRef>
        </p:style>
        <p:txBody>
          <a:bodyPr vert="horz" rtlCol="0" anchor="ctr"/>
          <a:lstStyle/>
          <a:p>
            <a:pPr algn="ctr" defTabSz="707499">
              <a:defRPr/>
            </a:pPr>
            <a:r>
              <a:rPr lang="ja-JP" altLang="ja-JP" sz="1548" kern="100" dirty="0">
                <a:solidFill>
                  <a:srgbClr val="FFFFFF"/>
                </a:solidFill>
                <a:latin typeface="HGP創英角ｺﾞｼｯｸUB"/>
                <a:ea typeface="HGP創英角ｺﾞｼｯｸUB"/>
                <a:cs typeface="Times New Roman" panose="02020603050405020304" pitchFamily="18" charset="0"/>
              </a:rPr>
              <a:t>計画の効果的推進</a:t>
            </a:r>
            <a:endParaRPr lang="en-US" altLang="ja-JP" sz="1548" kern="100" dirty="0">
              <a:solidFill>
                <a:srgbClr val="FFFFFF"/>
              </a:solidFill>
              <a:latin typeface="HGP創英角ｺﾞｼｯｸUB"/>
              <a:ea typeface="HGP創英角ｺﾞｼｯｸUB"/>
              <a:cs typeface="Times New Roman" panose="02020603050405020304" pitchFamily="18" charset="0"/>
            </a:endParaRPr>
          </a:p>
          <a:p>
            <a:pPr algn="ctr" defTabSz="707499">
              <a:defRPr/>
            </a:pPr>
            <a:r>
              <a:rPr lang="ja-JP" altLang="ja-JP" sz="1548" kern="100" dirty="0">
                <a:solidFill>
                  <a:srgbClr val="FFFFFF"/>
                </a:solidFill>
                <a:latin typeface="HGP創英角ｺﾞｼｯｸUB"/>
                <a:ea typeface="HGP創英角ｺﾞｼｯｸUB"/>
                <a:cs typeface="Times New Roman" panose="02020603050405020304" pitchFamily="18" charset="0"/>
              </a:rPr>
              <a:t>広域地方計画の策定・推進</a:t>
            </a:r>
            <a:endParaRPr lang="en-US" altLang="ja-JP" sz="1548" kern="100" dirty="0">
              <a:solidFill>
                <a:srgbClr val="FFFFFF"/>
              </a:solidFill>
              <a:latin typeface="HGP創英角ｺﾞｼｯｸUB"/>
              <a:ea typeface="HGP創英角ｺﾞｼｯｸUB"/>
              <a:cs typeface="Times New Roman" panose="02020603050405020304" pitchFamily="18" charset="0"/>
            </a:endParaRPr>
          </a:p>
        </p:txBody>
      </p:sp>
      <p:sp>
        <p:nvSpPr>
          <p:cNvPr id="13" name="正方形/長方形 12"/>
          <p:cNvSpPr/>
          <p:nvPr/>
        </p:nvSpPr>
        <p:spPr>
          <a:xfrm>
            <a:off x="6799366" y="7250372"/>
            <a:ext cx="3371456" cy="367921"/>
          </a:xfrm>
          <a:prstGeom prst="rect">
            <a:avLst/>
          </a:prstGeom>
        </p:spPr>
        <p:txBody>
          <a:bodyPr wrap="square">
            <a:spAutoFit/>
          </a:bodyPr>
          <a:lstStyle/>
          <a:p>
            <a:pPr defTabSz="707499">
              <a:defRPr/>
            </a:pPr>
            <a:r>
              <a:rPr lang="ja-JP" altLang="en-US" sz="812" dirty="0">
                <a:solidFill>
                  <a:srgbClr val="000000"/>
                </a:solidFill>
                <a:latin typeface="ＭＳ Ｐゴシック"/>
                <a:ea typeface="ＭＳ Ｐゴシック"/>
              </a:rPr>
              <a:t>○地理空間情報等を活用したマネジメントサイクルと評価の実施</a:t>
            </a:r>
            <a:endParaRPr lang="en-US" altLang="ja-JP" sz="812" dirty="0">
              <a:solidFill>
                <a:srgbClr val="000000"/>
              </a:solidFill>
              <a:latin typeface="ＭＳ Ｐゴシック"/>
              <a:ea typeface="ＭＳ Ｐゴシック"/>
            </a:endParaRPr>
          </a:p>
          <a:p>
            <a:pPr defTabSz="707499">
              <a:spcBef>
                <a:spcPts val="155"/>
              </a:spcBef>
              <a:defRPr/>
            </a:pPr>
            <a:r>
              <a:rPr lang="ja-JP" altLang="en-US" sz="812" dirty="0">
                <a:solidFill>
                  <a:srgbClr val="000000"/>
                </a:solidFill>
                <a:latin typeface="ＭＳ Ｐゴシック"/>
                <a:ea typeface="ＭＳ Ｐゴシック"/>
              </a:rPr>
              <a:t>○広域地方計画協議会を通じた広域地方計画の策定・推進</a:t>
            </a:r>
          </a:p>
        </p:txBody>
      </p:sp>
      <p:sp>
        <p:nvSpPr>
          <p:cNvPr id="52" name="正方形/長方形 51"/>
          <p:cNvSpPr/>
          <p:nvPr/>
        </p:nvSpPr>
        <p:spPr>
          <a:xfrm>
            <a:off x="114722" y="6766781"/>
            <a:ext cx="6628938" cy="278527"/>
          </a:xfrm>
          <a:prstGeom prst="rect">
            <a:avLst/>
          </a:prstGeom>
          <a:solidFill>
            <a:schemeClr val="accent2">
              <a:lumMod val="75000"/>
            </a:schemeClr>
          </a:solidFill>
          <a:ln>
            <a:noFill/>
          </a:ln>
        </p:spPr>
        <p:style>
          <a:lnRef idx="2">
            <a:schemeClr val="accent2"/>
          </a:lnRef>
          <a:fillRef idx="1">
            <a:schemeClr val="lt1"/>
          </a:fillRef>
          <a:effectRef idx="0">
            <a:schemeClr val="accent2"/>
          </a:effectRef>
          <a:fontRef idx="minor">
            <a:schemeClr val="dk1"/>
          </a:fontRef>
        </p:style>
        <p:txBody>
          <a:bodyPr vert="horz" rtlCol="0" anchor="ctr"/>
          <a:lstStyle/>
          <a:p>
            <a:pPr algn="ctr" defTabSz="707499">
              <a:defRPr/>
            </a:pPr>
            <a:r>
              <a:rPr lang="ja-JP" altLang="en-US" sz="1548" dirty="0">
                <a:solidFill>
                  <a:srgbClr val="FFFFFF"/>
                </a:solidFill>
                <a:latin typeface="HGP創英角ｺﾞｼｯｸUB"/>
                <a:ea typeface="HGP創英角ｺﾞｼｯｸUB"/>
              </a:rPr>
              <a:t>分野別施策の基本的方向</a:t>
            </a:r>
          </a:p>
        </p:txBody>
      </p:sp>
      <p:grpSp>
        <p:nvGrpSpPr>
          <p:cNvPr id="3" name="グループ化 2"/>
          <p:cNvGrpSpPr/>
          <p:nvPr/>
        </p:nvGrpSpPr>
        <p:grpSpPr>
          <a:xfrm>
            <a:off x="114721" y="778455"/>
            <a:ext cx="9673247" cy="5960473"/>
            <a:chOff x="1278767" y="845747"/>
            <a:chExt cx="10517879" cy="7704000"/>
          </a:xfrm>
        </p:grpSpPr>
        <p:sp>
          <p:nvSpPr>
            <p:cNvPr id="20" name="テキスト ボックス 19"/>
            <p:cNvSpPr txBox="1"/>
            <p:nvPr/>
          </p:nvSpPr>
          <p:spPr>
            <a:xfrm>
              <a:off x="1278770" y="2717747"/>
              <a:ext cx="10517876" cy="2664000"/>
            </a:xfrm>
            <a:prstGeom prst="rect">
              <a:avLst/>
            </a:prstGeom>
            <a:solidFill>
              <a:srgbClr val="CCCCFF">
                <a:alpha val="49804"/>
              </a:srgbClr>
            </a:solidFill>
            <a:ln w="19050">
              <a:noFill/>
            </a:ln>
          </p:spPr>
          <p:txBody>
            <a:bodyPr wrap="square" rtlCol="0">
              <a:noAutofit/>
            </a:bodyPr>
            <a:lstStyle/>
            <a:p>
              <a:pPr algn="ctr" defTabSz="505366">
                <a:defRPr/>
              </a:pPr>
              <a:r>
                <a:rPr lang="ja-JP" altLang="en-US" sz="1393" b="1" dirty="0">
                  <a:solidFill>
                    <a:srgbClr val="000000"/>
                  </a:solidFill>
                  <a:latin typeface="HGP創英角ｺﾞｼｯｸUB"/>
                  <a:ea typeface="HGP創英角ｺﾞｼｯｸUB"/>
                </a:rPr>
                <a:t>目指す国土の姿</a:t>
              </a:r>
              <a:r>
                <a:rPr lang="ja-JP" altLang="en-US" sz="1393" b="1" dirty="0">
                  <a:solidFill>
                    <a:srgbClr val="FF0000"/>
                  </a:solidFill>
                  <a:latin typeface="HGP創英角ｺﾞｼｯｸUB"/>
                  <a:ea typeface="HGP創英角ｺﾞｼｯｸUB"/>
                </a:rPr>
                <a:t>　「新時代に地域力をつなぐ国土　</a:t>
              </a:r>
              <a:r>
                <a:rPr lang="ja-JP" altLang="en-US" sz="1238" b="1" dirty="0">
                  <a:solidFill>
                    <a:srgbClr val="FF0000"/>
                  </a:solidFill>
                  <a:latin typeface="HGP創英角ｺﾞｼｯｸUB"/>
                  <a:ea typeface="HGP創英角ｺﾞｼｯｸUB"/>
                </a:rPr>
                <a:t>～列島を支える新たな地域マネジメントの構築～</a:t>
              </a:r>
              <a:r>
                <a:rPr lang="ja-JP" altLang="en-US" sz="1393" b="1" dirty="0">
                  <a:solidFill>
                    <a:srgbClr val="FF0000"/>
                  </a:solidFill>
                  <a:latin typeface="HGP創英角ｺﾞｼｯｸUB"/>
                  <a:ea typeface="HGP創英角ｺﾞｼｯｸUB"/>
                </a:rPr>
                <a:t>」</a:t>
              </a:r>
              <a:endParaRPr lang="en-US" altLang="ja-JP" sz="1393" b="1" dirty="0">
                <a:solidFill>
                  <a:srgbClr val="FF0000"/>
                </a:solidFill>
                <a:latin typeface="HGP創英角ｺﾞｼｯｸUB"/>
                <a:ea typeface="HGP創英角ｺﾞｼｯｸUB"/>
              </a:endParaRPr>
            </a:p>
          </p:txBody>
        </p:sp>
        <p:sp>
          <p:nvSpPr>
            <p:cNvPr id="18" name="台形 17"/>
            <p:cNvSpPr/>
            <p:nvPr/>
          </p:nvSpPr>
          <p:spPr>
            <a:xfrm>
              <a:off x="1433445" y="7793747"/>
              <a:ext cx="10053851" cy="504000"/>
            </a:xfrm>
            <a:prstGeom prst="trapezoid">
              <a:avLst>
                <a:gd name="adj" fmla="val 59798"/>
              </a:avLst>
            </a:prstGeom>
            <a:solidFill>
              <a:srgbClr val="FFCC66">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algn="ctr" defTabSz="505366">
                <a:defRPr/>
              </a:pPr>
              <a:endParaRPr lang="ja-JP" altLang="en-US" sz="995">
                <a:solidFill>
                  <a:srgbClr val="FFFFFF"/>
                </a:solidFill>
                <a:latin typeface="Arial"/>
                <a:ea typeface="ＭＳ Ｐゴシック"/>
              </a:endParaRPr>
            </a:p>
          </p:txBody>
        </p:sp>
        <p:sp>
          <p:nvSpPr>
            <p:cNvPr id="21" name="正方形/長方形 20"/>
            <p:cNvSpPr/>
            <p:nvPr/>
          </p:nvSpPr>
          <p:spPr>
            <a:xfrm>
              <a:off x="1742793" y="5417747"/>
              <a:ext cx="4392760" cy="2340000"/>
            </a:xfrm>
            <a:prstGeom prst="rect">
              <a:avLst/>
            </a:prstGeom>
            <a:solidFill>
              <a:srgbClr val="CCFFCC">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9632" rIns="55706" rtlCol="0" anchor="t"/>
            <a:lstStyle/>
            <a:p>
              <a:pPr algn="ctr" defTabSz="505366">
                <a:defRPr/>
              </a:pPr>
              <a:r>
                <a:rPr lang="ja-JP" altLang="en-US" sz="1238" b="1" i="1" dirty="0">
                  <a:solidFill>
                    <a:srgbClr val="FF0000"/>
                  </a:solidFill>
                  <a:latin typeface="HGP創英角ｺﾞｼｯｸUB"/>
                  <a:ea typeface="ＭＳ Ｐゴシック"/>
                </a:rPr>
                <a:t>デジタルとリアルが融合した地域生活圏の形成</a:t>
              </a:r>
              <a:endParaRPr lang="en-US" altLang="ja-JP" sz="1238" b="1" i="1" dirty="0">
                <a:solidFill>
                  <a:srgbClr val="FF0000"/>
                </a:solidFill>
                <a:latin typeface="HGP創英角ｺﾞｼｯｸUB"/>
                <a:ea typeface="ＭＳ Ｐゴシック"/>
              </a:endParaRPr>
            </a:p>
            <a:p>
              <a:pPr marL="221098" indent="-154769" defTabSz="505366">
                <a:spcBef>
                  <a:spcPts val="465"/>
                </a:spcBef>
                <a:buFont typeface="Wingdings" panose="05000000000000000000" pitchFamily="2" charset="2"/>
                <a:buChar char="l"/>
                <a:defRPr/>
              </a:pPr>
              <a:r>
                <a:rPr lang="ja-JP" altLang="en-US" sz="812" dirty="0">
                  <a:solidFill>
                    <a:srgbClr val="000000"/>
                  </a:solidFill>
                  <a:latin typeface="ＭＳ Ｐゴシック"/>
                  <a:ea typeface="ＭＳ Ｐゴシック"/>
                </a:rPr>
                <a:t>「地方の豊かさ」と「都市の利便性」の融合</a:t>
              </a:r>
              <a:endParaRPr lang="en-US" altLang="ja-JP" sz="812" dirty="0">
                <a:solidFill>
                  <a:srgbClr val="000000"/>
                </a:solidFill>
                <a:latin typeface="ＭＳ Ｐゴシック"/>
                <a:ea typeface="ＭＳ Ｐゴシック"/>
              </a:endParaRPr>
            </a:p>
            <a:p>
              <a:pPr marL="221098" indent="-154769" defTabSz="505366">
                <a:spcBef>
                  <a:spcPts val="155"/>
                </a:spcBef>
                <a:buFont typeface="Wingdings" panose="05000000000000000000" pitchFamily="2" charset="2"/>
                <a:buChar char="l"/>
                <a:defRPr/>
              </a:pPr>
              <a:r>
                <a:rPr lang="ja-JP" altLang="en-US" sz="812" dirty="0">
                  <a:solidFill>
                    <a:srgbClr val="000000"/>
                  </a:solidFill>
                  <a:latin typeface="ＭＳ Ｐゴシック"/>
                </a:rPr>
                <a:t>生活圏人口１０万人程度以上を一つの目安として想定した地域づくり</a:t>
              </a:r>
              <a:endParaRPr lang="en-US" altLang="ja-JP" sz="812" dirty="0">
                <a:solidFill>
                  <a:srgbClr val="000000"/>
                </a:solidFill>
                <a:latin typeface="ＭＳ Ｐゴシック"/>
              </a:endParaRPr>
            </a:p>
            <a:p>
              <a:pPr marL="66330" defTabSz="505366">
                <a:spcBef>
                  <a:spcPts val="155"/>
                </a:spcBef>
                <a:defRPr/>
              </a:pPr>
              <a:r>
                <a:rPr lang="ja-JP" altLang="en-US" sz="812" dirty="0">
                  <a:solidFill>
                    <a:srgbClr val="000000"/>
                  </a:solidFill>
                  <a:latin typeface="ＭＳ Ｐゴシック"/>
                  <a:ea typeface="ＭＳ Ｐゴシック"/>
                </a:rPr>
                <a:t>　　（地域の生活・経済の実態に即した市町村界にとらわれない地域間の連携・補完）</a:t>
              </a:r>
              <a:endParaRPr lang="en-US" altLang="ja-JP" sz="812" dirty="0">
                <a:solidFill>
                  <a:srgbClr val="000000"/>
                </a:solidFill>
                <a:latin typeface="ＭＳ Ｐゴシック"/>
                <a:ea typeface="ＭＳ Ｐゴシック"/>
              </a:endParaRPr>
            </a:p>
            <a:p>
              <a:pPr marL="221098" indent="-154769" defTabSz="505366">
                <a:spcBef>
                  <a:spcPts val="155"/>
                </a:spcBef>
                <a:buFont typeface="Wingdings" panose="05000000000000000000" pitchFamily="2" charset="2"/>
                <a:buChar char="l"/>
                <a:defRPr/>
              </a:pPr>
              <a:r>
                <a:rPr lang="ja-JP" altLang="en-US" sz="812" dirty="0">
                  <a:solidFill>
                    <a:srgbClr val="000000"/>
                  </a:solidFill>
                  <a:latin typeface="ＭＳ Ｐゴシック"/>
                  <a:ea typeface="ＭＳ Ｐゴシック"/>
                </a:rPr>
                <a:t>「共」の視点からの地域経営</a:t>
              </a:r>
              <a:r>
                <a:rPr lang="ja-JP" altLang="en-US" sz="696" dirty="0">
                  <a:solidFill>
                    <a:srgbClr val="000000"/>
                  </a:solidFill>
                  <a:latin typeface="ＭＳ Ｐゴシック"/>
                  <a:ea typeface="ＭＳ Ｐゴシック"/>
                </a:rPr>
                <a:t>（サービス・活動を「兼ねる、束ねる、繋げる」発想への転換）</a:t>
              </a:r>
              <a:endParaRPr lang="en-US" altLang="ja-JP" sz="696" dirty="0">
                <a:solidFill>
                  <a:srgbClr val="000000"/>
                </a:solidFill>
                <a:latin typeface="ＭＳ Ｐゴシック"/>
                <a:ea typeface="ＭＳ Ｐゴシック"/>
              </a:endParaRPr>
            </a:p>
            <a:p>
              <a:pPr marL="413936" indent="-132656" defTabSz="505366">
                <a:buFont typeface="Wingdings" panose="05000000000000000000" pitchFamily="2" charset="2"/>
                <a:buChar char="ü"/>
                <a:defRPr/>
              </a:pPr>
              <a:r>
                <a:rPr lang="ja-JP" altLang="en-US" sz="812" dirty="0">
                  <a:solidFill>
                    <a:srgbClr val="000000"/>
                  </a:solidFill>
                  <a:latin typeface="ＭＳ Ｐゴシック"/>
                  <a:ea typeface="ＭＳ Ｐゴシック"/>
                </a:rPr>
                <a:t>主体の連携、事業の連携、地域の連携</a:t>
              </a:r>
              <a:endParaRPr lang="en-US" altLang="ja-JP" sz="812" dirty="0">
                <a:solidFill>
                  <a:srgbClr val="000000"/>
                </a:solidFill>
                <a:latin typeface="ＭＳ Ｐゴシック"/>
                <a:ea typeface="ＭＳ Ｐゴシック"/>
              </a:endParaRPr>
            </a:p>
            <a:p>
              <a:pPr marL="221098" indent="-154769" defTabSz="505366">
                <a:spcBef>
                  <a:spcPts val="155"/>
                </a:spcBef>
                <a:buFont typeface="Wingdings" panose="05000000000000000000" pitchFamily="2" charset="2"/>
                <a:buChar char="l"/>
                <a:defRPr/>
              </a:pPr>
              <a:r>
                <a:rPr lang="ja-JP" altLang="en-US" sz="812" dirty="0">
                  <a:solidFill>
                    <a:srgbClr val="000000"/>
                  </a:solidFill>
                  <a:latin typeface="ＭＳ Ｐゴシック"/>
                  <a:ea typeface="ＭＳ Ｐゴシック"/>
                </a:rPr>
                <a:t>デジタルの徹底活用によるリアルの地域空間の質的向上</a:t>
              </a:r>
              <a:endParaRPr lang="en-US" altLang="ja-JP" sz="812" dirty="0">
                <a:solidFill>
                  <a:srgbClr val="000000"/>
                </a:solidFill>
                <a:latin typeface="ＭＳ Ｐゴシック"/>
                <a:ea typeface="ＭＳ Ｐゴシック"/>
              </a:endParaRPr>
            </a:p>
            <a:p>
              <a:pPr marL="413936" indent="-132656" defTabSz="505366">
                <a:buFont typeface="Wingdings" panose="05000000000000000000" pitchFamily="2" charset="2"/>
                <a:buChar char="ü"/>
                <a:defRPr/>
              </a:pPr>
              <a:r>
                <a:rPr lang="ja-JP" altLang="en-US" sz="812" dirty="0">
                  <a:solidFill>
                    <a:srgbClr val="000000"/>
                  </a:solidFill>
                  <a:latin typeface="ＭＳ Ｐゴシック"/>
                  <a:ea typeface="ＭＳ Ｐゴシック"/>
                </a:rPr>
                <a:t>デジタルインフラ・データ連携基盤・デジタル社会実装基盤の整備、自動運転、</a:t>
              </a:r>
              <a:endParaRPr lang="en-US" altLang="ja-JP" sz="812" dirty="0">
                <a:solidFill>
                  <a:srgbClr val="000000"/>
                </a:solidFill>
                <a:latin typeface="ＭＳ Ｐゴシック"/>
                <a:ea typeface="ＭＳ Ｐゴシック"/>
              </a:endParaRPr>
            </a:p>
            <a:p>
              <a:pPr marL="281280" defTabSz="505366">
                <a:defRPr/>
              </a:pPr>
              <a:r>
                <a:rPr lang="en-US" altLang="ja-JP" sz="812" dirty="0">
                  <a:solidFill>
                    <a:srgbClr val="000000"/>
                  </a:solidFill>
                  <a:latin typeface="ＭＳ Ｐゴシック"/>
                  <a:ea typeface="ＭＳ Ｐゴシック"/>
                </a:rPr>
                <a:t>     </a:t>
              </a:r>
              <a:r>
                <a:rPr lang="ja-JP" altLang="en-US" sz="812" dirty="0">
                  <a:solidFill>
                    <a:srgbClr val="000000"/>
                  </a:solidFill>
                  <a:latin typeface="ＭＳ Ｐゴシック"/>
                  <a:ea typeface="ＭＳ Ｐゴシック"/>
                </a:rPr>
                <a:t>ドローン物流、遠隔医療・教育等のデジタル技術サービスの実装の加速化</a:t>
              </a:r>
              <a:endParaRPr lang="en-US" altLang="ja-JP" sz="812" dirty="0">
                <a:solidFill>
                  <a:srgbClr val="000000"/>
                </a:solidFill>
                <a:latin typeface="ＭＳ Ｐゴシック"/>
                <a:ea typeface="ＭＳ Ｐゴシック"/>
              </a:endParaRPr>
            </a:p>
            <a:p>
              <a:pPr marL="413936" indent="-132656" defTabSz="505366">
                <a:buFont typeface="Wingdings" panose="05000000000000000000" pitchFamily="2" charset="2"/>
                <a:buChar char="ü"/>
                <a:defRPr/>
              </a:pPr>
              <a:r>
                <a:rPr lang="ja-JP" altLang="en-US" sz="812" dirty="0">
                  <a:solidFill>
                    <a:srgbClr val="000000"/>
                  </a:solidFill>
                  <a:latin typeface="ＭＳ Ｐゴシック"/>
                  <a:ea typeface="ＭＳ Ｐゴシック"/>
                </a:rPr>
                <a:t>地域交通の再構築、多世代交流まちづくり、デジ活中山間地域、転職なき　　　　移住・二地域居住など、デジタル活用を含めたリアル空間での利便性向上</a:t>
              </a:r>
              <a:endParaRPr lang="en-US" altLang="ja-JP" sz="812" dirty="0">
                <a:solidFill>
                  <a:srgbClr val="000000"/>
                </a:solidFill>
                <a:latin typeface="ＭＳ Ｐゴシック"/>
                <a:ea typeface="ＭＳ Ｐゴシック"/>
              </a:endParaRPr>
            </a:p>
            <a:p>
              <a:pPr marL="221098" indent="-154769" defTabSz="505366">
                <a:spcBef>
                  <a:spcPts val="155"/>
                </a:spcBef>
                <a:buFont typeface="Wingdings" panose="05000000000000000000" pitchFamily="2" charset="2"/>
                <a:buChar char="l"/>
                <a:defRPr/>
              </a:pPr>
              <a:r>
                <a:rPr lang="ja-JP" altLang="en-US" sz="812" dirty="0">
                  <a:solidFill>
                    <a:srgbClr val="000000"/>
                  </a:solidFill>
                  <a:latin typeface="ＭＳ Ｐゴシック"/>
                  <a:ea typeface="ＭＳ Ｐゴシック"/>
                </a:rPr>
                <a:t>民の力の最大限活用、官民パートナーシップによる地域経営主体の創出・拡大</a:t>
              </a:r>
            </a:p>
          </p:txBody>
        </p:sp>
        <p:sp>
          <p:nvSpPr>
            <p:cNvPr id="25" name="正方形/長方形 24"/>
            <p:cNvSpPr/>
            <p:nvPr/>
          </p:nvSpPr>
          <p:spPr>
            <a:xfrm>
              <a:off x="6290229" y="5417747"/>
              <a:ext cx="4825849" cy="756000"/>
            </a:xfrm>
            <a:prstGeom prst="rect">
              <a:avLst/>
            </a:prstGeom>
            <a:solidFill>
              <a:srgbClr val="CCFF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5366">
                <a:defRPr/>
              </a:pPr>
              <a:r>
                <a:rPr lang="ja-JP" altLang="en-US" sz="1238" b="1" i="1" dirty="0">
                  <a:solidFill>
                    <a:srgbClr val="FF0000"/>
                  </a:solidFill>
                  <a:latin typeface="ＭＳ Ｐゴシック"/>
                  <a:ea typeface="ＭＳ Ｐゴシック"/>
                </a:rPr>
                <a:t>持続可能な産業への構造転換</a:t>
              </a:r>
              <a:endParaRPr lang="en-US" altLang="ja-JP" sz="1238" b="1" i="1" dirty="0">
                <a:solidFill>
                  <a:srgbClr val="FF0000"/>
                </a:solidFill>
                <a:latin typeface="ＭＳ Ｐゴシック"/>
                <a:ea typeface="ＭＳ Ｐゴシック"/>
              </a:endParaRPr>
            </a:p>
            <a:p>
              <a:pPr marL="140025" indent="-140025" defTabSz="505366">
                <a:buFont typeface="Wingdings" panose="05000000000000000000" pitchFamily="2" charset="2"/>
                <a:buChar char="l"/>
                <a:defRPr/>
              </a:pPr>
              <a:r>
                <a:rPr lang="en-US" altLang="ja-JP" sz="773" dirty="0">
                  <a:solidFill>
                    <a:srgbClr val="000000"/>
                  </a:solidFill>
                  <a:latin typeface="ＭＳ Ｐゴシック"/>
                  <a:ea typeface="ＭＳ Ｐゴシック"/>
                </a:rPr>
                <a:t>GX</a:t>
              </a:r>
              <a:r>
                <a:rPr lang="ja-JP" altLang="en-US" sz="773" dirty="0" err="1">
                  <a:solidFill>
                    <a:srgbClr val="000000"/>
                  </a:solidFill>
                  <a:latin typeface="ＭＳ Ｐゴシック"/>
                  <a:ea typeface="ＭＳ Ｐゴシック"/>
                </a:rPr>
                <a:t>、</a:t>
              </a:r>
              <a:r>
                <a:rPr lang="en-US" altLang="ja-JP" sz="773" dirty="0">
                  <a:solidFill>
                    <a:srgbClr val="000000"/>
                  </a:solidFill>
                  <a:latin typeface="ＭＳ Ｐゴシック"/>
                  <a:ea typeface="ＭＳ Ｐゴシック"/>
                </a:rPr>
                <a:t>DX</a:t>
              </a:r>
              <a:r>
                <a:rPr lang="ja-JP" altLang="en-US" sz="773" dirty="0" err="1">
                  <a:solidFill>
                    <a:srgbClr val="000000"/>
                  </a:solidFill>
                  <a:latin typeface="ＭＳ Ｐゴシック"/>
                  <a:ea typeface="ＭＳ Ｐゴシック"/>
                </a:rPr>
                <a:t>、</a:t>
              </a:r>
              <a:r>
                <a:rPr lang="ja-JP" altLang="en-US" sz="773" dirty="0">
                  <a:solidFill>
                    <a:srgbClr val="000000"/>
                  </a:solidFill>
                  <a:latin typeface="ＭＳ Ｐゴシック"/>
                  <a:ea typeface="ＭＳ Ｐゴシック"/>
                </a:rPr>
                <a:t>経済安保等を踏まえた成長産業の全国的な分散立地等</a:t>
              </a:r>
              <a:endParaRPr lang="en-US" altLang="ja-JP" sz="773" dirty="0">
                <a:solidFill>
                  <a:srgbClr val="000000"/>
                </a:solidFill>
                <a:latin typeface="ＭＳ Ｐゴシック"/>
                <a:ea typeface="ＭＳ Ｐゴシック"/>
              </a:endParaRPr>
            </a:p>
            <a:p>
              <a:pPr marL="140025" indent="-140025" defTabSz="505366">
                <a:buFont typeface="Wingdings" panose="05000000000000000000" pitchFamily="2" charset="2"/>
                <a:buChar char="l"/>
                <a:defRPr/>
              </a:pPr>
              <a:r>
                <a:rPr lang="ja-JP" altLang="en-US" sz="773" dirty="0">
                  <a:solidFill>
                    <a:srgbClr val="000000"/>
                  </a:solidFill>
                  <a:latin typeface="ＭＳ Ｐゴシック"/>
                  <a:ea typeface="ＭＳ Ｐゴシック"/>
                </a:rPr>
                <a:t>既存コンビナート等の水素・アンモニア等への転換を通じた基幹産業拠点の強化・再生</a:t>
              </a:r>
              <a:endParaRPr lang="en-US" altLang="ja-JP" sz="773" dirty="0">
                <a:solidFill>
                  <a:srgbClr val="000000"/>
                </a:solidFill>
                <a:latin typeface="ＭＳ Ｐゴシック"/>
                <a:ea typeface="ＭＳ Ｐゴシック"/>
              </a:endParaRPr>
            </a:p>
            <a:p>
              <a:pPr marL="140025" indent="-140025" defTabSz="505366">
                <a:buFont typeface="Wingdings" panose="05000000000000000000" pitchFamily="2" charset="2"/>
                <a:buChar char="l"/>
                <a:defRPr/>
              </a:pPr>
              <a:r>
                <a:rPr lang="ja-JP" altLang="en-US" sz="773" dirty="0">
                  <a:solidFill>
                    <a:srgbClr val="000000"/>
                  </a:solidFill>
                  <a:latin typeface="ＭＳ Ｐゴシック"/>
                  <a:ea typeface="ＭＳ Ｐゴシック"/>
                </a:rPr>
                <a:t>スタートアップの促進、働きがいのある雇用の拡大等を通じた地域産業の稼ぐ力の向上　等</a:t>
              </a:r>
            </a:p>
          </p:txBody>
        </p:sp>
        <p:sp>
          <p:nvSpPr>
            <p:cNvPr id="29" name="正方形/長方形 28"/>
            <p:cNvSpPr/>
            <p:nvPr/>
          </p:nvSpPr>
          <p:spPr>
            <a:xfrm>
              <a:off x="6290229" y="7001747"/>
              <a:ext cx="4825849" cy="756000"/>
            </a:xfrm>
            <a:prstGeom prst="rect">
              <a:avLst/>
            </a:prstGeom>
            <a:solidFill>
              <a:srgbClr val="CCFFCC">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5366">
                <a:defRPr/>
              </a:pPr>
              <a:r>
                <a:rPr lang="ja-JP" altLang="en-US" sz="1238" b="1" i="1" dirty="0">
                  <a:solidFill>
                    <a:srgbClr val="FF0000"/>
                  </a:solidFill>
                  <a:latin typeface="ＭＳ Ｐゴシック"/>
                  <a:ea typeface="ＭＳ Ｐゴシック"/>
                </a:rPr>
                <a:t>人口減少下の国土利用・管理</a:t>
              </a:r>
              <a:endParaRPr lang="en-US" altLang="ja-JP" sz="1238" b="1" i="1" dirty="0">
                <a:solidFill>
                  <a:srgbClr val="FF0000"/>
                </a:solidFill>
                <a:latin typeface="ＭＳ Ｐゴシック"/>
                <a:ea typeface="ＭＳ Ｐゴシック"/>
              </a:endParaRPr>
            </a:p>
            <a:p>
              <a:pPr marL="140025" indent="-140025" defTabSz="505366">
                <a:buFont typeface="Wingdings" panose="05000000000000000000" pitchFamily="2" charset="2"/>
                <a:buChar char="l"/>
                <a:defRPr/>
              </a:pPr>
              <a:r>
                <a:rPr lang="ja-JP" altLang="en-US" sz="773" dirty="0">
                  <a:solidFill>
                    <a:srgbClr val="000000"/>
                  </a:solidFill>
                  <a:latin typeface="ＭＳ Ｐゴシック"/>
                  <a:ea typeface="ＭＳ Ｐゴシック"/>
                </a:rPr>
                <a:t>地域管理構想等による国土の最適利用・管理、流域治水、災害リスクを踏まえた住まい方</a:t>
              </a:r>
              <a:endParaRPr lang="en-US" altLang="ja-JP" sz="773" dirty="0">
                <a:solidFill>
                  <a:srgbClr val="000000"/>
                </a:solidFill>
                <a:latin typeface="ＭＳ Ｐゴシック"/>
                <a:ea typeface="ＭＳ Ｐゴシック"/>
              </a:endParaRPr>
            </a:p>
            <a:p>
              <a:pPr marL="140025" indent="-140025" defTabSz="505366">
                <a:buFont typeface="Wingdings" panose="05000000000000000000" pitchFamily="2" charset="2"/>
                <a:buChar char="l"/>
                <a:defRPr/>
              </a:pPr>
              <a:r>
                <a:rPr lang="ja-JP" altLang="en-US" sz="773" dirty="0">
                  <a:solidFill>
                    <a:srgbClr val="000000"/>
                  </a:solidFill>
                  <a:latin typeface="ＭＳ Ｐゴシック"/>
                  <a:ea typeface="ＭＳ Ｐゴシック"/>
                </a:rPr>
                <a:t>所有者不明土地・空き家の利活用の円滑化等、重要土地等調査法に基づく調査等</a:t>
              </a:r>
              <a:endParaRPr lang="en-US" altLang="ja-JP" sz="773" dirty="0">
                <a:solidFill>
                  <a:srgbClr val="000000"/>
                </a:solidFill>
                <a:latin typeface="ＭＳ Ｐゴシック"/>
                <a:ea typeface="ＭＳ Ｐゴシック"/>
              </a:endParaRPr>
            </a:p>
            <a:p>
              <a:pPr marL="140025" indent="-140025" defTabSz="505366">
                <a:buFont typeface="Wingdings" panose="05000000000000000000" pitchFamily="2" charset="2"/>
                <a:buChar char="l"/>
                <a:defRPr/>
              </a:pPr>
              <a:r>
                <a:rPr lang="ja-JP" altLang="en-US" sz="773" dirty="0">
                  <a:solidFill>
                    <a:srgbClr val="000000"/>
                  </a:solidFill>
                  <a:latin typeface="ＭＳ Ｐゴシック"/>
                  <a:ea typeface="ＭＳ Ｐゴシック"/>
                </a:rPr>
                <a:t>地理空間情報等の徹底活用による国土の状況の見える化等を通じた国土利用・管理</a:t>
              </a:r>
              <a:r>
                <a:rPr lang="en-US" altLang="ja-JP" sz="773" dirty="0">
                  <a:solidFill>
                    <a:srgbClr val="000000"/>
                  </a:solidFill>
                  <a:latin typeface="ＭＳ Ｐゴシック"/>
                  <a:ea typeface="ＭＳ Ｐゴシック"/>
                </a:rPr>
                <a:t>DX</a:t>
              </a:r>
              <a:r>
                <a:rPr lang="ja-JP" altLang="en-US" sz="773" dirty="0">
                  <a:solidFill>
                    <a:srgbClr val="000000"/>
                  </a:solidFill>
                  <a:latin typeface="ＭＳ Ｐゴシック"/>
                  <a:ea typeface="ＭＳ Ｐゴシック"/>
                </a:rPr>
                <a:t>　等</a:t>
              </a:r>
            </a:p>
          </p:txBody>
        </p:sp>
        <p:sp>
          <p:nvSpPr>
            <p:cNvPr id="30" name="正方形/長方形 29"/>
            <p:cNvSpPr/>
            <p:nvPr/>
          </p:nvSpPr>
          <p:spPr>
            <a:xfrm>
              <a:off x="6290229" y="6209747"/>
              <a:ext cx="4825849" cy="756000"/>
            </a:xfrm>
            <a:prstGeom prst="rect">
              <a:avLst/>
            </a:prstGeom>
            <a:solidFill>
              <a:srgbClr val="CCFF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05366">
                <a:defRPr/>
              </a:pPr>
              <a:r>
                <a:rPr lang="ja-JP" altLang="en-US" sz="1238" b="1" i="1" dirty="0">
                  <a:solidFill>
                    <a:srgbClr val="FF0000"/>
                  </a:solidFill>
                  <a:latin typeface="ＭＳ Ｐゴシック"/>
                  <a:ea typeface="ＭＳ Ｐゴシック"/>
                </a:rPr>
                <a:t>グリーン国土の創造</a:t>
              </a:r>
              <a:endParaRPr lang="en-US" altLang="ja-JP" sz="1238" b="1" i="1" dirty="0">
                <a:solidFill>
                  <a:srgbClr val="FF0000"/>
                </a:solidFill>
                <a:latin typeface="ＭＳ Ｐゴシック"/>
                <a:ea typeface="ＭＳ Ｐゴシック"/>
              </a:endParaRPr>
            </a:p>
            <a:p>
              <a:pPr marL="140025" indent="-140025" defTabSz="505366">
                <a:buFont typeface="Wingdings" panose="05000000000000000000" pitchFamily="2" charset="2"/>
                <a:buChar char="l"/>
                <a:defRPr/>
              </a:pPr>
              <a:r>
                <a:rPr lang="ja-JP" altLang="en-US" sz="773" dirty="0">
                  <a:solidFill>
                    <a:srgbClr val="000000"/>
                  </a:solidFill>
                  <a:latin typeface="ＭＳ Ｐゴシック"/>
                  <a:ea typeface="ＭＳ Ｐゴシック"/>
                </a:rPr>
                <a:t>広域的な生態系ネットワークの形成、自然資本の保全・拡大、持続可能な活用（</a:t>
              </a:r>
              <a:r>
                <a:rPr lang="en-US" altLang="ja-JP" sz="773" dirty="0">
                  <a:solidFill>
                    <a:srgbClr val="000000"/>
                  </a:solidFill>
                  <a:latin typeface="ＭＳ Ｐゴシック"/>
                  <a:ea typeface="ＭＳ Ｐゴシック"/>
                </a:rPr>
                <a:t>30by30</a:t>
              </a:r>
              <a:r>
                <a:rPr lang="ja-JP" altLang="en-US" sz="773" dirty="0">
                  <a:solidFill>
                    <a:srgbClr val="000000"/>
                  </a:solidFill>
                  <a:latin typeface="ＭＳ Ｐゴシック"/>
                  <a:ea typeface="ＭＳ Ｐゴシック"/>
                </a:rPr>
                <a:t>の実現、　　グリーンインフラの推進等を通じたネットワーク化）</a:t>
              </a:r>
            </a:p>
            <a:p>
              <a:pPr marL="140025" indent="-140025" defTabSz="505366">
                <a:buFont typeface="Wingdings" panose="05000000000000000000" pitchFamily="2" charset="2"/>
                <a:buChar char="l"/>
                <a:defRPr/>
              </a:pPr>
              <a:r>
                <a:rPr lang="ja-JP" altLang="en-US" sz="773" dirty="0">
                  <a:solidFill>
                    <a:srgbClr val="000000"/>
                  </a:solidFill>
                  <a:latin typeface="ＭＳ Ｐゴシック"/>
                  <a:ea typeface="ＭＳ Ｐゴシック"/>
                </a:rPr>
                <a:t>カーボンニュートラルの実現を図る地域づくり（地域共生型再エネ導入、ハイブリッドダム等） 等</a:t>
              </a:r>
              <a:endParaRPr lang="en-US" altLang="ja-JP" sz="773" dirty="0">
                <a:solidFill>
                  <a:srgbClr val="000000"/>
                </a:solidFill>
                <a:latin typeface="ＭＳ Ｐゴシック"/>
                <a:ea typeface="ＭＳ Ｐゴシック"/>
              </a:endParaRPr>
            </a:p>
          </p:txBody>
        </p:sp>
        <p:sp>
          <p:nvSpPr>
            <p:cNvPr id="31" name="テキスト ボックス 30"/>
            <p:cNvSpPr txBox="1"/>
            <p:nvPr/>
          </p:nvSpPr>
          <p:spPr>
            <a:xfrm>
              <a:off x="1278771" y="1241747"/>
              <a:ext cx="10517875" cy="1116000"/>
            </a:xfrm>
            <a:prstGeom prst="rect">
              <a:avLst/>
            </a:prstGeom>
            <a:noFill/>
            <a:ln w="19050">
              <a:solidFill>
                <a:srgbClr val="FFCC99"/>
              </a:solidFill>
            </a:ln>
          </p:spPr>
          <p:txBody>
            <a:bodyPr wrap="square" rtlCol="0">
              <a:noAutofit/>
            </a:bodyPr>
            <a:lstStyle/>
            <a:p>
              <a:pPr algn="ctr" defTabSz="505366">
                <a:defRPr/>
              </a:pPr>
              <a:r>
                <a:rPr lang="ja-JP" altLang="en-US" sz="1238" b="1" dirty="0">
                  <a:solidFill>
                    <a:srgbClr val="000000"/>
                  </a:solidFill>
                  <a:latin typeface="ＭＳ Ｐゴシック"/>
                  <a:ea typeface="ＭＳ Ｐゴシック"/>
                </a:rPr>
                <a:t>　</a:t>
              </a:r>
              <a:r>
                <a:rPr lang="ja-JP" altLang="en-US" sz="1238" b="1" dirty="0">
                  <a:solidFill>
                    <a:srgbClr val="FF0000"/>
                  </a:solidFill>
                  <a:latin typeface="ＭＳ Ｐゴシック"/>
                  <a:ea typeface="ＭＳ Ｐゴシック"/>
                </a:rPr>
                <a:t>時代の重大な岐路に立つ国土</a:t>
              </a:r>
              <a:r>
                <a:rPr lang="ja-JP" altLang="en-US" sz="1238" b="1" dirty="0">
                  <a:solidFill>
                    <a:srgbClr val="000000"/>
                  </a:solidFill>
                  <a:latin typeface="ＭＳ Ｐゴシック"/>
                  <a:ea typeface="ＭＳ Ｐゴシック"/>
                </a:rPr>
                <a:t>　</a:t>
              </a:r>
              <a:r>
                <a:rPr lang="en-US" altLang="ja-JP" sz="1238" b="1" dirty="0">
                  <a:solidFill>
                    <a:srgbClr val="000000"/>
                  </a:solidFill>
                  <a:latin typeface="ＭＳ Ｐゴシック"/>
                  <a:ea typeface="ＭＳ Ｐゴシック"/>
                </a:rPr>
                <a:t>《</a:t>
              </a:r>
              <a:r>
                <a:rPr lang="ja-JP" altLang="en-US" sz="1238" b="1" dirty="0">
                  <a:solidFill>
                    <a:srgbClr val="000000"/>
                  </a:solidFill>
                  <a:latin typeface="ＭＳ Ｐゴシック"/>
                  <a:ea typeface="ＭＳ Ｐゴシック"/>
                </a:rPr>
                <a:t>我が国が直面するリスクと構造的な変化</a:t>
              </a:r>
              <a:r>
                <a:rPr lang="en-US" altLang="ja-JP" sz="1238" b="1" dirty="0">
                  <a:solidFill>
                    <a:srgbClr val="000000"/>
                  </a:solidFill>
                  <a:latin typeface="ＭＳ Ｐゴシック"/>
                  <a:ea typeface="ＭＳ Ｐゴシック"/>
                </a:rPr>
                <a:t>》</a:t>
              </a:r>
            </a:p>
          </p:txBody>
        </p:sp>
        <p:sp>
          <p:nvSpPr>
            <p:cNvPr id="32" name="四角形: 角を丸くする 7">
              <a:extLst>
                <a:ext uri="{FF2B5EF4-FFF2-40B4-BE49-F238E27FC236}">
                  <a16:creationId xmlns:a16="http://schemas.microsoft.com/office/drawing/2014/main" id="{F2721EAA-E3B8-91F8-7620-2B61647E18FC}"/>
                </a:ext>
              </a:extLst>
            </p:cNvPr>
            <p:cNvSpPr/>
            <p:nvPr/>
          </p:nvSpPr>
          <p:spPr>
            <a:xfrm>
              <a:off x="5238441" y="1565747"/>
              <a:ext cx="3402842" cy="756000"/>
            </a:xfrm>
            <a:prstGeom prst="roundRect">
              <a:avLst>
                <a:gd name="adj" fmla="val 13569"/>
              </a:avLst>
            </a:prstGeom>
            <a:solidFill>
              <a:srgbClr val="FFCC99">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9632" rIns="69632" rtlCol="0" anchor="ctr">
              <a:noAutofit/>
            </a:bodyPr>
            <a:lstStyle/>
            <a:p>
              <a:pPr algn="ctr" defTabSz="505366">
                <a:defRPr/>
              </a:pPr>
              <a:r>
                <a:rPr lang="ja-JP" altLang="en-US" sz="1083" b="1" dirty="0">
                  <a:solidFill>
                    <a:srgbClr val="000000"/>
                  </a:solidFill>
                  <a:latin typeface="ＭＳ Ｐゴシック"/>
                  <a:ea typeface="ＭＳ Ｐゴシック"/>
                </a:rPr>
                <a:t>コロナ禍を経た暮らし方・働き方の変化</a:t>
              </a:r>
              <a:endParaRPr lang="en-US" altLang="ja-JP" sz="1083" b="1" dirty="0">
                <a:solidFill>
                  <a:srgbClr val="000000"/>
                </a:solidFill>
                <a:latin typeface="ＭＳ Ｐゴシック"/>
                <a:ea typeface="ＭＳ Ｐゴシック"/>
              </a:endParaRPr>
            </a:p>
            <a:p>
              <a:pPr marL="63873" indent="-63873" defTabSz="505366">
                <a:spcBef>
                  <a:spcPts val="155"/>
                </a:spcBef>
                <a:buFont typeface="Arial" panose="020B0604020202020204" pitchFamily="34" charset="0"/>
                <a:buChar char="•"/>
                <a:defRPr/>
              </a:pPr>
              <a:r>
                <a:rPr lang="ja-JP" altLang="en-US" sz="812" dirty="0">
                  <a:solidFill>
                    <a:srgbClr val="000000"/>
                  </a:solidFill>
                  <a:latin typeface="ＭＳ Ｐゴシック"/>
                  <a:ea typeface="ＭＳ Ｐゴシック"/>
                </a:rPr>
                <a:t>テレワークの進展による転職なき移住等の</a:t>
              </a:r>
              <a:r>
                <a:rPr lang="ja-JP" altLang="en-US" sz="812">
                  <a:solidFill>
                    <a:srgbClr val="000000"/>
                  </a:solidFill>
                  <a:latin typeface="ＭＳ Ｐゴシック"/>
                  <a:ea typeface="ＭＳ Ｐゴシック"/>
                </a:rPr>
                <a:t>場所に縛られない暮らし方</a:t>
              </a:r>
              <a:r>
                <a:rPr lang="ja-JP" altLang="en-US" sz="812" dirty="0">
                  <a:solidFill>
                    <a:srgbClr val="000000"/>
                  </a:solidFill>
                  <a:latin typeface="ＭＳ Ｐゴシック"/>
                  <a:ea typeface="ＭＳ Ｐゴシック"/>
                </a:rPr>
                <a:t>・働き方</a:t>
              </a:r>
              <a:endParaRPr lang="en-US" altLang="ja-JP" sz="812" dirty="0">
                <a:solidFill>
                  <a:srgbClr val="000000"/>
                </a:solidFill>
                <a:latin typeface="ＭＳ Ｐゴシック"/>
                <a:ea typeface="ＭＳ Ｐゴシック"/>
              </a:endParaRPr>
            </a:p>
            <a:p>
              <a:pPr marL="63873" indent="-63873" defTabSz="505366">
                <a:spcBef>
                  <a:spcPts val="0"/>
                </a:spcBef>
                <a:buFont typeface="Arial" panose="020B0604020202020204" pitchFamily="34" charset="0"/>
                <a:buChar char="•"/>
                <a:defRPr/>
              </a:pPr>
              <a:r>
                <a:rPr lang="ja-JP" altLang="en-US" sz="812" dirty="0">
                  <a:solidFill>
                    <a:srgbClr val="000000"/>
                  </a:solidFill>
                  <a:latin typeface="ＭＳ Ｐゴシック"/>
                  <a:ea typeface="ＭＳ Ｐゴシック"/>
                </a:rPr>
                <a:t>新たな地方・田園回帰の動き、地方での暮らしの魅力</a:t>
              </a:r>
              <a:endParaRPr lang="ja-JP" altLang="en-US" sz="812" dirty="0">
                <a:solidFill>
                  <a:srgbClr val="000000"/>
                </a:solidFill>
                <a:latin typeface="Arial"/>
                <a:ea typeface="ＭＳ Ｐゴシック"/>
              </a:endParaRPr>
            </a:p>
          </p:txBody>
        </p:sp>
        <p:sp>
          <p:nvSpPr>
            <p:cNvPr id="33" name="四角形: 角を丸くする 9">
              <a:extLst>
                <a:ext uri="{FF2B5EF4-FFF2-40B4-BE49-F238E27FC236}">
                  <a16:creationId xmlns:a16="http://schemas.microsoft.com/office/drawing/2014/main" id="{52022E8B-AEAE-4ADB-9AAD-01A1152C53E4}"/>
                </a:ext>
              </a:extLst>
            </p:cNvPr>
            <p:cNvSpPr/>
            <p:nvPr/>
          </p:nvSpPr>
          <p:spPr>
            <a:xfrm>
              <a:off x="8734088" y="1565747"/>
              <a:ext cx="2938818" cy="756000"/>
            </a:xfrm>
            <a:prstGeom prst="roundRect">
              <a:avLst/>
            </a:prstGeom>
            <a:solidFill>
              <a:srgbClr val="FFCC99">
                <a:alpha val="50196"/>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9632" rIns="69632" rtlCol="0" anchor="ctr">
              <a:noAutofit/>
            </a:bodyPr>
            <a:lstStyle/>
            <a:p>
              <a:pPr algn="ctr" defTabSz="505366">
                <a:defRPr/>
              </a:pPr>
              <a:r>
                <a:rPr lang="ja-JP" altLang="en-US" sz="928" b="1" dirty="0">
                  <a:solidFill>
                    <a:srgbClr val="000000"/>
                  </a:solidFill>
                  <a:latin typeface="ＭＳ Ｐゴシック"/>
                  <a:ea typeface="ＭＳ Ｐゴシック"/>
                </a:rPr>
                <a:t>激動する世界の中での日本の立ち位置の変化</a:t>
              </a:r>
              <a:endParaRPr lang="en-US" altLang="ja-JP" sz="928" b="1" dirty="0">
                <a:solidFill>
                  <a:srgbClr val="000000"/>
                </a:solidFill>
                <a:latin typeface="ＭＳ Ｐゴシック"/>
                <a:ea typeface="ＭＳ Ｐゴシック"/>
              </a:endParaRPr>
            </a:p>
            <a:p>
              <a:pPr marL="63873" indent="-63873" defTabSz="505366">
                <a:spcBef>
                  <a:spcPts val="155"/>
                </a:spcBef>
                <a:buFont typeface="Arial" panose="020B0604020202020204" pitchFamily="34" charset="0"/>
                <a:buChar char="•"/>
                <a:defRPr/>
              </a:pPr>
              <a:r>
                <a:rPr lang="en-US" altLang="ja-JP" sz="812" dirty="0">
                  <a:solidFill>
                    <a:srgbClr val="000000"/>
                  </a:solidFill>
                  <a:latin typeface="ＭＳ Ｐゴシック"/>
                  <a:ea typeface="ＭＳ Ｐゴシック"/>
                </a:rPr>
                <a:t>DX</a:t>
              </a:r>
              <a:r>
                <a:rPr lang="ja-JP" altLang="en-US" sz="812" dirty="0" err="1">
                  <a:solidFill>
                    <a:srgbClr val="000000"/>
                  </a:solidFill>
                  <a:latin typeface="ＭＳ Ｐゴシック"/>
                  <a:ea typeface="ＭＳ Ｐゴシック"/>
                </a:rPr>
                <a:t>、</a:t>
              </a:r>
              <a:r>
                <a:rPr lang="en-US" altLang="ja-JP" sz="812" dirty="0">
                  <a:solidFill>
                    <a:srgbClr val="000000"/>
                  </a:solidFill>
                  <a:latin typeface="ＭＳ Ｐゴシック"/>
                  <a:ea typeface="ＭＳ Ｐゴシック"/>
                </a:rPr>
                <a:t>GX</a:t>
              </a:r>
              <a:r>
                <a:rPr lang="ja-JP" altLang="en-US" sz="812" dirty="0">
                  <a:solidFill>
                    <a:srgbClr val="000000"/>
                  </a:solidFill>
                  <a:latin typeface="ＭＳ Ｐゴシック"/>
                  <a:ea typeface="ＭＳ Ｐゴシック"/>
                </a:rPr>
                <a:t>など激化する国際競争の中での競争力の低下</a:t>
              </a:r>
              <a:endParaRPr lang="en-US" altLang="ja-JP" sz="812" dirty="0">
                <a:solidFill>
                  <a:srgbClr val="000000"/>
                </a:solidFill>
                <a:latin typeface="ＭＳ Ｐゴシック"/>
                <a:ea typeface="ＭＳ Ｐゴシック"/>
              </a:endParaRPr>
            </a:p>
            <a:p>
              <a:pPr marL="63873" indent="-63873" defTabSz="505366">
                <a:spcBef>
                  <a:spcPts val="0"/>
                </a:spcBef>
                <a:buFont typeface="Arial" panose="020B0604020202020204" pitchFamily="34" charset="0"/>
                <a:buChar char="•"/>
                <a:defRPr/>
              </a:pPr>
              <a:r>
                <a:rPr lang="ja-JP" altLang="en-US" sz="812" dirty="0">
                  <a:solidFill>
                    <a:srgbClr val="000000"/>
                  </a:solidFill>
                  <a:latin typeface="ＭＳ Ｐゴシック"/>
                  <a:ea typeface="ＭＳ Ｐゴシック"/>
                </a:rPr>
                <a:t>エネルギー・食料の海外依存リスクの高まり</a:t>
              </a:r>
              <a:endParaRPr lang="en-US" altLang="ja-JP" sz="812" dirty="0">
                <a:solidFill>
                  <a:srgbClr val="000000"/>
                </a:solidFill>
                <a:latin typeface="ＭＳ Ｐゴシック"/>
                <a:ea typeface="ＭＳ Ｐゴシック"/>
              </a:endParaRPr>
            </a:p>
            <a:p>
              <a:pPr marL="63873" indent="-63873" defTabSz="505366">
                <a:spcBef>
                  <a:spcPts val="0"/>
                </a:spcBef>
                <a:buFont typeface="Arial" panose="020B0604020202020204" pitchFamily="34" charset="0"/>
                <a:buChar char="•"/>
                <a:defRPr/>
              </a:pPr>
              <a:r>
                <a:rPr lang="ja-JP" altLang="en-US" sz="812" dirty="0">
                  <a:solidFill>
                    <a:srgbClr val="000000"/>
                  </a:solidFill>
                  <a:latin typeface="ＭＳ Ｐゴシック"/>
                  <a:ea typeface="ＭＳ Ｐゴシック"/>
                </a:rPr>
                <a:t>東アジア情勢など安全保障上の課題の深刻化</a:t>
              </a:r>
            </a:p>
          </p:txBody>
        </p:sp>
        <p:sp>
          <p:nvSpPr>
            <p:cNvPr id="34" name="正方形/長方形 33"/>
            <p:cNvSpPr/>
            <p:nvPr/>
          </p:nvSpPr>
          <p:spPr>
            <a:xfrm>
              <a:off x="1278767" y="2321747"/>
              <a:ext cx="10517877" cy="365567"/>
            </a:xfrm>
            <a:prstGeom prst="rect">
              <a:avLst/>
            </a:prstGeom>
          </p:spPr>
          <p:txBody>
            <a:bodyPr wrap="square">
              <a:spAutoFit/>
            </a:bodyPr>
            <a:lstStyle/>
            <a:p>
              <a:pPr algn="ctr" defTabSz="505366">
                <a:defRPr/>
              </a:pPr>
              <a:r>
                <a:rPr lang="ja-JP" altLang="en-US" sz="928" b="1" dirty="0">
                  <a:solidFill>
                    <a:srgbClr val="000000"/>
                  </a:solidFill>
                  <a:latin typeface="ＭＳ Ｐゴシック"/>
                  <a:ea typeface="ＭＳ Ｐゴシック"/>
                </a:rPr>
                <a:t>豊かな自然や文化を有する多彩な地域からなる国土を次世代に引き継ぐための</a:t>
              </a:r>
              <a:r>
                <a:rPr lang="ja-JP" altLang="en-US" sz="1238" b="1" dirty="0">
                  <a:solidFill>
                    <a:srgbClr val="FF0000"/>
                  </a:solidFill>
                  <a:latin typeface="ＭＳ Ｐゴシック"/>
                  <a:ea typeface="ＭＳ Ｐゴシック"/>
                </a:rPr>
                <a:t>未来に希望を持てる国土の将来ビジョン</a:t>
              </a:r>
              <a:r>
                <a:rPr lang="ja-JP" altLang="en-US" sz="1238" b="1" dirty="0">
                  <a:solidFill>
                    <a:srgbClr val="000000"/>
                  </a:solidFill>
                  <a:latin typeface="ＭＳ Ｐゴシック"/>
                  <a:ea typeface="ＭＳ Ｐゴシック"/>
                </a:rPr>
                <a:t>が必要</a:t>
              </a:r>
              <a:endParaRPr lang="en-US" altLang="ja-JP" sz="1238" b="1" dirty="0">
                <a:solidFill>
                  <a:srgbClr val="000000"/>
                </a:solidFill>
                <a:latin typeface="ＭＳ Ｐゴシック"/>
                <a:ea typeface="ＭＳ Ｐゴシック"/>
              </a:endParaRPr>
            </a:p>
          </p:txBody>
        </p:sp>
        <p:sp>
          <p:nvSpPr>
            <p:cNvPr id="36" name="テキスト ボックス 35"/>
            <p:cNvSpPr txBox="1"/>
            <p:nvPr/>
          </p:nvSpPr>
          <p:spPr>
            <a:xfrm>
              <a:off x="1340639" y="5525747"/>
              <a:ext cx="288000" cy="2671200"/>
            </a:xfrm>
            <a:prstGeom prst="rect">
              <a:avLst/>
            </a:prstGeom>
            <a:noFill/>
            <a:ln w="19050">
              <a:noFill/>
            </a:ln>
          </p:spPr>
          <p:txBody>
            <a:bodyPr vert="eaVert" wrap="square" rtlCol="0" anchor="ctr">
              <a:noAutofit/>
            </a:bodyPr>
            <a:lstStyle/>
            <a:p>
              <a:pPr algn="ctr" defTabSz="505366">
                <a:defRPr/>
              </a:pPr>
              <a:r>
                <a:rPr lang="en-US" altLang="ja-JP" sz="1083" b="1" dirty="0">
                  <a:solidFill>
                    <a:srgbClr val="000000"/>
                  </a:solidFill>
                  <a:latin typeface="ＭＳ Ｐゴシック"/>
                  <a:ea typeface="ＭＳ Ｐゴシック"/>
                </a:rPr>
                <a:t>《</a:t>
              </a:r>
              <a:r>
                <a:rPr lang="ja-JP" altLang="en-US" sz="1083" b="1" dirty="0">
                  <a:solidFill>
                    <a:srgbClr val="000000"/>
                  </a:solidFill>
                  <a:latin typeface="ＭＳ Ｐゴシック"/>
                  <a:ea typeface="ＭＳ Ｐゴシック"/>
                </a:rPr>
                <a:t>国土の刷新に向けた重点テーマ</a:t>
              </a:r>
              <a:r>
                <a:rPr lang="en-US" altLang="ja-JP" sz="1083" b="1" dirty="0">
                  <a:solidFill>
                    <a:srgbClr val="000000"/>
                  </a:solidFill>
                  <a:latin typeface="ＭＳ Ｐゴシック"/>
                  <a:ea typeface="ＭＳ Ｐゴシック"/>
                </a:rPr>
                <a:t>》</a:t>
              </a:r>
            </a:p>
          </p:txBody>
        </p:sp>
        <p:sp>
          <p:nvSpPr>
            <p:cNvPr id="37" name="正方形/長方形 36"/>
            <p:cNvSpPr/>
            <p:nvPr/>
          </p:nvSpPr>
          <p:spPr>
            <a:xfrm>
              <a:off x="1835598" y="7793747"/>
              <a:ext cx="2165445" cy="50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algn="ctr" defTabSz="505366">
                <a:defRPr/>
              </a:pPr>
              <a:r>
                <a:rPr lang="ja-JP" altLang="en-US" sz="812" b="1" dirty="0">
                  <a:solidFill>
                    <a:srgbClr val="000000"/>
                  </a:solidFill>
                  <a:latin typeface="ＭＳ Ｐゴシック"/>
                  <a:ea typeface="ＭＳ Ｐゴシック"/>
                </a:rPr>
                <a:t>地域の安全・安心、暮らしや経済を支える</a:t>
              </a:r>
              <a:endParaRPr lang="en-US" altLang="ja-JP" sz="812" b="1" dirty="0">
                <a:solidFill>
                  <a:srgbClr val="000000"/>
                </a:solidFill>
                <a:latin typeface="ＭＳ Ｐゴシック"/>
                <a:ea typeface="ＭＳ Ｐゴシック"/>
              </a:endParaRPr>
            </a:p>
            <a:p>
              <a:pPr algn="ctr" defTabSz="505366">
                <a:defRPr/>
              </a:pPr>
              <a:r>
                <a:rPr lang="ja-JP" altLang="en-US" sz="1238" b="1" i="1" dirty="0">
                  <a:solidFill>
                    <a:srgbClr val="FF0000"/>
                  </a:solidFill>
                  <a:latin typeface="ＭＳ Ｐゴシック"/>
                  <a:ea typeface="ＭＳ Ｐゴシック"/>
                </a:rPr>
                <a:t>国土基盤の高質化</a:t>
              </a:r>
              <a:endParaRPr lang="en-US" altLang="ja-JP" sz="1238" b="1" i="1" dirty="0">
                <a:solidFill>
                  <a:srgbClr val="FF0000"/>
                </a:solidFill>
                <a:latin typeface="ＭＳ Ｐゴシック"/>
                <a:ea typeface="ＭＳ Ｐゴシック"/>
              </a:endParaRPr>
            </a:p>
          </p:txBody>
        </p:sp>
        <p:sp>
          <p:nvSpPr>
            <p:cNvPr id="39" name="正方形/長方形 38"/>
            <p:cNvSpPr/>
            <p:nvPr/>
          </p:nvSpPr>
          <p:spPr>
            <a:xfrm>
              <a:off x="1588120" y="3077747"/>
              <a:ext cx="3093493" cy="61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algn="ctr" defTabSz="505366">
                <a:defRPr/>
              </a:pPr>
              <a:r>
                <a:rPr lang="ja-JP" altLang="en-US" sz="928" b="1" dirty="0">
                  <a:solidFill>
                    <a:srgbClr val="000000"/>
                  </a:solidFill>
                  <a:latin typeface="HGP創英角ｺﾞｼｯｸUB"/>
                  <a:ea typeface="HGP創英角ｺﾞｼｯｸUB"/>
                </a:rPr>
                <a:t>デジタルとリアルの融合による</a:t>
              </a:r>
              <a:endParaRPr lang="en-US" altLang="ja-JP" sz="928" b="1" dirty="0">
                <a:solidFill>
                  <a:srgbClr val="000000"/>
                </a:solidFill>
                <a:latin typeface="HGP創英角ｺﾞｼｯｸUB"/>
                <a:ea typeface="HGP創英角ｺﾞｼｯｸUB"/>
              </a:endParaRPr>
            </a:p>
            <a:p>
              <a:pPr algn="ctr" defTabSz="505366">
                <a:defRPr/>
              </a:pPr>
              <a:r>
                <a:rPr lang="ja-JP" altLang="en-US" sz="1238" b="1" dirty="0">
                  <a:solidFill>
                    <a:srgbClr val="000000"/>
                  </a:solidFill>
                  <a:latin typeface="HGP創英角ｺﾞｼｯｸUB"/>
                  <a:ea typeface="HGP創英角ｺﾞｼｯｸUB"/>
                </a:rPr>
                <a:t>活力ある国土づくり</a:t>
              </a:r>
              <a:endParaRPr lang="en-US" altLang="ja-JP" sz="1238" b="1" dirty="0">
                <a:solidFill>
                  <a:srgbClr val="000000"/>
                </a:solidFill>
                <a:latin typeface="HGP創英角ｺﾞｼｯｸUB"/>
                <a:ea typeface="HGP創英角ｺﾞｼｯｸUB"/>
              </a:endParaRPr>
            </a:p>
            <a:p>
              <a:pPr algn="ctr" defTabSz="505366">
                <a:defRPr/>
              </a:pPr>
              <a:r>
                <a:rPr lang="ja-JP" altLang="en-US" sz="928" b="1" dirty="0">
                  <a:solidFill>
                    <a:srgbClr val="000000"/>
                  </a:solidFill>
                  <a:latin typeface="HGP創英角ｺﾞｼｯｸUB"/>
                  <a:ea typeface="HGP創英角ｺﾞｼｯｸUB"/>
                </a:rPr>
                <a:t>～地域への誇りと愛着に根差した地域価値の向上～</a:t>
              </a:r>
            </a:p>
          </p:txBody>
        </p:sp>
        <p:sp>
          <p:nvSpPr>
            <p:cNvPr id="40" name="正方形/長方形 39"/>
            <p:cNvSpPr/>
            <p:nvPr/>
          </p:nvSpPr>
          <p:spPr>
            <a:xfrm>
              <a:off x="4990958" y="3077747"/>
              <a:ext cx="3093493" cy="61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852" tIns="35373" rIns="27852" bIns="35373" numCol="1" spcCol="0" rtlCol="0" fromWordArt="0" anchor="ctr" anchorCtr="0" forceAA="0" compatLnSpc="1">
              <a:prstTxWarp prst="textNoShape">
                <a:avLst/>
              </a:prstTxWarp>
              <a:noAutofit/>
            </a:bodyPr>
            <a:lstStyle/>
            <a:p>
              <a:pPr algn="ctr" defTabSz="505366">
                <a:defRPr/>
              </a:pPr>
              <a:r>
                <a:rPr lang="ja-JP" altLang="en-US" sz="928" b="1" dirty="0">
                  <a:solidFill>
                    <a:srgbClr val="000000"/>
                  </a:solidFill>
                  <a:latin typeface="HGP創英角ｺﾞｼｯｸUB"/>
                  <a:ea typeface="HGP創英角ｺﾞｼｯｸUB"/>
                </a:rPr>
                <a:t>巨大災害、気候危機、緊迫化する国際情勢に対応する</a:t>
              </a:r>
              <a:endParaRPr lang="en-US" altLang="ja-JP" sz="928" b="1" dirty="0">
                <a:solidFill>
                  <a:srgbClr val="000000"/>
                </a:solidFill>
                <a:latin typeface="HGP創英角ｺﾞｼｯｸUB"/>
                <a:ea typeface="HGP創英角ｺﾞｼｯｸUB"/>
              </a:endParaRPr>
            </a:p>
            <a:p>
              <a:pPr algn="ctr" defTabSz="505366">
                <a:defRPr/>
              </a:pPr>
              <a:r>
                <a:rPr lang="ja-JP" altLang="en-US" sz="1238" b="1" dirty="0">
                  <a:solidFill>
                    <a:srgbClr val="000000"/>
                  </a:solidFill>
                  <a:latin typeface="HGP創英角ｺﾞｼｯｸUB"/>
                  <a:ea typeface="HGP創英角ｺﾞｼｯｸUB"/>
                </a:rPr>
                <a:t>安全・安心な国土づくり</a:t>
              </a:r>
              <a:endParaRPr lang="en-US" altLang="ja-JP" sz="1238" b="1" dirty="0">
                <a:solidFill>
                  <a:srgbClr val="000000"/>
                </a:solidFill>
                <a:latin typeface="HGP創英角ｺﾞｼｯｸUB"/>
                <a:ea typeface="HGP創英角ｺﾞｼｯｸUB"/>
              </a:endParaRPr>
            </a:p>
            <a:p>
              <a:pPr algn="ctr" defTabSz="505366">
                <a:defRPr/>
              </a:pPr>
              <a:r>
                <a:rPr lang="ja-JP" altLang="en-US" sz="928" b="1" dirty="0">
                  <a:solidFill>
                    <a:srgbClr val="000000"/>
                  </a:solidFill>
                  <a:latin typeface="HGP創英角ｺﾞｼｯｸUB"/>
                  <a:ea typeface="HGP創英角ｺﾞｼｯｸUB"/>
                </a:rPr>
                <a:t>～災害等に屈しないしなやかで強い国土～</a:t>
              </a:r>
              <a:endParaRPr lang="en-US" altLang="ja-JP" sz="928" b="1" dirty="0">
                <a:solidFill>
                  <a:srgbClr val="000000"/>
                </a:solidFill>
                <a:latin typeface="HGP創英角ｺﾞｼｯｸUB"/>
                <a:ea typeface="HGP創英角ｺﾞｼｯｸUB"/>
              </a:endParaRPr>
            </a:p>
          </p:txBody>
        </p:sp>
        <p:sp>
          <p:nvSpPr>
            <p:cNvPr id="41" name="正方形/長方形 40"/>
            <p:cNvSpPr/>
            <p:nvPr/>
          </p:nvSpPr>
          <p:spPr>
            <a:xfrm>
              <a:off x="8393804" y="3077747"/>
              <a:ext cx="3093493" cy="61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algn="ctr" defTabSz="505366">
                <a:defRPr/>
              </a:pPr>
              <a:r>
                <a:rPr lang="ja-JP" altLang="en-US" sz="928" b="1" dirty="0">
                  <a:solidFill>
                    <a:srgbClr val="000000"/>
                  </a:solidFill>
                  <a:latin typeface="HGP創英角ｺﾞｼｯｸUB"/>
                  <a:ea typeface="HGP創英角ｺﾞｼｯｸUB"/>
                </a:rPr>
                <a:t>世界に誇る美しい自然と多彩な文化を育む</a:t>
              </a:r>
              <a:endParaRPr lang="en-US" altLang="ja-JP" sz="928" b="1" dirty="0">
                <a:solidFill>
                  <a:srgbClr val="000000"/>
                </a:solidFill>
                <a:latin typeface="HGP創英角ｺﾞｼｯｸUB"/>
                <a:ea typeface="HGP創英角ｺﾞｼｯｸUB"/>
              </a:endParaRPr>
            </a:p>
            <a:p>
              <a:pPr algn="ctr" defTabSz="505366">
                <a:defRPr/>
              </a:pPr>
              <a:r>
                <a:rPr lang="ja-JP" altLang="en-US" sz="1238" b="1" dirty="0">
                  <a:solidFill>
                    <a:srgbClr val="000000"/>
                  </a:solidFill>
                  <a:latin typeface="HGP創英角ｺﾞｼｯｸUB"/>
                  <a:ea typeface="HGP創英角ｺﾞｼｯｸUB"/>
                </a:rPr>
                <a:t>個性豊かな国土づくり</a:t>
              </a:r>
              <a:endParaRPr lang="en-US" altLang="ja-JP" sz="1238" b="1" dirty="0">
                <a:solidFill>
                  <a:srgbClr val="000000"/>
                </a:solidFill>
                <a:latin typeface="HGP創英角ｺﾞｼｯｸUB"/>
                <a:ea typeface="HGP創英角ｺﾞｼｯｸUB"/>
              </a:endParaRPr>
            </a:p>
            <a:p>
              <a:pPr algn="ctr" defTabSz="505366">
                <a:defRPr/>
              </a:pPr>
              <a:r>
                <a:rPr lang="ja-JP" altLang="en-US" sz="928" b="1" dirty="0">
                  <a:solidFill>
                    <a:srgbClr val="000000"/>
                  </a:solidFill>
                  <a:latin typeface="HGP創英角ｺﾞｼｯｸUB"/>
                  <a:ea typeface="HGP創英角ｺﾞｼｯｸUB"/>
                </a:rPr>
                <a:t>～森の国、海の国、文化の国～</a:t>
              </a:r>
              <a:endParaRPr lang="en-US" altLang="ja-JP" sz="928" b="1" dirty="0">
                <a:solidFill>
                  <a:srgbClr val="000000"/>
                </a:solidFill>
                <a:latin typeface="HGP創英角ｺﾞｼｯｸUB"/>
                <a:ea typeface="HGP創英角ｺﾞｼｯｸUB"/>
              </a:endParaRPr>
            </a:p>
          </p:txBody>
        </p:sp>
        <p:sp>
          <p:nvSpPr>
            <p:cNvPr id="42" name="四角形: 角を丸くする 3">
              <a:extLst>
                <a:ext uri="{FF2B5EF4-FFF2-40B4-BE49-F238E27FC236}">
                  <a16:creationId xmlns:a16="http://schemas.microsoft.com/office/drawing/2014/main" id="{367CDC50-837C-2EB3-12D0-6ED9BFDE7877}"/>
                </a:ext>
              </a:extLst>
            </p:cNvPr>
            <p:cNvSpPr/>
            <p:nvPr/>
          </p:nvSpPr>
          <p:spPr>
            <a:xfrm>
              <a:off x="1433442" y="1565747"/>
              <a:ext cx="3712191" cy="756000"/>
            </a:xfrm>
            <a:prstGeom prst="roundRect">
              <a:avLst>
                <a:gd name="adj" fmla="val 14550"/>
              </a:avLst>
            </a:prstGeom>
            <a:solidFill>
              <a:srgbClr val="FFCC99">
                <a:alpha val="4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852" rtlCol="0" anchor="ctr">
              <a:noAutofit/>
            </a:bodyPr>
            <a:lstStyle/>
            <a:p>
              <a:pPr algn="ctr" defTabSz="505366">
                <a:defRPr/>
              </a:pPr>
              <a:r>
                <a:rPr lang="ja-JP" altLang="en-US" sz="1083" b="1" dirty="0">
                  <a:solidFill>
                    <a:srgbClr val="000000"/>
                  </a:solidFill>
                  <a:latin typeface="ＭＳ Ｐゴシック"/>
                  <a:ea typeface="ＭＳ Ｐゴシック"/>
                </a:rPr>
                <a:t>地域の持続性、安全・安心を脅かすリスクの高まり</a:t>
              </a:r>
              <a:endParaRPr lang="en-US" altLang="ja-JP" sz="1083" b="1" dirty="0">
                <a:solidFill>
                  <a:srgbClr val="000000"/>
                </a:solidFill>
                <a:latin typeface="ＭＳ Ｐゴシック"/>
                <a:ea typeface="ＭＳ Ｐゴシック"/>
              </a:endParaRPr>
            </a:p>
            <a:p>
              <a:pPr marL="71243" indent="-71243" defTabSz="505366">
                <a:spcBef>
                  <a:spcPts val="155"/>
                </a:spcBef>
                <a:buFont typeface="Arial" panose="020B0604020202020204" pitchFamily="34" charset="0"/>
                <a:buChar char="•"/>
                <a:defRPr/>
              </a:pPr>
              <a:r>
                <a:rPr lang="ja-JP" altLang="en-US" sz="812" dirty="0">
                  <a:solidFill>
                    <a:srgbClr val="000000"/>
                  </a:solidFill>
                  <a:latin typeface="ＭＳ Ｐゴシック"/>
                  <a:ea typeface="ＭＳ Ｐゴシック"/>
                </a:rPr>
                <a:t>未曽有の人口減少、少子高齢化がもたらす地方の危機</a:t>
              </a:r>
              <a:endParaRPr lang="en-US" altLang="ja-JP" sz="812" dirty="0">
                <a:solidFill>
                  <a:srgbClr val="000000"/>
                </a:solidFill>
                <a:latin typeface="ＭＳ Ｐゴシック"/>
                <a:ea typeface="ＭＳ Ｐゴシック"/>
              </a:endParaRPr>
            </a:p>
            <a:p>
              <a:pPr marL="71243" indent="-71243" defTabSz="505366">
                <a:buFont typeface="Arial" panose="020B0604020202020204" pitchFamily="34" charset="0"/>
                <a:buChar char="•"/>
                <a:defRPr/>
              </a:pPr>
              <a:r>
                <a:rPr lang="ja-JP" altLang="en-US" sz="812" dirty="0">
                  <a:solidFill>
                    <a:srgbClr val="000000"/>
                  </a:solidFill>
                  <a:latin typeface="ＭＳ Ｐゴシック"/>
                  <a:ea typeface="ＭＳ Ｐゴシック"/>
                </a:rPr>
                <a:t>巨大災害リスクの切迫</a:t>
              </a:r>
              <a:r>
                <a:rPr lang="ja-JP" altLang="en-US" sz="619" dirty="0">
                  <a:solidFill>
                    <a:srgbClr val="000000"/>
                  </a:solidFill>
                  <a:latin typeface="ＭＳ Ｐゴシック"/>
                  <a:ea typeface="ＭＳ Ｐゴシック"/>
                </a:rPr>
                <a:t>（水災害の激甚化・頻発化、巨大地震・津波、火山噴火、雪害等）</a:t>
              </a:r>
              <a:endParaRPr lang="en-US" altLang="ja-JP" sz="619" dirty="0">
                <a:solidFill>
                  <a:srgbClr val="000000"/>
                </a:solidFill>
                <a:latin typeface="ＭＳ Ｐゴシック"/>
                <a:ea typeface="ＭＳ Ｐゴシック"/>
              </a:endParaRPr>
            </a:p>
            <a:p>
              <a:pPr marL="71243" indent="-71243" defTabSz="505366">
                <a:buFont typeface="Arial" panose="020B0604020202020204" pitchFamily="34" charset="0"/>
                <a:buChar char="•"/>
                <a:defRPr/>
              </a:pPr>
              <a:r>
                <a:rPr lang="ja-JP" altLang="en-US" sz="812" dirty="0">
                  <a:solidFill>
                    <a:srgbClr val="000000"/>
                  </a:solidFill>
                  <a:latin typeface="ＭＳ Ｐゴシック"/>
                  <a:ea typeface="ＭＳ Ｐゴシック"/>
                </a:rPr>
                <a:t>気候危機の深刻化</a:t>
              </a:r>
              <a:r>
                <a:rPr lang="ja-JP" altLang="en-US" sz="619" dirty="0">
                  <a:solidFill>
                    <a:srgbClr val="000000"/>
                  </a:solidFill>
                  <a:latin typeface="ＭＳ Ｐゴシック"/>
                  <a:ea typeface="ＭＳ Ｐゴシック"/>
                </a:rPr>
                <a:t>（</a:t>
              </a:r>
              <a:r>
                <a:rPr lang="en-US" altLang="ja-JP" sz="619" dirty="0">
                  <a:solidFill>
                    <a:srgbClr val="000000"/>
                  </a:solidFill>
                  <a:latin typeface="ＭＳ Ｐゴシック"/>
                  <a:ea typeface="ＭＳ Ｐゴシック"/>
                </a:rPr>
                <a:t>2050</a:t>
              </a:r>
              <a:r>
                <a:rPr lang="ja-JP" altLang="en-US" sz="619" dirty="0">
                  <a:solidFill>
                    <a:srgbClr val="000000"/>
                  </a:solidFill>
                  <a:latin typeface="ＭＳ Ｐゴシック"/>
                  <a:ea typeface="ＭＳ Ｐゴシック"/>
                </a:rPr>
                <a:t>年カーボンニュートラル）、</a:t>
              </a:r>
              <a:r>
                <a:rPr lang="ja-JP" altLang="en-US" sz="812" dirty="0">
                  <a:solidFill>
                    <a:srgbClr val="000000"/>
                  </a:solidFill>
                  <a:latin typeface="ＭＳ Ｐゴシック"/>
                  <a:ea typeface="ＭＳ Ｐゴシック"/>
                </a:rPr>
                <a:t>生物多様性の損失</a:t>
              </a:r>
              <a:endParaRPr lang="ja-JP" altLang="en-US" sz="619" dirty="0">
                <a:solidFill>
                  <a:srgbClr val="000000"/>
                </a:solidFill>
                <a:latin typeface="Arial"/>
                <a:ea typeface="ＭＳ Ｐゴシック"/>
              </a:endParaRPr>
            </a:p>
          </p:txBody>
        </p:sp>
        <p:sp>
          <p:nvSpPr>
            <p:cNvPr id="43" name="テキスト ボックス 42">
              <a:extLst>
                <a:ext uri="{FF2B5EF4-FFF2-40B4-BE49-F238E27FC236}">
                  <a16:creationId xmlns:a16="http://schemas.microsoft.com/office/drawing/2014/main" id="{4B64AD2D-0AD7-1EAE-E841-799E76974D07}"/>
                </a:ext>
              </a:extLst>
            </p:cNvPr>
            <p:cNvSpPr txBox="1"/>
            <p:nvPr/>
          </p:nvSpPr>
          <p:spPr>
            <a:xfrm>
              <a:off x="1433441" y="3977747"/>
              <a:ext cx="10270397" cy="1368000"/>
            </a:xfrm>
            <a:prstGeom prst="rect">
              <a:avLst/>
            </a:prstGeom>
            <a:solidFill>
              <a:srgbClr val="CCCCFF"/>
            </a:solidFill>
          </p:spPr>
          <p:txBody>
            <a:bodyPr wrap="square" tIns="0" rtlCol="0" anchor="t">
              <a:noAutofit/>
            </a:bodyPr>
            <a:lstStyle/>
            <a:p>
              <a:pPr algn="ctr" defTabSz="707499">
                <a:defRPr/>
              </a:pPr>
              <a:r>
                <a:rPr lang="ja-JP" altLang="en-US" sz="1393" b="1" dirty="0">
                  <a:solidFill>
                    <a:srgbClr val="000000"/>
                  </a:solidFill>
                  <a:latin typeface="HGP創英角ｺﾞｼｯｸUB"/>
                  <a:ea typeface="HGP創英角ｺﾞｼｯｸUB"/>
                </a:rPr>
                <a:t>　</a:t>
              </a:r>
              <a:r>
                <a:rPr lang="ja-JP" altLang="en-US" sz="1393" b="1" dirty="0">
                  <a:solidFill>
                    <a:srgbClr val="FF0000"/>
                  </a:solidFill>
                  <a:latin typeface="HGP創英角ｺﾞｼｯｸUB"/>
                  <a:ea typeface="HGP創英角ｺﾞｼｯｸUB"/>
                </a:rPr>
                <a:t>　　　　</a:t>
              </a:r>
              <a:r>
                <a:rPr lang="ja-JP" altLang="en-US" sz="1393" b="1" dirty="0">
                  <a:solidFill>
                    <a:srgbClr val="000000"/>
                  </a:solidFill>
                  <a:latin typeface="HGP創英角ｺﾞｼｯｸUB"/>
                  <a:ea typeface="HGP創英角ｺﾞｼｯｸUB"/>
                </a:rPr>
                <a:t>国土構造の基本構想</a:t>
              </a:r>
              <a:r>
                <a:rPr lang="ja-JP" altLang="en-US" sz="1393" b="1" dirty="0">
                  <a:solidFill>
                    <a:srgbClr val="FF0000"/>
                  </a:solidFill>
                  <a:latin typeface="HGP創英角ｺﾞｼｯｸUB"/>
                  <a:ea typeface="HGP創英角ｺﾞｼｯｸUB"/>
                </a:rPr>
                <a:t>　「シームレスな拠点連結型国土」</a:t>
              </a:r>
            </a:p>
          </p:txBody>
        </p:sp>
        <p:sp>
          <p:nvSpPr>
            <p:cNvPr id="44" name="テキスト ボックス 43">
              <a:extLst>
                <a:ext uri="{FF2B5EF4-FFF2-40B4-BE49-F238E27FC236}">
                  <a16:creationId xmlns:a16="http://schemas.microsoft.com/office/drawing/2014/main" id="{CD664AC9-6131-7A71-B1BC-605486A6F148}"/>
                </a:ext>
              </a:extLst>
            </p:cNvPr>
            <p:cNvSpPr txBox="1"/>
            <p:nvPr/>
          </p:nvSpPr>
          <p:spPr>
            <a:xfrm>
              <a:off x="8579413" y="4589747"/>
              <a:ext cx="3062558" cy="695625"/>
            </a:xfrm>
            <a:prstGeom prst="rect">
              <a:avLst/>
            </a:prstGeom>
            <a:solidFill>
              <a:srgbClr val="CCCCFF"/>
            </a:solidFill>
            <a:ln w="28575">
              <a:solidFill>
                <a:schemeClr val="tx1"/>
              </a:solidFill>
            </a:ln>
          </p:spPr>
          <p:txBody>
            <a:bodyPr wrap="square" lIns="0" rIns="0" rtlCol="0" anchor="ctr">
              <a:noAutofit/>
            </a:bodyPr>
            <a:lstStyle/>
            <a:p>
              <a:pPr marL="206354" indent="-140025" defTabSz="707499">
                <a:buFont typeface="Wingdings" panose="05000000000000000000" pitchFamily="2" charset="2"/>
                <a:buChar char="Ø"/>
                <a:defRPr/>
              </a:pPr>
              <a:r>
                <a:rPr lang="ja-JP" altLang="en-US" sz="928" b="1" dirty="0">
                  <a:solidFill>
                    <a:srgbClr val="000000"/>
                  </a:solidFill>
                  <a:latin typeface="ＭＳ Ｐゴシック"/>
                  <a:ea typeface="ＭＳ Ｐゴシック"/>
                </a:rPr>
                <a:t>東京一極集中の是正</a:t>
              </a:r>
              <a:r>
                <a:rPr lang="ja-JP" altLang="en-US" sz="773" b="1" dirty="0">
                  <a:solidFill>
                    <a:srgbClr val="000000"/>
                  </a:solidFill>
                  <a:latin typeface="ＭＳ Ｐゴシック"/>
                  <a:ea typeface="ＭＳ Ｐゴシック"/>
                </a:rPr>
                <a:t>（地方と東京の</a:t>
              </a:r>
              <a:r>
                <a:rPr lang="en-US" altLang="ja-JP" sz="773" b="1" dirty="0">
                  <a:solidFill>
                    <a:srgbClr val="000000"/>
                  </a:solidFill>
                  <a:latin typeface="ＭＳ Ｐゴシック"/>
                  <a:ea typeface="ＭＳ Ｐゴシック"/>
                </a:rPr>
                <a:t>win-win</a:t>
              </a:r>
              <a:r>
                <a:rPr lang="ja-JP" altLang="en-US" sz="773" b="1" dirty="0">
                  <a:solidFill>
                    <a:srgbClr val="000000"/>
                  </a:solidFill>
                  <a:latin typeface="ＭＳ Ｐゴシック"/>
                  <a:ea typeface="ＭＳ Ｐゴシック"/>
                </a:rPr>
                <a:t>の関係構築）</a:t>
              </a:r>
              <a:endParaRPr lang="en-US" altLang="ja-JP" sz="773" b="1" dirty="0">
                <a:solidFill>
                  <a:srgbClr val="000000"/>
                </a:solidFill>
                <a:latin typeface="ＭＳ Ｐゴシック"/>
                <a:ea typeface="ＭＳ Ｐゴシック"/>
              </a:endParaRPr>
            </a:p>
            <a:p>
              <a:pPr marL="206354" indent="-140025" defTabSz="707499">
                <a:spcBef>
                  <a:spcPts val="0"/>
                </a:spcBef>
                <a:buFont typeface="Wingdings" panose="05000000000000000000" pitchFamily="2" charset="2"/>
                <a:buChar char="Ø"/>
                <a:defRPr/>
              </a:pPr>
              <a:r>
                <a:rPr lang="ja-JP" altLang="en-US" sz="928" b="1" dirty="0">
                  <a:solidFill>
                    <a:srgbClr val="000000"/>
                  </a:solidFill>
                  <a:latin typeface="ＭＳ Ｐゴシック"/>
                  <a:ea typeface="ＭＳ Ｐゴシック"/>
                </a:rPr>
                <a:t>国土の多様性</a:t>
              </a:r>
              <a:r>
                <a:rPr lang="ja-JP" altLang="en-US" sz="696" b="1" dirty="0">
                  <a:solidFill>
                    <a:srgbClr val="000000"/>
                  </a:solidFill>
                  <a:latin typeface="ＭＳ Ｐゴシック"/>
                  <a:ea typeface="ＭＳ Ｐゴシック"/>
                </a:rPr>
                <a:t>（ダイバーシティ）</a:t>
              </a:r>
              <a:r>
                <a:rPr lang="ja-JP" altLang="en-US" sz="928" b="1" dirty="0">
                  <a:solidFill>
                    <a:srgbClr val="000000"/>
                  </a:solidFill>
                  <a:latin typeface="ＭＳ Ｐゴシック"/>
                  <a:ea typeface="ＭＳ Ｐゴシック"/>
                </a:rPr>
                <a:t>、包摂性</a:t>
              </a:r>
              <a:r>
                <a:rPr lang="ja-JP" altLang="en-US" sz="696" b="1" dirty="0">
                  <a:solidFill>
                    <a:srgbClr val="000000"/>
                  </a:solidFill>
                  <a:latin typeface="ＭＳ Ｐゴシック"/>
                  <a:ea typeface="ＭＳ Ｐゴシック"/>
                </a:rPr>
                <a:t>（インクルージョン）</a:t>
              </a:r>
              <a:r>
                <a:rPr lang="ja-JP" altLang="en-US" sz="928" b="1" dirty="0">
                  <a:solidFill>
                    <a:srgbClr val="000000"/>
                  </a:solidFill>
                  <a:latin typeface="ＭＳ Ｐゴシック"/>
                  <a:ea typeface="ＭＳ Ｐゴシック"/>
                </a:rPr>
                <a:t>、持続性</a:t>
              </a:r>
              <a:r>
                <a:rPr lang="ja-JP" altLang="en-US" sz="696" b="1" dirty="0">
                  <a:solidFill>
                    <a:srgbClr val="000000"/>
                  </a:solidFill>
                  <a:latin typeface="ＭＳ Ｐゴシック"/>
                  <a:ea typeface="ＭＳ Ｐゴシック"/>
                </a:rPr>
                <a:t>（サステナビリティ）、</a:t>
              </a:r>
              <a:r>
                <a:rPr lang="ja-JP" altLang="en-US" sz="928" b="1" dirty="0">
                  <a:solidFill>
                    <a:srgbClr val="000000"/>
                  </a:solidFill>
                  <a:latin typeface="ＭＳ Ｐゴシック"/>
                  <a:ea typeface="ＭＳ Ｐゴシック"/>
                </a:rPr>
                <a:t>強靱性</a:t>
              </a:r>
              <a:r>
                <a:rPr lang="ja-JP" altLang="en-US" sz="696" b="1" dirty="0">
                  <a:solidFill>
                    <a:srgbClr val="000000"/>
                  </a:solidFill>
                  <a:latin typeface="ＭＳ Ｐゴシック"/>
                  <a:ea typeface="ＭＳ Ｐゴシック"/>
                </a:rPr>
                <a:t>（レジリエンス）</a:t>
              </a:r>
              <a:r>
                <a:rPr lang="ja-JP" altLang="en-US" sz="928" b="1" dirty="0">
                  <a:solidFill>
                    <a:srgbClr val="000000"/>
                  </a:solidFill>
                  <a:latin typeface="ＭＳ Ｐゴシック"/>
                  <a:ea typeface="ＭＳ Ｐゴシック"/>
                </a:rPr>
                <a:t>の向上</a:t>
              </a:r>
              <a:endParaRPr lang="en-US" altLang="ja-JP" sz="928" b="1" dirty="0">
                <a:solidFill>
                  <a:srgbClr val="000000"/>
                </a:solidFill>
                <a:latin typeface="ＭＳ Ｐゴシック"/>
                <a:ea typeface="ＭＳ Ｐゴシック"/>
              </a:endParaRPr>
            </a:p>
          </p:txBody>
        </p:sp>
        <p:sp>
          <p:nvSpPr>
            <p:cNvPr id="45" name="テキスト ボックス 44">
              <a:extLst>
                <a:ext uri="{FF2B5EF4-FFF2-40B4-BE49-F238E27FC236}">
                  <a16:creationId xmlns:a16="http://schemas.microsoft.com/office/drawing/2014/main" id="{2E2D8106-BA28-5B08-7666-7061EE8FB0C9}"/>
                </a:ext>
              </a:extLst>
            </p:cNvPr>
            <p:cNvSpPr txBox="1"/>
            <p:nvPr/>
          </p:nvSpPr>
          <p:spPr>
            <a:xfrm>
              <a:off x="11239817" y="5525747"/>
              <a:ext cx="494959" cy="2520000"/>
            </a:xfrm>
            <a:prstGeom prst="rect">
              <a:avLst/>
            </a:prstGeom>
            <a:noFill/>
            <a:ln w="19050">
              <a:noFill/>
            </a:ln>
          </p:spPr>
          <p:txBody>
            <a:bodyPr vert="eaVert" wrap="square" rtlCol="0" anchor="ctr">
              <a:noAutofit/>
            </a:bodyPr>
            <a:lstStyle/>
            <a:p>
              <a:pPr algn="ctr" defTabSz="505366">
                <a:defRPr/>
              </a:pPr>
              <a:r>
                <a:rPr lang="ja-JP" altLang="en-US" sz="1238" b="1" dirty="0">
                  <a:solidFill>
                    <a:srgbClr val="FF0000"/>
                  </a:solidFill>
                  <a:latin typeface="ＭＳ Ｐゴシック"/>
                  <a:ea typeface="ＭＳ Ｐゴシック"/>
                </a:rPr>
                <a:t>新しい資本主義、デジタル田園都市国家構想の実現</a:t>
              </a:r>
              <a:endParaRPr lang="en-US" altLang="ja-JP" sz="1238" b="1" dirty="0">
                <a:solidFill>
                  <a:srgbClr val="FF0000"/>
                </a:solidFill>
                <a:latin typeface="ＭＳ Ｐゴシック"/>
                <a:ea typeface="ＭＳ Ｐゴシック"/>
              </a:endParaRPr>
            </a:p>
          </p:txBody>
        </p:sp>
        <p:sp>
          <p:nvSpPr>
            <p:cNvPr id="46" name="正方形/長方形 45"/>
            <p:cNvSpPr/>
            <p:nvPr/>
          </p:nvSpPr>
          <p:spPr>
            <a:xfrm>
              <a:off x="1278769" y="845747"/>
              <a:ext cx="10517875" cy="360000"/>
            </a:xfrm>
            <a:prstGeom prst="rect">
              <a:avLst/>
            </a:prstGeom>
            <a:solidFill>
              <a:schemeClr val="accent2">
                <a:lumMod val="75000"/>
              </a:schemeClr>
            </a:solidFill>
            <a:ln>
              <a:noFill/>
            </a:ln>
          </p:spPr>
          <p:style>
            <a:lnRef idx="2">
              <a:schemeClr val="accent2"/>
            </a:lnRef>
            <a:fillRef idx="1">
              <a:schemeClr val="lt1"/>
            </a:fillRef>
            <a:effectRef idx="0">
              <a:schemeClr val="accent2"/>
            </a:effectRef>
            <a:fontRef idx="minor">
              <a:schemeClr val="dk1"/>
            </a:fontRef>
          </p:style>
          <p:txBody>
            <a:bodyPr vert="horz" rtlCol="0" anchor="ctr"/>
            <a:lstStyle/>
            <a:p>
              <a:pPr algn="ctr" defTabSz="707499">
                <a:defRPr/>
              </a:pPr>
              <a:r>
                <a:rPr lang="ja-JP" altLang="en-US" sz="1548" dirty="0">
                  <a:solidFill>
                    <a:srgbClr val="FFFFFF"/>
                  </a:solidFill>
                  <a:latin typeface="HGP創英角ｺﾞｼｯｸUB"/>
                  <a:ea typeface="HGP創英角ｺﾞｼｯｸUB"/>
                </a:rPr>
                <a:t>新たな国土の将来ビジョン</a:t>
              </a:r>
            </a:p>
          </p:txBody>
        </p:sp>
        <p:sp>
          <p:nvSpPr>
            <p:cNvPr id="2" name="正方形/長方形 1"/>
            <p:cNvSpPr/>
            <p:nvPr/>
          </p:nvSpPr>
          <p:spPr>
            <a:xfrm>
              <a:off x="1433444" y="3732947"/>
              <a:ext cx="10270398" cy="252000"/>
            </a:xfrm>
            <a:prstGeom prst="rect">
              <a:avLst/>
            </a:prstGeom>
            <a:solidFill>
              <a:schemeClr val="bg1"/>
            </a:solidFill>
            <a:ln>
              <a:solidFill>
                <a:schemeClr val="accent2">
                  <a:lumMod val="60000"/>
                  <a:lumOff val="40000"/>
                </a:schemeClr>
              </a:solidFill>
            </a:ln>
          </p:spPr>
          <p:txBody>
            <a:bodyPr wrap="square" anchor="ctr">
              <a:noAutofit/>
            </a:bodyPr>
            <a:lstStyle/>
            <a:p>
              <a:pPr defTabSz="707499">
                <a:defRPr/>
              </a:pPr>
              <a:r>
                <a:rPr lang="ja-JP" altLang="en-US" sz="928" b="1" dirty="0">
                  <a:solidFill>
                    <a:srgbClr val="000000"/>
                  </a:solidFill>
                  <a:latin typeface="ＭＳ Ｐゴシック"/>
                  <a:ea typeface="ＭＳ Ｐゴシック"/>
                </a:rPr>
                <a:t>国土づくりの戦略的視点　　</a:t>
              </a:r>
              <a:r>
                <a:rPr lang="ja-JP" altLang="en-US" sz="928" b="1" dirty="0">
                  <a:solidFill>
                    <a:srgbClr val="000000"/>
                  </a:solidFill>
                  <a:latin typeface="ＭＳＰゴシック"/>
                </a:rPr>
                <a:t>①民の力を最大限発揮する官民連携　②デジタルの徹底活用　③生活者・利用者の利便の最適化　④縦割りの打破（分野の垣根を越える横串の発想）</a:t>
              </a:r>
              <a:endParaRPr lang="ja-JP" altLang="en-US" sz="928" b="1" dirty="0">
                <a:solidFill>
                  <a:srgbClr val="000000"/>
                </a:solidFill>
              </a:endParaRPr>
            </a:p>
          </p:txBody>
        </p:sp>
        <p:sp>
          <p:nvSpPr>
            <p:cNvPr id="35" name="フローチャート: 組合せ 34"/>
            <p:cNvSpPr/>
            <p:nvPr/>
          </p:nvSpPr>
          <p:spPr>
            <a:xfrm>
              <a:off x="4062914" y="2609747"/>
              <a:ext cx="4949589" cy="144000"/>
            </a:xfrm>
            <a:prstGeom prst="flowChartMerge">
              <a:avLst/>
            </a:prstGeom>
            <a:solidFill>
              <a:srgbClr val="FFCC9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algn="ctr" defTabSz="505366">
                <a:defRPr/>
              </a:pPr>
              <a:endParaRPr lang="ja-JP" altLang="en-US" sz="995">
                <a:solidFill>
                  <a:srgbClr val="FFFFFF"/>
                </a:solidFill>
                <a:latin typeface="Arial"/>
                <a:ea typeface="ＭＳ Ｐゴシック"/>
              </a:endParaRPr>
            </a:p>
          </p:txBody>
        </p:sp>
        <p:sp>
          <p:nvSpPr>
            <p:cNvPr id="38" name="正方形/長方形 37"/>
            <p:cNvSpPr/>
            <p:nvPr/>
          </p:nvSpPr>
          <p:spPr>
            <a:xfrm>
              <a:off x="1680924" y="8333747"/>
              <a:ext cx="2474794"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algn="ctr" defTabSz="505366">
                <a:defRPr/>
              </a:pPr>
              <a:r>
                <a:rPr lang="ja-JP" altLang="en-US" sz="1238" b="1" i="1" dirty="0">
                  <a:solidFill>
                    <a:srgbClr val="FF0000"/>
                  </a:solidFill>
                  <a:latin typeface="ＭＳ Ｐゴシック"/>
                  <a:ea typeface="ＭＳ Ｐゴシック"/>
                </a:rPr>
                <a:t>地域を支える人材の確保・育成</a:t>
              </a:r>
              <a:endParaRPr lang="ja-JP" altLang="en-US" sz="851" b="1" dirty="0">
                <a:solidFill>
                  <a:srgbClr val="000000"/>
                </a:solidFill>
                <a:latin typeface="ＭＳ Ｐゴシック"/>
                <a:ea typeface="ＭＳ Ｐゴシック"/>
              </a:endParaRPr>
            </a:p>
          </p:txBody>
        </p:sp>
      </p:grpSp>
      <p:sp>
        <p:nvSpPr>
          <p:cNvPr id="7" name="テキスト ボックス 6"/>
          <p:cNvSpPr txBox="1"/>
          <p:nvPr/>
        </p:nvSpPr>
        <p:spPr>
          <a:xfrm>
            <a:off x="1646623" y="3953660"/>
            <a:ext cx="5121129" cy="323165"/>
          </a:xfrm>
          <a:prstGeom prst="rect">
            <a:avLst/>
          </a:prstGeom>
          <a:noFill/>
        </p:spPr>
        <p:txBody>
          <a:bodyPr wrap="square" rtlCol="0">
            <a:spAutoFit/>
          </a:bodyPr>
          <a:lstStyle/>
          <a:p>
            <a:pPr marL="221093" indent="-221093" defTabSz="707499">
              <a:lnSpc>
                <a:spcPts val="928"/>
              </a:lnSpc>
              <a:buFont typeface="Wingdings" panose="05000000000000000000" pitchFamily="2" charset="2"/>
              <a:buChar char="u"/>
              <a:defRPr/>
            </a:pPr>
            <a:r>
              <a:rPr lang="ja-JP" altLang="en-US" sz="812" b="1" dirty="0">
                <a:solidFill>
                  <a:srgbClr val="000000"/>
                </a:solidFill>
              </a:rPr>
              <a:t>生活に身近な地域コミュニティの再生（小さな拠点を核とした集落生活圏の形成、都市コミュニティの再生）</a:t>
            </a:r>
          </a:p>
          <a:p>
            <a:pPr marL="221093" indent="-221093" defTabSz="707499">
              <a:lnSpc>
                <a:spcPts val="928"/>
              </a:lnSpc>
              <a:buFont typeface="Wingdings" panose="05000000000000000000" pitchFamily="2" charset="2"/>
              <a:buChar char="u"/>
              <a:defRPr/>
            </a:pPr>
            <a:r>
              <a:rPr lang="ja-JP" altLang="en-US" sz="812" b="1" dirty="0">
                <a:solidFill>
                  <a:srgbClr val="000000"/>
                </a:solidFill>
              </a:rPr>
              <a:t>地方の中心都市を核とした市町村界にとらわれない新たな発想からの地域生活圏の形成</a:t>
            </a:r>
            <a:endParaRPr lang="en-US" altLang="ja-JP" sz="812" b="1" dirty="0">
              <a:solidFill>
                <a:srgbClr val="000000"/>
              </a:solidFill>
            </a:endParaRPr>
          </a:p>
        </p:txBody>
      </p:sp>
      <p:sp>
        <p:nvSpPr>
          <p:cNvPr id="47" name="テキスト ボックス 46"/>
          <p:cNvSpPr txBox="1"/>
          <p:nvPr/>
        </p:nvSpPr>
        <p:spPr>
          <a:xfrm>
            <a:off x="1646623" y="3452312"/>
            <a:ext cx="5121129" cy="553998"/>
          </a:xfrm>
          <a:prstGeom prst="rect">
            <a:avLst/>
          </a:prstGeom>
          <a:noFill/>
        </p:spPr>
        <p:txBody>
          <a:bodyPr wrap="square" rtlCol="0">
            <a:spAutoFit/>
          </a:bodyPr>
          <a:lstStyle/>
          <a:p>
            <a:pPr marL="221093" indent="-221093" defTabSz="707499">
              <a:lnSpc>
                <a:spcPts val="928"/>
              </a:lnSpc>
              <a:buFont typeface="Wingdings" panose="05000000000000000000" pitchFamily="2" charset="2"/>
              <a:buChar char="u"/>
              <a:defRPr/>
            </a:pPr>
            <a:r>
              <a:rPr lang="ja-JP" altLang="en-US" sz="812" b="1" dirty="0">
                <a:solidFill>
                  <a:srgbClr val="000000"/>
                </a:solidFill>
              </a:rPr>
              <a:t>中枢中核都市等を核とした広域圏の自立的発展、日本海側・太平洋側二面活用等の広域圏内・広域圏間の連結強化を図る「全国的な回廊ネットワーク」の形成</a:t>
            </a:r>
          </a:p>
          <a:p>
            <a:pPr marL="221093" indent="-221093" defTabSz="707499">
              <a:lnSpc>
                <a:spcPts val="928"/>
              </a:lnSpc>
              <a:buFont typeface="Wingdings" panose="05000000000000000000" pitchFamily="2" charset="2"/>
              <a:buChar char="u"/>
              <a:defRPr/>
            </a:pPr>
            <a:r>
              <a:rPr lang="ja-JP" altLang="en-US" sz="812" b="1" dirty="0">
                <a:solidFill>
                  <a:srgbClr val="000000"/>
                </a:solidFill>
              </a:rPr>
              <a:t>リニア中央新幹線、新東名・新名神等により三大都市圏を結ぶ「日本中央回廊」の形成による地方活性化、国際競争力強化</a:t>
            </a:r>
          </a:p>
        </p:txBody>
      </p:sp>
      <p:sp>
        <p:nvSpPr>
          <p:cNvPr id="8" name="テキスト ボックス 7"/>
          <p:cNvSpPr txBox="1"/>
          <p:nvPr/>
        </p:nvSpPr>
        <p:spPr>
          <a:xfrm>
            <a:off x="393251" y="3925806"/>
            <a:ext cx="1365635" cy="381582"/>
          </a:xfrm>
          <a:prstGeom prst="rect">
            <a:avLst/>
          </a:prstGeom>
          <a:noFill/>
        </p:spPr>
        <p:txBody>
          <a:bodyPr wrap="square" rtlCol="0" anchor="ctr">
            <a:noAutofit/>
          </a:bodyPr>
          <a:lstStyle/>
          <a:p>
            <a:pPr defTabSz="707499">
              <a:defRPr/>
            </a:pPr>
            <a:r>
              <a:rPr lang="en-US" altLang="ja-JP" sz="1006" b="1" dirty="0">
                <a:solidFill>
                  <a:srgbClr val="000000"/>
                </a:solidFill>
                <a:latin typeface="ＭＳ Ｐゴシック"/>
                <a:ea typeface="ＭＳ Ｐゴシック"/>
              </a:rPr>
              <a:t>〈</a:t>
            </a:r>
            <a:r>
              <a:rPr lang="ja-JP" altLang="en-US" sz="1006" b="1" dirty="0">
                <a:solidFill>
                  <a:srgbClr val="000000"/>
                </a:solidFill>
                <a:latin typeface="ＭＳ Ｐゴシック"/>
                <a:ea typeface="ＭＳ Ｐゴシック"/>
              </a:rPr>
              <a:t>持続可能な生活圏の再構築</a:t>
            </a:r>
            <a:r>
              <a:rPr lang="en-US" altLang="ja-JP" sz="1006" b="1" dirty="0">
                <a:solidFill>
                  <a:srgbClr val="000000"/>
                </a:solidFill>
                <a:latin typeface="ＭＳ Ｐゴシック"/>
                <a:ea typeface="ＭＳ Ｐゴシック"/>
              </a:rPr>
              <a:t>〉</a:t>
            </a:r>
          </a:p>
        </p:txBody>
      </p:sp>
      <p:sp>
        <p:nvSpPr>
          <p:cNvPr id="9" name="左右矢印 8"/>
          <p:cNvSpPr/>
          <p:nvPr/>
        </p:nvSpPr>
        <p:spPr>
          <a:xfrm>
            <a:off x="4484229" y="4455008"/>
            <a:ext cx="341408" cy="1531898"/>
          </a:xfrm>
          <a:prstGeom prst="leftRightArrow">
            <a:avLst>
              <a:gd name="adj1" fmla="val 65569"/>
              <a:gd name="adj2" fmla="val 32456"/>
            </a:avLst>
          </a:prstGeom>
          <a:solidFill>
            <a:srgbClr val="99FF99"/>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defTabSz="707499">
              <a:defRPr/>
            </a:pPr>
            <a:r>
              <a:rPr lang="ja-JP" altLang="en-US" sz="812" dirty="0">
                <a:solidFill>
                  <a:srgbClr val="000000"/>
                </a:solidFill>
                <a:latin typeface="Arial"/>
                <a:ea typeface="ＭＳ Ｐゴシック"/>
              </a:rPr>
              <a:t>相互連携による　　相乗効果の発揮</a:t>
            </a:r>
          </a:p>
        </p:txBody>
      </p:sp>
      <p:sp>
        <p:nvSpPr>
          <p:cNvPr id="11" name="テキスト ボックス 10"/>
          <p:cNvSpPr txBox="1"/>
          <p:nvPr/>
        </p:nvSpPr>
        <p:spPr>
          <a:xfrm>
            <a:off x="114724" y="6999697"/>
            <a:ext cx="2219156" cy="592085"/>
          </a:xfrm>
          <a:prstGeom prst="rect">
            <a:avLst/>
          </a:prstGeom>
          <a:noFill/>
        </p:spPr>
        <p:txBody>
          <a:bodyPr wrap="square" rtlCol="0">
            <a:spAutoFit/>
          </a:bodyPr>
          <a:lstStyle/>
          <a:p>
            <a:pPr marL="140025" indent="-140025" defTabSz="707499">
              <a:defRPr/>
            </a:pPr>
            <a:r>
              <a:rPr lang="ja-JP" altLang="en-US" sz="928" dirty="0">
                <a:solidFill>
                  <a:srgbClr val="000000"/>
                </a:solidFill>
              </a:rPr>
              <a:t>〇地域の整備</a:t>
            </a:r>
            <a:r>
              <a:rPr lang="ja-JP" altLang="en-US" sz="696" dirty="0">
                <a:solidFill>
                  <a:srgbClr val="000000"/>
                </a:solidFill>
              </a:rPr>
              <a:t>（コンパクト＋ネットワーク、農山漁村、条件の厳しい地域への対応等）</a:t>
            </a:r>
            <a:endParaRPr lang="en-US" altLang="ja-JP" sz="696" dirty="0">
              <a:solidFill>
                <a:srgbClr val="000000"/>
              </a:solidFill>
            </a:endParaRPr>
          </a:p>
          <a:p>
            <a:pPr marL="140025" indent="-140025" defTabSz="707499">
              <a:defRPr/>
            </a:pPr>
            <a:r>
              <a:rPr lang="ja-JP" altLang="en-US" sz="928" dirty="0">
                <a:solidFill>
                  <a:srgbClr val="000000"/>
                </a:solidFill>
              </a:rPr>
              <a:t>〇産業</a:t>
            </a:r>
            <a:r>
              <a:rPr lang="ja-JP" altLang="en-US" sz="696" dirty="0">
                <a:solidFill>
                  <a:srgbClr val="000000"/>
                </a:solidFill>
              </a:rPr>
              <a:t>（国際競争力の強化、エネルギー・食料の安定供給等）</a:t>
            </a:r>
          </a:p>
        </p:txBody>
      </p:sp>
      <p:sp>
        <p:nvSpPr>
          <p:cNvPr id="54" name="テキスト ボックス 53"/>
          <p:cNvSpPr txBox="1"/>
          <p:nvPr/>
        </p:nvSpPr>
        <p:spPr>
          <a:xfrm>
            <a:off x="2342938" y="6999697"/>
            <a:ext cx="2261638" cy="627801"/>
          </a:xfrm>
          <a:prstGeom prst="rect">
            <a:avLst/>
          </a:prstGeom>
          <a:noFill/>
        </p:spPr>
        <p:txBody>
          <a:bodyPr wrap="square" rtlCol="0">
            <a:spAutoFit/>
          </a:bodyPr>
          <a:lstStyle/>
          <a:p>
            <a:pPr marL="140025" indent="-140025" defTabSz="707499">
              <a:defRPr/>
            </a:pPr>
            <a:r>
              <a:rPr lang="ja-JP" altLang="en-US" sz="928" dirty="0">
                <a:solidFill>
                  <a:srgbClr val="000000"/>
                </a:solidFill>
              </a:rPr>
              <a:t>〇文化・スポーツ及び観光</a:t>
            </a:r>
            <a:r>
              <a:rPr lang="ja-JP" altLang="en-US" sz="696" dirty="0">
                <a:solidFill>
                  <a:srgbClr val="000000"/>
                </a:solidFill>
              </a:rPr>
              <a:t>（文化が育む豊かで活力ある地域社会、観光振興による地域活性化等）</a:t>
            </a:r>
            <a:endParaRPr lang="en-US" altLang="ja-JP" sz="696" dirty="0">
              <a:solidFill>
                <a:srgbClr val="000000"/>
              </a:solidFill>
            </a:endParaRPr>
          </a:p>
          <a:p>
            <a:pPr marL="140025" indent="-140025" defTabSz="707499">
              <a:defRPr/>
            </a:pPr>
            <a:r>
              <a:rPr lang="ja-JP" altLang="en-US" sz="928" dirty="0">
                <a:solidFill>
                  <a:srgbClr val="000000"/>
                </a:solidFill>
              </a:rPr>
              <a:t>○交通体系、情報通信体系及び　　　　　エネルギーインフラ</a:t>
            </a:r>
            <a:endParaRPr lang="ja-JP" altLang="en-US" sz="696" dirty="0">
              <a:solidFill>
                <a:srgbClr val="000000"/>
              </a:solidFill>
            </a:endParaRPr>
          </a:p>
        </p:txBody>
      </p:sp>
      <p:sp>
        <p:nvSpPr>
          <p:cNvPr id="55" name="テキスト ボックス 54"/>
          <p:cNvSpPr txBox="1"/>
          <p:nvPr/>
        </p:nvSpPr>
        <p:spPr>
          <a:xfrm>
            <a:off x="4571153" y="6999697"/>
            <a:ext cx="2219156" cy="627801"/>
          </a:xfrm>
          <a:prstGeom prst="rect">
            <a:avLst/>
          </a:prstGeom>
          <a:noFill/>
        </p:spPr>
        <p:txBody>
          <a:bodyPr wrap="square" rtlCol="0">
            <a:spAutoFit/>
          </a:bodyPr>
          <a:lstStyle/>
          <a:p>
            <a:pPr defTabSz="707499">
              <a:defRPr/>
            </a:pPr>
            <a:r>
              <a:rPr lang="ja-JP" altLang="en-US" sz="928" kern="100" dirty="0">
                <a:solidFill>
                  <a:srgbClr val="000000"/>
                </a:solidFill>
                <a:latin typeface="ＭＳ Ｐゴシック"/>
                <a:cs typeface="Times New Roman" panose="02020603050405020304" pitchFamily="18" charset="0"/>
              </a:rPr>
              <a:t>○防災・減災、国土強靱化</a:t>
            </a:r>
          </a:p>
          <a:p>
            <a:pPr marL="140025" indent="-140025" defTabSz="707499">
              <a:defRPr/>
            </a:pPr>
            <a:r>
              <a:rPr lang="ja-JP" altLang="en-US" sz="928" kern="100" dirty="0">
                <a:solidFill>
                  <a:srgbClr val="000000"/>
                </a:solidFill>
                <a:latin typeface="ＭＳ Ｐゴシック"/>
                <a:cs typeface="Times New Roman" panose="02020603050405020304" pitchFamily="18" charset="0"/>
              </a:rPr>
              <a:t>○国土資源及び海域の利用と保全</a:t>
            </a:r>
            <a:r>
              <a:rPr lang="ja-JP" altLang="en-US" sz="696" kern="100" dirty="0">
                <a:solidFill>
                  <a:srgbClr val="000000"/>
                </a:solidFill>
                <a:latin typeface="ＭＳ Ｐゴシック"/>
                <a:cs typeface="Times New Roman" panose="02020603050405020304" pitchFamily="18" charset="0"/>
              </a:rPr>
              <a:t>（農地、森林、健全な水循環、海洋・海域等）</a:t>
            </a:r>
          </a:p>
          <a:p>
            <a:pPr defTabSz="707499">
              <a:defRPr/>
            </a:pPr>
            <a:r>
              <a:rPr lang="ja-JP" altLang="en-US" sz="928" kern="100" dirty="0">
                <a:solidFill>
                  <a:srgbClr val="000000"/>
                </a:solidFill>
                <a:latin typeface="ＭＳ Ｐゴシック"/>
                <a:cs typeface="Times New Roman" panose="02020603050405020304" pitchFamily="18" charset="0"/>
              </a:rPr>
              <a:t>○環境保全及び景観形成</a:t>
            </a:r>
          </a:p>
        </p:txBody>
      </p:sp>
      <p:sp>
        <p:nvSpPr>
          <p:cNvPr id="56" name="テキスト ボックス 55"/>
          <p:cNvSpPr txBox="1"/>
          <p:nvPr/>
        </p:nvSpPr>
        <p:spPr>
          <a:xfrm>
            <a:off x="393251" y="3452312"/>
            <a:ext cx="1365635" cy="401905"/>
          </a:xfrm>
          <a:prstGeom prst="rect">
            <a:avLst/>
          </a:prstGeom>
          <a:noFill/>
        </p:spPr>
        <p:txBody>
          <a:bodyPr wrap="square" rtlCol="0">
            <a:spAutoFit/>
          </a:bodyPr>
          <a:lstStyle/>
          <a:p>
            <a:pPr marL="66328" indent="-66328" defTabSz="707499">
              <a:defRPr/>
            </a:pPr>
            <a:r>
              <a:rPr lang="en-US" altLang="ja-JP" sz="1006" b="1" dirty="0">
                <a:solidFill>
                  <a:srgbClr val="000000"/>
                </a:solidFill>
                <a:latin typeface="ＭＳ Ｐゴシック"/>
                <a:ea typeface="ＭＳ Ｐゴシック"/>
              </a:rPr>
              <a:t>〈</a:t>
            </a:r>
            <a:r>
              <a:rPr lang="ja-JP" altLang="en-US" sz="1006" b="1" dirty="0">
                <a:solidFill>
                  <a:srgbClr val="000000"/>
                </a:solidFill>
                <a:latin typeface="ＭＳ Ｐゴシック"/>
                <a:ea typeface="ＭＳ Ｐゴシック"/>
              </a:rPr>
              <a:t>広域的な機能の　　分散と連結強化</a:t>
            </a:r>
            <a:r>
              <a:rPr lang="en-US" altLang="ja-JP" sz="1006" b="1" dirty="0">
                <a:solidFill>
                  <a:srgbClr val="000000"/>
                </a:solidFill>
                <a:latin typeface="ＭＳ Ｐゴシック"/>
                <a:ea typeface="ＭＳ Ｐゴシック"/>
              </a:rPr>
              <a:t>〉</a:t>
            </a:r>
          </a:p>
        </p:txBody>
      </p:sp>
      <p:sp>
        <p:nvSpPr>
          <p:cNvPr id="12" name="テキスト ボックス 11"/>
          <p:cNvSpPr txBox="1"/>
          <p:nvPr/>
        </p:nvSpPr>
        <p:spPr>
          <a:xfrm>
            <a:off x="6214460" y="862012"/>
            <a:ext cx="3414086" cy="223266"/>
          </a:xfrm>
          <a:prstGeom prst="rect">
            <a:avLst/>
          </a:prstGeom>
          <a:noFill/>
        </p:spPr>
        <p:txBody>
          <a:bodyPr wrap="square" lIns="0" rIns="0" rtlCol="0">
            <a:spAutoFit/>
          </a:bodyPr>
          <a:lstStyle/>
          <a:p>
            <a:pPr defTabSz="707499">
              <a:defRPr/>
            </a:pPr>
            <a:r>
              <a:rPr lang="ja-JP" altLang="en-US" sz="851" dirty="0">
                <a:solidFill>
                  <a:srgbClr val="FFFFFF"/>
                </a:solidFill>
                <a:latin typeface="ＭＳ Ｐゴシック"/>
                <a:ea typeface="ＭＳ Ｐゴシック"/>
              </a:rPr>
              <a:t>計画期間：　</a:t>
            </a:r>
            <a:r>
              <a:rPr lang="en-US" altLang="ja-JP" sz="851" dirty="0">
                <a:solidFill>
                  <a:srgbClr val="FFFFFF"/>
                </a:solidFill>
                <a:latin typeface="ＭＳ Ｐゴシック"/>
                <a:ea typeface="ＭＳ Ｐゴシック"/>
              </a:rPr>
              <a:t>2050</a:t>
            </a:r>
            <a:r>
              <a:rPr lang="ja-JP" altLang="en-US" sz="851" dirty="0">
                <a:solidFill>
                  <a:srgbClr val="FFFFFF"/>
                </a:solidFill>
                <a:latin typeface="ＭＳ Ｐゴシック"/>
                <a:ea typeface="ＭＳ Ｐゴシック"/>
              </a:rPr>
              <a:t>年さらにその先の長期を見据えつつ、今後概ね</a:t>
            </a:r>
            <a:r>
              <a:rPr lang="en-US" altLang="ja-JP" sz="851" dirty="0">
                <a:solidFill>
                  <a:srgbClr val="FFFFFF"/>
                </a:solidFill>
                <a:latin typeface="ＭＳ Ｐゴシック"/>
                <a:ea typeface="ＭＳ Ｐゴシック"/>
              </a:rPr>
              <a:t>10</a:t>
            </a:r>
            <a:r>
              <a:rPr lang="ja-JP" altLang="en-US" sz="851" dirty="0">
                <a:solidFill>
                  <a:srgbClr val="FFFFFF"/>
                </a:solidFill>
                <a:latin typeface="ＭＳ Ｐゴシック"/>
                <a:ea typeface="ＭＳ Ｐゴシック"/>
              </a:rPr>
              <a:t>年間</a:t>
            </a:r>
          </a:p>
        </p:txBody>
      </p:sp>
      <p:sp>
        <p:nvSpPr>
          <p:cNvPr id="17" name="角丸四角形 16"/>
          <p:cNvSpPr/>
          <p:nvPr/>
        </p:nvSpPr>
        <p:spPr>
          <a:xfrm>
            <a:off x="7370630" y="3285196"/>
            <a:ext cx="2105354" cy="33423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852" rIns="27852" rtlCol="0" anchor="ctr"/>
          <a:lstStyle/>
          <a:p>
            <a:pPr algn="ctr" defTabSz="707499">
              <a:defRPr/>
            </a:pPr>
            <a:r>
              <a:rPr lang="ja-JP" altLang="en-US" sz="928" b="1" i="1" dirty="0">
                <a:solidFill>
                  <a:srgbClr val="FF0000"/>
                </a:solidFill>
                <a:latin typeface="HGP創英角ｺﾞｼｯｸUB"/>
                <a:ea typeface="ＭＳ Ｐゴシック"/>
              </a:rPr>
              <a:t>デジタルの徹底活用による場所や時間の制約を克服した国土構造への転換</a:t>
            </a:r>
          </a:p>
        </p:txBody>
      </p:sp>
      <p:sp>
        <p:nvSpPr>
          <p:cNvPr id="48" name="正方形/長方形 47"/>
          <p:cNvSpPr/>
          <p:nvPr/>
        </p:nvSpPr>
        <p:spPr>
          <a:xfrm>
            <a:off x="2732877" y="6154020"/>
            <a:ext cx="3243383" cy="389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marL="132656" indent="-132656" defTabSz="505366">
              <a:spcBef>
                <a:spcPts val="232"/>
              </a:spcBef>
              <a:buFont typeface="Wingdings" panose="05000000000000000000" pitchFamily="2" charset="2"/>
              <a:buChar char="l"/>
              <a:defRPr/>
            </a:pPr>
            <a:r>
              <a:rPr lang="ja-JP" altLang="en-US" sz="773" dirty="0">
                <a:solidFill>
                  <a:srgbClr val="000000"/>
                </a:solidFill>
                <a:latin typeface="ＭＳ Ｐゴシック"/>
                <a:ea typeface="ＭＳ Ｐゴシック"/>
              </a:rPr>
              <a:t>防災・減災、国土強靱化、生活の質の向上、経済活動の下支え</a:t>
            </a:r>
            <a:endParaRPr lang="en-US" altLang="ja-JP" sz="773" dirty="0">
              <a:solidFill>
                <a:srgbClr val="000000"/>
              </a:solidFill>
              <a:latin typeface="ＭＳ Ｐゴシック"/>
              <a:ea typeface="ＭＳ Ｐゴシック"/>
            </a:endParaRPr>
          </a:p>
          <a:p>
            <a:pPr marL="206354" defTabSz="505366">
              <a:spcBef>
                <a:spcPts val="0"/>
              </a:spcBef>
              <a:defRPr/>
            </a:pPr>
            <a:r>
              <a:rPr lang="en-US" altLang="ja-JP" sz="696" dirty="0">
                <a:solidFill>
                  <a:srgbClr val="000000"/>
                </a:solidFill>
                <a:latin typeface="ＭＳ Ｐゴシック"/>
                <a:ea typeface="ＭＳ Ｐゴシック"/>
              </a:rPr>
              <a:t>〔</a:t>
            </a:r>
            <a:r>
              <a:rPr lang="ja-JP" altLang="en-US" sz="696" dirty="0">
                <a:solidFill>
                  <a:srgbClr val="000000"/>
                </a:solidFill>
                <a:latin typeface="ＭＳ Ｐゴシック"/>
                <a:ea typeface="ＭＳ Ｐゴシック"/>
              </a:rPr>
              <a:t>機能・役割に応じた国土基盤の充実・強化</a:t>
            </a:r>
            <a:r>
              <a:rPr lang="en-US" altLang="ja-JP" sz="696" dirty="0">
                <a:solidFill>
                  <a:srgbClr val="000000"/>
                </a:solidFill>
                <a:latin typeface="ＭＳ Ｐゴシック"/>
                <a:ea typeface="ＭＳ Ｐゴシック"/>
              </a:rPr>
              <a:t>〕</a:t>
            </a:r>
            <a:endParaRPr lang="ja-JP" altLang="en-US" sz="696" dirty="0">
              <a:solidFill>
                <a:srgbClr val="000000"/>
              </a:solidFill>
              <a:latin typeface="ＭＳ Ｐゴシック"/>
              <a:ea typeface="ＭＳ Ｐゴシック"/>
            </a:endParaRPr>
          </a:p>
          <a:p>
            <a:pPr marL="132656" indent="-132656" defTabSz="505366">
              <a:spcBef>
                <a:spcPts val="0"/>
              </a:spcBef>
              <a:buFont typeface="Wingdings" panose="05000000000000000000" pitchFamily="2" charset="2"/>
              <a:buChar char="l"/>
              <a:defRPr/>
            </a:pPr>
            <a:r>
              <a:rPr lang="ja-JP" altLang="en-US" sz="773" dirty="0">
                <a:solidFill>
                  <a:srgbClr val="000000"/>
                </a:solidFill>
                <a:latin typeface="ＭＳ Ｐゴシック"/>
                <a:ea typeface="ＭＳ Ｐゴシック"/>
              </a:rPr>
              <a:t>戦略的マネジメントの徹底によるストック効果の最大化</a:t>
            </a:r>
            <a:endParaRPr lang="en-US" altLang="ja-JP" sz="773" dirty="0">
              <a:solidFill>
                <a:srgbClr val="000000"/>
              </a:solidFill>
              <a:latin typeface="ＭＳ Ｐゴシック"/>
              <a:ea typeface="ＭＳ Ｐゴシック"/>
            </a:endParaRPr>
          </a:p>
        </p:txBody>
      </p:sp>
      <p:sp>
        <p:nvSpPr>
          <p:cNvPr id="5" name="左中かっこ 4"/>
          <p:cNvSpPr/>
          <p:nvPr/>
        </p:nvSpPr>
        <p:spPr>
          <a:xfrm>
            <a:off x="1590915" y="3480165"/>
            <a:ext cx="199155" cy="44564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707499">
              <a:defRPr/>
            </a:pPr>
            <a:endParaRPr lang="ja-JP" altLang="en-US" sz="1393">
              <a:solidFill>
                <a:srgbClr val="000000"/>
              </a:solidFill>
              <a:latin typeface="Arial"/>
              <a:ea typeface="ＭＳ Ｐゴシック"/>
            </a:endParaRPr>
          </a:p>
        </p:txBody>
      </p:sp>
      <p:sp>
        <p:nvSpPr>
          <p:cNvPr id="49" name="左中かっこ 48"/>
          <p:cNvSpPr/>
          <p:nvPr/>
        </p:nvSpPr>
        <p:spPr>
          <a:xfrm>
            <a:off x="1590915" y="3974294"/>
            <a:ext cx="199155" cy="278527"/>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707499">
              <a:defRPr/>
            </a:pPr>
            <a:endParaRPr lang="ja-JP" altLang="en-US" sz="1393">
              <a:solidFill>
                <a:srgbClr val="000000"/>
              </a:solidFill>
              <a:latin typeface="Arial"/>
              <a:ea typeface="ＭＳ Ｐゴシック"/>
            </a:endParaRPr>
          </a:p>
        </p:txBody>
      </p:sp>
      <p:sp>
        <p:nvSpPr>
          <p:cNvPr id="6" name="テキスト ボックス 5"/>
          <p:cNvSpPr txBox="1"/>
          <p:nvPr/>
        </p:nvSpPr>
        <p:spPr>
          <a:xfrm>
            <a:off x="253987" y="3173785"/>
            <a:ext cx="3271832" cy="485133"/>
          </a:xfrm>
          <a:prstGeom prst="rect">
            <a:avLst/>
          </a:prstGeom>
          <a:noFill/>
        </p:spPr>
        <p:txBody>
          <a:bodyPr wrap="square" rtlCol="0">
            <a:spAutoFit/>
          </a:bodyPr>
          <a:lstStyle/>
          <a:p>
            <a:pPr defTabSz="707499">
              <a:defRPr/>
            </a:pPr>
            <a:r>
              <a:rPr lang="en-US" altLang="ja-JP" sz="851" b="1" dirty="0">
                <a:solidFill>
                  <a:srgbClr val="000000"/>
                </a:solidFill>
                <a:latin typeface="ＭＳ Ｐゴシック"/>
                <a:ea typeface="ＭＳ Ｐゴシック"/>
              </a:rPr>
              <a:t>※</a:t>
            </a:r>
            <a:r>
              <a:rPr lang="ja-JP" altLang="en-US" sz="851" b="1" dirty="0">
                <a:solidFill>
                  <a:srgbClr val="000000"/>
                </a:solidFill>
                <a:latin typeface="ＭＳ Ｐゴシック"/>
                <a:ea typeface="ＭＳ Ｐゴシック"/>
              </a:rPr>
              <a:t>南北に細長い日本列島における国土全体での連結強化</a:t>
            </a:r>
          </a:p>
          <a:p>
            <a:pPr defTabSz="707499">
              <a:defRPr/>
            </a:pPr>
            <a:r>
              <a:rPr lang="en-US" altLang="ja-JP" sz="851" b="1" dirty="0">
                <a:solidFill>
                  <a:srgbClr val="000000"/>
                </a:solidFill>
                <a:latin typeface="ＭＳ Ｐゴシック"/>
                <a:ea typeface="ＭＳ Ｐゴシック"/>
              </a:rPr>
              <a:t>※</a:t>
            </a:r>
            <a:r>
              <a:rPr lang="ja-JP" altLang="en-US" sz="851" b="1" dirty="0">
                <a:solidFill>
                  <a:srgbClr val="000000"/>
                </a:solidFill>
                <a:latin typeface="ＭＳ Ｐゴシック"/>
                <a:ea typeface="ＭＳ Ｐゴシック"/>
              </a:rPr>
              <a:t>広域レベルからコミュニティレベルまで重層的な圏域形成</a:t>
            </a:r>
            <a:endParaRPr lang="en-US" altLang="ja-JP" sz="851" b="1" dirty="0">
              <a:solidFill>
                <a:srgbClr val="000000"/>
              </a:solidFill>
              <a:latin typeface="ＭＳ Ｐゴシック"/>
              <a:ea typeface="ＭＳ Ｐゴシック"/>
            </a:endParaRPr>
          </a:p>
          <a:p>
            <a:pPr defTabSz="707499">
              <a:defRPr/>
            </a:pPr>
            <a:endParaRPr lang="en-US" altLang="ja-JP" sz="851" b="1" dirty="0">
              <a:solidFill>
                <a:srgbClr val="000000"/>
              </a:solidFill>
              <a:latin typeface="ＭＳ Ｐゴシック"/>
              <a:ea typeface="ＭＳ Ｐゴシック"/>
            </a:endParaRPr>
          </a:p>
        </p:txBody>
      </p:sp>
      <p:sp>
        <p:nvSpPr>
          <p:cNvPr id="10" name="矢印: 上下 9">
            <a:extLst>
              <a:ext uri="{FF2B5EF4-FFF2-40B4-BE49-F238E27FC236}">
                <a16:creationId xmlns:a16="http://schemas.microsoft.com/office/drawing/2014/main" id="{D2DC54D1-1035-5667-2E2B-E115878F3F12}"/>
              </a:ext>
            </a:extLst>
          </p:cNvPr>
          <p:cNvSpPr/>
          <p:nvPr/>
        </p:nvSpPr>
        <p:spPr>
          <a:xfrm>
            <a:off x="616073" y="3798335"/>
            <a:ext cx="711268" cy="194969"/>
          </a:xfrm>
          <a:prstGeom prst="upDownArrow">
            <a:avLst>
              <a:gd name="adj1" fmla="val 69014"/>
              <a:gd name="adj2" fmla="val 25375"/>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99">
              <a:defRPr/>
            </a:pPr>
            <a:endParaRPr lang="ja-JP" altLang="en-US" sz="928" dirty="0">
              <a:solidFill>
                <a:srgbClr val="000000"/>
              </a:solidFill>
              <a:latin typeface="Arial"/>
              <a:ea typeface="ＭＳ Ｐゴシック"/>
            </a:endParaRPr>
          </a:p>
        </p:txBody>
      </p:sp>
      <p:sp>
        <p:nvSpPr>
          <p:cNvPr id="14" name="テキスト ボックス 13">
            <a:extLst>
              <a:ext uri="{FF2B5EF4-FFF2-40B4-BE49-F238E27FC236}">
                <a16:creationId xmlns:a16="http://schemas.microsoft.com/office/drawing/2014/main" id="{9BABAC94-8F00-56BB-401D-B03AE3052FFE}"/>
              </a:ext>
            </a:extLst>
          </p:cNvPr>
          <p:cNvSpPr txBox="1"/>
          <p:nvPr/>
        </p:nvSpPr>
        <p:spPr>
          <a:xfrm>
            <a:off x="448956" y="3812261"/>
            <a:ext cx="1052676" cy="187615"/>
          </a:xfrm>
          <a:prstGeom prst="rect">
            <a:avLst/>
          </a:prstGeom>
          <a:noFill/>
        </p:spPr>
        <p:txBody>
          <a:bodyPr wrap="square" lIns="77988" rIns="77988" rtlCol="0">
            <a:spAutoFit/>
          </a:bodyPr>
          <a:lstStyle/>
          <a:p>
            <a:pPr defTabSz="707499">
              <a:defRPr/>
            </a:pPr>
            <a:r>
              <a:rPr lang="ja-JP" altLang="en-US" sz="619" b="1" dirty="0">
                <a:solidFill>
                  <a:srgbClr val="000000"/>
                </a:solidFill>
              </a:rPr>
              <a:t>階層間のネットワーク強化</a:t>
            </a:r>
          </a:p>
        </p:txBody>
      </p:sp>
      <p:sp>
        <p:nvSpPr>
          <p:cNvPr id="51" name="正方形/長方形 50"/>
          <p:cNvSpPr/>
          <p:nvPr/>
        </p:nvSpPr>
        <p:spPr>
          <a:xfrm>
            <a:off x="5629554" y="6154020"/>
            <a:ext cx="3641692" cy="389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marL="132656" indent="-132656" defTabSz="505366">
              <a:spcBef>
                <a:spcPts val="0"/>
              </a:spcBef>
              <a:buFont typeface="Wingdings" panose="05000000000000000000" pitchFamily="2" charset="2"/>
              <a:buChar char="ü"/>
              <a:defRPr/>
            </a:pPr>
            <a:r>
              <a:rPr lang="en-US" altLang="ja-JP" sz="696" dirty="0">
                <a:solidFill>
                  <a:srgbClr val="000000"/>
                </a:solidFill>
                <a:latin typeface="ＭＳ Ｐゴシック"/>
                <a:ea typeface="ＭＳ Ｐゴシック"/>
              </a:rPr>
              <a:t>DX</a:t>
            </a:r>
            <a:r>
              <a:rPr lang="ja-JP" altLang="en-US" sz="696" dirty="0" err="1">
                <a:solidFill>
                  <a:srgbClr val="000000"/>
                </a:solidFill>
                <a:latin typeface="ＭＳ Ｐゴシック"/>
                <a:ea typeface="ＭＳ Ｐゴシック"/>
              </a:rPr>
              <a:t>、</a:t>
            </a:r>
            <a:r>
              <a:rPr lang="en-US" altLang="ja-JP" sz="696" dirty="0">
                <a:solidFill>
                  <a:srgbClr val="000000"/>
                </a:solidFill>
                <a:latin typeface="ＭＳ Ｐゴシック"/>
                <a:ea typeface="ＭＳ Ｐゴシック"/>
              </a:rPr>
              <a:t>GX</a:t>
            </a:r>
            <a:r>
              <a:rPr lang="ja-JP" altLang="en-US" sz="696" dirty="0">
                <a:solidFill>
                  <a:srgbClr val="000000"/>
                </a:solidFill>
                <a:latin typeface="ＭＳ Ｐゴシック"/>
                <a:ea typeface="ＭＳ Ｐゴシック"/>
              </a:rPr>
              <a:t>、リダンダンシー確保、安全保障、自然資本との統合等の観点からの機能高度化</a:t>
            </a:r>
            <a:endParaRPr lang="en-US" altLang="ja-JP" sz="696" dirty="0">
              <a:solidFill>
                <a:srgbClr val="000000"/>
              </a:solidFill>
              <a:latin typeface="ＭＳ Ｐゴシック"/>
              <a:ea typeface="ＭＳ Ｐゴシック"/>
            </a:endParaRPr>
          </a:p>
          <a:p>
            <a:pPr marL="132656" indent="-132656" defTabSz="505366">
              <a:spcBef>
                <a:spcPts val="77"/>
              </a:spcBef>
              <a:buFont typeface="Wingdings" panose="05000000000000000000" pitchFamily="2" charset="2"/>
              <a:buChar char="ü"/>
              <a:defRPr/>
            </a:pPr>
            <a:r>
              <a:rPr lang="ja-JP" altLang="en-US" sz="696" dirty="0">
                <a:solidFill>
                  <a:srgbClr val="000000"/>
                </a:solidFill>
                <a:latin typeface="ＭＳ Ｐゴシック"/>
                <a:ea typeface="ＭＳ Ｐゴシック"/>
              </a:rPr>
              <a:t>賢く使う観点からの縦割り排除による複合化・多機能化・効果最大化</a:t>
            </a:r>
            <a:endParaRPr lang="en-US" altLang="ja-JP" sz="696" dirty="0">
              <a:solidFill>
                <a:srgbClr val="000000"/>
              </a:solidFill>
              <a:latin typeface="ＭＳ Ｐゴシック"/>
              <a:ea typeface="ＭＳ Ｐゴシック"/>
            </a:endParaRPr>
          </a:p>
          <a:p>
            <a:pPr marL="132656" indent="-132656" defTabSz="505366">
              <a:spcBef>
                <a:spcPts val="77"/>
              </a:spcBef>
              <a:buFont typeface="Wingdings" panose="05000000000000000000" pitchFamily="2" charset="2"/>
              <a:buChar char="ü"/>
              <a:defRPr/>
            </a:pPr>
            <a:r>
              <a:rPr lang="ja-JP" altLang="en-US" sz="696" dirty="0">
                <a:solidFill>
                  <a:srgbClr val="000000"/>
                </a:solidFill>
                <a:latin typeface="ＭＳ Ｐゴシック"/>
                <a:ea typeface="ＭＳ Ｐゴシック"/>
              </a:rPr>
              <a:t>地域インフラ群再生戦略マネジメント等の戦略的メンテナンスによる持続的な機能発揮</a:t>
            </a:r>
          </a:p>
        </p:txBody>
      </p:sp>
      <p:sp>
        <p:nvSpPr>
          <p:cNvPr id="57" name="正方形/長方形 56"/>
          <p:cNvSpPr/>
          <p:nvPr/>
        </p:nvSpPr>
        <p:spPr>
          <a:xfrm>
            <a:off x="2732876" y="6571811"/>
            <a:ext cx="6477515" cy="167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745" tIns="35373" rIns="70745" bIns="35373" numCol="1" spcCol="0" rtlCol="0" fromWordArt="0" anchor="ctr" anchorCtr="0" forceAA="0" compatLnSpc="1">
            <a:prstTxWarp prst="textNoShape">
              <a:avLst/>
            </a:prstTxWarp>
            <a:noAutofit/>
          </a:bodyPr>
          <a:lstStyle/>
          <a:p>
            <a:pPr defTabSz="505366">
              <a:spcBef>
                <a:spcPts val="155"/>
              </a:spcBef>
              <a:defRPr/>
            </a:pPr>
            <a:r>
              <a:rPr lang="ja-JP" altLang="en-US" sz="619" dirty="0">
                <a:solidFill>
                  <a:srgbClr val="000000"/>
                </a:solidFill>
                <a:latin typeface="ＭＳ Ｐゴシック"/>
                <a:ea typeface="ＭＳ Ｐゴシック"/>
              </a:rPr>
              <a:t>●　</a:t>
            </a:r>
            <a:r>
              <a:rPr lang="ja-JP" altLang="en-US" sz="773" dirty="0">
                <a:solidFill>
                  <a:srgbClr val="000000"/>
                </a:solidFill>
                <a:latin typeface="ＭＳ Ｐゴシック"/>
                <a:ea typeface="ＭＳ Ｐゴシック"/>
              </a:rPr>
              <a:t>包摂社会に向けた多様な主体の参加と連携　　　　</a:t>
            </a:r>
            <a:r>
              <a:rPr lang="ja-JP" altLang="en-US" sz="619" dirty="0">
                <a:solidFill>
                  <a:srgbClr val="000000"/>
                </a:solidFill>
                <a:latin typeface="ＭＳ Ｐゴシック"/>
                <a:ea typeface="ＭＳ Ｐゴシック"/>
              </a:rPr>
              <a:t>●　</a:t>
            </a:r>
            <a:r>
              <a:rPr lang="ja-JP" altLang="en-US" sz="773" dirty="0">
                <a:solidFill>
                  <a:srgbClr val="000000"/>
                </a:solidFill>
                <a:latin typeface="ＭＳ Ｐゴシック"/>
                <a:ea typeface="ＭＳ Ｐゴシック"/>
              </a:rPr>
              <a:t>こどもまんなかまちづくり等のこども・子育て支援、女性活躍　　　　</a:t>
            </a:r>
            <a:r>
              <a:rPr lang="ja-JP" altLang="en-US" sz="619" dirty="0">
                <a:solidFill>
                  <a:srgbClr val="000000"/>
                </a:solidFill>
                <a:latin typeface="ＭＳ Ｐゴシック"/>
                <a:ea typeface="ＭＳ Ｐゴシック"/>
              </a:rPr>
              <a:t>●　</a:t>
            </a:r>
            <a:r>
              <a:rPr lang="ja-JP" altLang="en-US" sz="773" dirty="0">
                <a:solidFill>
                  <a:srgbClr val="000000"/>
                </a:solidFill>
                <a:latin typeface="ＭＳ Ｐゴシック"/>
                <a:ea typeface="ＭＳ Ｐゴシック"/>
              </a:rPr>
              <a:t>関係人口の拡大・深化　　</a:t>
            </a:r>
          </a:p>
        </p:txBody>
      </p:sp>
      <p:sp>
        <p:nvSpPr>
          <p:cNvPr id="59" name="タイトル 3"/>
          <p:cNvSpPr>
            <a:spLocks noGrp="1"/>
          </p:cNvSpPr>
          <p:nvPr>
            <p:ph type="title"/>
          </p:nvPr>
        </p:nvSpPr>
        <p:spPr>
          <a:xfrm>
            <a:off x="7" y="63426"/>
            <a:ext cx="9904406" cy="545913"/>
          </a:xfrm>
        </p:spPr>
        <p:txBody>
          <a:bodyPr/>
          <a:lstStyle/>
          <a:p>
            <a:r>
              <a:rPr lang="ja-JP" altLang="en-US" sz="2790" dirty="0"/>
              <a:t>国土形成計画（全国計画）　概要</a:t>
            </a:r>
          </a:p>
        </p:txBody>
      </p:sp>
      <p:sp>
        <p:nvSpPr>
          <p:cNvPr id="4" name="正方形/長方形 3"/>
          <p:cNvSpPr/>
          <p:nvPr/>
        </p:nvSpPr>
        <p:spPr>
          <a:xfrm>
            <a:off x="7408812" y="321670"/>
            <a:ext cx="2417613" cy="3119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300" dirty="0">
                <a:solidFill>
                  <a:schemeClr val="tx1"/>
                </a:solidFill>
                <a:latin typeface="+mn-ea"/>
              </a:rPr>
              <a:t>2023</a:t>
            </a:r>
            <a:r>
              <a:rPr lang="ja-JP" altLang="en-US" sz="1300" dirty="0">
                <a:solidFill>
                  <a:schemeClr val="tx1"/>
                </a:solidFill>
                <a:latin typeface="+mn-ea"/>
              </a:rPr>
              <a:t>年（令和</a:t>
            </a:r>
            <a:r>
              <a:rPr lang="en-US" altLang="ja-JP" sz="1300" dirty="0">
                <a:solidFill>
                  <a:schemeClr val="tx1"/>
                </a:solidFill>
                <a:latin typeface="+mn-ea"/>
              </a:rPr>
              <a:t>5</a:t>
            </a:r>
            <a:r>
              <a:rPr lang="ja-JP" altLang="en-US" sz="1300" dirty="0">
                <a:solidFill>
                  <a:schemeClr val="tx1"/>
                </a:solidFill>
                <a:latin typeface="+mn-ea"/>
              </a:rPr>
              <a:t>年）</a:t>
            </a:r>
            <a:r>
              <a:rPr lang="en-US" altLang="ja-JP" sz="1300" dirty="0">
                <a:solidFill>
                  <a:schemeClr val="tx1"/>
                </a:solidFill>
                <a:latin typeface="+mn-ea"/>
              </a:rPr>
              <a:t>7</a:t>
            </a:r>
            <a:r>
              <a:rPr lang="ja-JP" altLang="en-US" sz="1300" dirty="0">
                <a:solidFill>
                  <a:schemeClr val="tx1"/>
                </a:solidFill>
                <a:latin typeface="+mn-ea"/>
              </a:rPr>
              <a:t>月閣議決定</a:t>
            </a:r>
          </a:p>
        </p:txBody>
      </p:sp>
      <p:sp>
        <p:nvSpPr>
          <p:cNvPr id="15" name="フッター プレースホルダー 14">
            <a:extLst>
              <a:ext uri="{FF2B5EF4-FFF2-40B4-BE49-F238E27FC236}">
                <a16:creationId xmlns:a16="http://schemas.microsoft.com/office/drawing/2014/main" id="{6C10D628-D95E-929B-A26C-9129AC617765}"/>
              </a:ext>
            </a:extLst>
          </p:cNvPr>
          <p:cNvSpPr>
            <a:spLocks noGrp="1"/>
          </p:cNvSpPr>
          <p:nvPr>
            <p:ph type="ftr" sz="quarter" idx="11"/>
          </p:nvPr>
        </p:nvSpPr>
        <p:spPr/>
        <p:txBody>
          <a:bodyPr/>
          <a:lstStyle/>
          <a:p>
            <a:pPr>
              <a:defRPr/>
            </a:pPr>
            <a:endParaRPr lang="en-US" altLang="ja-JP"/>
          </a:p>
        </p:txBody>
      </p:sp>
      <p:sp>
        <p:nvSpPr>
          <p:cNvPr id="16" name="スライド番号プレースホルダー 15">
            <a:extLst>
              <a:ext uri="{FF2B5EF4-FFF2-40B4-BE49-F238E27FC236}">
                <a16:creationId xmlns:a16="http://schemas.microsoft.com/office/drawing/2014/main" id="{BF3CF19D-F1AB-B429-8F36-9F786494563B}"/>
              </a:ext>
            </a:extLst>
          </p:cNvPr>
          <p:cNvSpPr>
            <a:spLocks noGrp="1"/>
          </p:cNvSpPr>
          <p:nvPr>
            <p:ph type="sldNum" sz="quarter" idx="12"/>
          </p:nvPr>
        </p:nvSpPr>
        <p:spPr/>
        <p:txBody>
          <a:bodyPr/>
          <a:lstStyle/>
          <a:p>
            <a:pPr>
              <a:defRPr/>
            </a:pPr>
            <a:fld id="{9AA820FD-1EEF-41AD-B9B7-CDCB236CCEAB}" type="slidenum">
              <a:rPr lang="en-US" altLang="ja-JP" smtClean="0"/>
              <a:pPr>
                <a:defRPr/>
              </a:pPr>
              <a:t>11</a:t>
            </a:fld>
            <a:endParaRPr lang="en-US" altLang="ja-JP"/>
          </a:p>
        </p:txBody>
      </p:sp>
    </p:spTree>
    <p:extLst>
      <p:ext uri="{BB962C8B-B14F-4D97-AF65-F5344CB8AC3E}">
        <p14:creationId xmlns:p14="http://schemas.microsoft.com/office/powerpoint/2010/main" val="3855675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左矢印吹き出し 4"/>
          <p:cNvSpPr/>
          <p:nvPr/>
        </p:nvSpPr>
        <p:spPr>
          <a:xfrm>
            <a:off x="5069187" y="834160"/>
            <a:ext cx="4734955" cy="1281223"/>
          </a:xfrm>
          <a:prstGeom prst="leftArrowCallout">
            <a:avLst>
              <a:gd name="adj1" fmla="val 31202"/>
              <a:gd name="adj2" fmla="val 50000"/>
              <a:gd name="adj3" fmla="val 15698"/>
              <a:gd name="adj4" fmla="val 89736"/>
            </a:avLst>
          </a:prstGeom>
          <a:solidFill>
            <a:srgbClr val="FFCC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endParaRPr lang="en-US" altLang="ja-JP" sz="1857" dirty="0">
              <a:solidFill>
                <a:srgbClr val="FF0000"/>
              </a:solidFill>
              <a:latin typeface="HGP創英角ｺﾞｼｯｸUB"/>
              <a:ea typeface="HGP創英角ｺﾞｼｯｸUB"/>
            </a:endParaRPr>
          </a:p>
          <a:p>
            <a:pPr algn="ctr" defTabSz="707471"/>
            <a:endParaRPr lang="en-US" altLang="ja-JP" sz="1857" dirty="0">
              <a:solidFill>
                <a:srgbClr val="FF0000"/>
              </a:solidFill>
              <a:latin typeface="HGP創英角ｺﾞｼｯｸUB"/>
              <a:ea typeface="HGP創英角ｺﾞｼｯｸUB"/>
            </a:endParaRPr>
          </a:p>
          <a:p>
            <a:pPr algn="ctr" defTabSz="707471"/>
            <a:r>
              <a:rPr lang="ja-JP" altLang="en-US" sz="2476" b="1" dirty="0">
                <a:solidFill>
                  <a:srgbClr val="FF0000"/>
                </a:solidFill>
                <a:latin typeface="HGP創英角ｺﾞｼｯｸUB"/>
                <a:ea typeface="HGP創英角ｺﾞｼｯｸUB"/>
              </a:rPr>
              <a:t>シームレスな拠点連結型国土</a:t>
            </a:r>
          </a:p>
        </p:txBody>
      </p:sp>
      <p:sp>
        <p:nvSpPr>
          <p:cNvPr id="6" name="タイトル 7"/>
          <p:cNvSpPr>
            <a:spLocks noGrp="1"/>
          </p:cNvSpPr>
          <p:nvPr>
            <p:ph type="title"/>
          </p:nvPr>
        </p:nvSpPr>
        <p:spPr>
          <a:xfrm>
            <a:off x="6" y="135434"/>
            <a:ext cx="9904406" cy="515855"/>
          </a:xfrm>
        </p:spPr>
        <p:txBody>
          <a:bodyPr vert="horz" wrap="square" lIns="99043" tIns="49521" rIns="99043" bIns="49521" numCol="1" anchor="ctr" anchorCtr="0" compatLnSpc="1">
            <a:prstTxWarp prst="textNoShape">
              <a:avLst/>
            </a:prstTxWarp>
          </a:bodyPr>
          <a:lstStyle/>
          <a:p>
            <a:r>
              <a:rPr lang="ja-JP" altLang="en-US" sz="2785" dirty="0">
                <a:latin typeface="+mj-ea"/>
              </a:rPr>
              <a:t>国土形成計画（全国計画）　　目指す国土の姿</a:t>
            </a:r>
            <a:endParaRPr lang="ja-JP" altLang="en-US" sz="2476" dirty="0">
              <a:latin typeface="+mj-ea"/>
            </a:endParaRPr>
          </a:p>
        </p:txBody>
      </p:sp>
      <p:sp>
        <p:nvSpPr>
          <p:cNvPr id="7" name="額縁 6"/>
          <p:cNvSpPr/>
          <p:nvPr/>
        </p:nvSpPr>
        <p:spPr>
          <a:xfrm>
            <a:off x="139263" y="834160"/>
            <a:ext cx="4734955" cy="766413"/>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2476" b="1" dirty="0">
                <a:solidFill>
                  <a:srgbClr val="FF0000"/>
                </a:solidFill>
                <a:latin typeface="HGP創英角ｺﾞｼｯｸUB"/>
                <a:ea typeface="HGP創英角ｺﾞｼｯｸUB"/>
              </a:rPr>
              <a:t>新時代に地域力をつなぐ国土</a:t>
            </a:r>
            <a:endParaRPr lang="en-US" altLang="ja-JP" sz="2476" b="1" dirty="0">
              <a:solidFill>
                <a:srgbClr val="FF0000"/>
              </a:solidFill>
              <a:latin typeface="HGP創英角ｺﾞｼｯｸUB"/>
              <a:ea typeface="HGP創英角ｺﾞｼｯｸUB"/>
            </a:endParaRPr>
          </a:p>
          <a:p>
            <a:pPr algn="ctr" defTabSz="707471"/>
            <a:r>
              <a:rPr lang="ja-JP" altLang="en-US" sz="1393" b="1" dirty="0">
                <a:solidFill>
                  <a:srgbClr val="FF0000"/>
                </a:solidFill>
                <a:latin typeface="Arial"/>
                <a:ea typeface="ＭＳ Ｐゴシック"/>
              </a:rPr>
              <a:t>～列島を支える新たな地域マネジメントの構築～</a:t>
            </a:r>
            <a:endParaRPr lang="en-US" altLang="ja-JP" sz="1393" b="1" dirty="0">
              <a:solidFill>
                <a:srgbClr val="FF0000"/>
              </a:solidFill>
              <a:latin typeface="Arial"/>
              <a:ea typeface="ＭＳ Ｐゴシック"/>
            </a:endParaRPr>
          </a:p>
        </p:txBody>
      </p:sp>
      <p:grpSp>
        <p:nvGrpSpPr>
          <p:cNvPr id="8" name="グループ化 7"/>
          <p:cNvGrpSpPr/>
          <p:nvPr/>
        </p:nvGrpSpPr>
        <p:grpSpPr>
          <a:xfrm>
            <a:off x="139263" y="1614035"/>
            <a:ext cx="1228636" cy="779875"/>
            <a:chOff x="180000" y="1872000"/>
            <a:chExt cx="3240000" cy="1008000"/>
          </a:xfrm>
        </p:grpSpPr>
        <p:sp>
          <p:nvSpPr>
            <p:cNvPr id="9" name="爆発 2 8"/>
            <p:cNvSpPr/>
            <p:nvPr/>
          </p:nvSpPr>
          <p:spPr>
            <a:xfrm>
              <a:off x="180000" y="1872000"/>
              <a:ext cx="3240000" cy="1008000"/>
            </a:xfrm>
            <a:prstGeom prst="irregularSeal2">
              <a:avLst/>
            </a:prstGeom>
            <a:solidFill>
              <a:srgbClr val="FFCC9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endParaRPr lang="ja-JP" altLang="en-US" sz="1393">
                <a:solidFill>
                  <a:srgbClr val="FFFFFF"/>
                </a:solidFill>
                <a:latin typeface="Arial"/>
                <a:ea typeface="ＭＳ Ｐゴシック"/>
              </a:endParaRPr>
            </a:p>
          </p:txBody>
        </p:sp>
        <p:sp>
          <p:nvSpPr>
            <p:cNvPr id="10" name="角丸四角形 9"/>
            <p:cNvSpPr/>
            <p:nvPr/>
          </p:nvSpPr>
          <p:spPr>
            <a:xfrm>
              <a:off x="180000" y="1872000"/>
              <a:ext cx="3240000" cy="1008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857" b="1" dirty="0">
                  <a:solidFill>
                    <a:srgbClr val="000000"/>
                  </a:solidFill>
                  <a:latin typeface="ＭＳ Ｐゴシック"/>
                  <a:ea typeface="ＭＳ Ｐゴシック"/>
                </a:rPr>
                <a:t>地方の危機的状況</a:t>
              </a:r>
              <a:endParaRPr lang="en-US" altLang="ja-JP" sz="1857" b="1" dirty="0">
                <a:solidFill>
                  <a:srgbClr val="000000"/>
                </a:solidFill>
                <a:latin typeface="ＭＳ Ｐゴシック"/>
                <a:ea typeface="ＭＳ Ｐゴシック"/>
              </a:endParaRPr>
            </a:p>
          </p:txBody>
        </p:sp>
      </p:grpSp>
      <p:sp>
        <p:nvSpPr>
          <p:cNvPr id="11" name="テキスト ボックス 10"/>
          <p:cNvSpPr txBox="1"/>
          <p:nvPr/>
        </p:nvSpPr>
        <p:spPr>
          <a:xfrm>
            <a:off x="1392633" y="1669740"/>
            <a:ext cx="3545905" cy="632545"/>
          </a:xfrm>
          <a:prstGeom prst="rect">
            <a:avLst/>
          </a:prstGeom>
          <a:noFill/>
        </p:spPr>
        <p:txBody>
          <a:bodyPr wrap="square" rtlCol="0">
            <a:spAutoFit/>
          </a:bodyPr>
          <a:lstStyle/>
          <a:p>
            <a:pPr marL="221085" indent="-221085" defTabSz="707471">
              <a:spcBef>
                <a:spcPts val="232"/>
              </a:spcBef>
              <a:buFont typeface="Wingdings" panose="05000000000000000000" pitchFamily="2" charset="2"/>
              <a:buChar char="ü"/>
            </a:pPr>
            <a:r>
              <a:rPr lang="ja-JP" altLang="en-US" sz="928" b="1" dirty="0">
                <a:solidFill>
                  <a:srgbClr val="000000"/>
                </a:solidFill>
                <a:latin typeface="ＭＳ Ｐゴシック"/>
                <a:ea typeface="ＭＳ Ｐゴシック"/>
              </a:rPr>
              <a:t>危機・難局に直面する</a:t>
            </a:r>
            <a:r>
              <a:rPr lang="ja-JP" altLang="en-US" sz="1238" b="1" dirty="0">
                <a:solidFill>
                  <a:srgbClr val="FF0000"/>
                </a:solidFill>
                <a:latin typeface="ＭＳ Ｐゴシック"/>
                <a:ea typeface="ＭＳ Ｐゴシック"/>
              </a:rPr>
              <a:t>地方を重視</a:t>
            </a:r>
            <a:r>
              <a:rPr lang="ja-JP" altLang="en-US" sz="928" b="1" dirty="0">
                <a:solidFill>
                  <a:srgbClr val="000000"/>
                </a:solidFill>
                <a:latin typeface="ＭＳ Ｐゴシック"/>
                <a:ea typeface="ＭＳ Ｐゴシック"/>
              </a:rPr>
              <a:t>し、新たな時代へと刷新</a:t>
            </a:r>
            <a:endParaRPr lang="en-US" altLang="ja-JP" sz="928" b="1" dirty="0">
              <a:solidFill>
                <a:srgbClr val="000000"/>
              </a:solidFill>
              <a:latin typeface="ＭＳ Ｐゴシック"/>
              <a:ea typeface="ＭＳ Ｐゴシック"/>
            </a:endParaRPr>
          </a:p>
          <a:p>
            <a:pPr marL="221085" indent="-221085" defTabSz="707471">
              <a:spcBef>
                <a:spcPts val="464"/>
              </a:spcBef>
              <a:buFont typeface="Wingdings" panose="05000000000000000000" pitchFamily="2" charset="2"/>
              <a:buChar char="ü"/>
            </a:pPr>
            <a:r>
              <a:rPr lang="ja-JP" altLang="en-US" sz="928" b="1" dirty="0">
                <a:solidFill>
                  <a:srgbClr val="000000"/>
                </a:solidFill>
                <a:latin typeface="ＭＳ Ｐゴシック"/>
                <a:ea typeface="ＭＳ Ｐゴシック"/>
              </a:rPr>
              <a:t>各地域の地域力を結集し、国土全体でつなぎ合わせ、未来へとつなげる</a:t>
            </a:r>
          </a:p>
        </p:txBody>
      </p:sp>
      <p:sp>
        <p:nvSpPr>
          <p:cNvPr id="12" name="テキスト ボックス 11"/>
          <p:cNvSpPr txBox="1"/>
          <p:nvPr/>
        </p:nvSpPr>
        <p:spPr>
          <a:xfrm>
            <a:off x="557053" y="6571811"/>
            <a:ext cx="4456429" cy="823046"/>
          </a:xfrm>
          <a:prstGeom prst="rect">
            <a:avLst/>
          </a:prstGeom>
          <a:noFill/>
        </p:spPr>
        <p:txBody>
          <a:bodyPr wrap="square" rtlCol="0">
            <a:spAutoFit/>
          </a:bodyPr>
          <a:lstStyle/>
          <a:p>
            <a:pPr marL="221085" indent="-221085" defTabSz="707471">
              <a:buSzPct val="150000"/>
              <a:buFont typeface="Wingdings" panose="05000000000000000000" pitchFamily="2" charset="2"/>
              <a:buChar char="u"/>
            </a:pPr>
            <a:r>
              <a:rPr lang="ja-JP" altLang="en-US" sz="1083" b="1" dirty="0">
                <a:solidFill>
                  <a:srgbClr val="000000"/>
                </a:solidFill>
              </a:rPr>
              <a:t>地方に</a:t>
            </a:r>
            <a:r>
              <a:rPr lang="ja-JP" altLang="en-US" sz="1083" b="1" dirty="0">
                <a:solidFill>
                  <a:srgbClr val="FF0000"/>
                </a:solidFill>
              </a:rPr>
              <a:t>活力</a:t>
            </a:r>
            <a:r>
              <a:rPr lang="ja-JP" altLang="en-US" sz="1083" b="1" dirty="0">
                <a:solidFill>
                  <a:srgbClr val="000000"/>
                </a:solidFill>
              </a:rPr>
              <a:t>を取り戻し、</a:t>
            </a:r>
            <a:r>
              <a:rPr lang="ja-JP" altLang="en-US" sz="1083" b="1" dirty="0">
                <a:solidFill>
                  <a:srgbClr val="FF0000"/>
                </a:solidFill>
              </a:rPr>
              <a:t>安全・安心</a:t>
            </a:r>
            <a:r>
              <a:rPr lang="ja-JP" altLang="en-US" sz="1083" b="1" dirty="0">
                <a:solidFill>
                  <a:srgbClr val="000000"/>
                </a:solidFill>
              </a:rPr>
              <a:t>で、</a:t>
            </a:r>
            <a:r>
              <a:rPr lang="ja-JP" altLang="en-US" sz="1083" b="1" dirty="0">
                <a:solidFill>
                  <a:srgbClr val="FF0000"/>
                </a:solidFill>
              </a:rPr>
              <a:t>個性豊かな地域</a:t>
            </a:r>
            <a:r>
              <a:rPr lang="ja-JP" altLang="en-US" sz="1083" b="1" dirty="0">
                <a:solidFill>
                  <a:srgbClr val="000000"/>
                </a:solidFill>
              </a:rPr>
              <a:t>を全国に広げる</a:t>
            </a:r>
            <a:endParaRPr lang="en-US" altLang="ja-JP" sz="1083" b="1" dirty="0">
              <a:solidFill>
                <a:srgbClr val="000000"/>
              </a:solidFill>
            </a:endParaRPr>
          </a:p>
          <a:p>
            <a:pPr marL="221085" indent="-221085" defTabSz="707471">
              <a:spcBef>
                <a:spcPts val="464"/>
              </a:spcBef>
              <a:buSzPct val="150000"/>
              <a:buFont typeface="Wingdings" panose="05000000000000000000" pitchFamily="2" charset="2"/>
              <a:buChar char="u"/>
            </a:pPr>
            <a:r>
              <a:rPr lang="ja-JP" altLang="en-US" sz="1083" b="1" dirty="0">
                <a:solidFill>
                  <a:srgbClr val="000000"/>
                </a:solidFill>
              </a:rPr>
              <a:t>未来を担う若者世代を含め、人々を惹きつける地域の</a:t>
            </a:r>
            <a:r>
              <a:rPr lang="ja-JP" altLang="en-US" sz="1083" b="1" dirty="0">
                <a:solidFill>
                  <a:srgbClr val="FF0000"/>
                </a:solidFill>
              </a:rPr>
              <a:t>魅力</a:t>
            </a:r>
            <a:r>
              <a:rPr lang="ja-JP" altLang="en-US" sz="1083" b="1" dirty="0">
                <a:solidFill>
                  <a:srgbClr val="000000"/>
                </a:solidFill>
              </a:rPr>
              <a:t>を高め、</a:t>
            </a:r>
            <a:r>
              <a:rPr lang="ja-JP" altLang="en-US" sz="1083" b="1" dirty="0">
                <a:solidFill>
                  <a:srgbClr val="FF0000"/>
                </a:solidFill>
              </a:rPr>
              <a:t>地方への人の流れ</a:t>
            </a:r>
            <a:r>
              <a:rPr lang="ja-JP" altLang="en-US" sz="1083" b="1" dirty="0">
                <a:solidFill>
                  <a:srgbClr val="000000"/>
                </a:solidFill>
              </a:rPr>
              <a:t>を創出・拡大</a:t>
            </a:r>
          </a:p>
        </p:txBody>
      </p:sp>
      <p:sp>
        <p:nvSpPr>
          <p:cNvPr id="13" name="テキスト ボックス 12"/>
          <p:cNvSpPr txBox="1"/>
          <p:nvPr/>
        </p:nvSpPr>
        <p:spPr>
          <a:xfrm>
            <a:off x="55706" y="7323834"/>
            <a:ext cx="4936524" cy="190501"/>
          </a:xfrm>
          <a:prstGeom prst="rect">
            <a:avLst/>
          </a:prstGeom>
          <a:solidFill>
            <a:srgbClr val="99FF99"/>
          </a:solidFill>
        </p:spPr>
        <p:txBody>
          <a:bodyPr wrap="square" tIns="0" bIns="0" rtlCol="0">
            <a:spAutoFit/>
          </a:bodyPr>
          <a:lstStyle/>
          <a:p>
            <a:pPr algn="ctr" defTabSz="707471"/>
            <a:r>
              <a:rPr lang="ja-JP" altLang="en-US" sz="1238" b="1" i="1" dirty="0">
                <a:solidFill>
                  <a:srgbClr val="000000"/>
                </a:solidFill>
              </a:rPr>
              <a:t>国土全体にわたる各地方の地域力の結集なくして、日本の未来はない</a:t>
            </a:r>
          </a:p>
        </p:txBody>
      </p:sp>
      <p:sp>
        <p:nvSpPr>
          <p:cNvPr id="14" name="右矢印 13"/>
          <p:cNvSpPr/>
          <p:nvPr/>
        </p:nvSpPr>
        <p:spPr>
          <a:xfrm>
            <a:off x="222821" y="6571811"/>
            <a:ext cx="273031" cy="640612"/>
          </a:xfrm>
          <a:prstGeom prst="rightArrow">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endParaRPr lang="ja-JP" altLang="en-US" sz="1393">
              <a:solidFill>
                <a:srgbClr val="FFFFFF"/>
              </a:solidFill>
              <a:latin typeface="Arial"/>
              <a:ea typeface="ＭＳ Ｐゴシック"/>
            </a:endParaRPr>
          </a:p>
        </p:txBody>
      </p:sp>
      <p:grpSp>
        <p:nvGrpSpPr>
          <p:cNvPr id="15" name="グループ化 14"/>
          <p:cNvGrpSpPr/>
          <p:nvPr/>
        </p:nvGrpSpPr>
        <p:grpSpPr>
          <a:xfrm>
            <a:off x="139263" y="2393910"/>
            <a:ext cx="4709772" cy="3008089"/>
            <a:chOff x="180000" y="2988000"/>
            <a:chExt cx="12420000" cy="3888000"/>
          </a:xfrm>
        </p:grpSpPr>
        <p:sp>
          <p:nvSpPr>
            <p:cNvPr id="16" name="角丸四角形 15"/>
            <p:cNvSpPr/>
            <p:nvPr/>
          </p:nvSpPr>
          <p:spPr>
            <a:xfrm>
              <a:off x="180000" y="2988000"/>
              <a:ext cx="12420000" cy="3888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55705" bIns="0" rtlCol="0" anchor="t"/>
            <a:lstStyle/>
            <a:p>
              <a:pPr defTabSz="707471"/>
              <a:r>
                <a:rPr lang="ja-JP" altLang="en-US" sz="2785" dirty="0">
                  <a:solidFill>
                    <a:srgbClr val="000000"/>
                  </a:solidFill>
                  <a:latin typeface="HGP創英角ｺﾞｼｯｸUB"/>
                  <a:ea typeface="HGP創英角ｺﾞｼｯｸUB"/>
                </a:rPr>
                <a:t>地域力</a:t>
              </a:r>
            </a:p>
          </p:txBody>
        </p:sp>
        <p:sp>
          <p:nvSpPr>
            <p:cNvPr id="17" name="台形 16"/>
            <p:cNvSpPr/>
            <p:nvPr/>
          </p:nvSpPr>
          <p:spPr>
            <a:xfrm>
              <a:off x="504000" y="5436000"/>
              <a:ext cx="11808000" cy="1332000"/>
            </a:xfrm>
            <a:prstGeom prst="trapezoid">
              <a:avLst/>
            </a:prstGeom>
            <a:solidFill>
              <a:srgbClr val="FF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endParaRPr lang="ja-JP" altLang="en-US" sz="1393">
                <a:solidFill>
                  <a:srgbClr val="FFFFFF"/>
                </a:solidFill>
                <a:latin typeface="Arial"/>
                <a:ea typeface="ＭＳ Ｐゴシック"/>
              </a:endParaRPr>
            </a:p>
          </p:txBody>
        </p:sp>
        <p:sp>
          <p:nvSpPr>
            <p:cNvPr id="18" name="テキスト ボックス 17"/>
            <p:cNvSpPr txBox="1"/>
            <p:nvPr/>
          </p:nvSpPr>
          <p:spPr>
            <a:xfrm>
              <a:off x="3586703" y="3132000"/>
              <a:ext cx="3433298" cy="864000"/>
            </a:xfrm>
            <a:prstGeom prst="rect">
              <a:avLst/>
            </a:prstGeom>
            <a:solidFill>
              <a:schemeClr val="accent1">
                <a:lumMod val="75000"/>
              </a:schemeClr>
            </a:solidFill>
            <a:ln>
              <a:noFill/>
            </a:ln>
          </p:spPr>
          <p:txBody>
            <a:bodyPr wrap="square" rtlCol="0" anchor="ctr">
              <a:noAutofit/>
            </a:bodyPr>
            <a:lstStyle/>
            <a:p>
              <a:pPr algn="ctr" defTabSz="707471"/>
              <a:r>
                <a:rPr lang="ja-JP" altLang="en-US" sz="1238" b="1" dirty="0">
                  <a:solidFill>
                    <a:srgbClr val="000000"/>
                  </a:solidFill>
                </a:rPr>
                <a:t>地域課題を      克服する</a:t>
              </a:r>
              <a:endParaRPr lang="en-US" altLang="ja-JP" sz="1238" b="1" dirty="0">
                <a:solidFill>
                  <a:srgbClr val="000000"/>
                </a:solidFill>
              </a:endParaRPr>
            </a:p>
            <a:p>
              <a:pPr algn="ctr" defTabSz="707471"/>
              <a:r>
                <a:rPr lang="ja-JP" altLang="en-US" sz="1547" b="1" dirty="0">
                  <a:solidFill>
                    <a:srgbClr val="FF0000"/>
                  </a:solidFill>
                </a:rPr>
                <a:t>守りの力</a:t>
              </a:r>
            </a:p>
          </p:txBody>
        </p:sp>
        <p:sp>
          <p:nvSpPr>
            <p:cNvPr id="19" name="テキスト ボックス 18"/>
            <p:cNvSpPr txBox="1"/>
            <p:nvPr/>
          </p:nvSpPr>
          <p:spPr>
            <a:xfrm>
              <a:off x="7884000" y="3132000"/>
              <a:ext cx="4140000" cy="864000"/>
            </a:xfrm>
            <a:prstGeom prst="rect">
              <a:avLst/>
            </a:prstGeom>
            <a:solidFill>
              <a:schemeClr val="accent1">
                <a:lumMod val="75000"/>
              </a:schemeClr>
            </a:solidFill>
            <a:ln>
              <a:noFill/>
            </a:ln>
          </p:spPr>
          <p:txBody>
            <a:bodyPr wrap="square" rtlCol="0">
              <a:noAutofit/>
            </a:bodyPr>
            <a:lstStyle/>
            <a:p>
              <a:pPr algn="ctr" defTabSz="707471"/>
              <a:r>
                <a:rPr lang="ja-JP" altLang="en-US" sz="1238" b="1" dirty="0">
                  <a:solidFill>
                    <a:srgbClr val="000000"/>
                  </a:solidFill>
                  <a:latin typeface="ＭＳ Ｐゴシック"/>
                  <a:ea typeface="ＭＳ Ｐゴシック"/>
                </a:rPr>
                <a:t>地域の魅力を高め</a:t>
              </a:r>
              <a:endParaRPr lang="en-US" altLang="ja-JP" sz="1238" b="1" dirty="0">
                <a:solidFill>
                  <a:srgbClr val="000000"/>
                </a:solidFill>
                <a:latin typeface="ＭＳ Ｐゴシック"/>
                <a:ea typeface="ＭＳ Ｐゴシック"/>
              </a:endParaRPr>
            </a:p>
            <a:p>
              <a:pPr algn="ctr" defTabSz="707471"/>
              <a:r>
                <a:rPr lang="ja-JP" altLang="en-US" sz="1238" b="1" dirty="0">
                  <a:solidFill>
                    <a:srgbClr val="000000"/>
                  </a:solidFill>
                  <a:latin typeface="ＭＳ Ｐゴシック"/>
                  <a:ea typeface="ＭＳ Ｐゴシック"/>
                </a:rPr>
                <a:t>人々を惹きつける  </a:t>
              </a:r>
              <a:r>
                <a:rPr lang="ja-JP" altLang="en-US" sz="1547" b="1" dirty="0">
                  <a:solidFill>
                    <a:srgbClr val="FF0000"/>
                  </a:solidFill>
                  <a:latin typeface="ＭＳ Ｐゴシック"/>
                  <a:ea typeface="ＭＳ Ｐゴシック"/>
                </a:rPr>
                <a:t>攻めの力</a:t>
              </a:r>
            </a:p>
          </p:txBody>
        </p:sp>
        <p:sp>
          <p:nvSpPr>
            <p:cNvPr id="20" name="乗算 19"/>
            <p:cNvSpPr/>
            <p:nvPr/>
          </p:nvSpPr>
          <p:spPr>
            <a:xfrm>
              <a:off x="7020000" y="3132000"/>
              <a:ext cx="864000" cy="864000"/>
            </a:xfrm>
            <a:prstGeom prst="mathMultiply">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endParaRPr lang="ja-JP" altLang="en-US" sz="1393">
                <a:solidFill>
                  <a:srgbClr val="FFFFFF"/>
                </a:solidFill>
                <a:latin typeface="Arial"/>
                <a:ea typeface="ＭＳ Ｐゴシック"/>
              </a:endParaRPr>
            </a:p>
          </p:txBody>
        </p:sp>
        <p:sp>
          <p:nvSpPr>
            <p:cNvPr id="21" name="テキスト ボックス 20"/>
            <p:cNvSpPr txBox="1"/>
            <p:nvPr/>
          </p:nvSpPr>
          <p:spPr>
            <a:xfrm>
              <a:off x="900002" y="4572000"/>
              <a:ext cx="10980001" cy="873040"/>
            </a:xfrm>
            <a:prstGeom prst="rect">
              <a:avLst/>
            </a:prstGeom>
            <a:solidFill>
              <a:srgbClr val="FFCC99"/>
            </a:solidFill>
            <a:ln>
              <a:noFill/>
            </a:ln>
          </p:spPr>
          <p:txBody>
            <a:bodyPr wrap="square" tIns="27853" bIns="27853" rtlCol="0">
              <a:spAutoFit/>
            </a:bodyPr>
            <a:lstStyle/>
            <a:p>
              <a:pPr algn="ctr" defTabSz="707471"/>
              <a:r>
                <a:rPr lang="ja-JP" altLang="en-US" sz="1393" b="1" dirty="0">
                  <a:solidFill>
                    <a:srgbClr val="FF0000"/>
                  </a:solidFill>
                  <a:latin typeface="ＭＳ Ｐゴシック"/>
                  <a:ea typeface="ＭＳ Ｐゴシック"/>
                </a:rPr>
                <a:t>地域を担う人材の主体的・内発的な地域づくり</a:t>
              </a:r>
              <a:endParaRPr lang="en-US" altLang="ja-JP" sz="1393" b="1" dirty="0">
                <a:solidFill>
                  <a:srgbClr val="FF0000"/>
                </a:solidFill>
                <a:latin typeface="ＭＳ Ｐゴシック"/>
                <a:ea typeface="ＭＳ Ｐゴシック"/>
              </a:endParaRPr>
            </a:p>
            <a:p>
              <a:pPr algn="ctr" defTabSz="707471"/>
              <a:r>
                <a:rPr lang="ja-JP" altLang="en-US" sz="1238" b="1" dirty="0">
                  <a:solidFill>
                    <a:srgbClr val="000000"/>
                  </a:solidFill>
                </a:rPr>
                <a:t>地域に対する</a:t>
              </a:r>
              <a:r>
                <a:rPr lang="ja-JP" altLang="en-US" sz="1393" b="1" dirty="0">
                  <a:solidFill>
                    <a:srgbClr val="FF0000"/>
                  </a:solidFill>
                </a:rPr>
                <a:t>誇りと愛着</a:t>
              </a:r>
              <a:r>
                <a:rPr lang="ja-JP" altLang="en-US" sz="1238" b="1" dirty="0">
                  <a:solidFill>
                    <a:srgbClr val="000000"/>
                  </a:solidFill>
                </a:rPr>
                <a:t>を原動力とした、</a:t>
              </a:r>
              <a:endParaRPr lang="en-US" altLang="ja-JP" sz="1238" b="1" dirty="0">
                <a:solidFill>
                  <a:srgbClr val="000000"/>
                </a:solidFill>
              </a:endParaRPr>
            </a:p>
            <a:p>
              <a:pPr algn="ctr" defTabSz="707471"/>
              <a:r>
                <a:rPr lang="ja-JP" altLang="en-US" sz="1238" b="1" dirty="0">
                  <a:solidFill>
                    <a:srgbClr val="000000"/>
                  </a:solidFill>
                </a:rPr>
                <a:t>地域に暮らし、関わる、住民等の多様な主体の参加と連携</a:t>
              </a:r>
            </a:p>
          </p:txBody>
        </p:sp>
        <p:sp>
          <p:nvSpPr>
            <p:cNvPr id="22" name="テキスト ボックス 21"/>
            <p:cNvSpPr txBox="1"/>
            <p:nvPr/>
          </p:nvSpPr>
          <p:spPr>
            <a:xfrm>
              <a:off x="900002" y="5436000"/>
              <a:ext cx="10980001" cy="396398"/>
            </a:xfrm>
            <a:prstGeom prst="rect">
              <a:avLst/>
            </a:prstGeom>
            <a:noFill/>
            <a:ln>
              <a:noFill/>
            </a:ln>
          </p:spPr>
          <p:txBody>
            <a:bodyPr wrap="square" rtlCol="0">
              <a:spAutoFit/>
            </a:bodyPr>
            <a:lstStyle/>
            <a:p>
              <a:pPr algn="ctr" defTabSz="707471"/>
              <a:r>
                <a:rPr lang="ja-JP" altLang="en-US" sz="1393" b="1" dirty="0">
                  <a:solidFill>
                    <a:srgbClr val="FF0000"/>
                  </a:solidFill>
                </a:rPr>
                <a:t>有形・無形の地域資源を総動員</a:t>
              </a:r>
              <a:endParaRPr lang="ja-JP" altLang="en-US" sz="1393" b="1" dirty="0">
                <a:solidFill>
                  <a:srgbClr val="000000"/>
                </a:solidFill>
              </a:endParaRPr>
            </a:p>
          </p:txBody>
        </p:sp>
        <p:sp>
          <p:nvSpPr>
            <p:cNvPr id="23" name="楕円 22"/>
            <p:cNvSpPr/>
            <p:nvPr/>
          </p:nvSpPr>
          <p:spPr>
            <a:xfrm>
              <a:off x="9792000" y="5868000"/>
              <a:ext cx="1980000" cy="792000"/>
            </a:xfrm>
            <a:prstGeom prst="ellipse">
              <a:avLst/>
            </a:prstGeom>
            <a:solidFill>
              <a:srgbClr val="FF99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07471"/>
              <a:r>
                <a:rPr lang="ja-JP" altLang="en-US" sz="851" b="1" dirty="0">
                  <a:solidFill>
                    <a:srgbClr val="000000"/>
                  </a:solidFill>
                  <a:latin typeface="Arial"/>
                  <a:ea typeface="ＭＳ Ｐゴシック"/>
                </a:rPr>
                <a:t>生態系</a:t>
              </a:r>
              <a:endParaRPr lang="en-US" altLang="ja-JP" sz="851" b="1" dirty="0">
                <a:solidFill>
                  <a:srgbClr val="000000"/>
                </a:solidFill>
                <a:latin typeface="Arial"/>
                <a:ea typeface="ＭＳ Ｐゴシック"/>
              </a:endParaRPr>
            </a:p>
            <a:p>
              <a:pPr algn="ctr" defTabSz="707471"/>
              <a:r>
                <a:rPr lang="ja-JP" altLang="en-US" sz="851" b="1" dirty="0">
                  <a:solidFill>
                    <a:srgbClr val="000000"/>
                  </a:solidFill>
                  <a:latin typeface="Arial"/>
                  <a:ea typeface="ＭＳ Ｐゴシック"/>
                </a:rPr>
                <a:t>サービス</a:t>
              </a:r>
            </a:p>
          </p:txBody>
        </p:sp>
        <p:sp>
          <p:nvSpPr>
            <p:cNvPr id="24" name="楕円 23"/>
            <p:cNvSpPr/>
            <p:nvPr/>
          </p:nvSpPr>
          <p:spPr>
            <a:xfrm>
              <a:off x="3096000" y="5868000"/>
              <a:ext cx="1980000" cy="792000"/>
            </a:xfrm>
            <a:prstGeom prst="ellipse">
              <a:avLst/>
            </a:prstGeom>
            <a:solidFill>
              <a:srgbClr val="FF99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07471"/>
              <a:r>
                <a:rPr lang="ja-JP" altLang="en-US" sz="851" b="1" dirty="0">
                  <a:solidFill>
                    <a:srgbClr val="000000"/>
                  </a:solidFill>
                  <a:latin typeface="Arial"/>
                  <a:ea typeface="ＭＳ Ｐゴシック"/>
                </a:rPr>
                <a:t>歴史、</a:t>
              </a:r>
              <a:endParaRPr lang="en-US" altLang="ja-JP" sz="851" b="1" dirty="0">
                <a:solidFill>
                  <a:srgbClr val="000000"/>
                </a:solidFill>
                <a:latin typeface="Arial"/>
                <a:ea typeface="ＭＳ Ｐゴシック"/>
              </a:endParaRPr>
            </a:p>
            <a:p>
              <a:pPr algn="ctr" defTabSz="707471"/>
              <a:r>
                <a:rPr lang="ja-JP" altLang="en-US" sz="851" b="1" dirty="0">
                  <a:solidFill>
                    <a:srgbClr val="000000"/>
                  </a:solidFill>
                  <a:latin typeface="Arial"/>
                  <a:ea typeface="ＭＳ Ｐゴシック"/>
                </a:rPr>
                <a:t>文化・伝統</a:t>
              </a:r>
            </a:p>
          </p:txBody>
        </p:sp>
        <p:sp>
          <p:nvSpPr>
            <p:cNvPr id="25" name="楕円 24"/>
            <p:cNvSpPr/>
            <p:nvPr/>
          </p:nvSpPr>
          <p:spPr>
            <a:xfrm>
              <a:off x="5328000" y="5868000"/>
              <a:ext cx="1980000" cy="792000"/>
            </a:xfrm>
            <a:prstGeom prst="ellipse">
              <a:avLst/>
            </a:prstGeom>
            <a:solidFill>
              <a:srgbClr val="FF99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07471"/>
              <a:r>
                <a:rPr lang="ja-JP" altLang="en-US" sz="851" b="1" dirty="0">
                  <a:solidFill>
                    <a:srgbClr val="000000"/>
                  </a:solidFill>
                  <a:latin typeface="Arial"/>
                  <a:ea typeface="ＭＳ Ｐゴシック"/>
                </a:rPr>
                <a:t>生活サービス、産業</a:t>
              </a:r>
            </a:p>
          </p:txBody>
        </p:sp>
        <p:sp>
          <p:nvSpPr>
            <p:cNvPr id="26" name="楕円 25"/>
            <p:cNvSpPr/>
            <p:nvPr/>
          </p:nvSpPr>
          <p:spPr>
            <a:xfrm>
              <a:off x="7560000" y="5868000"/>
              <a:ext cx="1980000" cy="792000"/>
            </a:xfrm>
            <a:prstGeom prst="ellipse">
              <a:avLst/>
            </a:prstGeom>
            <a:solidFill>
              <a:srgbClr val="FF99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07471"/>
              <a:r>
                <a:rPr lang="ja-JP" altLang="en-US" sz="851" b="1" dirty="0">
                  <a:solidFill>
                    <a:srgbClr val="000000"/>
                  </a:solidFill>
                  <a:latin typeface="Arial"/>
                  <a:ea typeface="ＭＳ Ｐゴシック"/>
                </a:rPr>
                <a:t>国土基盤</a:t>
              </a:r>
            </a:p>
          </p:txBody>
        </p:sp>
        <p:sp>
          <p:nvSpPr>
            <p:cNvPr id="27" name="楕円 26"/>
            <p:cNvSpPr/>
            <p:nvPr/>
          </p:nvSpPr>
          <p:spPr>
            <a:xfrm>
              <a:off x="864000" y="5868000"/>
              <a:ext cx="1980000" cy="792000"/>
            </a:xfrm>
            <a:prstGeom prst="ellipse">
              <a:avLst/>
            </a:prstGeom>
            <a:solidFill>
              <a:srgbClr val="FF99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07471"/>
              <a:r>
                <a:rPr lang="ja-JP" altLang="en-US" sz="851" b="1" dirty="0">
                  <a:solidFill>
                    <a:srgbClr val="000000"/>
                  </a:solidFill>
                  <a:latin typeface="Arial"/>
                  <a:ea typeface="ＭＳ Ｐゴシック"/>
                </a:rPr>
                <a:t>自然環境、</a:t>
              </a:r>
              <a:endParaRPr lang="en-US" altLang="ja-JP" sz="851" b="1" dirty="0">
                <a:solidFill>
                  <a:srgbClr val="000000"/>
                </a:solidFill>
                <a:latin typeface="Arial"/>
                <a:ea typeface="ＭＳ Ｐゴシック"/>
              </a:endParaRPr>
            </a:p>
            <a:p>
              <a:pPr algn="ctr" defTabSz="707471"/>
              <a:r>
                <a:rPr lang="ja-JP" altLang="en-US" sz="851" b="1" dirty="0">
                  <a:solidFill>
                    <a:srgbClr val="000000"/>
                  </a:solidFill>
                  <a:latin typeface="Arial"/>
                  <a:ea typeface="ＭＳ Ｐゴシック"/>
                </a:rPr>
                <a:t>景観、風土</a:t>
              </a:r>
            </a:p>
          </p:txBody>
        </p:sp>
        <p:sp>
          <p:nvSpPr>
            <p:cNvPr id="28" name="上矢印 27"/>
            <p:cNvSpPr/>
            <p:nvPr/>
          </p:nvSpPr>
          <p:spPr>
            <a:xfrm>
              <a:off x="1648989" y="4068000"/>
              <a:ext cx="9474982" cy="432000"/>
            </a:xfrm>
            <a:prstGeom prst="upArrow">
              <a:avLst>
                <a:gd name="adj1" fmla="val 71599"/>
                <a:gd name="adj2" fmla="val 60154"/>
              </a:avLst>
            </a:prstGeom>
            <a:solidFill>
              <a:srgbClr val="FF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238" b="1" dirty="0">
                  <a:solidFill>
                    <a:srgbClr val="000000"/>
                  </a:solidFill>
                  <a:latin typeface="Arial"/>
                  <a:ea typeface="ＭＳ Ｐゴシック"/>
                </a:rPr>
                <a:t>地域の総合力・底力を最大限に発揮</a:t>
              </a:r>
            </a:p>
          </p:txBody>
        </p:sp>
      </p:grpSp>
      <p:grpSp>
        <p:nvGrpSpPr>
          <p:cNvPr id="29" name="グループ化 28"/>
          <p:cNvGrpSpPr/>
          <p:nvPr/>
        </p:nvGrpSpPr>
        <p:grpSpPr>
          <a:xfrm>
            <a:off x="139263" y="5513411"/>
            <a:ext cx="4734955" cy="941968"/>
            <a:chOff x="180000" y="6912000"/>
            <a:chExt cx="12486411" cy="1217508"/>
          </a:xfrm>
        </p:grpSpPr>
        <p:sp>
          <p:nvSpPr>
            <p:cNvPr id="30" name="テキスト ボックス 29"/>
            <p:cNvSpPr txBox="1"/>
            <p:nvPr/>
          </p:nvSpPr>
          <p:spPr>
            <a:xfrm>
              <a:off x="400348" y="7164000"/>
              <a:ext cx="1980000" cy="965508"/>
            </a:xfrm>
            <a:prstGeom prst="rect">
              <a:avLst/>
            </a:prstGeom>
            <a:noFill/>
          </p:spPr>
          <p:txBody>
            <a:bodyPr wrap="square" rtlCol="0">
              <a:spAutoFit/>
            </a:bodyPr>
            <a:lstStyle/>
            <a:p>
              <a:pPr defTabSz="707471"/>
              <a:r>
                <a:rPr lang="ja-JP" altLang="en-US" sz="851" b="1" dirty="0">
                  <a:solidFill>
                    <a:srgbClr val="000000"/>
                  </a:solidFill>
                  <a:latin typeface="ＭＳ Ｐゴシック"/>
                  <a:ea typeface="ＭＳ Ｐゴシック"/>
                </a:rPr>
                <a:t>縦割り分野ごとの地方公共団体での対応だけでは限界</a:t>
              </a:r>
            </a:p>
          </p:txBody>
        </p:sp>
        <p:sp>
          <p:nvSpPr>
            <p:cNvPr id="31" name="テキスト ボックス 30"/>
            <p:cNvSpPr txBox="1"/>
            <p:nvPr/>
          </p:nvSpPr>
          <p:spPr>
            <a:xfrm>
              <a:off x="3246402" y="7452432"/>
              <a:ext cx="9083598" cy="661518"/>
            </a:xfrm>
            <a:prstGeom prst="rect">
              <a:avLst/>
            </a:prstGeom>
            <a:noFill/>
          </p:spPr>
          <p:txBody>
            <a:bodyPr wrap="square" rtlCol="0">
              <a:spAutoFit/>
            </a:bodyPr>
            <a:lstStyle/>
            <a:p>
              <a:pPr defTabSz="707471">
                <a:spcBef>
                  <a:spcPts val="464"/>
                </a:spcBef>
              </a:pPr>
              <a:r>
                <a:rPr lang="ja-JP" altLang="en-US" sz="1238" b="1" dirty="0">
                  <a:solidFill>
                    <a:srgbClr val="FF0000"/>
                  </a:solidFill>
                </a:rPr>
                <a:t>●「共」の視点からの主体・事業・地域間の連携</a:t>
              </a:r>
              <a:endParaRPr lang="en-US" altLang="ja-JP" sz="1238" b="1" dirty="0">
                <a:solidFill>
                  <a:srgbClr val="FF0000"/>
                </a:solidFill>
              </a:endParaRPr>
            </a:p>
            <a:p>
              <a:pPr defTabSz="707471">
                <a:spcBef>
                  <a:spcPts val="309"/>
                </a:spcBef>
              </a:pPr>
              <a:r>
                <a:rPr lang="ja-JP" altLang="en-US" sz="1238" b="1" dirty="0">
                  <a:solidFill>
                    <a:srgbClr val="FF0000"/>
                  </a:solidFill>
                </a:rPr>
                <a:t>●デジタルの徹底活用</a:t>
              </a:r>
            </a:p>
          </p:txBody>
        </p:sp>
        <p:sp>
          <p:nvSpPr>
            <p:cNvPr id="32" name="テキスト ボックス 31"/>
            <p:cNvSpPr txBox="1"/>
            <p:nvPr/>
          </p:nvSpPr>
          <p:spPr>
            <a:xfrm>
              <a:off x="3240001" y="7184750"/>
              <a:ext cx="6654495" cy="303908"/>
            </a:xfrm>
            <a:prstGeom prst="rect">
              <a:avLst/>
            </a:prstGeom>
            <a:noFill/>
          </p:spPr>
          <p:txBody>
            <a:bodyPr wrap="square" rtlCol="0">
              <a:spAutoFit/>
            </a:bodyPr>
            <a:lstStyle/>
            <a:p>
              <a:pPr algn="ctr" defTabSz="707471"/>
              <a:r>
                <a:rPr lang="en-US" altLang="ja-JP" sz="928" b="1" dirty="0">
                  <a:solidFill>
                    <a:srgbClr val="000000"/>
                  </a:solidFill>
                </a:rPr>
                <a:t>《</a:t>
              </a:r>
              <a:r>
                <a:rPr lang="ja-JP" altLang="en-US" sz="928" b="1" dirty="0">
                  <a:solidFill>
                    <a:srgbClr val="000000"/>
                  </a:solidFill>
                </a:rPr>
                <a:t>新たな発想からの地域マネジメントの構築</a:t>
              </a:r>
              <a:r>
                <a:rPr lang="en-US" altLang="ja-JP" sz="928" b="1" dirty="0">
                  <a:solidFill>
                    <a:srgbClr val="000000"/>
                  </a:solidFill>
                </a:rPr>
                <a:t>》</a:t>
              </a:r>
              <a:endParaRPr lang="ja-JP" altLang="en-US" sz="928" b="1" dirty="0">
                <a:solidFill>
                  <a:srgbClr val="000000"/>
                </a:solidFill>
              </a:endParaRPr>
            </a:p>
          </p:txBody>
        </p:sp>
        <p:sp>
          <p:nvSpPr>
            <p:cNvPr id="33" name="正方形/長方形 32"/>
            <p:cNvSpPr/>
            <p:nvPr/>
          </p:nvSpPr>
          <p:spPr>
            <a:xfrm>
              <a:off x="180000" y="6912000"/>
              <a:ext cx="12486411" cy="1188000"/>
            </a:xfrm>
            <a:prstGeom prst="rect">
              <a:avLst/>
            </a:prstGeom>
            <a:noFill/>
            <a:ln w="28575">
              <a:prstDash val="sysDash"/>
            </a:ln>
          </p:spPr>
          <p:style>
            <a:lnRef idx="2">
              <a:schemeClr val="accent1">
                <a:shade val="50000"/>
              </a:schemeClr>
            </a:lnRef>
            <a:fillRef idx="1">
              <a:schemeClr val="accent1"/>
            </a:fillRef>
            <a:effectRef idx="0">
              <a:schemeClr val="accent1"/>
            </a:effectRef>
            <a:fontRef idx="minor">
              <a:schemeClr val="lt1"/>
            </a:fontRef>
          </p:style>
          <p:txBody>
            <a:bodyPr lIns="0" rtlCol="0" anchor="t"/>
            <a:lstStyle/>
            <a:p>
              <a:pPr algn="ctr" defTabSz="707471"/>
              <a:r>
                <a:rPr lang="ja-JP" altLang="en-US" sz="1547" b="1" dirty="0">
                  <a:solidFill>
                    <a:srgbClr val="FF0000"/>
                  </a:solidFill>
                  <a:latin typeface="Arial" charset="0"/>
                  <a:ea typeface="ＭＳ Ｐゴシック" pitchFamily="50" charset="-128"/>
                </a:rPr>
                <a:t>地域マネジメントのパラダイムシフト</a:t>
              </a:r>
            </a:p>
          </p:txBody>
        </p:sp>
        <p:sp>
          <p:nvSpPr>
            <p:cNvPr id="34" name="右矢印 33"/>
            <p:cNvSpPr/>
            <p:nvPr/>
          </p:nvSpPr>
          <p:spPr>
            <a:xfrm>
              <a:off x="2236585" y="7344000"/>
              <a:ext cx="540001" cy="54000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endParaRPr lang="ja-JP" altLang="en-US" sz="1393">
                <a:solidFill>
                  <a:srgbClr val="FFFFFF"/>
                </a:solidFill>
                <a:latin typeface="Arial"/>
                <a:ea typeface="ＭＳ Ｐゴシック"/>
              </a:endParaRPr>
            </a:p>
          </p:txBody>
        </p:sp>
      </p:grpSp>
      <p:sp>
        <p:nvSpPr>
          <p:cNvPr id="35" name="テキスト ボックス 34"/>
          <p:cNvSpPr txBox="1"/>
          <p:nvPr/>
        </p:nvSpPr>
        <p:spPr>
          <a:xfrm>
            <a:off x="5570536" y="940321"/>
            <a:ext cx="4233607" cy="544765"/>
          </a:xfrm>
          <a:prstGeom prst="rect">
            <a:avLst/>
          </a:prstGeom>
          <a:noFill/>
        </p:spPr>
        <p:txBody>
          <a:bodyPr wrap="square" rtlCol="0">
            <a:spAutoFit/>
          </a:bodyPr>
          <a:lstStyle/>
          <a:p>
            <a:pPr algn="ctr" defTabSz="707471"/>
            <a:r>
              <a:rPr lang="ja-JP" altLang="en-US" sz="1083" b="1" dirty="0">
                <a:solidFill>
                  <a:srgbClr val="000000"/>
                </a:solidFill>
                <a:latin typeface="ＭＳ Ｐゴシック"/>
                <a:ea typeface="ＭＳ Ｐゴシック"/>
              </a:rPr>
              <a:t>国土全体にわたる人口や諸機能の配置のあり方等に関する</a:t>
            </a:r>
            <a:endParaRPr lang="en-US" altLang="ja-JP" sz="1083" b="1" dirty="0">
              <a:solidFill>
                <a:srgbClr val="000000"/>
              </a:solidFill>
              <a:latin typeface="ＭＳ Ｐゴシック"/>
              <a:ea typeface="ＭＳ Ｐゴシック"/>
            </a:endParaRPr>
          </a:p>
          <a:p>
            <a:pPr algn="ctr" defTabSz="707471"/>
            <a:r>
              <a:rPr lang="ja-JP" altLang="en-US" sz="1857" b="1" i="1" dirty="0">
                <a:solidFill>
                  <a:srgbClr val="000000"/>
                </a:solidFill>
                <a:latin typeface="ＭＳ Ｐゴシック"/>
                <a:ea typeface="ＭＳ Ｐゴシック"/>
              </a:rPr>
              <a:t>国土構造の基本構想</a:t>
            </a:r>
          </a:p>
        </p:txBody>
      </p:sp>
      <p:sp>
        <p:nvSpPr>
          <p:cNvPr id="36" name="テキスト ボックス 35"/>
          <p:cNvSpPr txBox="1"/>
          <p:nvPr/>
        </p:nvSpPr>
        <p:spPr>
          <a:xfrm>
            <a:off x="5189213" y="2338204"/>
            <a:ext cx="3110885" cy="4094839"/>
          </a:xfrm>
          <a:prstGeom prst="rect">
            <a:avLst/>
          </a:prstGeom>
          <a:noFill/>
        </p:spPr>
        <p:txBody>
          <a:bodyPr wrap="square" rtlCol="0">
            <a:spAutoFit/>
          </a:bodyPr>
          <a:lstStyle/>
          <a:p>
            <a:pPr marL="206346" indent="-206346" defTabSz="707471">
              <a:spcBef>
                <a:spcPts val="464"/>
              </a:spcBef>
              <a:buFont typeface="Wingdings" panose="05000000000000000000" pitchFamily="2" charset="2"/>
              <a:buChar char="Ø"/>
            </a:pPr>
            <a:r>
              <a:rPr lang="ja-JP" altLang="en-US" sz="1857" b="1" dirty="0">
                <a:solidFill>
                  <a:srgbClr val="000000"/>
                </a:solidFill>
                <a:latin typeface="ＭＳ Ｐゴシック"/>
                <a:ea typeface="ＭＳ Ｐゴシック"/>
              </a:rPr>
              <a:t> </a:t>
            </a:r>
            <a:r>
              <a:rPr lang="ja-JP" altLang="en-US" sz="1547" b="1" dirty="0">
                <a:solidFill>
                  <a:srgbClr val="000000"/>
                </a:solidFill>
                <a:latin typeface="ＭＳ Ｐゴシック"/>
                <a:ea typeface="ＭＳ Ｐゴシック"/>
              </a:rPr>
              <a:t>国土全体にわたって、広域レベルでは</a:t>
            </a:r>
            <a:r>
              <a:rPr lang="ja-JP" altLang="en-US" sz="1857" b="1" dirty="0">
                <a:solidFill>
                  <a:srgbClr val="FF0000"/>
                </a:solidFill>
                <a:latin typeface="ＭＳ Ｐゴシック"/>
                <a:ea typeface="ＭＳ Ｐゴシック"/>
              </a:rPr>
              <a:t>人口や諸機能を分散</a:t>
            </a:r>
            <a:endParaRPr lang="en-US" altLang="ja-JP" sz="1857" b="1" dirty="0">
              <a:solidFill>
                <a:srgbClr val="FF0000"/>
              </a:solidFill>
              <a:latin typeface="ＭＳ Ｐゴシック"/>
              <a:ea typeface="ＭＳ Ｐゴシック"/>
            </a:endParaRPr>
          </a:p>
          <a:p>
            <a:pPr marL="206346" indent="-206346" defTabSz="707471">
              <a:spcBef>
                <a:spcPts val="464"/>
              </a:spcBef>
              <a:buFont typeface="Wingdings" panose="05000000000000000000" pitchFamily="2" charset="2"/>
              <a:buChar char="Ø"/>
            </a:pPr>
            <a:r>
              <a:rPr lang="ja-JP" altLang="en-US" sz="1547" b="1" dirty="0">
                <a:solidFill>
                  <a:srgbClr val="000000"/>
                </a:solidFill>
                <a:latin typeface="ＭＳ Ｐゴシック"/>
                <a:ea typeface="ＭＳ Ｐゴシック"/>
              </a:rPr>
              <a:t> 広域レベルからコミュニティレベルまで、</a:t>
            </a:r>
            <a:r>
              <a:rPr lang="ja-JP" altLang="en-US" sz="1857" b="1" dirty="0">
                <a:solidFill>
                  <a:srgbClr val="FF0000"/>
                </a:solidFill>
                <a:latin typeface="ＭＳ Ｐゴシック"/>
                <a:ea typeface="ＭＳ Ｐゴシック"/>
              </a:rPr>
              <a:t>重層的な生活・経済圏域</a:t>
            </a:r>
            <a:r>
              <a:rPr lang="ja-JP" altLang="en-US" sz="1547" b="1" dirty="0">
                <a:solidFill>
                  <a:srgbClr val="000000"/>
                </a:solidFill>
                <a:latin typeface="ＭＳ Ｐゴシック"/>
                <a:ea typeface="ＭＳ Ｐゴシック"/>
              </a:rPr>
              <a:t>の形成</a:t>
            </a:r>
            <a:endParaRPr lang="en-US" altLang="ja-JP" sz="1547" b="1" dirty="0">
              <a:solidFill>
                <a:srgbClr val="000000"/>
              </a:solidFill>
              <a:latin typeface="ＭＳ Ｐゴシック"/>
              <a:ea typeface="ＭＳ Ｐゴシック"/>
            </a:endParaRPr>
          </a:p>
          <a:p>
            <a:pPr marL="206346" indent="-206346" defTabSz="707471">
              <a:spcBef>
                <a:spcPts val="464"/>
              </a:spcBef>
              <a:buFont typeface="Wingdings" panose="05000000000000000000" pitchFamily="2" charset="2"/>
              <a:buChar char="Ø"/>
            </a:pPr>
            <a:r>
              <a:rPr lang="ja-JP" altLang="en-US" sz="1547" b="1" dirty="0">
                <a:solidFill>
                  <a:srgbClr val="000000"/>
                </a:solidFill>
                <a:latin typeface="ＭＳ Ｐゴシック"/>
                <a:ea typeface="ＭＳ Ｐゴシック"/>
              </a:rPr>
              <a:t> 各階層の圏域において、可能な限り</a:t>
            </a:r>
            <a:r>
              <a:rPr lang="ja-JP" altLang="en-US" sz="1857" b="1" dirty="0">
                <a:solidFill>
                  <a:srgbClr val="FF0000"/>
                </a:solidFill>
                <a:latin typeface="ＭＳ Ｐゴシック"/>
                <a:ea typeface="ＭＳ Ｐゴシック"/>
              </a:rPr>
              <a:t>諸機能を多様な地域の拠点に集約</a:t>
            </a:r>
            <a:r>
              <a:rPr lang="ja-JP" altLang="en-US" sz="1547" b="1" dirty="0">
                <a:solidFill>
                  <a:srgbClr val="000000"/>
                </a:solidFill>
                <a:latin typeface="ＭＳ Ｐゴシック"/>
                <a:ea typeface="ＭＳ Ｐゴシック"/>
              </a:rPr>
              <a:t>し、水平的・垂直的・多面的な</a:t>
            </a:r>
            <a:r>
              <a:rPr lang="ja-JP" altLang="en-US" sz="1857" b="1" dirty="0">
                <a:solidFill>
                  <a:srgbClr val="FF0000"/>
                </a:solidFill>
                <a:latin typeface="ＭＳ Ｐゴシック"/>
                <a:ea typeface="ＭＳ Ｐゴシック"/>
              </a:rPr>
              <a:t>ネットワーク化</a:t>
            </a:r>
            <a:endParaRPr lang="en-US" altLang="ja-JP" sz="1857" b="1" dirty="0">
              <a:solidFill>
                <a:srgbClr val="FF0000"/>
              </a:solidFill>
              <a:latin typeface="ＭＳ Ｐゴシック"/>
              <a:ea typeface="ＭＳ Ｐゴシック"/>
            </a:endParaRPr>
          </a:p>
          <a:p>
            <a:pPr marL="206346" indent="-206346" defTabSz="707471">
              <a:spcBef>
                <a:spcPts val="464"/>
              </a:spcBef>
              <a:buClr>
                <a:srgbClr val="000000"/>
              </a:buClr>
              <a:buFont typeface="Wingdings" panose="05000000000000000000" pitchFamily="2" charset="2"/>
              <a:buChar char="Ø"/>
            </a:pPr>
            <a:r>
              <a:rPr lang="ja-JP" altLang="en-US" sz="1547" b="1" dirty="0">
                <a:solidFill>
                  <a:srgbClr val="FF0000"/>
                </a:solidFill>
                <a:latin typeface="ＭＳ Ｐゴシック"/>
                <a:ea typeface="ＭＳ Ｐゴシック"/>
              </a:rPr>
              <a:t> </a:t>
            </a:r>
            <a:r>
              <a:rPr lang="ja-JP" altLang="en-US" sz="1857" b="1" dirty="0">
                <a:solidFill>
                  <a:srgbClr val="FF0000"/>
                </a:solidFill>
                <a:latin typeface="ＭＳ Ｐゴシック"/>
                <a:ea typeface="ＭＳ Ｐゴシック"/>
              </a:rPr>
              <a:t>デジタルとリアルの融合</a:t>
            </a:r>
            <a:r>
              <a:rPr lang="ja-JP" altLang="en-US" sz="1547" b="1" dirty="0">
                <a:solidFill>
                  <a:srgbClr val="000000"/>
                </a:solidFill>
                <a:latin typeface="ＭＳ Ｐゴシック"/>
                <a:ea typeface="ＭＳ Ｐゴシック"/>
              </a:rPr>
              <a:t>により、</a:t>
            </a:r>
            <a:r>
              <a:rPr lang="ja-JP" altLang="en-US" sz="1857" b="1" dirty="0">
                <a:solidFill>
                  <a:srgbClr val="FF0000"/>
                </a:solidFill>
                <a:latin typeface="ＭＳ Ｐゴシック"/>
                <a:ea typeface="ＭＳ Ｐゴシック"/>
              </a:rPr>
              <a:t>時間や場所の制約を克服</a:t>
            </a:r>
            <a:r>
              <a:rPr lang="ja-JP" altLang="en-US" sz="1547" b="1" dirty="0">
                <a:solidFill>
                  <a:srgbClr val="000000"/>
                </a:solidFill>
                <a:latin typeface="ＭＳ Ｐゴシック"/>
                <a:ea typeface="ＭＳ Ｐゴシック"/>
              </a:rPr>
              <a:t>し、行政界を越えて、暮らしや経済の実態に即し、サービスや活動が継ぎ目なく展開</a:t>
            </a:r>
            <a:endParaRPr lang="en-US" altLang="ja-JP" sz="1547" b="1" dirty="0">
              <a:solidFill>
                <a:srgbClr val="000000"/>
              </a:solidFill>
              <a:latin typeface="ＭＳ Ｐゴシック"/>
              <a:ea typeface="ＭＳ Ｐゴシック"/>
            </a:endParaRPr>
          </a:p>
        </p:txBody>
      </p:sp>
      <p:sp>
        <p:nvSpPr>
          <p:cNvPr id="37" name="正方形/長方形 36"/>
          <p:cNvSpPr/>
          <p:nvPr/>
        </p:nvSpPr>
        <p:spPr>
          <a:xfrm>
            <a:off x="5292009" y="6571812"/>
            <a:ext cx="4512134" cy="857414"/>
          </a:xfrm>
          <a:prstGeom prst="rect">
            <a:avLst/>
          </a:prstGeom>
          <a:solidFill>
            <a:srgbClr val="99FF99"/>
          </a:solidFill>
        </p:spPr>
        <p:txBody>
          <a:bodyPr wrap="square" lIns="139263" tIns="0" rIns="139263" bIns="0">
            <a:spAutoFit/>
          </a:bodyPr>
          <a:lstStyle/>
          <a:p>
            <a:pPr defTabSz="707471"/>
            <a:r>
              <a:rPr lang="ja-JP" altLang="en-US" sz="1393" b="1" dirty="0">
                <a:solidFill>
                  <a:srgbClr val="FF0000"/>
                </a:solidFill>
                <a:latin typeface="ＭＳ Ｐゴシック"/>
                <a:ea typeface="ＭＳ Ｐゴシック"/>
              </a:rPr>
              <a:t>人と人、人と地域、地域と地域が、質の高い交通やデジタルのネットワークでシームレスにつながり合う国土構造の構築</a:t>
            </a:r>
          </a:p>
          <a:p>
            <a:pPr marL="206346" defTabSz="707471"/>
            <a:r>
              <a:rPr lang="ja-JP" altLang="en-US" sz="1393" b="1" dirty="0">
                <a:solidFill>
                  <a:srgbClr val="000000"/>
                </a:solidFill>
                <a:latin typeface="ＭＳ Ｐゴシック"/>
                <a:ea typeface="ＭＳ Ｐゴシック"/>
              </a:rPr>
              <a:t>⇒　「コンパクト＋ネットワーク」をさらに進化・発展</a:t>
            </a:r>
            <a:endParaRPr lang="ja-JP" altLang="en-US" sz="1393" b="1" dirty="0">
              <a:solidFill>
                <a:srgbClr val="FF0000"/>
              </a:solidFill>
              <a:latin typeface="ＭＳ Ｐゴシック"/>
              <a:ea typeface="ＭＳ Ｐゴシック"/>
            </a:endParaRPr>
          </a:p>
        </p:txBody>
      </p:sp>
      <p:sp>
        <p:nvSpPr>
          <p:cNvPr id="38" name="右矢印 37"/>
          <p:cNvSpPr/>
          <p:nvPr/>
        </p:nvSpPr>
        <p:spPr>
          <a:xfrm>
            <a:off x="8355804" y="3368753"/>
            <a:ext cx="139263" cy="167116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endParaRPr lang="ja-JP" altLang="en-US" sz="1393">
              <a:solidFill>
                <a:srgbClr val="FFFFFF"/>
              </a:solidFill>
              <a:latin typeface="Arial"/>
              <a:ea typeface="ＭＳ Ｐゴシック"/>
            </a:endParaRPr>
          </a:p>
        </p:txBody>
      </p:sp>
      <p:sp>
        <p:nvSpPr>
          <p:cNvPr id="39" name="角丸四角形 38"/>
          <p:cNvSpPr/>
          <p:nvPr/>
        </p:nvSpPr>
        <p:spPr>
          <a:xfrm>
            <a:off x="8550772" y="2393910"/>
            <a:ext cx="1226214" cy="139263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r>
              <a:rPr lang="ja-JP" altLang="en-US" sz="1547" b="1" dirty="0">
                <a:solidFill>
                  <a:srgbClr val="FF0000"/>
                </a:solidFill>
                <a:latin typeface="ＭＳ Ｐゴシック"/>
                <a:ea typeface="ＭＳ Ｐゴシック"/>
              </a:rPr>
              <a:t>東京一極集中の是正</a:t>
            </a:r>
            <a:endParaRPr lang="en-US" altLang="ja-JP" sz="1547" b="1" dirty="0">
              <a:solidFill>
                <a:srgbClr val="FF0000"/>
              </a:solidFill>
              <a:latin typeface="ＭＳ Ｐゴシック"/>
              <a:ea typeface="ＭＳ Ｐゴシック"/>
            </a:endParaRPr>
          </a:p>
          <a:p>
            <a:pPr algn="ctr" defTabSz="707471">
              <a:spcBef>
                <a:spcPts val="464"/>
              </a:spcBef>
            </a:pPr>
            <a:r>
              <a:rPr lang="ja-JP" altLang="en-US" sz="1238" b="1" dirty="0">
                <a:solidFill>
                  <a:srgbClr val="000000"/>
                </a:solidFill>
                <a:latin typeface="ＭＳ Ｐゴシック"/>
                <a:ea typeface="ＭＳ Ｐゴシック"/>
              </a:rPr>
              <a:t>地方と東京の</a:t>
            </a:r>
            <a:endParaRPr lang="en-US" altLang="ja-JP" sz="1238" b="1" dirty="0">
              <a:solidFill>
                <a:srgbClr val="000000"/>
              </a:solidFill>
              <a:latin typeface="ＭＳ Ｐゴシック"/>
              <a:ea typeface="ＭＳ Ｐゴシック"/>
            </a:endParaRPr>
          </a:p>
          <a:p>
            <a:pPr algn="ctr" defTabSz="707471"/>
            <a:r>
              <a:rPr lang="en-US" altLang="ja-JP" sz="1238" b="1" dirty="0">
                <a:solidFill>
                  <a:srgbClr val="000000"/>
                </a:solidFill>
                <a:latin typeface="ＭＳ Ｐゴシック"/>
                <a:ea typeface="ＭＳ Ｐゴシック"/>
              </a:rPr>
              <a:t>win-win</a:t>
            </a:r>
            <a:r>
              <a:rPr lang="ja-JP" altLang="en-US" sz="1238" b="1" dirty="0">
                <a:solidFill>
                  <a:srgbClr val="000000"/>
                </a:solidFill>
                <a:latin typeface="ＭＳ Ｐゴシック"/>
                <a:ea typeface="ＭＳ Ｐゴシック"/>
              </a:rPr>
              <a:t>の関係構築</a:t>
            </a:r>
            <a:endParaRPr lang="ja-JP" altLang="en-US" sz="1238" dirty="0">
              <a:solidFill>
                <a:srgbClr val="000000"/>
              </a:solidFill>
              <a:latin typeface="ＭＳ Ｐゴシック"/>
              <a:ea typeface="ＭＳ Ｐゴシック"/>
            </a:endParaRPr>
          </a:p>
        </p:txBody>
      </p:sp>
      <p:sp>
        <p:nvSpPr>
          <p:cNvPr id="40" name="角丸四角形 39"/>
          <p:cNvSpPr/>
          <p:nvPr/>
        </p:nvSpPr>
        <p:spPr>
          <a:xfrm>
            <a:off x="8550772" y="3897954"/>
            <a:ext cx="1226214" cy="25067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r>
              <a:rPr lang="ja-JP" altLang="en-US" sz="1393" dirty="0">
                <a:solidFill>
                  <a:srgbClr val="000000"/>
                </a:solidFill>
                <a:latin typeface="ＭＳ Ｐゴシック"/>
                <a:ea typeface="ＭＳ Ｐゴシック"/>
              </a:rPr>
              <a:t>国土の</a:t>
            </a:r>
            <a:endParaRPr lang="en-US" altLang="ja-JP" sz="1393" dirty="0">
              <a:solidFill>
                <a:srgbClr val="000000"/>
              </a:solidFill>
              <a:latin typeface="ＭＳ Ｐゴシック"/>
              <a:ea typeface="ＭＳ Ｐゴシック"/>
            </a:endParaRPr>
          </a:p>
          <a:p>
            <a:pPr marL="132651" defTabSz="707471">
              <a:spcBef>
                <a:spcPts val="232"/>
              </a:spcBef>
            </a:pPr>
            <a:r>
              <a:rPr lang="ja-JP" altLang="en-US" sz="1857" b="1" dirty="0">
                <a:solidFill>
                  <a:srgbClr val="000000"/>
                </a:solidFill>
                <a:latin typeface="ＭＳ Ｐゴシック"/>
                <a:ea typeface="ＭＳ Ｐゴシック"/>
              </a:rPr>
              <a:t>多様性</a:t>
            </a:r>
            <a:endParaRPr lang="en-US" altLang="ja-JP" sz="1857" b="1" dirty="0">
              <a:solidFill>
                <a:srgbClr val="000000"/>
              </a:solidFill>
              <a:latin typeface="ＭＳ Ｐゴシック"/>
              <a:ea typeface="ＭＳ Ｐゴシック"/>
            </a:endParaRPr>
          </a:p>
          <a:p>
            <a:pPr marL="132651" defTabSz="707471"/>
            <a:r>
              <a:rPr lang="ja-JP" altLang="en-US" sz="928" b="1" dirty="0">
                <a:solidFill>
                  <a:srgbClr val="000000"/>
                </a:solidFill>
                <a:latin typeface="ＭＳ Ｐゴシック"/>
                <a:ea typeface="ＭＳ Ｐゴシック"/>
              </a:rPr>
              <a:t>（ダイバーシティ）</a:t>
            </a:r>
            <a:endParaRPr lang="en-US" altLang="ja-JP" sz="928" b="1" dirty="0">
              <a:solidFill>
                <a:srgbClr val="000000"/>
              </a:solidFill>
              <a:latin typeface="ＭＳ Ｐゴシック"/>
              <a:ea typeface="ＭＳ Ｐゴシック"/>
            </a:endParaRPr>
          </a:p>
          <a:p>
            <a:pPr marL="132651" defTabSz="707471">
              <a:spcBef>
                <a:spcPts val="232"/>
              </a:spcBef>
            </a:pPr>
            <a:r>
              <a:rPr lang="ja-JP" altLang="en-US" sz="1857" b="1" dirty="0">
                <a:solidFill>
                  <a:srgbClr val="000000"/>
                </a:solidFill>
                <a:latin typeface="ＭＳ Ｐゴシック"/>
                <a:ea typeface="ＭＳ Ｐゴシック"/>
              </a:rPr>
              <a:t>包摂性</a:t>
            </a:r>
            <a:endParaRPr lang="en-US" altLang="ja-JP" sz="1857" b="1" dirty="0">
              <a:solidFill>
                <a:srgbClr val="000000"/>
              </a:solidFill>
              <a:latin typeface="ＭＳ Ｐゴシック"/>
              <a:ea typeface="ＭＳ Ｐゴシック"/>
            </a:endParaRPr>
          </a:p>
          <a:p>
            <a:pPr marL="132651" defTabSz="707471"/>
            <a:r>
              <a:rPr lang="ja-JP" altLang="en-US" sz="928" b="1" dirty="0">
                <a:solidFill>
                  <a:srgbClr val="000000"/>
                </a:solidFill>
                <a:latin typeface="ＭＳ Ｐゴシック"/>
                <a:ea typeface="ＭＳ Ｐゴシック"/>
              </a:rPr>
              <a:t>（インクルージョン）</a:t>
            </a:r>
            <a:endParaRPr lang="en-US" altLang="ja-JP" sz="928" b="1" dirty="0">
              <a:solidFill>
                <a:srgbClr val="000000"/>
              </a:solidFill>
              <a:latin typeface="ＭＳ Ｐゴシック"/>
              <a:ea typeface="ＭＳ Ｐゴシック"/>
            </a:endParaRPr>
          </a:p>
          <a:p>
            <a:pPr marL="132651" defTabSz="707471">
              <a:spcBef>
                <a:spcPts val="232"/>
              </a:spcBef>
            </a:pPr>
            <a:r>
              <a:rPr lang="ja-JP" altLang="en-US" sz="1857" b="1" dirty="0">
                <a:solidFill>
                  <a:srgbClr val="000000"/>
                </a:solidFill>
                <a:latin typeface="ＭＳ Ｐゴシック"/>
                <a:ea typeface="ＭＳ Ｐゴシック"/>
              </a:rPr>
              <a:t>持続性</a:t>
            </a:r>
            <a:endParaRPr lang="en-US" altLang="ja-JP" sz="1857" b="1" dirty="0">
              <a:solidFill>
                <a:srgbClr val="000000"/>
              </a:solidFill>
              <a:latin typeface="ＭＳ Ｐゴシック"/>
              <a:ea typeface="ＭＳ Ｐゴシック"/>
            </a:endParaRPr>
          </a:p>
          <a:p>
            <a:pPr marL="132651" defTabSz="707471"/>
            <a:r>
              <a:rPr lang="ja-JP" altLang="en-US" sz="928" b="1" dirty="0">
                <a:solidFill>
                  <a:srgbClr val="000000"/>
                </a:solidFill>
                <a:latin typeface="ＭＳ Ｐゴシック"/>
                <a:ea typeface="ＭＳ Ｐゴシック"/>
              </a:rPr>
              <a:t>（サステナビリティ）</a:t>
            </a:r>
            <a:endParaRPr lang="en-US" altLang="ja-JP" sz="928" b="1" dirty="0">
              <a:solidFill>
                <a:srgbClr val="000000"/>
              </a:solidFill>
              <a:latin typeface="ＭＳ Ｐゴシック"/>
              <a:ea typeface="ＭＳ Ｐゴシック"/>
            </a:endParaRPr>
          </a:p>
          <a:p>
            <a:pPr marL="132651" defTabSz="707471">
              <a:spcBef>
                <a:spcPts val="232"/>
              </a:spcBef>
            </a:pPr>
            <a:r>
              <a:rPr lang="ja-JP" altLang="en-US" sz="1857" b="1" dirty="0">
                <a:solidFill>
                  <a:srgbClr val="000000"/>
                </a:solidFill>
                <a:latin typeface="ＭＳ Ｐゴシック"/>
                <a:ea typeface="ＭＳ Ｐゴシック"/>
              </a:rPr>
              <a:t>強靱性</a:t>
            </a:r>
            <a:endParaRPr lang="en-US" altLang="ja-JP" sz="1857" b="1" dirty="0">
              <a:solidFill>
                <a:srgbClr val="000000"/>
              </a:solidFill>
              <a:latin typeface="ＭＳ Ｐゴシック"/>
              <a:ea typeface="ＭＳ Ｐゴシック"/>
            </a:endParaRPr>
          </a:p>
          <a:p>
            <a:pPr marL="132651" defTabSz="707471"/>
            <a:r>
              <a:rPr lang="ja-JP" altLang="en-US" sz="928" b="1" dirty="0">
                <a:solidFill>
                  <a:srgbClr val="000000"/>
                </a:solidFill>
                <a:latin typeface="ＭＳ Ｐゴシック"/>
                <a:ea typeface="ＭＳ Ｐゴシック"/>
              </a:rPr>
              <a:t>（レジリエンス）</a:t>
            </a:r>
            <a:endParaRPr lang="en-US" altLang="ja-JP" sz="928" b="1" dirty="0">
              <a:solidFill>
                <a:srgbClr val="000000"/>
              </a:solidFill>
              <a:latin typeface="ＭＳ Ｐゴシック"/>
              <a:ea typeface="ＭＳ Ｐゴシック"/>
            </a:endParaRPr>
          </a:p>
          <a:p>
            <a:pPr algn="ctr" defTabSz="707471"/>
            <a:r>
              <a:rPr lang="ja-JP" altLang="en-US" sz="1393" dirty="0">
                <a:solidFill>
                  <a:srgbClr val="000000"/>
                </a:solidFill>
                <a:latin typeface="ＭＳ Ｐゴシック"/>
                <a:ea typeface="ＭＳ Ｐゴシック"/>
              </a:rPr>
              <a:t>の向上</a:t>
            </a:r>
          </a:p>
        </p:txBody>
      </p:sp>
      <p:sp>
        <p:nvSpPr>
          <p:cNvPr id="2" name="フッター プレースホルダー 1">
            <a:extLst>
              <a:ext uri="{FF2B5EF4-FFF2-40B4-BE49-F238E27FC236}">
                <a16:creationId xmlns:a16="http://schemas.microsoft.com/office/drawing/2014/main" id="{4EF6FB02-43EA-B094-6A17-1299E0BE9B74}"/>
              </a:ext>
            </a:extLst>
          </p:cNvPr>
          <p:cNvSpPr>
            <a:spLocks noGrp="1"/>
          </p:cNvSpPr>
          <p:nvPr>
            <p:ph type="ftr" sz="quarter" idx="11"/>
          </p:nvPr>
        </p:nvSpPr>
        <p:spPr/>
        <p:txBody>
          <a:bodyPr/>
          <a:lstStyle/>
          <a:p>
            <a:pPr>
              <a:defRPr/>
            </a:pPr>
            <a:endParaRPr lang="en-US" altLang="ja-JP"/>
          </a:p>
        </p:txBody>
      </p:sp>
      <p:sp>
        <p:nvSpPr>
          <p:cNvPr id="3" name="スライド番号プレースホルダー 2">
            <a:extLst>
              <a:ext uri="{FF2B5EF4-FFF2-40B4-BE49-F238E27FC236}">
                <a16:creationId xmlns:a16="http://schemas.microsoft.com/office/drawing/2014/main" id="{0118AF61-825B-857E-924D-CDAD00BCEC9F}"/>
              </a:ext>
            </a:extLst>
          </p:cNvPr>
          <p:cNvSpPr>
            <a:spLocks noGrp="1"/>
          </p:cNvSpPr>
          <p:nvPr>
            <p:ph type="sldNum" sz="quarter" idx="12"/>
          </p:nvPr>
        </p:nvSpPr>
        <p:spPr/>
        <p:txBody>
          <a:bodyPr/>
          <a:lstStyle/>
          <a:p>
            <a:pPr>
              <a:defRPr/>
            </a:pPr>
            <a:fld id="{9C66F1FC-77AF-4AA3-AB67-8C31B36199A9}" type="slidenum">
              <a:rPr lang="en-US" altLang="ja-JP" smtClean="0"/>
              <a:pPr>
                <a:defRPr/>
              </a:pPr>
              <a:t>12</a:t>
            </a:fld>
            <a:endParaRPr lang="en-US" altLang="ja-JP"/>
          </a:p>
        </p:txBody>
      </p:sp>
    </p:spTree>
    <p:extLst>
      <p:ext uri="{BB962C8B-B14F-4D97-AF65-F5344CB8AC3E}">
        <p14:creationId xmlns:p14="http://schemas.microsoft.com/office/powerpoint/2010/main" val="957953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98">
            <a:extLst>
              <a:ext uri="{FF2B5EF4-FFF2-40B4-BE49-F238E27FC236}">
                <a16:creationId xmlns:a16="http://schemas.microsoft.com/office/drawing/2014/main" id="{37E31043-1046-B925-3BCE-E92578FB8F77}"/>
              </a:ext>
            </a:extLst>
          </p:cNvPr>
          <p:cNvSpPr txBox="1"/>
          <p:nvPr/>
        </p:nvSpPr>
        <p:spPr>
          <a:xfrm>
            <a:off x="2863974" y="-8582"/>
            <a:ext cx="5152744" cy="528279"/>
          </a:xfrm>
          <a:prstGeom prst="rect">
            <a:avLst/>
          </a:prstGeom>
        </p:spPr>
        <p:txBody>
          <a:bodyPr anchor="t"/>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5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11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16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221"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717297">
              <a:defRPr/>
            </a:pPr>
            <a:r>
              <a:rPr lang="ja-JP" altLang="en-US" sz="2785" kern="0" dirty="0">
                <a:latin typeface="HGP創英角ｺﾞｼｯｸUB"/>
                <a:ea typeface="HGP創英角ｺﾞｼｯｸUB"/>
              </a:rPr>
              <a:t>全国的な回廊ネットワークの形成</a:t>
            </a:r>
          </a:p>
        </p:txBody>
      </p:sp>
      <p:pic>
        <p:nvPicPr>
          <p:cNvPr id="6" name="図 5"/>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a:off x="1358250" y="1362490"/>
            <a:ext cx="7855127" cy="5205121"/>
          </a:xfrm>
          <a:prstGeom prst="rect">
            <a:avLst/>
          </a:prstGeom>
        </p:spPr>
      </p:pic>
      <p:grpSp>
        <p:nvGrpSpPr>
          <p:cNvPr id="7" name="小笠原諸島"/>
          <p:cNvGrpSpPr/>
          <p:nvPr/>
        </p:nvGrpSpPr>
        <p:grpSpPr>
          <a:xfrm>
            <a:off x="7359853" y="5900325"/>
            <a:ext cx="1613889" cy="1671064"/>
            <a:chOff x="10591800" y="7315200"/>
            <a:chExt cx="2085975" cy="2159875"/>
          </a:xfrm>
        </p:grpSpPr>
        <p:pic>
          <p:nvPicPr>
            <p:cNvPr id="8" name="図 7"/>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10605231" y="7329515"/>
              <a:ext cx="1174750" cy="2145560"/>
            </a:xfrm>
            <a:prstGeom prst="rect">
              <a:avLst/>
            </a:prstGeom>
            <a:ln>
              <a:noFill/>
            </a:ln>
          </p:spPr>
        </p:pic>
        <p:sp>
          <p:nvSpPr>
            <p:cNvPr id="9" name="フリーフォーム 8"/>
            <p:cNvSpPr/>
            <p:nvPr/>
          </p:nvSpPr>
          <p:spPr>
            <a:xfrm>
              <a:off x="10591800" y="7315200"/>
              <a:ext cx="2085975" cy="1952625"/>
            </a:xfrm>
            <a:custGeom>
              <a:avLst/>
              <a:gdLst>
                <a:gd name="connsiteX0" fmla="*/ 1190625 w 1190625"/>
                <a:gd name="connsiteY0" fmla="*/ 0 h 2162175"/>
                <a:gd name="connsiteX1" fmla="*/ 0 w 1190625"/>
                <a:gd name="connsiteY1" fmla="*/ 0 h 2162175"/>
                <a:gd name="connsiteX2" fmla="*/ 0 w 1190625"/>
                <a:gd name="connsiteY2" fmla="*/ 2162175 h 2162175"/>
                <a:gd name="connsiteX0" fmla="*/ 2085975 w 2085975"/>
                <a:gd name="connsiteY0" fmla="*/ 0 h 2162175"/>
                <a:gd name="connsiteX1" fmla="*/ 0 w 2085975"/>
                <a:gd name="connsiteY1" fmla="*/ 0 h 2162175"/>
                <a:gd name="connsiteX2" fmla="*/ 0 w 2085975"/>
                <a:gd name="connsiteY2" fmla="*/ 2162175 h 2162175"/>
                <a:gd name="connsiteX0" fmla="*/ 2085975 w 2085975"/>
                <a:gd name="connsiteY0" fmla="*/ 0 h 1952625"/>
                <a:gd name="connsiteX1" fmla="*/ 0 w 2085975"/>
                <a:gd name="connsiteY1" fmla="*/ 0 h 1952625"/>
                <a:gd name="connsiteX2" fmla="*/ 0 w 2085975"/>
                <a:gd name="connsiteY2" fmla="*/ 1952625 h 1952625"/>
              </a:gdLst>
              <a:ahLst/>
              <a:cxnLst>
                <a:cxn ang="0">
                  <a:pos x="connsiteX0" y="connsiteY0"/>
                </a:cxn>
                <a:cxn ang="0">
                  <a:pos x="connsiteX1" y="connsiteY1"/>
                </a:cxn>
                <a:cxn ang="0">
                  <a:pos x="connsiteX2" y="connsiteY2"/>
                </a:cxn>
              </a:cxnLst>
              <a:rect l="l" t="t" r="r" b="b"/>
              <a:pathLst>
                <a:path w="2085975" h="1952625">
                  <a:moveTo>
                    <a:pt x="2085975" y="0"/>
                  </a:moveTo>
                  <a:lnTo>
                    <a:pt x="0" y="0"/>
                  </a:lnTo>
                  <a:lnTo>
                    <a:pt x="0" y="195262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grpSp>
      <p:grpSp>
        <p:nvGrpSpPr>
          <p:cNvPr id="10" name="南鳥島"/>
          <p:cNvGrpSpPr/>
          <p:nvPr/>
        </p:nvGrpSpPr>
        <p:grpSpPr>
          <a:xfrm>
            <a:off x="8283478" y="6642174"/>
            <a:ext cx="682894" cy="746761"/>
            <a:chOff x="11785600" y="8274050"/>
            <a:chExt cx="882650" cy="965200"/>
          </a:xfrm>
        </p:grpSpPr>
        <p:pic>
          <p:nvPicPr>
            <p:cNvPr id="11" name="図 10"/>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1788562" y="8277905"/>
              <a:ext cx="876300" cy="861060"/>
            </a:xfrm>
            <a:prstGeom prst="rect">
              <a:avLst/>
            </a:prstGeom>
            <a:ln>
              <a:noFill/>
            </a:ln>
          </p:spPr>
        </p:pic>
        <p:sp>
          <p:nvSpPr>
            <p:cNvPr id="12" name="フリーフォーム 11"/>
            <p:cNvSpPr/>
            <p:nvPr/>
          </p:nvSpPr>
          <p:spPr>
            <a:xfrm>
              <a:off x="11785600" y="8274050"/>
              <a:ext cx="882650" cy="965200"/>
            </a:xfrm>
            <a:custGeom>
              <a:avLst/>
              <a:gdLst>
                <a:gd name="connsiteX0" fmla="*/ 882650 w 882650"/>
                <a:gd name="connsiteY0" fmla="*/ 0 h 869950"/>
                <a:gd name="connsiteX1" fmla="*/ 0 w 882650"/>
                <a:gd name="connsiteY1" fmla="*/ 0 h 869950"/>
                <a:gd name="connsiteX2" fmla="*/ 0 w 882650"/>
                <a:gd name="connsiteY2" fmla="*/ 869950 h 869950"/>
                <a:gd name="connsiteX0" fmla="*/ 882650 w 882650"/>
                <a:gd name="connsiteY0" fmla="*/ 0 h 965200"/>
                <a:gd name="connsiteX1" fmla="*/ 0 w 882650"/>
                <a:gd name="connsiteY1" fmla="*/ 0 h 965200"/>
                <a:gd name="connsiteX2" fmla="*/ 0 w 882650"/>
                <a:gd name="connsiteY2" fmla="*/ 965200 h 965200"/>
              </a:gdLst>
              <a:ahLst/>
              <a:cxnLst>
                <a:cxn ang="0">
                  <a:pos x="connsiteX0" y="connsiteY0"/>
                </a:cxn>
                <a:cxn ang="0">
                  <a:pos x="connsiteX1" y="connsiteY1"/>
                </a:cxn>
                <a:cxn ang="0">
                  <a:pos x="connsiteX2" y="connsiteY2"/>
                </a:cxn>
              </a:cxnLst>
              <a:rect l="l" t="t" r="r" b="b"/>
              <a:pathLst>
                <a:path w="882650" h="965200">
                  <a:moveTo>
                    <a:pt x="882650" y="0"/>
                  </a:moveTo>
                  <a:lnTo>
                    <a:pt x="0" y="0"/>
                  </a:lnTo>
                  <a:lnTo>
                    <a:pt x="0" y="96520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grpSp>
      <p:grpSp>
        <p:nvGrpSpPr>
          <p:cNvPr id="13" name="奄美"/>
          <p:cNvGrpSpPr/>
          <p:nvPr/>
        </p:nvGrpSpPr>
        <p:grpSpPr>
          <a:xfrm>
            <a:off x="2862099" y="5155465"/>
            <a:ext cx="689844" cy="1042363"/>
            <a:chOff x="3090863" y="5853113"/>
            <a:chExt cx="1081087" cy="1633537"/>
          </a:xfrm>
        </p:grpSpPr>
        <p:pic>
          <p:nvPicPr>
            <p:cNvPr id="14" name="図 13"/>
            <p:cNvPicPr>
              <a:picLocks noChangeAspect="1"/>
            </p:cNvPicPr>
            <p:nvPr/>
          </p:nvPicPr>
          <p:blipFill rotWithShape="1">
            <a:blip r:embed="rId5" cstate="email">
              <a:extLst>
                <a:ext uri="{28A0092B-C50C-407E-A947-70E740481C1C}">
                  <a14:useLocalDpi xmlns:a14="http://schemas.microsoft.com/office/drawing/2010/main" val="0"/>
                </a:ext>
              </a:extLst>
            </a:blip>
            <a:srcRect/>
            <a:stretch/>
          </p:blipFill>
          <p:spPr>
            <a:xfrm>
              <a:off x="3097593" y="5856712"/>
              <a:ext cx="1074057" cy="1622879"/>
            </a:xfrm>
            <a:prstGeom prst="rect">
              <a:avLst/>
            </a:prstGeom>
            <a:ln>
              <a:noFill/>
            </a:ln>
          </p:spPr>
        </p:pic>
        <p:sp>
          <p:nvSpPr>
            <p:cNvPr id="15" name="フリーフォーム 14"/>
            <p:cNvSpPr/>
            <p:nvPr/>
          </p:nvSpPr>
          <p:spPr>
            <a:xfrm>
              <a:off x="3090863" y="5853113"/>
              <a:ext cx="1081087" cy="1633537"/>
            </a:xfrm>
            <a:custGeom>
              <a:avLst/>
              <a:gdLst>
                <a:gd name="connsiteX0" fmla="*/ 0 w 1081087"/>
                <a:gd name="connsiteY0" fmla="*/ 0 h 1633537"/>
                <a:gd name="connsiteX1" fmla="*/ 1081087 w 1081087"/>
                <a:gd name="connsiteY1" fmla="*/ 0 h 1633537"/>
                <a:gd name="connsiteX2" fmla="*/ 1081087 w 1081087"/>
                <a:gd name="connsiteY2" fmla="*/ 1633537 h 1633537"/>
                <a:gd name="connsiteX3" fmla="*/ 4762 w 1081087"/>
                <a:gd name="connsiteY3" fmla="*/ 1633537 h 1633537"/>
                <a:gd name="connsiteX0" fmla="*/ 0 w 1081087"/>
                <a:gd name="connsiteY0" fmla="*/ 0 h 1633537"/>
                <a:gd name="connsiteX1" fmla="*/ 1081087 w 1081087"/>
                <a:gd name="connsiteY1" fmla="*/ 0 h 1633537"/>
                <a:gd name="connsiteX2" fmla="*/ 1081087 w 1081087"/>
                <a:gd name="connsiteY2" fmla="*/ 1633537 h 1633537"/>
              </a:gdLst>
              <a:ahLst/>
              <a:cxnLst>
                <a:cxn ang="0">
                  <a:pos x="connsiteX0" y="connsiteY0"/>
                </a:cxn>
                <a:cxn ang="0">
                  <a:pos x="connsiteX1" y="connsiteY1"/>
                </a:cxn>
                <a:cxn ang="0">
                  <a:pos x="connsiteX2" y="connsiteY2"/>
                </a:cxn>
              </a:cxnLst>
              <a:rect l="l" t="t" r="r" b="b"/>
              <a:pathLst>
                <a:path w="1081087" h="1633537">
                  <a:moveTo>
                    <a:pt x="0" y="0"/>
                  </a:moveTo>
                  <a:lnTo>
                    <a:pt x="1081087" y="0"/>
                  </a:lnTo>
                  <a:lnTo>
                    <a:pt x="1081087" y="1633537"/>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grpSp>
      <p:grpSp>
        <p:nvGrpSpPr>
          <p:cNvPr id="16" name="沖縄"/>
          <p:cNvGrpSpPr/>
          <p:nvPr/>
        </p:nvGrpSpPr>
        <p:grpSpPr>
          <a:xfrm>
            <a:off x="2862013" y="6200762"/>
            <a:ext cx="689739" cy="532146"/>
            <a:chOff x="3092450" y="7588250"/>
            <a:chExt cx="1080923" cy="833952"/>
          </a:xfrm>
        </p:grpSpPr>
        <p:pic>
          <p:nvPicPr>
            <p:cNvPr id="17" name="図 16"/>
            <p:cNvPicPr>
              <a:picLocks noChangeAspect="1"/>
            </p:cNvPicPr>
            <p:nvPr/>
          </p:nvPicPr>
          <p:blipFill rotWithShape="1">
            <a:blip r:embed="rId6" cstate="email">
              <a:extLst>
                <a:ext uri="{28A0092B-C50C-407E-A947-70E740481C1C}">
                  <a14:useLocalDpi xmlns:a14="http://schemas.microsoft.com/office/drawing/2010/main" val="0"/>
                </a:ext>
              </a:extLst>
            </a:blip>
            <a:srcRect/>
            <a:stretch/>
          </p:blipFill>
          <p:spPr>
            <a:xfrm>
              <a:off x="3102762" y="7603052"/>
              <a:ext cx="1070611" cy="819150"/>
            </a:xfrm>
            <a:prstGeom prst="rect">
              <a:avLst/>
            </a:prstGeom>
            <a:ln>
              <a:noFill/>
            </a:ln>
          </p:spPr>
        </p:pic>
        <p:sp>
          <p:nvSpPr>
            <p:cNvPr id="18" name="フリーフォーム 17"/>
            <p:cNvSpPr/>
            <p:nvPr/>
          </p:nvSpPr>
          <p:spPr>
            <a:xfrm>
              <a:off x="3092450" y="7588250"/>
              <a:ext cx="1079500" cy="831850"/>
            </a:xfrm>
            <a:custGeom>
              <a:avLst/>
              <a:gdLst>
                <a:gd name="connsiteX0" fmla="*/ 0 w 1079500"/>
                <a:gd name="connsiteY0" fmla="*/ 0 h 831850"/>
                <a:gd name="connsiteX1" fmla="*/ 1079500 w 1079500"/>
                <a:gd name="connsiteY1" fmla="*/ 0 h 831850"/>
                <a:gd name="connsiteX2" fmla="*/ 1079500 w 1079500"/>
                <a:gd name="connsiteY2" fmla="*/ 831850 h 831850"/>
                <a:gd name="connsiteX3" fmla="*/ 12700 w 1079500"/>
                <a:gd name="connsiteY3" fmla="*/ 831850 h 831850"/>
                <a:gd name="connsiteX0" fmla="*/ 0 w 1079500"/>
                <a:gd name="connsiteY0" fmla="*/ 0 h 831850"/>
                <a:gd name="connsiteX1" fmla="*/ 1079500 w 1079500"/>
                <a:gd name="connsiteY1" fmla="*/ 0 h 831850"/>
                <a:gd name="connsiteX2" fmla="*/ 1079500 w 1079500"/>
                <a:gd name="connsiteY2" fmla="*/ 831850 h 831850"/>
              </a:gdLst>
              <a:ahLst/>
              <a:cxnLst>
                <a:cxn ang="0">
                  <a:pos x="connsiteX0" y="connsiteY0"/>
                </a:cxn>
                <a:cxn ang="0">
                  <a:pos x="connsiteX1" y="connsiteY1"/>
                </a:cxn>
                <a:cxn ang="0">
                  <a:pos x="connsiteX2" y="connsiteY2"/>
                </a:cxn>
              </a:cxnLst>
              <a:rect l="l" t="t" r="r" b="b"/>
              <a:pathLst>
                <a:path w="1079500" h="831850">
                  <a:moveTo>
                    <a:pt x="0" y="0"/>
                  </a:moveTo>
                  <a:lnTo>
                    <a:pt x="1079500" y="0"/>
                  </a:lnTo>
                  <a:lnTo>
                    <a:pt x="1079500" y="83185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grpSp>
      <p:grpSp>
        <p:nvGrpSpPr>
          <p:cNvPr id="19" name="大東諸島"/>
          <p:cNvGrpSpPr/>
          <p:nvPr/>
        </p:nvGrpSpPr>
        <p:grpSpPr>
          <a:xfrm>
            <a:off x="2865505" y="6736850"/>
            <a:ext cx="684471" cy="669275"/>
            <a:chOff x="3111981" y="8540750"/>
            <a:chExt cx="1072669" cy="1048854"/>
          </a:xfrm>
        </p:grpSpPr>
        <p:pic>
          <p:nvPicPr>
            <p:cNvPr id="20" name="図 19"/>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3444809" y="8545663"/>
              <a:ext cx="731520" cy="1043941"/>
            </a:xfrm>
            <a:prstGeom prst="rect">
              <a:avLst/>
            </a:prstGeom>
            <a:ln>
              <a:noFill/>
            </a:ln>
          </p:spPr>
        </p:pic>
        <p:sp>
          <p:nvSpPr>
            <p:cNvPr id="21" name="フリーフォーム 20"/>
            <p:cNvSpPr/>
            <p:nvPr/>
          </p:nvSpPr>
          <p:spPr>
            <a:xfrm>
              <a:off x="3111981" y="8540750"/>
              <a:ext cx="1072669" cy="1047749"/>
            </a:xfrm>
            <a:custGeom>
              <a:avLst/>
              <a:gdLst>
                <a:gd name="connsiteX0" fmla="*/ 0 w 749300"/>
                <a:gd name="connsiteY0" fmla="*/ 0 h 1047750"/>
                <a:gd name="connsiteX1" fmla="*/ 749300 w 749300"/>
                <a:gd name="connsiteY1" fmla="*/ 0 h 1047750"/>
                <a:gd name="connsiteX2" fmla="*/ 749300 w 749300"/>
                <a:gd name="connsiteY2" fmla="*/ 1047750 h 1047750"/>
                <a:gd name="connsiteX3" fmla="*/ 6350 w 749300"/>
                <a:gd name="connsiteY3" fmla="*/ 1047750 h 1047750"/>
                <a:gd name="connsiteX0" fmla="*/ 0 w 749300"/>
                <a:gd name="connsiteY0" fmla="*/ 0 h 1047750"/>
                <a:gd name="connsiteX1" fmla="*/ 749300 w 749300"/>
                <a:gd name="connsiteY1" fmla="*/ 0 h 1047750"/>
                <a:gd name="connsiteX2" fmla="*/ 749300 w 749300"/>
                <a:gd name="connsiteY2" fmla="*/ 1047750 h 1047750"/>
                <a:gd name="connsiteX0" fmla="*/ 0 w 1072669"/>
                <a:gd name="connsiteY0" fmla="*/ 0 h 1047750"/>
                <a:gd name="connsiteX1" fmla="*/ 1072669 w 1072669"/>
                <a:gd name="connsiteY1" fmla="*/ 0 h 1047750"/>
                <a:gd name="connsiteX2" fmla="*/ 1072669 w 1072669"/>
                <a:gd name="connsiteY2" fmla="*/ 1047750 h 1047750"/>
              </a:gdLst>
              <a:ahLst/>
              <a:cxnLst>
                <a:cxn ang="0">
                  <a:pos x="connsiteX0" y="connsiteY0"/>
                </a:cxn>
                <a:cxn ang="0">
                  <a:pos x="connsiteX1" y="connsiteY1"/>
                </a:cxn>
                <a:cxn ang="0">
                  <a:pos x="connsiteX2" y="connsiteY2"/>
                </a:cxn>
              </a:cxnLst>
              <a:rect l="l" t="t" r="r" b="b"/>
              <a:pathLst>
                <a:path w="1072669" h="1047750">
                  <a:moveTo>
                    <a:pt x="0" y="0"/>
                  </a:moveTo>
                  <a:lnTo>
                    <a:pt x="1072669" y="0"/>
                  </a:lnTo>
                  <a:lnTo>
                    <a:pt x="1072669" y="1047750"/>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grpSp>
      <p:grpSp>
        <p:nvGrpSpPr>
          <p:cNvPr id="22" name="八重山・宮古"/>
          <p:cNvGrpSpPr/>
          <p:nvPr/>
        </p:nvGrpSpPr>
        <p:grpSpPr>
          <a:xfrm>
            <a:off x="1337510" y="6201882"/>
            <a:ext cx="1404894" cy="856986"/>
            <a:chOff x="790575" y="7591425"/>
            <a:chExt cx="2201678" cy="1343025"/>
          </a:xfrm>
        </p:grpSpPr>
        <p:pic>
          <p:nvPicPr>
            <p:cNvPr id="23" name="図 22"/>
            <p:cNvPicPr>
              <a:picLocks noChangeAspect="1"/>
            </p:cNvPicPr>
            <p:nvPr/>
          </p:nvPicPr>
          <p:blipFill rotWithShape="1">
            <a:blip r:embed="rId8" cstate="email">
              <a:extLst>
                <a:ext uri="{28A0092B-C50C-407E-A947-70E740481C1C}">
                  <a14:useLocalDpi xmlns:a14="http://schemas.microsoft.com/office/drawing/2010/main" val="0"/>
                </a:ext>
              </a:extLst>
            </a:blip>
            <a:srcRect/>
            <a:stretch/>
          </p:blipFill>
          <p:spPr>
            <a:xfrm>
              <a:off x="795153" y="7603052"/>
              <a:ext cx="2197100" cy="1331398"/>
            </a:xfrm>
            <a:prstGeom prst="rect">
              <a:avLst/>
            </a:prstGeom>
            <a:ln>
              <a:noFill/>
            </a:ln>
          </p:spPr>
        </p:pic>
        <p:sp>
          <p:nvSpPr>
            <p:cNvPr id="24" name="フリーフォーム 23"/>
            <p:cNvSpPr/>
            <p:nvPr/>
          </p:nvSpPr>
          <p:spPr>
            <a:xfrm>
              <a:off x="790575" y="7591425"/>
              <a:ext cx="2200275" cy="1343025"/>
            </a:xfrm>
            <a:custGeom>
              <a:avLst/>
              <a:gdLst>
                <a:gd name="connsiteX0" fmla="*/ 0 w 2200275"/>
                <a:gd name="connsiteY0" fmla="*/ 0 h 1343025"/>
                <a:gd name="connsiteX1" fmla="*/ 2200275 w 2200275"/>
                <a:gd name="connsiteY1" fmla="*/ 0 h 1343025"/>
                <a:gd name="connsiteX2" fmla="*/ 2200275 w 2200275"/>
                <a:gd name="connsiteY2" fmla="*/ 1343025 h 1343025"/>
                <a:gd name="connsiteX3" fmla="*/ 4763 w 2200275"/>
                <a:gd name="connsiteY3" fmla="*/ 1343025 h 1343025"/>
                <a:gd name="connsiteX0" fmla="*/ 0 w 2200275"/>
                <a:gd name="connsiteY0" fmla="*/ 0 h 1343025"/>
                <a:gd name="connsiteX1" fmla="*/ 2200275 w 2200275"/>
                <a:gd name="connsiteY1" fmla="*/ 0 h 1343025"/>
                <a:gd name="connsiteX2" fmla="*/ 2200275 w 2200275"/>
                <a:gd name="connsiteY2" fmla="*/ 1343025 h 1343025"/>
              </a:gdLst>
              <a:ahLst/>
              <a:cxnLst>
                <a:cxn ang="0">
                  <a:pos x="connsiteX0" y="connsiteY0"/>
                </a:cxn>
                <a:cxn ang="0">
                  <a:pos x="connsiteX1" y="connsiteY1"/>
                </a:cxn>
                <a:cxn ang="0">
                  <a:pos x="connsiteX2" y="connsiteY2"/>
                </a:cxn>
              </a:cxnLst>
              <a:rect l="l" t="t" r="r" b="b"/>
              <a:pathLst>
                <a:path w="2200275" h="1343025">
                  <a:moveTo>
                    <a:pt x="0" y="0"/>
                  </a:moveTo>
                  <a:lnTo>
                    <a:pt x="2200275" y="0"/>
                  </a:lnTo>
                  <a:lnTo>
                    <a:pt x="2200275" y="1343025"/>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grpSp>
      <p:grpSp>
        <p:nvGrpSpPr>
          <p:cNvPr id="25" name="太平洋側"/>
          <p:cNvGrpSpPr/>
          <p:nvPr/>
        </p:nvGrpSpPr>
        <p:grpSpPr>
          <a:xfrm>
            <a:off x="3969226" y="1477939"/>
            <a:ext cx="4563172" cy="5125289"/>
            <a:chOff x="3886519" y="2855759"/>
            <a:chExt cx="5897967" cy="6624512"/>
          </a:xfrm>
          <a:effectLst/>
        </p:grpSpPr>
        <p:sp>
          <p:nvSpPr>
            <p:cNvPr id="26" name="二等辺三角形 25"/>
            <p:cNvSpPr/>
            <p:nvPr/>
          </p:nvSpPr>
          <p:spPr>
            <a:xfrm rot="1390332">
              <a:off x="8512976" y="2855759"/>
              <a:ext cx="1271510" cy="1102256"/>
            </a:xfrm>
            <a:prstGeom prst="triangle">
              <a:avLst/>
            </a:prstGeom>
            <a:solidFill>
              <a:srgbClr val="99FF99">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27" name="二等辺三角形 26"/>
            <p:cNvSpPr/>
            <p:nvPr/>
          </p:nvSpPr>
          <p:spPr>
            <a:xfrm rot="12594444">
              <a:off x="3886519" y="8567562"/>
              <a:ext cx="1024762" cy="912709"/>
            </a:xfrm>
            <a:prstGeom prst="triangle">
              <a:avLst/>
            </a:prstGeom>
            <a:solidFill>
              <a:srgbClr val="99FF99">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grpSp>
      <p:sp>
        <p:nvSpPr>
          <p:cNvPr id="28" name="フリーフォーム 27"/>
          <p:cNvSpPr/>
          <p:nvPr/>
        </p:nvSpPr>
        <p:spPr>
          <a:xfrm>
            <a:off x="4253110" y="2151007"/>
            <a:ext cx="3814649" cy="3903479"/>
          </a:xfrm>
          <a:custGeom>
            <a:avLst/>
            <a:gdLst>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466473 w 4692315"/>
              <a:gd name="connsiteY26" fmla="*/ 3934326 h 4812632"/>
              <a:gd name="connsiteX27" fmla="*/ 2550694 w 4692315"/>
              <a:gd name="connsiteY27" fmla="*/ 3922295 h 4812632"/>
              <a:gd name="connsiteX28" fmla="*/ 2610852 w 4692315"/>
              <a:gd name="connsiteY28" fmla="*/ 3910263 h 4812632"/>
              <a:gd name="connsiteX29" fmla="*/ 2646947 w 4692315"/>
              <a:gd name="connsiteY29" fmla="*/ 3898232 h 4812632"/>
              <a:gd name="connsiteX30" fmla="*/ 2719136 w 4692315"/>
              <a:gd name="connsiteY30" fmla="*/ 3886200 h 4812632"/>
              <a:gd name="connsiteX31" fmla="*/ 2815389 w 4692315"/>
              <a:gd name="connsiteY31" fmla="*/ 3862137 h 4812632"/>
              <a:gd name="connsiteX32" fmla="*/ 2887579 w 4692315"/>
              <a:gd name="connsiteY32" fmla="*/ 3838074 h 4812632"/>
              <a:gd name="connsiteX33" fmla="*/ 2923673 w 4692315"/>
              <a:gd name="connsiteY33" fmla="*/ 3826042 h 4812632"/>
              <a:gd name="connsiteX34" fmla="*/ 3019926 w 4692315"/>
              <a:gd name="connsiteY34" fmla="*/ 3801979 h 4812632"/>
              <a:gd name="connsiteX35" fmla="*/ 3116179 w 4692315"/>
              <a:gd name="connsiteY35" fmla="*/ 3777916 h 4812632"/>
              <a:gd name="connsiteX36" fmla="*/ 3164305 w 4692315"/>
              <a:gd name="connsiteY36" fmla="*/ 3765884 h 4812632"/>
              <a:gd name="connsiteX37" fmla="*/ 3236494 w 4692315"/>
              <a:gd name="connsiteY37" fmla="*/ 3741821 h 4812632"/>
              <a:gd name="connsiteX38" fmla="*/ 3272589 w 4692315"/>
              <a:gd name="connsiteY38" fmla="*/ 3729789 h 4812632"/>
              <a:gd name="connsiteX39" fmla="*/ 3344779 w 4692315"/>
              <a:gd name="connsiteY39" fmla="*/ 3693695 h 4812632"/>
              <a:gd name="connsiteX40" fmla="*/ 3380873 w 4692315"/>
              <a:gd name="connsiteY40" fmla="*/ 3657600 h 4812632"/>
              <a:gd name="connsiteX41" fmla="*/ 3453063 w 4692315"/>
              <a:gd name="connsiteY41" fmla="*/ 3609474 h 4812632"/>
              <a:gd name="connsiteX42" fmla="*/ 3513221 w 4692315"/>
              <a:gd name="connsiteY42" fmla="*/ 3573379 h 4812632"/>
              <a:gd name="connsiteX43" fmla="*/ 3573379 w 4692315"/>
              <a:gd name="connsiteY43" fmla="*/ 3513221 h 4812632"/>
              <a:gd name="connsiteX44" fmla="*/ 3597442 w 4692315"/>
              <a:gd name="connsiteY44" fmla="*/ 3477126 h 4812632"/>
              <a:gd name="connsiteX45" fmla="*/ 3669631 w 4692315"/>
              <a:gd name="connsiteY45" fmla="*/ 3429000 h 4812632"/>
              <a:gd name="connsiteX46" fmla="*/ 3741821 w 4692315"/>
              <a:gd name="connsiteY46" fmla="*/ 3368842 h 4812632"/>
              <a:gd name="connsiteX47" fmla="*/ 3789947 w 4692315"/>
              <a:gd name="connsiteY47" fmla="*/ 3296653 h 4812632"/>
              <a:gd name="connsiteX48" fmla="*/ 3814010 w 4692315"/>
              <a:gd name="connsiteY48" fmla="*/ 3260558 h 4812632"/>
              <a:gd name="connsiteX49" fmla="*/ 3838073 w 4692315"/>
              <a:gd name="connsiteY49" fmla="*/ 3188368 h 4812632"/>
              <a:gd name="connsiteX50" fmla="*/ 3886200 w 4692315"/>
              <a:gd name="connsiteY50" fmla="*/ 3116179 h 4812632"/>
              <a:gd name="connsiteX51" fmla="*/ 3922294 w 4692315"/>
              <a:gd name="connsiteY51" fmla="*/ 3007895 h 4812632"/>
              <a:gd name="connsiteX52" fmla="*/ 3934326 w 4692315"/>
              <a:gd name="connsiteY52" fmla="*/ 2971800 h 4812632"/>
              <a:gd name="connsiteX53" fmla="*/ 3946357 w 4692315"/>
              <a:gd name="connsiteY53" fmla="*/ 2791326 h 4812632"/>
              <a:gd name="connsiteX54" fmla="*/ 3958389 w 4692315"/>
              <a:gd name="connsiteY54" fmla="*/ 2755232 h 4812632"/>
              <a:gd name="connsiteX55" fmla="*/ 4006515 w 4692315"/>
              <a:gd name="connsiteY55" fmla="*/ 2683042 h 4812632"/>
              <a:gd name="connsiteX56" fmla="*/ 4054642 w 4692315"/>
              <a:gd name="connsiteY56" fmla="*/ 2622884 h 4812632"/>
              <a:gd name="connsiteX57" fmla="*/ 4078705 w 4692315"/>
              <a:gd name="connsiteY57" fmla="*/ 2586789 h 4812632"/>
              <a:gd name="connsiteX58" fmla="*/ 4090736 w 4692315"/>
              <a:gd name="connsiteY58" fmla="*/ 2550695 h 4812632"/>
              <a:gd name="connsiteX59" fmla="*/ 4114800 w 4692315"/>
              <a:gd name="connsiteY59" fmla="*/ 2526632 h 4812632"/>
              <a:gd name="connsiteX60" fmla="*/ 4150894 w 4692315"/>
              <a:gd name="connsiteY60" fmla="*/ 2454442 h 4812632"/>
              <a:gd name="connsiteX61" fmla="*/ 4162926 w 4692315"/>
              <a:gd name="connsiteY61" fmla="*/ 2418347 h 4812632"/>
              <a:gd name="connsiteX62" fmla="*/ 4211052 w 4692315"/>
              <a:gd name="connsiteY62" fmla="*/ 2358189 h 4812632"/>
              <a:gd name="connsiteX63" fmla="*/ 4247147 w 4692315"/>
              <a:gd name="connsiteY63" fmla="*/ 2237874 h 4812632"/>
              <a:gd name="connsiteX64" fmla="*/ 4259179 w 4692315"/>
              <a:gd name="connsiteY64" fmla="*/ 2201779 h 4812632"/>
              <a:gd name="connsiteX65" fmla="*/ 4271210 w 4692315"/>
              <a:gd name="connsiteY65" fmla="*/ 2165684 h 4812632"/>
              <a:gd name="connsiteX66" fmla="*/ 4295273 w 4692315"/>
              <a:gd name="connsiteY66" fmla="*/ 2129589 h 4812632"/>
              <a:gd name="connsiteX67" fmla="*/ 4319336 w 4692315"/>
              <a:gd name="connsiteY67" fmla="*/ 2057400 h 4812632"/>
              <a:gd name="connsiteX68" fmla="*/ 4331368 w 4692315"/>
              <a:gd name="connsiteY68" fmla="*/ 2021305 h 4812632"/>
              <a:gd name="connsiteX69" fmla="*/ 4343400 w 4692315"/>
              <a:gd name="connsiteY69" fmla="*/ 1985210 h 4812632"/>
              <a:gd name="connsiteX70" fmla="*/ 4367463 w 4692315"/>
              <a:gd name="connsiteY70" fmla="*/ 1792705 h 4812632"/>
              <a:gd name="connsiteX71" fmla="*/ 4391526 w 4692315"/>
              <a:gd name="connsiteY71" fmla="*/ 1395663 h 4812632"/>
              <a:gd name="connsiteX72" fmla="*/ 4403557 w 4692315"/>
              <a:gd name="connsiteY72" fmla="*/ 938463 h 4812632"/>
              <a:gd name="connsiteX73" fmla="*/ 4427621 w 4692315"/>
              <a:gd name="connsiteY73" fmla="*/ 914400 h 4812632"/>
              <a:gd name="connsiteX74" fmla="*/ 4439652 w 4692315"/>
              <a:gd name="connsiteY74" fmla="*/ 878305 h 4812632"/>
              <a:gd name="connsiteX75" fmla="*/ 4487779 w 4692315"/>
              <a:gd name="connsiteY75" fmla="*/ 818147 h 4812632"/>
              <a:gd name="connsiteX76" fmla="*/ 4511842 w 4692315"/>
              <a:gd name="connsiteY76" fmla="*/ 733926 h 4812632"/>
              <a:gd name="connsiteX77" fmla="*/ 4523873 w 4692315"/>
              <a:gd name="connsiteY77" fmla="*/ 673768 h 4812632"/>
              <a:gd name="connsiteX78" fmla="*/ 4547936 w 4692315"/>
              <a:gd name="connsiteY78" fmla="*/ 601579 h 4812632"/>
              <a:gd name="connsiteX79" fmla="*/ 4559968 w 4692315"/>
              <a:gd name="connsiteY79" fmla="*/ 565484 h 4812632"/>
              <a:gd name="connsiteX80" fmla="*/ 4584031 w 4692315"/>
              <a:gd name="connsiteY80" fmla="*/ 529389 h 4812632"/>
              <a:gd name="connsiteX81" fmla="*/ 4632157 w 4692315"/>
              <a:gd name="connsiteY81" fmla="*/ 469232 h 4812632"/>
              <a:gd name="connsiteX82" fmla="*/ 4656221 w 4692315"/>
              <a:gd name="connsiteY82" fmla="*/ 397042 h 4812632"/>
              <a:gd name="connsiteX83" fmla="*/ 4692315 w 4692315"/>
              <a:gd name="connsiteY83" fmla="*/ 336884 h 4812632"/>
              <a:gd name="connsiteX84" fmla="*/ 3970421 w 4692315"/>
              <a:gd name="connsiteY84" fmla="*/ 0 h 4812632"/>
              <a:gd name="connsiteX85" fmla="*/ 3657600 w 4692315"/>
              <a:gd name="connsiteY85" fmla="*/ 757989 h 4812632"/>
              <a:gd name="connsiteX86" fmla="*/ 3826042 w 4692315"/>
              <a:gd name="connsiteY86" fmla="*/ 1708484 h 4812632"/>
              <a:gd name="connsiteX87" fmla="*/ 3104147 w 4692315"/>
              <a:gd name="connsiteY87" fmla="*/ 2767263 h 4812632"/>
              <a:gd name="connsiteX88" fmla="*/ 2286000 w 4692315"/>
              <a:gd name="connsiteY88" fmla="*/ 3236495 h 4812632"/>
              <a:gd name="connsiteX89" fmla="*/ 649705 w 4692315"/>
              <a:gd name="connsiteY89" fmla="*/ 3597442 h 4812632"/>
              <a:gd name="connsiteX90" fmla="*/ 0 w 4692315"/>
              <a:gd name="connsiteY90" fmla="*/ 4054642 h 4812632"/>
              <a:gd name="connsiteX91" fmla="*/ 625642 w 4692315"/>
              <a:gd name="connsiteY91" fmla="*/ 4812632 h 4812632"/>
              <a:gd name="connsiteX92" fmla="*/ 589547 w 4692315"/>
              <a:gd name="connsiteY92"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466473 w 4692315"/>
              <a:gd name="connsiteY26" fmla="*/ 3934326 h 4812632"/>
              <a:gd name="connsiteX27" fmla="*/ 2550694 w 4692315"/>
              <a:gd name="connsiteY27" fmla="*/ 3922295 h 4812632"/>
              <a:gd name="connsiteX28" fmla="*/ 2610852 w 4692315"/>
              <a:gd name="connsiteY28" fmla="*/ 3910263 h 4812632"/>
              <a:gd name="connsiteX29" fmla="*/ 2646947 w 4692315"/>
              <a:gd name="connsiteY29" fmla="*/ 3898232 h 4812632"/>
              <a:gd name="connsiteX30" fmla="*/ 2719136 w 4692315"/>
              <a:gd name="connsiteY30" fmla="*/ 3886200 h 4812632"/>
              <a:gd name="connsiteX31" fmla="*/ 2815389 w 4692315"/>
              <a:gd name="connsiteY31" fmla="*/ 3862137 h 4812632"/>
              <a:gd name="connsiteX32" fmla="*/ 2887579 w 4692315"/>
              <a:gd name="connsiteY32" fmla="*/ 3838074 h 4812632"/>
              <a:gd name="connsiteX33" fmla="*/ 2923673 w 4692315"/>
              <a:gd name="connsiteY33" fmla="*/ 3826042 h 4812632"/>
              <a:gd name="connsiteX34" fmla="*/ 3019926 w 4692315"/>
              <a:gd name="connsiteY34" fmla="*/ 3801979 h 4812632"/>
              <a:gd name="connsiteX35" fmla="*/ 3116179 w 4692315"/>
              <a:gd name="connsiteY35" fmla="*/ 3777916 h 4812632"/>
              <a:gd name="connsiteX36" fmla="*/ 3164305 w 4692315"/>
              <a:gd name="connsiteY36" fmla="*/ 3765884 h 4812632"/>
              <a:gd name="connsiteX37" fmla="*/ 3236494 w 4692315"/>
              <a:gd name="connsiteY37" fmla="*/ 3741821 h 4812632"/>
              <a:gd name="connsiteX38" fmla="*/ 3272589 w 4692315"/>
              <a:gd name="connsiteY38" fmla="*/ 3729789 h 4812632"/>
              <a:gd name="connsiteX39" fmla="*/ 3344779 w 4692315"/>
              <a:gd name="connsiteY39" fmla="*/ 3693695 h 4812632"/>
              <a:gd name="connsiteX40" fmla="*/ 3380873 w 4692315"/>
              <a:gd name="connsiteY40" fmla="*/ 3657600 h 4812632"/>
              <a:gd name="connsiteX41" fmla="*/ 3453063 w 4692315"/>
              <a:gd name="connsiteY41" fmla="*/ 3609474 h 4812632"/>
              <a:gd name="connsiteX42" fmla="*/ 3513221 w 4692315"/>
              <a:gd name="connsiteY42" fmla="*/ 3573379 h 4812632"/>
              <a:gd name="connsiteX43" fmla="*/ 3573379 w 4692315"/>
              <a:gd name="connsiteY43" fmla="*/ 3513221 h 4812632"/>
              <a:gd name="connsiteX44" fmla="*/ 3597442 w 4692315"/>
              <a:gd name="connsiteY44" fmla="*/ 3477126 h 4812632"/>
              <a:gd name="connsiteX45" fmla="*/ 3741821 w 4692315"/>
              <a:gd name="connsiteY45" fmla="*/ 3368842 h 4812632"/>
              <a:gd name="connsiteX46" fmla="*/ 3789947 w 4692315"/>
              <a:gd name="connsiteY46" fmla="*/ 3296653 h 4812632"/>
              <a:gd name="connsiteX47" fmla="*/ 3814010 w 4692315"/>
              <a:gd name="connsiteY47" fmla="*/ 3260558 h 4812632"/>
              <a:gd name="connsiteX48" fmla="*/ 3838073 w 4692315"/>
              <a:gd name="connsiteY48" fmla="*/ 3188368 h 4812632"/>
              <a:gd name="connsiteX49" fmla="*/ 3886200 w 4692315"/>
              <a:gd name="connsiteY49" fmla="*/ 3116179 h 4812632"/>
              <a:gd name="connsiteX50" fmla="*/ 3922294 w 4692315"/>
              <a:gd name="connsiteY50" fmla="*/ 3007895 h 4812632"/>
              <a:gd name="connsiteX51" fmla="*/ 3934326 w 4692315"/>
              <a:gd name="connsiteY51" fmla="*/ 2971800 h 4812632"/>
              <a:gd name="connsiteX52" fmla="*/ 3946357 w 4692315"/>
              <a:gd name="connsiteY52" fmla="*/ 2791326 h 4812632"/>
              <a:gd name="connsiteX53" fmla="*/ 3958389 w 4692315"/>
              <a:gd name="connsiteY53" fmla="*/ 2755232 h 4812632"/>
              <a:gd name="connsiteX54" fmla="*/ 4006515 w 4692315"/>
              <a:gd name="connsiteY54" fmla="*/ 2683042 h 4812632"/>
              <a:gd name="connsiteX55" fmla="*/ 4054642 w 4692315"/>
              <a:gd name="connsiteY55" fmla="*/ 2622884 h 4812632"/>
              <a:gd name="connsiteX56" fmla="*/ 4078705 w 4692315"/>
              <a:gd name="connsiteY56" fmla="*/ 2586789 h 4812632"/>
              <a:gd name="connsiteX57" fmla="*/ 4090736 w 4692315"/>
              <a:gd name="connsiteY57" fmla="*/ 2550695 h 4812632"/>
              <a:gd name="connsiteX58" fmla="*/ 4114800 w 4692315"/>
              <a:gd name="connsiteY58" fmla="*/ 2526632 h 4812632"/>
              <a:gd name="connsiteX59" fmla="*/ 4150894 w 4692315"/>
              <a:gd name="connsiteY59" fmla="*/ 2454442 h 4812632"/>
              <a:gd name="connsiteX60" fmla="*/ 4162926 w 4692315"/>
              <a:gd name="connsiteY60" fmla="*/ 2418347 h 4812632"/>
              <a:gd name="connsiteX61" fmla="*/ 4211052 w 4692315"/>
              <a:gd name="connsiteY61" fmla="*/ 2358189 h 4812632"/>
              <a:gd name="connsiteX62" fmla="*/ 4247147 w 4692315"/>
              <a:gd name="connsiteY62" fmla="*/ 2237874 h 4812632"/>
              <a:gd name="connsiteX63" fmla="*/ 4259179 w 4692315"/>
              <a:gd name="connsiteY63" fmla="*/ 2201779 h 4812632"/>
              <a:gd name="connsiteX64" fmla="*/ 4271210 w 4692315"/>
              <a:gd name="connsiteY64" fmla="*/ 2165684 h 4812632"/>
              <a:gd name="connsiteX65" fmla="*/ 4295273 w 4692315"/>
              <a:gd name="connsiteY65" fmla="*/ 2129589 h 4812632"/>
              <a:gd name="connsiteX66" fmla="*/ 4319336 w 4692315"/>
              <a:gd name="connsiteY66" fmla="*/ 2057400 h 4812632"/>
              <a:gd name="connsiteX67" fmla="*/ 4331368 w 4692315"/>
              <a:gd name="connsiteY67" fmla="*/ 2021305 h 4812632"/>
              <a:gd name="connsiteX68" fmla="*/ 4343400 w 4692315"/>
              <a:gd name="connsiteY68" fmla="*/ 1985210 h 4812632"/>
              <a:gd name="connsiteX69" fmla="*/ 4367463 w 4692315"/>
              <a:gd name="connsiteY69" fmla="*/ 1792705 h 4812632"/>
              <a:gd name="connsiteX70" fmla="*/ 4391526 w 4692315"/>
              <a:gd name="connsiteY70" fmla="*/ 1395663 h 4812632"/>
              <a:gd name="connsiteX71" fmla="*/ 4403557 w 4692315"/>
              <a:gd name="connsiteY71" fmla="*/ 938463 h 4812632"/>
              <a:gd name="connsiteX72" fmla="*/ 4427621 w 4692315"/>
              <a:gd name="connsiteY72" fmla="*/ 914400 h 4812632"/>
              <a:gd name="connsiteX73" fmla="*/ 4439652 w 4692315"/>
              <a:gd name="connsiteY73" fmla="*/ 878305 h 4812632"/>
              <a:gd name="connsiteX74" fmla="*/ 4487779 w 4692315"/>
              <a:gd name="connsiteY74" fmla="*/ 818147 h 4812632"/>
              <a:gd name="connsiteX75" fmla="*/ 4511842 w 4692315"/>
              <a:gd name="connsiteY75" fmla="*/ 733926 h 4812632"/>
              <a:gd name="connsiteX76" fmla="*/ 4523873 w 4692315"/>
              <a:gd name="connsiteY76" fmla="*/ 673768 h 4812632"/>
              <a:gd name="connsiteX77" fmla="*/ 4547936 w 4692315"/>
              <a:gd name="connsiteY77" fmla="*/ 601579 h 4812632"/>
              <a:gd name="connsiteX78" fmla="*/ 4559968 w 4692315"/>
              <a:gd name="connsiteY78" fmla="*/ 565484 h 4812632"/>
              <a:gd name="connsiteX79" fmla="*/ 4584031 w 4692315"/>
              <a:gd name="connsiteY79" fmla="*/ 529389 h 4812632"/>
              <a:gd name="connsiteX80" fmla="*/ 4632157 w 4692315"/>
              <a:gd name="connsiteY80" fmla="*/ 469232 h 4812632"/>
              <a:gd name="connsiteX81" fmla="*/ 4656221 w 4692315"/>
              <a:gd name="connsiteY81" fmla="*/ 397042 h 4812632"/>
              <a:gd name="connsiteX82" fmla="*/ 4692315 w 4692315"/>
              <a:gd name="connsiteY82" fmla="*/ 336884 h 4812632"/>
              <a:gd name="connsiteX83" fmla="*/ 3970421 w 4692315"/>
              <a:gd name="connsiteY83" fmla="*/ 0 h 4812632"/>
              <a:gd name="connsiteX84" fmla="*/ 3657600 w 4692315"/>
              <a:gd name="connsiteY84" fmla="*/ 757989 h 4812632"/>
              <a:gd name="connsiteX85" fmla="*/ 3826042 w 4692315"/>
              <a:gd name="connsiteY85" fmla="*/ 1708484 h 4812632"/>
              <a:gd name="connsiteX86" fmla="*/ 3104147 w 4692315"/>
              <a:gd name="connsiteY86" fmla="*/ 2767263 h 4812632"/>
              <a:gd name="connsiteX87" fmla="*/ 2286000 w 4692315"/>
              <a:gd name="connsiteY87" fmla="*/ 3236495 h 4812632"/>
              <a:gd name="connsiteX88" fmla="*/ 649705 w 4692315"/>
              <a:gd name="connsiteY88" fmla="*/ 3597442 h 4812632"/>
              <a:gd name="connsiteX89" fmla="*/ 0 w 4692315"/>
              <a:gd name="connsiteY89" fmla="*/ 4054642 h 4812632"/>
              <a:gd name="connsiteX90" fmla="*/ 625642 w 4692315"/>
              <a:gd name="connsiteY90" fmla="*/ 4812632 h 4812632"/>
              <a:gd name="connsiteX91" fmla="*/ 589547 w 4692315"/>
              <a:gd name="connsiteY91"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466473 w 4692315"/>
              <a:gd name="connsiteY26" fmla="*/ 3934326 h 4812632"/>
              <a:gd name="connsiteX27" fmla="*/ 2550694 w 4692315"/>
              <a:gd name="connsiteY27" fmla="*/ 3922295 h 4812632"/>
              <a:gd name="connsiteX28" fmla="*/ 2610852 w 4692315"/>
              <a:gd name="connsiteY28" fmla="*/ 3910263 h 4812632"/>
              <a:gd name="connsiteX29" fmla="*/ 2646947 w 4692315"/>
              <a:gd name="connsiteY29" fmla="*/ 3898232 h 4812632"/>
              <a:gd name="connsiteX30" fmla="*/ 2719136 w 4692315"/>
              <a:gd name="connsiteY30" fmla="*/ 3886200 h 4812632"/>
              <a:gd name="connsiteX31" fmla="*/ 2815389 w 4692315"/>
              <a:gd name="connsiteY31" fmla="*/ 3862137 h 4812632"/>
              <a:gd name="connsiteX32" fmla="*/ 2887579 w 4692315"/>
              <a:gd name="connsiteY32" fmla="*/ 3838074 h 4812632"/>
              <a:gd name="connsiteX33" fmla="*/ 2923673 w 4692315"/>
              <a:gd name="connsiteY33" fmla="*/ 3826042 h 4812632"/>
              <a:gd name="connsiteX34" fmla="*/ 3019926 w 4692315"/>
              <a:gd name="connsiteY34" fmla="*/ 3801979 h 4812632"/>
              <a:gd name="connsiteX35" fmla="*/ 3116179 w 4692315"/>
              <a:gd name="connsiteY35" fmla="*/ 3777916 h 4812632"/>
              <a:gd name="connsiteX36" fmla="*/ 3164305 w 4692315"/>
              <a:gd name="connsiteY36" fmla="*/ 3765884 h 4812632"/>
              <a:gd name="connsiteX37" fmla="*/ 3236494 w 4692315"/>
              <a:gd name="connsiteY37" fmla="*/ 3741821 h 4812632"/>
              <a:gd name="connsiteX38" fmla="*/ 3272589 w 4692315"/>
              <a:gd name="connsiteY38" fmla="*/ 3729789 h 4812632"/>
              <a:gd name="connsiteX39" fmla="*/ 3344779 w 4692315"/>
              <a:gd name="connsiteY39" fmla="*/ 3693695 h 4812632"/>
              <a:gd name="connsiteX40" fmla="*/ 3453063 w 4692315"/>
              <a:gd name="connsiteY40" fmla="*/ 3609474 h 4812632"/>
              <a:gd name="connsiteX41" fmla="*/ 3513221 w 4692315"/>
              <a:gd name="connsiteY41" fmla="*/ 3573379 h 4812632"/>
              <a:gd name="connsiteX42" fmla="*/ 3573379 w 4692315"/>
              <a:gd name="connsiteY42" fmla="*/ 3513221 h 4812632"/>
              <a:gd name="connsiteX43" fmla="*/ 3597442 w 4692315"/>
              <a:gd name="connsiteY43" fmla="*/ 3477126 h 4812632"/>
              <a:gd name="connsiteX44" fmla="*/ 3741821 w 4692315"/>
              <a:gd name="connsiteY44" fmla="*/ 3368842 h 4812632"/>
              <a:gd name="connsiteX45" fmla="*/ 3789947 w 4692315"/>
              <a:gd name="connsiteY45" fmla="*/ 3296653 h 4812632"/>
              <a:gd name="connsiteX46" fmla="*/ 3814010 w 4692315"/>
              <a:gd name="connsiteY46" fmla="*/ 3260558 h 4812632"/>
              <a:gd name="connsiteX47" fmla="*/ 3838073 w 4692315"/>
              <a:gd name="connsiteY47" fmla="*/ 3188368 h 4812632"/>
              <a:gd name="connsiteX48" fmla="*/ 3886200 w 4692315"/>
              <a:gd name="connsiteY48" fmla="*/ 3116179 h 4812632"/>
              <a:gd name="connsiteX49" fmla="*/ 3922294 w 4692315"/>
              <a:gd name="connsiteY49" fmla="*/ 3007895 h 4812632"/>
              <a:gd name="connsiteX50" fmla="*/ 3934326 w 4692315"/>
              <a:gd name="connsiteY50" fmla="*/ 2971800 h 4812632"/>
              <a:gd name="connsiteX51" fmla="*/ 3946357 w 4692315"/>
              <a:gd name="connsiteY51" fmla="*/ 2791326 h 4812632"/>
              <a:gd name="connsiteX52" fmla="*/ 3958389 w 4692315"/>
              <a:gd name="connsiteY52" fmla="*/ 2755232 h 4812632"/>
              <a:gd name="connsiteX53" fmla="*/ 4006515 w 4692315"/>
              <a:gd name="connsiteY53" fmla="*/ 2683042 h 4812632"/>
              <a:gd name="connsiteX54" fmla="*/ 4054642 w 4692315"/>
              <a:gd name="connsiteY54" fmla="*/ 2622884 h 4812632"/>
              <a:gd name="connsiteX55" fmla="*/ 4078705 w 4692315"/>
              <a:gd name="connsiteY55" fmla="*/ 2586789 h 4812632"/>
              <a:gd name="connsiteX56" fmla="*/ 4090736 w 4692315"/>
              <a:gd name="connsiteY56" fmla="*/ 2550695 h 4812632"/>
              <a:gd name="connsiteX57" fmla="*/ 4114800 w 4692315"/>
              <a:gd name="connsiteY57" fmla="*/ 2526632 h 4812632"/>
              <a:gd name="connsiteX58" fmla="*/ 4150894 w 4692315"/>
              <a:gd name="connsiteY58" fmla="*/ 2454442 h 4812632"/>
              <a:gd name="connsiteX59" fmla="*/ 4162926 w 4692315"/>
              <a:gd name="connsiteY59" fmla="*/ 2418347 h 4812632"/>
              <a:gd name="connsiteX60" fmla="*/ 4211052 w 4692315"/>
              <a:gd name="connsiteY60" fmla="*/ 2358189 h 4812632"/>
              <a:gd name="connsiteX61" fmla="*/ 4247147 w 4692315"/>
              <a:gd name="connsiteY61" fmla="*/ 2237874 h 4812632"/>
              <a:gd name="connsiteX62" fmla="*/ 4259179 w 4692315"/>
              <a:gd name="connsiteY62" fmla="*/ 2201779 h 4812632"/>
              <a:gd name="connsiteX63" fmla="*/ 4271210 w 4692315"/>
              <a:gd name="connsiteY63" fmla="*/ 2165684 h 4812632"/>
              <a:gd name="connsiteX64" fmla="*/ 4295273 w 4692315"/>
              <a:gd name="connsiteY64" fmla="*/ 2129589 h 4812632"/>
              <a:gd name="connsiteX65" fmla="*/ 4319336 w 4692315"/>
              <a:gd name="connsiteY65" fmla="*/ 2057400 h 4812632"/>
              <a:gd name="connsiteX66" fmla="*/ 4331368 w 4692315"/>
              <a:gd name="connsiteY66" fmla="*/ 2021305 h 4812632"/>
              <a:gd name="connsiteX67" fmla="*/ 4343400 w 4692315"/>
              <a:gd name="connsiteY67" fmla="*/ 1985210 h 4812632"/>
              <a:gd name="connsiteX68" fmla="*/ 4367463 w 4692315"/>
              <a:gd name="connsiteY68" fmla="*/ 1792705 h 4812632"/>
              <a:gd name="connsiteX69" fmla="*/ 4391526 w 4692315"/>
              <a:gd name="connsiteY69" fmla="*/ 1395663 h 4812632"/>
              <a:gd name="connsiteX70" fmla="*/ 4403557 w 4692315"/>
              <a:gd name="connsiteY70" fmla="*/ 938463 h 4812632"/>
              <a:gd name="connsiteX71" fmla="*/ 4427621 w 4692315"/>
              <a:gd name="connsiteY71" fmla="*/ 914400 h 4812632"/>
              <a:gd name="connsiteX72" fmla="*/ 4439652 w 4692315"/>
              <a:gd name="connsiteY72" fmla="*/ 878305 h 4812632"/>
              <a:gd name="connsiteX73" fmla="*/ 4487779 w 4692315"/>
              <a:gd name="connsiteY73" fmla="*/ 818147 h 4812632"/>
              <a:gd name="connsiteX74" fmla="*/ 4511842 w 4692315"/>
              <a:gd name="connsiteY74" fmla="*/ 733926 h 4812632"/>
              <a:gd name="connsiteX75" fmla="*/ 4523873 w 4692315"/>
              <a:gd name="connsiteY75" fmla="*/ 673768 h 4812632"/>
              <a:gd name="connsiteX76" fmla="*/ 4547936 w 4692315"/>
              <a:gd name="connsiteY76" fmla="*/ 601579 h 4812632"/>
              <a:gd name="connsiteX77" fmla="*/ 4559968 w 4692315"/>
              <a:gd name="connsiteY77" fmla="*/ 565484 h 4812632"/>
              <a:gd name="connsiteX78" fmla="*/ 4584031 w 4692315"/>
              <a:gd name="connsiteY78" fmla="*/ 529389 h 4812632"/>
              <a:gd name="connsiteX79" fmla="*/ 4632157 w 4692315"/>
              <a:gd name="connsiteY79" fmla="*/ 469232 h 4812632"/>
              <a:gd name="connsiteX80" fmla="*/ 4656221 w 4692315"/>
              <a:gd name="connsiteY80" fmla="*/ 397042 h 4812632"/>
              <a:gd name="connsiteX81" fmla="*/ 4692315 w 4692315"/>
              <a:gd name="connsiteY81" fmla="*/ 336884 h 4812632"/>
              <a:gd name="connsiteX82" fmla="*/ 3970421 w 4692315"/>
              <a:gd name="connsiteY82" fmla="*/ 0 h 4812632"/>
              <a:gd name="connsiteX83" fmla="*/ 3657600 w 4692315"/>
              <a:gd name="connsiteY83" fmla="*/ 757989 h 4812632"/>
              <a:gd name="connsiteX84" fmla="*/ 3826042 w 4692315"/>
              <a:gd name="connsiteY84" fmla="*/ 1708484 h 4812632"/>
              <a:gd name="connsiteX85" fmla="*/ 3104147 w 4692315"/>
              <a:gd name="connsiteY85" fmla="*/ 2767263 h 4812632"/>
              <a:gd name="connsiteX86" fmla="*/ 2286000 w 4692315"/>
              <a:gd name="connsiteY86" fmla="*/ 3236495 h 4812632"/>
              <a:gd name="connsiteX87" fmla="*/ 649705 w 4692315"/>
              <a:gd name="connsiteY87" fmla="*/ 3597442 h 4812632"/>
              <a:gd name="connsiteX88" fmla="*/ 0 w 4692315"/>
              <a:gd name="connsiteY88" fmla="*/ 4054642 h 4812632"/>
              <a:gd name="connsiteX89" fmla="*/ 625642 w 4692315"/>
              <a:gd name="connsiteY89" fmla="*/ 4812632 h 4812632"/>
              <a:gd name="connsiteX90" fmla="*/ 589547 w 4692315"/>
              <a:gd name="connsiteY90"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466473 w 4692315"/>
              <a:gd name="connsiteY26" fmla="*/ 3934326 h 4812632"/>
              <a:gd name="connsiteX27" fmla="*/ 2550694 w 4692315"/>
              <a:gd name="connsiteY27" fmla="*/ 3922295 h 4812632"/>
              <a:gd name="connsiteX28" fmla="*/ 2610852 w 4692315"/>
              <a:gd name="connsiteY28" fmla="*/ 3910263 h 4812632"/>
              <a:gd name="connsiteX29" fmla="*/ 2646947 w 4692315"/>
              <a:gd name="connsiteY29" fmla="*/ 3898232 h 4812632"/>
              <a:gd name="connsiteX30" fmla="*/ 2719136 w 4692315"/>
              <a:gd name="connsiteY30" fmla="*/ 3886200 h 4812632"/>
              <a:gd name="connsiteX31" fmla="*/ 2815389 w 4692315"/>
              <a:gd name="connsiteY31" fmla="*/ 3862137 h 4812632"/>
              <a:gd name="connsiteX32" fmla="*/ 2887579 w 4692315"/>
              <a:gd name="connsiteY32" fmla="*/ 3838074 h 4812632"/>
              <a:gd name="connsiteX33" fmla="*/ 2923673 w 4692315"/>
              <a:gd name="connsiteY33" fmla="*/ 3826042 h 4812632"/>
              <a:gd name="connsiteX34" fmla="*/ 3019926 w 4692315"/>
              <a:gd name="connsiteY34" fmla="*/ 3801979 h 4812632"/>
              <a:gd name="connsiteX35" fmla="*/ 3116179 w 4692315"/>
              <a:gd name="connsiteY35" fmla="*/ 3777916 h 4812632"/>
              <a:gd name="connsiteX36" fmla="*/ 3164305 w 4692315"/>
              <a:gd name="connsiteY36" fmla="*/ 3765884 h 4812632"/>
              <a:gd name="connsiteX37" fmla="*/ 3236494 w 4692315"/>
              <a:gd name="connsiteY37" fmla="*/ 3741821 h 4812632"/>
              <a:gd name="connsiteX38" fmla="*/ 3344779 w 4692315"/>
              <a:gd name="connsiteY38" fmla="*/ 3693695 h 4812632"/>
              <a:gd name="connsiteX39" fmla="*/ 3453063 w 4692315"/>
              <a:gd name="connsiteY39" fmla="*/ 3609474 h 4812632"/>
              <a:gd name="connsiteX40" fmla="*/ 3513221 w 4692315"/>
              <a:gd name="connsiteY40" fmla="*/ 3573379 h 4812632"/>
              <a:gd name="connsiteX41" fmla="*/ 3573379 w 4692315"/>
              <a:gd name="connsiteY41" fmla="*/ 3513221 h 4812632"/>
              <a:gd name="connsiteX42" fmla="*/ 3597442 w 4692315"/>
              <a:gd name="connsiteY42" fmla="*/ 3477126 h 4812632"/>
              <a:gd name="connsiteX43" fmla="*/ 3741821 w 4692315"/>
              <a:gd name="connsiteY43" fmla="*/ 3368842 h 4812632"/>
              <a:gd name="connsiteX44" fmla="*/ 3789947 w 4692315"/>
              <a:gd name="connsiteY44" fmla="*/ 3296653 h 4812632"/>
              <a:gd name="connsiteX45" fmla="*/ 3814010 w 4692315"/>
              <a:gd name="connsiteY45" fmla="*/ 3260558 h 4812632"/>
              <a:gd name="connsiteX46" fmla="*/ 3838073 w 4692315"/>
              <a:gd name="connsiteY46" fmla="*/ 3188368 h 4812632"/>
              <a:gd name="connsiteX47" fmla="*/ 3886200 w 4692315"/>
              <a:gd name="connsiteY47" fmla="*/ 3116179 h 4812632"/>
              <a:gd name="connsiteX48" fmla="*/ 3922294 w 4692315"/>
              <a:gd name="connsiteY48" fmla="*/ 3007895 h 4812632"/>
              <a:gd name="connsiteX49" fmla="*/ 3934326 w 4692315"/>
              <a:gd name="connsiteY49" fmla="*/ 2971800 h 4812632"/>
              <a:gd name="connsiteX50" fmla="*/ 3946357 w 4692315"/>
              <a:gd name="connsiteY50" fmla="*/ 2791326 h 4812632"/>
              <a:gd name="connsiteX51" fmla="*/ 3958389 w 4692315"/>
              <a:gd name="connsiteY51" fmla="*/ 2755232 h 4812632"/>
              <a:gd name="connsiteX52" fmla="*/ 4006515 w 4692315"/>
              <a:gd name="connsiteY52" fmla="*/ 2683042 h 4812632"/>
              <a:gd name="connsiteX53" fmla="*/ 4054642 w 4692315"/>
              <a:gd name="connsiteY53" fmla="*/ 2622884 h 4812632"/>
              <a:gd name="connsiteX54" fmla="*/ 4078705 w 4692315"/>
              <a:gd name="connsiteY54" fmla="*/ 2586789 h 4812632"/>
              <a:gd name="connsiteX55" fmla="*/ 4090736 w 4692315"/>
              <a:gd name="connsiteY55" fmla="*/ 2550695 h 4812632"/>
              <a:gd name="connsiteX56" fmla="*/ 4114800 w 4692315"/>
              <a:gd name="connsiteY56" fmla="*/ 2526632 h 4812632"/>
              <a:gd name="connsiteX57" fmla="*/ 4150894 w 4692315"/>
              <a:gd name="connsiteY57" fmla="*/ 2454442 h 4812632"/>
              <a:gd name="connsiteX58" fmla="*/ 4162926 w 4692315"/>
              <a:gd name="connsiteY58" fmla="*/ 2418347 h 4812632"/>
              <a:gd name="connsiteX59" fmla="*/ 4211052 w 4692315"/>
              <a:gd name="connsiteY59" fmla="*/ 2358189 h 4812632"/>
              <a:gd name="connsiteX60" fmla="*/ 4247147 w 4692315"/>
              <a:gd name="connsiteY60" fmla="*/ 2237874 h 4812632"/>
              <a:gd name="connsiteX61" fmla="*/ 4259179 w 4692315"/>
              <a:gd name="connsiteY61" fmla="*/ 2201779 h 4812632"/>
              <a:gd name="connsiteX62" fmla="*/ 4271210 w 4692315"/>
              <a:gd name="connsiteY62" fmla="*/ 2165684 h 4812632"/>
              <a:gd name="connsiteX63" fmla="*/ 4295273 w 4692315"/>
              <a:gd name="connsiteY63" fmla="*/ 2129589 h 4812632"/>
              <a:gd name="connsiteX64" fmla="*/ 4319336 w 4692315"/>
              <a:gd name="connsiteY64" fmla="*/ 2057400 h 4812632"/>
              <a:gd name="connsiteX65" fmla="*/ 4331368 w 4692315"/>
              <a:gd name="connsiteY65" fmla="*/ 2021305 h 4812632"/>
              <a:gd name="connsiteX66" fmla="*/ 4343400 w 4692315"/>
              <a:gd name="connsiteY66" fmla="*/ 1985210 h 4812632"/>
              <a:gd name="connsiteX67" fmla="*/ 4367463 w 4692315"/>
              <a:gd name="connsiteY67" fmla="*/ 1792705 h 4812632"/>
              <a:gd name="connsiteX68" fmla="*/ 4391526 w 4692315"/>
              <a:gd name="connsiteY68" fmla="*/ 1395663 h 4812632"/>
              <a:gd name="connsiteX69" fmla="*/ 4403557 w 4692315"/>
              <a:gd name="connsiteY69" fmla="*/ 938463 h 4812632"/>
              <a:gd name="connsiteX70" fmla="*/ 4427621 w 4692315"/>
              <a:gd name="connsiteY70" fmla="*/ 914400 h 4812632"/>
              <a:gd name="connsiteX71" fmla="*/ 4439652 w 4692315"/>
              <a:gd name="connsiteY71" fmla="*/ 878305 h 4812632"/>
              <a:gd name="connsiteX72" fmla="*/ 4487779 w 4692315"/>
              <a:gd name="connsiteY72" fmla="*/ 818147 h 4812632"/>
              <a:gd name="connsiteX73" fmla="*/ 4511842 w 4692315"/>
              <a:gd name="connsiteY73" fmla="*/ 733926 h 4812632"/>
              <a:gd name="connsiteX74" fmla="*/ 4523873 w 4692315"/>
              <a:gd name="connsiteY74" fmla="*/ 673768 h 4812632"/>
              <a:gd name="connsiteX75" fmla="*/ 4547936 w 4692315"/>
              <a:gd name="connsiteY75" fmla="*/ 601579 h 4812632"/>
              <a:gd name="connsiteX76" fmla="*/ 4559968 w 4692315"/>
              <a:gd name="connsiteY76" fmla="*/ 565484 h 4812632"/>
              <a:gd name="connsiteX77" fmla="*/ 4584031 w 4692315"/>
              <a:gd name="connsiteY77" fmla="*/ 529389 h 4812632"/>
              <a:gd name="connsiteX78" fmla="*/ 4632157 w 4692315"/>
              <a:gd name="connsiteY78" fmla="*/ 469232 h 4812632"/>
              <a:gd name="connsiteX79" fmla="*/ 4656221 w 4692315"/>
              <a:gd name="connsiteY79" fmla="*/ 397042 h 4812632"/>
              <a:gd name="connsiteX80" fmla="*/ 4692315 w 4692315"/>
              <a:gd name="connsiteY80" fmla="*/ 336884 h 4812632"/>
              <a:gd name="connsiteX81" fmla="*/ 3970421 w 4692315"/>
              <a:gd name="connsiteY81" fmla="*/ 0 h 4812632"/>
              <a:gd name="connsiteX82" fmla="*/ 3657600 w 4692315"/>
              <a:gd name="connsiteY82" fmla="*/ 757989 h 4812632"/>
              <a:gd name="connsiteX83" fmla="*/ 3826042 w 4692315"/>
              <a:gd name="connsiteY83" fmla="*/ 1708484 h 4812632"/>
              <a:gd name="connsiteX84" fmla="*/ 3104147 w 4692315"/>
              <a:gd name="connsiteY84" fmla="*/ 2767263 h 4812632"/>
              <a:gd name="connsiteX85" fmla="*/ 2286000 w 4692315"/>
              <a:gd name="connsiteY85" fmla="*/ 3236495 h 4812632"/>
              <a:gd name="connsiteX86" fmla="*/ 649705 w 4692315"/>
              <a:gd name="connsiteY86" fmla="*/ 3597442 h 4812632"/>
              <a:gd name="connsiteX87" fmla="*/ 0 w 4692315"/>
              <a:gd name="connsiteY87" fmla="*/ 4054642 h 4812632"/>
              <a:gd name="connsiteX88" fmla="*/ 625642 w 4692315"/>
              <a:gd name="connsiteY88" fmla="*/ 4812632 h 4812632"/>
              <a:gd name="connsiteX89" fmla="*/ 589547 w 4692315"/>
              <a:gd name="connsiteY89"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466473 w 4692315"/>
              <a:gd name="connsiteY26" fmla="*/ 3934326 h 4812632"/>
              <a:gd name="connsiteX27" fmla="*/ 2550694 w 4692315"/>
              <a:gd name="connsiteY27" fmla="*/ 3922295 h 4812632"/>
              <a:gd name="connsiteX28" fmla="*/ 2610852 w 4692315"/>
              <a:gd name="connsiteY28" fmla="*/ 3910263 h 4812632"/>
              <a:gd name="connsiteX29" fmla="*/ 2646947 w 4692315"/>
              <a:gd name="connsiteY29" fmla="*/ 3898232 h 4812632"/>
              <a:gd name="connsiteX30" fmla="*/ 2719136 w 4692315"/>
              <a:gd name="connsiteY30" fmla="*/ 3886200 h 4812632"/>
              <a:gd name="connsiteX31" fmla="*/ 2815389 w 4692315"/>
              <a:gd name="connsiteY31" fmla="*/ 3862137 h 4812632"/>
              <a:gd name="connsiteX32" fmla="*/ 2887579 w 4692315"/>
              <a:gd name="connsiteY32" fmla="*/ 3838074 h 4812632"/>
              <a:gd name="connsiteX33" fmla="*/ 2923673 w 4692315"/>
              <a:gd name="connsiteY33" fmla="*/ 3826042 h 4812632"/>
              <a:gd name="connsiteX34" fmla="*/ 3019926 w 4692315"/>
              <a:gd name="connsiteY34" fmla="*/ 3801979 h 4812632"/>
              <a:gd name="connsiteX35" fmla="*/ 3116179 w 4692315"/>
              <a:gd name="connsiteY35" fmla="*/ 3777916 h 4812632"/>
              <a:gd name="connsiteX36" fmla="*/ 3164305 w 4692315"/>
              <a:gd name="connsiteY36" fmla="*/ 3765884 h 4812632"/>
              <a:gd name="connsiteX37" fmla="*/ 3344779 w 4692315"/>
              <a:gd name="connsiteY37" fmla="*/ 3693695 h 4812632"/>
              <a:gd name="connsiteX38" fmla="*/ 3453063 w 4692315"/>
              <a:gd name="connsiteY38" fmla="*/ 3609474 h 4812632"/>
              <a:gd name="connsiteX39" fmla="*/ 3513221 w 4692315"/>
              <a:gd name="connsiteY39" fmla="*/ 3573379 h 4812632"/>
              <a:gd name="connsiteX40" fmla="*/ 3573379 w 4692315"/>
              <a:gd name="connsiteY40" fmla="*/ 3513221 h 4812632"/>
              <a:gd name="connsiteX41" fmla="*/ 3597442 w 4692315"/>
              <a:gd name="connsiteY41" fmla="*/ 3477126 h 4812632"/>
              <a:gd name="connsiteX42" fmla="*/ 3741821 w 4692315"/>
              <a:gd name="connsiteY42" fmla="*/ 3368842 h 4812632"/>
              <a:gd name="connsiteX43" fmla="*/ 3789947 w 4692315"/>
              <a:gd name="connsiteY43" fmla="*/ 3296653 h 4812632"/>
              <a:gd name="connsiteX44" fmla="*/ 3814010 w 4692315"/>
              <a:gd name="connsiteY44" fmla="*/ 3260558 h 4812632"/>
              <a:gd name="connsiteX45" fmla="*/ 3838073 w 4692315"/>
              <a:gd name="connsiteY45" fmla="*/ 3188368 h 4812632"/>
              <a:gd name="connsiteX46" fmla="*/ 3886200 w 4692315"/>
              <a:gd name="connsiteY46" fmla="*/ 3116179 h 4812632"/>
              <a:gd name="connsiteX47" fmla="*/ 3922294 w 4692315"/>
              <a:gd name="connsiteY47" fmla="*/ 3007895 h 4812632"/>
              <a:gd name="connsiteX48" fmla="*/ 3934326 w 4692315"/>
              <a:gd name="connsiteY48" fmla="*/ 2971800 h 4812632"/>
              <a:gd name="connsiteX49" fmla="*/ 3946357 w 4692315"/>
              <a:gd name="connsiteY49" fmla="*/ 2791326 h 4812632"/>
              <a:gd name="connsiteX50" fmla="*/ 3958389 w 4692315"/>
              <a:gd name="connsiteY50" fmla="*/ 2755232 h 4812632"/>
              <a:gd name="connsiteX51" fmla="*/ 4006515 w 4692315"/>
              <a:gd name="connsiteY51" fmla="*/ 2683042 h 4812632"/>
              <a:gd name="connsiteX52" fmla="*/ 4054642 w 4692315"/>
              <a:gd name="connsiteY52" fmla="*/ 2622884 h 4812632"/>
              <a:gd name="connsiteX53" fmla="*/ 4078705 w 4692315"/>
              <a:gd name="connsiteY53" fmla="*/ 2586789 h 4812632"/>
              <a:gd name="connsiteX54" fmla="*/ 4090736 w 4692315"/>
              <a:gd name="connsiteY54" fmla="*/ 2550695 h 4812632"/>
              <a:gd name="connsiteX55" fmla="*/ 4114800 w 4692315"/>
              <a:gd name="connsiteY55" fmla="*/ 2526632 h 4812632"/>
              <a:gd name="connsiteX56" fmla="*/ 4150894 w 4692315"/>
              <a:gd name="connsiteY56" fmla="*/ 2454442 h 4812632"/>
              <a:gd name="connsiteX57" fmla="*/ 4162926 w 4692315"/>
              <a:gd name="connsiteY57" fmla="*/ 2418347 h 4812632"/>
              <a:gd name="connsiteX58" fmla="*/ 4211052 w 4692315"/>
              <a:gd name="connsiteY58" fmla="*/ 2358189 h 4812632"/>
              <a:gd name="connsiteX59" fmla="*/ 4247147 w 4692315"/>
              <a:gd name="connsiteY59" fmla="*/ 2237874 h 4812632"/>
              <a:gd name="connsiteX60" fmla="*/ 4259179 w 4692315"/>
              <a:gd name="connsiteY60" fmla="*/ 2201779 h 4812632"/>
              <a:gd name="connsiteX61" fmla="*/ 4271210 w 4692315"/>
              <a:gd name="connsiteY61" fmla="*/ 2165684 h 4812632"/>
              <a:gd name="connsiteX62" fmla="*/ 4295273 w 4692315"/>
              <a:gd name="connsiteY62" fmla="*/ 2129589 h 4812632"/>
              <a:gd name="connsiteX63" fmla="*/ 4319336 w 4692315"/>
              <a:gd name="connsiteY63" fmla="*/ 2057400 h 4812632"/>
              <a:gd name="connsiteX64" fmla="*/ 4331368 w 4692315"/>
              <a:gd name="connsiteY64" fmla="*/ 2021305 h 4812632"/>
              <a:gd name="connsiteX65" fmla="*/ 4343400 w 4692315"/>
              <a:gd name="connsiteY65" fmla="*/ 1985210 h 4812632"/>
              <a:gd name="connsiteX66" fmla="*/ 4367463 w 4692315"/>
              <a:gd name="connsiteY66" fmla="*/ 1792705 h 4812632"/>
              <a:gd name="connsiteX67" fmla="*/ 4391526 w 4692315"/>
              <a:gd name="connsiteY67" fmla="*/ 1395663 h 4812632"/>
              <a:gd name="connsiteX68" fmla="*/ 4403557 w 4692315"/>
              <a:gd name="connsiteY68" fmla="*/ 938463 h 4812632"/>
              <a:gd name="connsiteX69" fmla="*/ 4427621 w 4692315"/>
              <a:gd name="connsiteY69" fmla="*/ 914400 h 4812632"/>
              <a:gd name="connsiteX70" fmla="*/ 4439652 w 4692315"/>
              <a:gd name="connsiteY70" fmla="*/ 878305 h 4812632"/>
              <a:gd name="connsiteX71" fmla="*/ 4487779 w 4692315"/>
              <a:gd name="connsiteY71" fmla="*/ 818147 h 4812632"/>
              <a:gd name="connsiteX72" fmla="*/ 4511842 w 4692315"/>
              <a:gd name="connsiteY72" fmla="*/ 733926 h 4812632"/>
              <a:gd name="connsiteX73" fmla="*/ 4523873 w 4692315"/>
              <a:gd name="connsiteY73" fmla="*/ 673768 h 4812632"/>
              <a:gd name="connsiteX74" fmla="*/ 4547936 w 4692315"/>
              <a:gd name="connsiteY74" fmla="*/ 601579 h 4812632"/>
              <a:gd name="connsiteX75" fmla="*/ 4559968 w 4692315"/>
              <a:gd name="connsiteY75" fmla="*/ 565484 h 4812632"/>
              <a:gd name="connsiteX76" fmla="*/ 4584031 w 4692315"/>
              <a:gd name="connsiteY76" fmla="*/ 529389 h 4812632"/>
              <a:gd name="connsiteX77" fmla="*/ 4632157 w 4692315"/>
              <a:gd name="connsiteY77" fmla="*/ 469232 h 4812632"/>
              <a:gd name="connsiteX78" fmla="*/ 4656221 w 4692315"/>
              <a:gd name="connsiteY78" fmla="*/ 397042 h 4812632"/>
              <a:gd name="connsiteX79" fmla="*/ 4692315 w 4692315"/>
              <a:gd name="connsiteY79" fmla="*/ 336884 h 4812632"/>
              <a:gd name="connsiteX80" fmla="*/ 3970421 w 4692315"/>
              <a:gd name="connsiteY80" fmla="*/ 0 h 4812632"/>
              <a:gd name="connsiteX81" fmla="*/ 3657600 w 4692315"/>
              <a:gd name="connsiteY81" fmla="*/ 757989 h 4812632"/>
              <a:gd name="connsiteX82" fmla="*/ 3826042 w 4692315"/>
              <a:gd name="connsiteY82" fmla="*/ 1708484 h 4812632"/>
              <a:gd name="connsiteX83" fmla="*/ 3104147 w 4692315"/>
              <a:gd name="connsiteY83" fmla="*/ 2767263 h 4812632"/>
              <a:gd name="connsiteX84" fmla="*/ 2286000 w 4692315"/>
              <a:gd name="connsiteY84" fmla="*/ 3236495 h 4812632"/>
              <a:gd name="connsiteX85" fmla="*/ 649705 w 4692315"/>
              <a:gd name="connsiteY85" fmla="*/ 3597442 h 4812632"/>
              <a:gd name="connsiteX86" fmla="*/ 0 w 4692315"/>
              <a:gd name="connsiteY86" fmla="*/ 4054642 h 4812632"/>
              <a:gd name="connsiteX87" fmla="*/ 625642 w 4692315"/>
              <a:gd name="connsiteY87" fmla="*/ 4812632 h 4812632"/>
              <a:gd name="connsiteX88" fmla="*/ 589547 w 4692315"/>
              <a:gd name="connsiteY88"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466473 w 4692315"/>
              <a:gd name="connsiteY26" fmla="*/ 3934326 h 4812632"/>
              <a:gd name="connsiteX27" fmla="*/ 2550694 w 4692315"/>
              <a:gd name="connsiteY27" fmla="*/ 3922295 h 4812632"/>
              <a:gd name="connsiteX28" fmla="*/ 2610852 w 4692315"/>
              <a:gd name="connsiteY28" fmla="*/ 3910263 h 4812632"/>
              <a:gd name="connsiteX29" fmla="*/ 2646947 w 4692315"/>
              <a:gd name="connsiteY29" fmla="*/ 3898232 h 4812632"/>
              <a:gd name="connsiteX30" fmla="*/ 2719136 w 4692315"/>
              <a:gd name="connsiteY30" fmla="*/ 3886200 h 4812632"/>
              <a:gd name="connsiteX31" fmla="*/ 2815389 w 4692315"/>
              <a:gd name="connsiteY31" fmla="*/ 3862137 h 4812632"/>
              <a:gd name="connsiteX32" fmla="*/ 2887579 w 4692315"/>
              <a:gd name="connsiteY32" fmla="*/ 3838074 h 4812632"/>
              <a:gd name="connsiteX33" fmla="*/ 2923673 w 4692315"/>
              <a:gd name="connsiteY33" fmla="*/ 3826042 h 4812632"/>
              <a:gd name="connsiteX34" fmla="*/ 3019926 w 4692315"/>
              <a:gd name="connsiteY34" fmla="*/ 3801979 h 4812632"/>
              <a:gd name="connsiteX35" fmla="*/ 3164305 w 4692315"/>
              <a:gd name="connsiteY35" fmla="*/ 3765884 h 4812632"/>
              <a:gd name="connsiteX36" fmla="*/ 3344779 w 4692315"/>
              <a:gd name="connsiteY36" fmla="*/ 3693695 h 4812632"/>
              <a:gd name="connsiteX37" fmla="*/ 3453063 w 4692315"/>
              <a:gd name="connsiteY37" fmla="*/ 3609474 h 4812632"/>
              <a:gd name="connsiteX38" fmla="*/ 3513221 w 4692315"/>
              <a:gd name="connsiteY38" fmla="*/ 3573379 h 4812632"/>
              <a:gd name="connsiteX39" fmla="*/ 3573379 w 4692315"/>
              <a:gd name="connsiteY39" fmla="*/ 3513221 h 4812632"/>
              <a:gd name="connsiteX40" fmla="*/ 3597442 w 4692315"/>
              <a:gd name="connsiteY40" fmla="*/ 3477126 h 4812632"/>
              <a:gd name="connsiteX41" fmla="*/ 3741821 w 4692315"/>
              <a:gd name="connsiteY41" fmla="*/ 3368842 h 4812632"/>
              <a:gd name="connsiteX42" fmla="*/ 3789947 w 4692315"/>
              <a:gd name="connsiteY42" fmla="*/ 3296653 h 4812632"/>
              <a:gd name="connsiteX43" fmla="*/ 3814010 w 4692315"/>
              <a:gd name="connsiteY43" fmla="*/ 3260558 h 4812632"/>
              <a:gd name="connsiteX44" fmla="*/ 3838073 w 4692315"/>
              <a:gd name="connsiteY44" fmla="*/ 3188368 h 4812632"/>
              <a:gd name="connsiteX45" fmla="*/ 3886200 w 4692315"/>
              <a:gd name="connsiteY45" fmla="*/ 3116179 h 4812632"/>
              <a:gd name="connsiteX46" fmla="*/ 3922294 w 4692315"/>
              <a:gd name="connsiteY46" fmla="*/ 3007895 h 4812632"/>
              <a:gd name="connsiteX47" fmla="*/ 3934326 w 4692315"/>
              <a:gd name="connsiteY47" fmla="*/ 2971800 h 4812632"/>
              <a:gd name="connsiteX48" fmla="*/ 3946357 w 4692315"/>
              <a:gd name="connsiteY48" fmla="*/ 2791326 h 4812632"/>
              <a:gd name="connsiteX49" fmla="*/ 3958389 w 4692315"/>
              <a:gd name="connsiteY49" fmla="*/ 2755232 h 4812632"/>
              <a:gd name="connsiteX50" fmla="*/ 4006515 w 4692315"/>
              <a:gd name="connsiteY50" fmla="*/ 2683042 h 4812632"/>
              <a:gd name="connsiteX51" fmla="*/ 4054642 w 4692315"/>
              <a:gd name="connsiteY51" fmla="*/ 2622884 h 4812632"/>
              <a:gd name="connsiteX52" fmla="*/ 4078705 w 4692315"/>
              <a:gd name="connsiteY52" fmla="*/ 2586789 h 4812632"/>
              <a:gd name="connsiteX53" fmla="*/ 4090736 w 4692315"/>
              <a:gd name="connsiteY53" fmla="*/ 2550695 h 4812632"/>
              <a:gd name="connsiteX54" fmla="*/ 4114800 w 4692315"/>
              <a:gd name="connsiteY54" fmla="*/ 2526632 h 4812632"/>
              <a:gd name="connsiteX55" fmla="*/ 4150894 w 4692315"/>
              <a:gd name="connsiteY55" fmla="*/ 2454442 h 4812632"/>
              <a:gd name="connsiteX56" fmla="*/ 4162926 w 4692315"/>
              <a:gd name="connsiteY56" fmla="*/ 2418347 h 4812632"/>
              <a:gd name="connsiteX57" fmla="*/ 4211052 w 4692315"/>
              <a:gd name="connsiteY57" fmla="*/ 2358189 h 4812632"/>
              <a:gd name="connsiteX58" fmla="*/ 4247147 w 4692315"/>
              <a:gd name="connsiteY58" fmla="*/ 2237874 h 4812632"/>
              <a:gd name="connsiteX59" fmla="*/ 4259179 w 4692315"/>
              <a:gd name="connsiteY59" fmla="*/ 2201779 h 4812632"/>
              <a:gd name="connsiteX60" fmla="*/ 4271210 w 4692315"/>
              <a:gd name="connsiteY60" fmla="*/ 2165684 h 4812632"/>
              <a:gd name="connsiteX61" fmla="*/ 4295273 w 4692315"/>
              <a:gd name="connsiteY61" fmla="*/ 2129589 h 4812632"/>
              <a:gd name="connsiteX62" fmla="*/ 4319336 w 4692315"/>
              <a:gd name="connsiteY62" fmla="*/ 2057400 h 4812632"/>
              <a:gd name="connsiteX63" fmla="*/ 4331368 w 4692315"/>
              <a:gd name="connsiteY63" fmla="*/ 2021305 h 4812632"/>
              <a:gd name="connsiteX64" fmla="*/ 4343400 w 4692315"/>
              <a:gd name="connsiteY64" fmla="*/ 1985210 h 4812632"/>
              <a:gd name="connsiteX65" fmla="*/ 4367463 w 4692315"/>
              <a:gd name="connsiteY65" fmla="*/ 1792705 h 4812632"/>
              <a:gd name="connsiteX66" fmla="*/ 4391526 w 4692315"/>
              <a:gd name="connsiteY66" fmla="*/ 1395663 h 4812632"/>
              <a:gd name="connsiteX67" fmla="*/ 4403557 w 4692315"/>
              <a:gd name="connsiteY67" fmla="*/ 938463 h 4812632"/>
              <a:gd name="connsiteX68" fmla="*/ 4427621 w 4692315"/>
              <a:gd name="connsiteY68" fmla="*/ 914400 h 4812632"/>
              <a:gd name="connsiteX69" fmla="*/ 4439652 w 4692315"/>
              <a:gd name="connsiteY69" fmla="*/ 878305 h 4812632"/>
              <a:gd name="connsiteX70" fmla="*/ 4487779 w 4692315"/>
              <a:gd name="connsiteY70" fmla="*/ 818147 h 4812632"/>
              <a:gd name="connsiteX71" fmla="*/ 4511842 w 4692315"/>
              <a:gd name="connsiteY71" fmla="*/ 733926 h 4812632"/>
              <a:gd name="connsiteX72" fmla="*/ 4523873 w 4692315"/>
              <a:gd name="connsiteY72" fmla="*/ 673768 h 4812632"/>
              <a:gd name="connsiteX73" fmla="*/ 4547936 w 4692315"/>
              <a:gd name="connsiteY73" fmla="*/ 601579 h 4812632"/>
              <a:gd name="connsiteX74" fmla="*/ 4559968 w 4692315"/>
              <a:gd name="connsiteY74" fmla="*/ 565484 h 4812632"/>
              <a:gd name="connsiteX75" fmla="*/ 4584031 w 4692315"/>
              <a:gd name="connsiteY75" fmla="*/ 529389 h 4812632"/>
              <a:gd name="connsiteX76" fmla="*/ 4632157 w 4692315"/>
              <a:gd name="connsiteY76" fmla="*/ 469232 h 4812632"/>
              <a:gd name="connsiteX77" fmla="*/ 4656221 w 4692315"/>
              <a:gd name="connsiteY77" fmla="*/ 397042 h 4812632"/>
              <a:gd name="connsiteX78" fmla="*/ 4692315 w 4692315"/>
              <a:gd name="connsiteY78" fmla="*/ 336884 h 4812632"/>
              <a:gd name="connsiteX79" fmla="*/ 3970421 w 4692315"/>
              <a:gd name="connsiteY79" fmla="*/ 0 h 4812632"/>
              <a:gd name="connsiteX80" fmla="*/ 3657600 w 4692315"/>
              <a:gd name="connsiteY80" fmla="*/ 757989 h 4812632"/>
              <a:gd name="connsiteX81" fmla="*/ 3826042 w 4692315"/>
              <a:gd name="connsiteY81" fmla="*/ 1708484 h 4812632"/>
              <a:gd name="connsiteX82" fmla="*/ 3104147 w 4692315"/>
              <a:gd name="connsiteY82" fmla="*/ 2767263 h 4812632"/>
              <a:gd name="connsiteX83" fmla="*/ 2286000 w 4692315"/>
              <a:gd name="connsiteY83" fmla="*/ 3236495 h 4812632"/>
              <a:gd name="connsiteX84" fmla="*/ 649705 w 4692315"/>
              <a:gd name="connsiteY84" fmla="*/ 3597442 h 4812632"/>
              <a:gd name="connsiteX85" fmla="*/ 0 w 4692315"/>
              <a:gd name="connsiteY85" fmla="*/ 4054642 h 4812632"/>
              <a:gd name="connsiteX86" fmla="*/ 625642 w 4692315"/>
              <a:gd name="connsiteY86" fmla="*/ 4812632 h 4812632"/>
              <a:gd name="connsiteX87" fmla="*/ 589547 w 4692315"/>
              <a:gd name="connsiteY87"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466473 w 4692315"/>
              <a:gd name="connsiteY26" fmla="*/ 3934326 h 4812632"/>
              <a:gd name="connsiteX27" fmla="*/ 2550694 w 4692315"/>
              <a:gd name="connsiteY27" fmla="*/ 3922295 h 4812632"/>
              <a:gd name="connsiteX28" fmla="*/ 2610852 w 4692315"/>
              <a:gd name="connsiteY28" fmla="*/ 3910263 h 4812632"/>
              <a:gd name="connsiteX29" fmla="*/ 2646947 w 4692315"/>
              <a:gd name="connsiteY29" fmla="*/ 3898232 h 4812632"/>
              <a:gd name="connsiteX30" fmla="*/ 2719136 w 4692315"/>
              <a:gd name="connsiteY30" fmla="*/ 3886200 h 4812632"/>
              <a:gd name="connsiteX31" fmla="*/ 2815389 w 4692315"/>
              <a:gd name="connsiteY31" fmla="*/ 3862137 h 4812632"/>
              <a:gd name="connsiteX32" fmla="*/ 2887579 w 4692315"/>
              <a:gd name="connsiteY32" fmla="*/ 3838074 h 4812632"/>
              <a:gd name="connsiteX33" fmla="*/ 3019926 w 4692315"/>
              <a:gd name="connsiteY33" fmla="*/ 3801979 h 4812632"/>
              <a:gd name="connsiteX34" fmla="*/ 3164305 w 4692315"/>
              <a:gd name="connsiteY34" fmla="*/ 3765884 h 4812632"/>
              <a:gd name="connsiteX35" fmla="*/ 3344779 w 4692315"/>
              <a:gd name="connsiteY35" fmla="*/ 3693695 h 4812632"/>
              <a:gd name="connsiteX36" fmla="*/ 3453063 w 4692315"/>
              <a:gd name="connsiteY36" fmla="*/ 3609474 h 4812632"/>
              <a:gd name="connsiteX37" fmla="*/ 3513221 w 4692315"/>
              <a:gd name="connsiteY37" fmla="*/ 3573379 h 4812632"/>
              <a:gd name="connsiteX38" fmla="*/ 3573379 w 4692315"/>
              <a:gd name="connsiteY38" fmla="*/ 3513221 h 4812632"/>
              <a:gd name="connsiteX39" fmla="*/ 3597442 w 4692315"/>
              <a:gd name="connsiteY39" fmla="*/ 3477126 h 4812632"/>
              <a:gd name="connsiteX40" fmla="*/ 3741821 w 4692315"/>
              <a:gd name="connsiteY40" fmla="*/ 3368842 h 4812632"/>
              <a:gd name="connsiteX41" fmla="*/ 3789947 w 4692315"/>
              <a:gd name="connsiteY41" fmla="*/ 3296653 h 4812632"/>
              <a:gd name="connsiteX42" fmla="*/ 3814010 w 4692315"/>
              <a:gd name="connsiteY42" fmla="*/ 3260558 h 4812632"/>
              <a:gd name="connsiteX43" fmla="*/ 3838073 w 4692315"/>
              <a:gd name="connsiteY43" fmla="*/ 3188368 h 4812632"/>
              <a:gd name="connsiteX44" fmla="*/ 3886200 w 4692315"/>
              <a:gd name="connsiteY44" fmla="*/ 3116179 h 4812632"/>
              <a:gd name="connsiteX45" fmla="*/ 3922294 w 4692315"/>
              <a:gd name="connsiteY45" fmla="*/ 3007895 h 4812632"/>
              <a:gd name="connsiteX46" fmla="*/ 3934326 w 4692315"/>
              <a:gd name="connsiteY46" fmla="*/ 2971800 h 4812632"/>
              <a:gd name="connsiteX47" fmla="*/ 3946357 w 4692315"/>
              <a:gd name="connsiteY47" fmla="*/ 2791326 h 4812632"/>
              <a:gd name="connsiteX48" fmla="*/ 3958389 w 4692315"/>
              <a:gd name="connsiteY48" fmla="*/ 2755232 h 4812632"/>
              <a:gd name="connsiteX49" fmla="*/ 4006515 w 4692315"/>
              <a:gd name="connsiteY49" fmla="*/ 2683042 h 4812632"/>
              <a:gd name="connsiteX50" fmla="*/ 4054642 w 4692315"/>
              <a:gd name="connsiteY50" fmla="*/ 2622884 h 4812632"/>
              <a:gd name="connsiteX51" fmla="*/ 4078705 w 4692315"/>
              <a:gd name="connsiteY51" fmla="*/ 2586789 h 4812632"/>
              <a:gd name="connsiteX52" fmla="*/ 4090736 w 4692315"/>
              <a:gd name="connsiteY52" fmla="*/ 2550695 h 4812632"/>
              <a:gd name="connsiteX53" fmla="*/ 4114800 w 4692315"/>
              <a:gd name="connsiteY53" fmla="*/ 2526632 h 4812632"/>
              <a:gd name="connsiteX54" fmla="*/ 4150894 w 4692315"/>
              <a:gd name="connsiteY54" fmla="*/ 2454442 h 4812632"/>
              <a:gd name="connsiteX55" fmla="*/ 4162926 w 4692315"/>
              <a:gd name="connsiteY55" fmla="*/ 2418347 h 4812632"/>
              <a:gd name="connsiteX56" fmla="*/ 4211052 w 4692315"/>
              <a:gd name="connsiteY56" fmla="*/ 2358189 h 4812632"/>
              <a:gd name="connsiteX57" fmla="*/ 4247147 w 4692315"/>
              <a:gd name="connsiteY57" fmla="*/ 2237874 h 4812632"/>
              <a:gd name="connsiteX58" fmla="*/ 4259179 w 4692315"/>
              <a:gd name="connsiteY58" fmla="*/ 2201779 h 4812632"/>
              <a:gd name="connsiteX59" fmla="*/ 4271210 w 4692315"/>
              <a:gd name="connsiteY59" fmla="*/ 2165684 h 4812632"/>
              <a:gd name="connsiteX60" fmla="*/ 4295273 w 4692315"/>
              <a:gd name="connsiteY60" fmla="*/ 2129589 h 4812632"/>
              <a:gd name="connsiteX61" fmla="*/ 4319336 w 4692315"/>
              <a:gd name="connsiteY61" fmla="*/ 2057400 h 4812632"/>
              <a:gd name="connsiteX62" fmla="*/ 4331368 w 4692315"/>
              <a:gd name="connsiteY62" fmla="*/ 2021305 h 4812632"/>
              <a:gd name="connsiteX63" fmla="*/ 4343400 w 4692315"/>
              <a:gd name="connsiteY63" fmla="*/ 1985210 h 4812632"/>
              <a:gd name="connsiteX64" fmla="*/ 4367463 w 4692315"/>
              <a:gd name="connsiteY64" fmla="*/ 1792705 h 4812632"/>
              <a:gd name="connsiteX65" fmla="*/ 4391526 w 4692315"/>
              <a:gd name="connsiteY65" fmla="*/ 1395663 h 4812632"/>
              <a:gd name="connsiteX66" fmla="*/ 4403557 w 4692315"/>
              <a:gd name="connsiteY66" fmla="*/ 938463 h 4812632"/>
              <a:gd name="connsiteX67" fmla="*/ 4427621 w 4692315"/>
              <a:gd name="connsiteY67" fmla="*/ 914400 h 4812632"/>
              <a:gd name="connsiteX68" fmla="*/ 4439652 w 4692315"/>
              <a:gd name="connsiteY68" fmla="*/ 878305 h 4812632"/>
              <a:gd name="connsiteX69" fmla="*/ 4487779 w 4692315"/>
              <a:gd name="connsiteY69" fmla="*/ 818147 h 4812632"/>
              <a:gd name="connsiteX70" fmla="*/ 4511842 w 4692315"/>
              <a:gd name="connsiteY70" fmla="*/ 733926 h 4812632"/>
              <a:gd name="connsiteX71" fmla="*/ 4523873 w 4692315"/>
              <a:gd name="connsiteY71" fmla="*/ 673768 h 4812632"/>
              <a:gd name="connsiteX72" fmla="*/ 4547936 w 4692315"/>
              <a:gd name="connsiteY72" fmla="*/ 601579 h 4812632"/>
              <a:gd name="connsiteX73" fmla="*/ 4559968 w 4692315"/>
              <a:gd name="connsiteY73" fmla="*/ 565484 h 4812632"/>
              <a:gd name="connsiteX74" fmla="*/ 4584031 w 4692315"/>
              <a:gd name="connsiteY74" fmla="*/ 529389 h 4812632"/>
              <a:gd name="connsiteX75" fmla="*/ 4632157 w 4692315"/>
              <a:gd name="connsiteY75" fmla="*/ 469232 h 4812632"/>
              <a:gd name="connsiteX76" fmla="*/ 4656221 w 4692315"/>
              <a:gd name="connsiteY76" fmla="*/ 397042 h 4812632"/>
              <a:gd name="connsiteX77" fmla="*/ 4692315 w 4692315"/>
              <a:gd name="connsiteY77" fmla="*/ 336884 h 4812632"/>
              <a:gd name="connsiteX78" fmla="*/ 3970421 w 4692315"/>
              <a:gd name="connsiteY78" fmla="*/ 0 h 4812632"/>
              <a:gd name="connsiteX79" fmla="*/ 3657600 w 4692315"/>
              <a:gd name="connsiteY79" fmla="*/ 757989 h 4812632"/>
              <a:gd name="connsiteX80" fmla="*/ 3826042 w 4692315"/>
              <a:gd name="connsiteY80" fmla="*/ 1708484 h 4812632"/>
              <a:gd name="connsiteX81" fmla="*/ 3104147 w 4692315"/>
              <a:gd name="connsiteY81" fmla="*/ 2767263 h 4812632"/>
              <a:gd name="connsiteX82" fmla="*/ 2286000 w 4692315"/>
              <a:gd name="connsiteY82" fmla="*/ 3236495 h 4812632"/>
              <a:gd name="connsiteX83" fmla="*/ 649705 w 4692315"/>
              <a:gd name="connsiteY83" fmla="*/ 3597442 h 4812632"/>
              <a:gd name="connsiteX84" fmla="*/ 0 w 4692315"/>
              <a:gd name="connsiteY84" fmla="*/ 4054642 h 4812632"/>
              <a:gd name="connsiteX85" fmla="*/ 625642 w 4692315"/>
              <a:gd name="connsiteY85" fmla="*/ 4812632 h 4812632"/>
              <a:gd name="connsiteX86" fmla="*/ 589547 w 4692315"/>
              <a:gd name="connsiteY86"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466473 w 4692315"/>
              <a:gd name="connsiteY26" fmla="*/ 3934326 h 4812632"/>
              <a:gd name="connsiteX27" fmla="*/ 2550694 w 4692315"/>
              <a:gd name="connsiteY27" fmla="*/ 3922295 h 4812632"/>
              <a:gd name="connsiteX28" fmla="*/ 2610852 w 4692315"/>
              <a:gd name="connsiteY28" fmla="*/ 3910263 h 4812632"/>
              <a:gd name="connsiteX29" fmla="*/ 2719136 w 4692315"/>
              <a:gd name="connsiteY29" fmla="*/ 3886200 h 4812632"/>
              <a:gd name="connsiteX30" fmla="*/ 2815389 w 4692315"/>
              <a:gd name="connsiteY30" fmla="*/ 3862137 h 4812632"/>
              <a:gd name="connsiteX31" fmla="*/ 2887579 w 4692315"/>
              <a:gd name="connsiteY31" fmla="*/ 3838074 h 4812632"/>
              <a:gd name="connsiteX32" fmla="*/ 3019926 w 4692315"/>
              <a:gd name="connsiteY32" fmla="*/ 3801979 h 4812632"/>
              <a:gd name="connsiteX33" fmla="*/ 3164305 w 4692315"/>
              <a:gd name="connsiteY33" fmla="*/ 3765884 h 4812632"/>
              <a:gd name="connsiteX34" fmla="*/ 3344779 w 4692315"/>
              <a:gd name="connsiteY34" fmla="*/ 3693695 h 4812632"/>
              <a:gd name="connsiteX35" fmla="*/ 3453063 w 4692315"/>
              <a:gd name="connsiteY35" fmla="*/ 3609474 h 4812632"/>
              <a:gd name="connsiteX36" fmla="*/ 3513221 w 4692315"/>
              <a:gd name="connsiteY36" fmla="*/ 3573379 h 4812632"/>
              <a:gd name="connsiteX37" fmla="*/ 3573379 w 4692315"/>
              <a:gd name="connsiteY37" fmla="*/ 3513221 h 4812632"/>
              <a:gd name="connsiteX38" fmla="*/ 3597442 w 4692315"/>
              <a:gd name="connsiteY38" fmla="*/ 3477126 h 4812632"/>
              <a:gd name="connsiteX39" fmla="*/ 3741821 w 4692315"/>
              <a:gd name="connsiteY39" fmla="*/ 3368842 h 4812632"/>
              <a:gd name="connsiteX40" fmla="*/ 3789947 w 4692315"/>
              <a:gd name="connsiteY40" fmla="*/ 3296653 h 4812632"/>
              <a:gd name="connsiteX41" fmla="*/ 3814010 w 4692315"/>
              <a:gd name="connsiteY41" fmla="*/ 3260558 h 4812632"/>
              <a:gd name="connsiteX42" fmla="*/ 3838073 w 4692315"/>
              <a:gd name="connsiteY42" fmla="*/ 3188368 h 4812632"/>
              <a:gd name="connsiteX43" fmla="*/ 3886200 w 4692315"/>
              <a:gd name="connsiteY43" fmla="*/ 3116179 h 4812632"/>
              <a:gd name="connsiteX44" fmla="*/ 3922294 w 4692315"/>
              <a:gd name="connsiteY44" fmla="*/ 3007895 h 4812632"/>
              <a:gd name="connsiteX45" fmla="*/ 3934326 w 4692315"/>
              <a:gd name="connsiteY45" fmla="*/ 2971800 h 4812632"/>
              <a:gd name="connsiteX46" fmla="*/ 3946357 w 4692315"/>
              <a:gd name="connsiteY46" fmla="*/ 2791326 h 4812632"/>
              <a:gd name="connsiteX47" fmla="*/ 3958389 w 4692315"/>
              <a:gd name="connsiteY47" fmla="*/ 2755232 h 4812632"/>
              <a:gd name="connsiteX48" fmla="*/ 4006515 w 4692315"/>
              <a:gd name="connsiteY48" fmla="*/ 2683042 h 4812632"/>
              <a:gd name="connsiteX49" fmla="*/ 4054642 w 4692315"/>
              <a:gd name="connsiteY49" fmla="*/ 2622884 h 4812632"/>
              <a:gd name="connsiteX50" fmla="*/ 4078705 w 4692315"/>
              <a:gd name="connsiteY50" fmla="*/ 2586789 h 4812632"/>
              <a:gd name="connsiteX51" fmla="*/ 4090736 w 4692315"/>
              <a:gd name="connsiteY51" fmla="*/ 2550695 h 4812632"/>
              <a:gd name="connsiteX52" fmla="*/ 4114800 w 4692315"/>
              <a:gd name="connsiteY52" fmla="*/ 2526632 h 4812632"/>
              <a:gd name="connsiteX53" fmla="*/ 4150894 w 4692315"/>
              <a:gd name="connsiteY53" fmla="*/ 2454442 h 4812632"/>
              <a:gd name="connsiteX54" fmla="*/ 4162926 w 4692315"/>
              <a:gd name="connsiteY54" fmla="*/ 2418347 h 4812632"/>
              <a:gd name="connsiteX55" fmla="*/ 4211052 w 4692315"/>
              <a:gd name="connsiteY55" fmla="*/ 2358189 h 4812632"/>
              <a:gd name="connsiteX56" fmla="*/ 4247147 w 4692315"/>
              <a:gd name="connsiteY56" fmla="*/ 2237874 h 4812632"/>
              <a:gd name="connsiteX57" fmla="*/ 4259179 w 4692315"/>
              <a:gd name="connsiteY57" fmla="*/ 2201779 h 4812632"/>
              <a:gd name="connsiteX58" fmla="*/ 4271210 w 4692315"/>
              <a:gd name="connsiteY58" fmla="*/ 2165684 h 4812632"/>
              <a:gd name="connsiteX59" fmla="*/ 4295273 w 4692315"/>
              <a:gd name="connsiteY59" fmla="*/ 2129589 h 4812632"/>
              <a:gd name="connsiteX60" fmla="*/ 4319336 w 4692315"/>
              <a:gd name="connsiteY60" fmla="*/ 2057400 h 4812632"/>
              <a:gd name="connsiteX61" fmla="*/ 4331368 w 4692315"/>
              <a:gd name="connsiteY61" fmla="*/ 2021305 h 4812632"/>
              <a:gd name="connsiteX62" fmla="*/ 4343400 w 4692315"/>
              <a:gd name="connsiteY62" fmla="*/ 1985210 h 4812632"/>
              <a:gd name="connsiteX63" fmla="*/ 4367463 w 4692315"/>
              <a:gd name="connsiteY63" fmla="*/ 1792705 h 4812632"/>
              <a:gd name="connsiteX64" fmla="*/ 4391526 w 4692315"/>
              <a:gd name="connsiteY64" fmla="*/ 1395663 h 4812632"/>
              <a:gd name="connsiteX65" fmla="*/ 4403557 w 4692315"/>
              <a:gd name="connsiteY65" fmla="*/ 938463 h 4812632"/>
              <a:gd name="connsiteX66" fmla="*/ 4427621 w 4692315"/>
              <a:gd name="connsiteY66" fmla="*/ 914400 h 4812632"/>
              <a:gd name="connsiteX67" fmla="*/ 4439652 w 4692315"/>
              <a:gd name="connsiteY67" fmla="*/ 878305 h 4812632"/>
              <a:gd name="connsiteX68" fmla="*/ 4487779 w 4692315"/>
              <a:gd name="connsiteY68" fmla="*/ 818147 h 4812632"/>
              <a:gd name="connsiteX69" fmla="*/ 4511842 w 4692315"/>
              <a:gd name="connsiteY69" fmla="*/ 733926 h 4812632"/>
              <a:gd name="connsiteX70" fmla="*/ 4523873 w 4692315"/>
              <a:gd name="connsiteY70" fmla="*/ 673768 h 4812632"/>
              <a:gd name="connsiteX71" fmla="*/ 4547936 w 4692315"/>
              <a:gd name="connsiteY71" fmla="*/ 601579 h 4812632"/>
              <a:gd name="connsiteX72" fmla="*/ 4559968 w 4692315"/>
              <a:gd name="connsiteY72" fmla="*/ 565484 h 4812632"/>
              <a:gd name="connsiteX73" fmla="*/ 4584031 w 4692315"/>
              <a:gd name="connsiteY73" fmla="*/ 529389 h 4812632"/>
              <a:gd name="connsiteX74" fmla="*/ 4632157 w 4692315"/>
              <a:gd name="connsiteY74" fmla="*/ 469232 h 4812632"/>
              <a:gd name="connsiteX75" fmla="*/ 4656221 w 4692315"/>
              <a:gd name="connsiteY75" fmla="*/ 397042 h 4812632"/>
              <a:gd name="connsiteX76" fmla="*/ 4692315 w 4692315"/>
              <a:gd name="connsiteY76" fmla="*/ 336884 h 4812632"/>
              <a:gd name="connsiteX77" fmla="*/ 3970421 w 4692315"/>
              <a:gd name="connsiteY77" fmla="*/ 0 h 4812632"/>
              <a:gd name="connsiteX78" fmla="*/ 3657600 w 4692315"/>
              <a:gd name="connsiteY78" fmla="*/ 757989 h 4812632"/>
              <a:gd name="connsiteX79" fmla="*/ 3826042 w 4692315"/>
              <a:gd name="connsiteY79" fmla="*/ 1708484 h 4812632"/>
              <a:gd name="connsiteX80" fmla="*/ 3104147 w 4692315"/>
              <a:gd name="connsiteY80" fmla="*/ 2767263 h 4812632"/>
              <a:gd name="connsiteX81" fmla="*/ 2286000 w 4692315"/>
              <a:gd name="connsiteY81" fmla="*/ 3236495 h 4812632"/>
              <a:gd name="connsiteX82" fmla="*/ 649705 w 4692315"/>
              <a:gd name="connsiteY82" fmla="*/ 3597442 h 4812632"/>
              <a:gd name="connsiteX83" fmla="*/ 0 w 4692315"/>
              <a:gd name="connsiteY83" fmla="*/ 4054642 h 4812632"/>
              <a:gd name="connsiteX84" fmla="*/ 625642 w 4692315"/>
              <a:gd name="connsiteY84" fmla="*/ 4812632 h 4812632"/>
              <a:gd name="connsiteX85" fmla="*/ 589547 w 4692315"/>
              <a:gd name="connsiteY85"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466473 w 4692315"/>
              <a:gd name="connsiteY26" fmla="*/ 3934326 h 4812632"/>
              <a:gd name="connsiteX27" fmla="*/ 2550694 w 4692315"/>
              <a:gd name="connsiteY27" fmla="*/ 3922295 h 4812632"/>
              <a:gd name="connsiteX28" fmla="*/ 2719136 w 4692315"/>
              <a:gd name="connsiteY28" fmla="*/ 3886200 h 4812632"/>
              <a:gd name="connsiteX29" fmla="*/ 2815389 w 4692315"/>
              <a:gd name="connsiteY29" fmla="*/ 3862137 h 4812632"/>
              <a:gd name="connsiteX30" fmla="*/ 2887579 w 4692315"/>
              <a:gd name="connsiteY30" fmla="*/ 3838074 h 4812632"/>
              <a:gd name="connsiteX31" fmla="*/ 3019926 w 4692315"/>
              <a:gd name="connsiteY31" fmla="*/ 3801979 h 4812632"/>
              <a:gd name="connsiteX32" fmla="*/ 3164305 w 4692315"/>
              <a:gd name="connsiteY32" fmla="*/ 3765884 h 4812632"/>
              <a:gd name="connsiteX33" fmla="*/ 3344779 w 4692315"/>
              <a:gd name="connsiteY33" fmla="*/ 3693695 h 4812632"/>
              <a:gd name="connsiteX34" fmla="*/ 3453063 w 4692315"/>
              <a:gd name="connsiteY34" fmla="*/ 3609474 h 4812632"/>
              <a:gd name="connsiteX35" fmla="*/ 3513221 w 4692315"/>
              <a:gd name="connsiteY35" fmla="*/ 3573379 h 4812632"/>
              <a:gd name="connsiteX36" fmla="*/ 3573379 w 4692315"/>
              <a:gd name="connsiteY36" fmla="*/ 3513221 h 4812632"/>
              <a:gd name="connsiteX37" fmla="*/ 3597442 w 4692315"/>
              <a:gd name="connsiteY37" fmla="*/ 3477126 h 4812632"/>
              <a:gd name="connsiteX38" fmla="*/ 3741821 w 4692315"/>
              <a:gd name="connsiteY38" fmla="*/ 3368842 h 4812632"/>
              <a:gd name="connsiteX39" fmla="*/ 3789947 w 4692315"/>
              <a:gd name="connsiteY39" fmla="*/ 3296653 h 4812632"/>
              <a:gd name="connsiteX40" fmla="*/ 3814010 w 4692315"/>
              <a:gd name="connsiteY40" fmla="*/ 3260558 h 4812632"/>
              <a:gd name="connsiteX41" fmla="*/ 3838073 w 4692315"/>
              <a:gd name="connsiteY41" fmla="*/ 3188368 h 4812632"/>
              <a:gd name="connsiteX42" fmla="*/ 3886200 w 4692315"/>
              <a:gd name="connsiteY42" fmla="*/ 3116179 h 4812632"/>
              <a:gd name="connsiteX43" fmla="*/ 3922294 w 4692315"/>
              <a:gd name="connsiteY43" fmla="*/ 3007895 h 4812632"/>
              <a:gd name="connsiteX44" fmla="*/ 3934326 w 4692315"/>
              <a:gd name="connsiteY44" fmla="*/ 2971800 h 4812632"/>
              <a:gd name="connsiteX45" fmla="*/ 3946357 w 4692315"/>
              <a:gd name="connsiteY45" fmla="*/ 2791326 h 4812632"/>
              <a:gd name="connsiteX46" fmla="*/ 3958389 w 4692315"/>
              <a:gd name="connsiteY46" fmla="*/ 2755232 h 4812632"/>
              <a:gd name="connsiteX47" fmla="*/ 4006515 w 4692315"/>
              <a:gd name="connsiteY47" fmla="*/ 2683042 h 4812632"/>
              <a:gd name="connsiteX48" fmla="*/ 4054642 w 4692315"/>
              <a:gd name="connsiteY48" fmla="*/ 2622884 h 4812632"/>
              <a:gd name="connsiteX49" fmla="*/ 4078705 w 4692315"/>
              <a:gd name="connsiteY49" fmla="*/ 2586789 h 4812632"/>
              <a:gd name="connsiteX50" fmla="*/ 4090736 w 4692315"/>
              <a:gd name="connsiteY50" fmla="*/ 2550695 h 4812632"/>
              <a:gd name="connsiteX51" fmla="*/ 4114800 w 4692315"/>
              <a:gd name="connsiteY51" fmla="*/ 2526632 h 4812632"/>
              <a:gd name="connsiteX52" fmla="*/ 4150894 w 4692315"/>
              <a:gd name="connsiteY52" fmla="*/ 2454442 h 4812632"/>
              <a:gd name="connsiteX53" fmla="*/ 4162926 w 4692315"/>
              <a:gd name="connsiteY53" fmla="*/ 2418347 h 4812632"/>
              <a:gd name="connsiteX54" fmla="*/ 4211052 w 4692315"/>
              <a:gd name="connsiteY54" fmla="*/ 2358189 h 4812632"/>
              <a:gd name="connsiteX55" fmla="*/ 4247147 w 4692315"/>
              <a:gd name="connsiteY55" fmla="*/ 2237874 h 4812632"/>
              <a:gd name="connsiteX56" fmla="*/ 4259179 w 4692315"/>
              <a:gd name="connsiteY56" fmla="*/ 2201779 h 4812632"/>
              <a:gd name="connsiteX57" fmla="*/ 4271210 w 4692315"/>
              <a:gd name="connsiteY57" fmla="*/ 2165684 h 4812632"/>
              <a:gd name="connsiteX58" fmla="*/ 4295273 w 4692315"/>
              <a:gd name="connsiteY58" fmla="*/ 2129589 h 4812632"/>
              <a:gd name="connsiteX59" fmla="*/ 4319336 w 4692315"/>
              <a:gd name="connsiteY59" fmla="*/ 2057400 h 4812632"/>
              <a:gd name="connsiteX60" fmla="*/ 4331368 w 4692315"/>
              <a:gd name="connsiteY60" fmla="*/ 2021305 h 4812632"/>
              <a:gd name="connsiteX61" fmla="*/ 4343400 w 4692315"/>
              <a:gd name="connsiteY61" fmla="*/ 1985210 h 4812632"/>
              <a:gd name="connsiteX62" fmla="*/ 4367463 w 4692315"/>
              <a:gd name="connsiteY62" fmla="*/ 1792705 h 4812632"/>
              <a:gd name="connsiteX63" fmla="*/ 4391526 w 4692315"/>
              <a:gd name="connsiteY63" fmla="*/ 1395663 h 4812632"/>
              <a:gd name="connsiteX64" fmla="*/ 4403557 w 4692315"/>
              <a:gd name="connsiteY64" fmla="*/ 938463 h 4812632"/>
              <a:gd name="connsiteX65" fmla="*/ 4427621 w 4692315"/>
              <a:gd name="connsiteY65" fmla="*/ 914400 h 4812632"/>
              <a:gd name="connsiteX66" fmla="*/ 4439652 w 4692315"/>
              <a:gd name="connsiteY66" fmla="*/ 878305 h 4812632"/>
              <a:gd name="connsiteX67" fmla="*/ 4487779 w 4692315"/>
              <a:gd name="connsiteY67" fmla="*/ 818147 h 4812632"/>
              <a:gd name="connsiteX68" fmla="*/ 4511842 w 4692315"/>
              <a:gd name="connsiteY68" fmla="*/ 733926 h 4812632"/>
              <a:gd name="connsiteX69" fmla="*/ 4523873 w 4692315"/>
              <a:gd name="connsiteY69" fmla="*/ 673768 h 4812632"/>
              <a:gd name="connsiteX70" fmla="*/ 4547936 w 4692315"/>
              <a:gd name="connsiteY70" fmla="*/ 601579 h 4812632"/>
              <a:gd name="connsiteX71" fmla="*/ 4559968 w 4692315"/>
              <a:gd name="connsiteY71" fmla="*/ 565484 h 4812632"/>
              <a:gd name="connsiteX72" fmla="*/ 4584031 w 4692315"/>
              <a:gd name="connsiteY72" fmla="*/ 529389 h 4812632"/>
              <a:gd name="connsiteX73" fmla="*/ 4632157 w 4692315"/>
              <a:gd name="connsiteY73" fmla="*/ 469232 h 4812632"/>
              <a:gd name="connsiteX74" fmla="*/ 4656221 w 4692315"/>
              <a:gd name="connsiteY74" fmla="*/ 397042 h 4812632"/>
              <a:gd name="connsiteX75" fmla="*/ 4692315 w 4692315"/>
              <a:gd name="connsiteY75" fmla="*/ 336884 h 4812632"/>
              <a:gd name="connsiteX76" fmla="*/ 3970421 w 4692315"/>
              <a:gd name="connsiteY76" fmla="*/ 0 h 4812632"/>
              <a:gd name="connsiteX77" fmla="*/ 3657600 w 4692315"/>
              <a:gd name="connsiteY77" fmla="*/ 757989 h 4812632"/>
              <a:gd name="connsiteX78" fmla="*/ 3826042 w 4692315"/>
              <a:gd name="connsiteY78" fmla="*/ 1708484 h 4812632"/>
              <a:gd name="connsiteX79" fmla="*/ 3104147 w 4692315"/>
              <a:gd name="connsiteY79" fmla="*/ 2767263 h 4812632"/>
              <a:gd name="connsiteX80" fmla="*/ 2286000 w 4692315"/>
              <a:gd name="connsiteY80" fmla="*/ 3236495 h 4812632"/>
              <a:gd name="connsiteX81" fmla="*/ 649705 w 4692315"/>
              <a:gd name="connsiteY81" fmla="*/ 3597442 h 4812632"/>
              <a:gd name="connsiteX82" fmla="*/ 0 w 4692315"/>
              <a:gd name="connsiteY82" fmla="*/ 4054642 h 4812632"/>
              <a:gd name="connsiteX83" fmla="*/ 625642 w 4692315"/>
              <a:gd name="connsiteY83" fmla="*/ 4812632 h 4812632"/>
              <a:gd name="connsiteX84" fmla="*/ 589547 w 4692315"/>
              <a:gd name="connsiteY84"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597442 w 4692315"/>
              <a:gd name="connsiteY36" fmla="*/ 3477126 h 4812632"/>
              <a:gd name="connsiteX37" fmla="*/ 3741821 w 4692315"/>
              <a:gd name="connsiteY37" fmla="*/ 3368842 h 4812632"/>
              <a:gd name="connsiteX38" fmla="*/ 3789947 w 4692315"/>
              <a:gd name="connsiteY38" fmla="*/ 3296653 h 4812632"/>
              <a:gd name="connsiteX39" fmla="*/ 3814010 w 4692315"/>
              <a:gd name="connsiteY39" fmla="*/ 3260558 h 4812632"/>
              <a:gd name="connsiteX40" fmla="*/ 3838073 w 4692315"/>
              <a:gd name="connsiteY40" fmla="*/ 3188368 h 4812632"/>
              <a:gd name="connsiteX41" fmla="*/ 3886200 w 4692315"/>
              <a:gd name="connsiteY41" fmla="*/ 3116179 h 4812632"/>
              <a:gd name="connsiteX42" fmla="*/ 3922294 w 4692315"/>
              <a:gd name="connsiteY42" fmla="*/ 3007895 h 4812632"/>
              <a:gd name="connsiteX43" fmla="*/ 3934326 w 4692315"/>
              <a:gd name="connsiteY43" fmla="*/ 2971800 h 4812632"/>
              <a:gd name="connsiteX44" fmla="*/ 3946357 w 4692315"/>
              <a:gd name="connsiteY44" fmla="*/ 2791326 h 4812632"/>
              <a:gd name="connsiteX45" fmla="*/ 3958389 w 4692315"/>
              <a:gd name="connsiteY45" fmla="*/ 2755232 h 4812632"/>
              <a:gd name="connsiteX46" fmla="*/ 4006515 w 4692315"/>
              <a:gd name="connsiteY46" fmla="*/ 2683042 h 4812632"/>
              <a:gd name="connsiteX47" fmla="*/ 4054642 w 4692315"/>
              <a:gd name="connsiteY47" fmla="*/ 2622884 h 4812632"/>
              <a:gd name="connsiteX48" fmla="*/ 4078705 w 4692315"/>
              <a:gd name="connsiteY48" fmla="*/ 2586789 h 4812632"/>
              <a:gd name="connsiteX49" fmla="*/ 4090736 w 4692315"/>
              <a:gd name="connsiteY49" fmla="*/ 2550695 h 4812632"/>
              <a:gd name="connsiteX50" fmla="*/ 4114800 w 4692315"/>
              <a:gd name="connsiteY50" fmla="*/ 2526632 h 4812632"/>
              <a:gd name="connsiteX51" fmla="*/ 4150894 w 4692315"/>
              <a:gd name="connsiteY51" fmla="*/ 2454442 h 4812632"/>
              <a:gd name="connsiteX52" fmla="*/ 4162926 w 4692315"/>
              <a:gd name="connsiteY52" fmla="*/ 2418347 h 4812632"/>
              <a:gd name="connsiteX53" fmla="*/ 4211052 w 4692315"/>
              <a:gd name="connsiteY53" fmla="*/ 2358189 h 4812632"/>
              <a:gd name="connsiteX54" fmla="*/ 4247147 w 4692315"/>
              <a:gd name="connsiteY54" fmla="*/ 2237874 h 4812632"/>
              <a:gd name="connsiteX55" fmla="*/ 4259179 w 4692315"/>
              <a:gd name="connsiteY55" fmla="*/ 2201779 h 4812632"/>
              <a:gd name="connsiteX56" fmla="*/ 4271210 w 4692315"/>
              <a:gd name="connsiteY56" fmla="*/ 2165684 h 4812632"/>
              <a:gd name="connsiteX57" fmla="*/ 4295273 w 4692315"/>
              <a:gd name="connsiteY57" fmla="*/ 2129589 h 4812632"/>
              <a:gd name="connsiteX58" fmla="*/ 4319336 w 4692315"/>
              <a:gd name="connsiteY58" fmla="*/ 2057400 h 4812632"/>
              <a:gd name="connsiteX59" fmla="*/ 4331368 w 4692315"/>
              <a:gd name="connsiteY59" fmla="*/ 2021305 h 4812632"/>
              <a:gd name="connsiteX60" fmla="*/ 4343400 w 4692315"/>
              <a:gd name="connsiteY60" fmla="*/ 1985210 h 4812632"/>
              <a:gd name="connsiteX61" fmla="*/ 4367463 w 4692315"/>
              <a:gd name="connsiteY61" fmla="*/ 1792705 h 4812632"/>
              <a:gd name="connsiteX62" fmla="*/ 4391526 w 4692315"/>
              <a:gd name="connsiteY62" fmla="*/ 1395663 h 4812632"/>
              <a:gd name="connsiteX63" fmla="*/ 4403557 w 4692315"/>
              <a:gd name="connsiteY63" fmla="*/ 938463 h 4812632"/>
              <a:gd name="connsiteX64" fmla="*/ 4427621 w 4692315"/>
              <a:gd name="connsiteY64" fmla="*/ 914400 h 4812632"/>
              <a:gd name="connsiteX65" fmla="*/ 4439652 w 4692315"/>
              <a:gd name="connsiteY65" fmla="*/ 878305 h 4812632"/>
              <a:gd name="connsiteX66" fmla="*/ 4487779 w 4692315"/>
              <a:gd name="connsiteY66" fmla="*/ 818147 h 4812632"/>
              <a:gd name="connsiteX67" fmla="*/ 4511842 w 4692315"/>
              <a:gd name="connsiteY67" fmla="*/ 733926 h 4812632"/>
              <a:gd name="connsiteX68" fmla="*/ 4523873 w 4692315"/>
              <a:gd name="connsiteY68" fmla="*/ 673768 h 4812632"/>
              <a:gd name="connsiteX69" fmla="*/ 4547936 w 4692315"/>
              <a:gd name="connsiteY69" fmla="*/ 601579 h 4812632"/>
              <a:gd name="connsiteX70" fmla="*/ 4559968 w 4692315"/>
              <a:gd name="connsiteY70" fmla="*/ 565484 h 4812632"/>
              <a:gd name="connsiteX71" fmla="*/ 4584031 w 4692315"/>
              <a:gd name="connsiteY71" fmla="*/ 529389 h 4812632"/>
              <a:gd name="connsiteX72" fmla="*/ 4632157 w 4692315"/>
              <a:gd name="connsiteY72" fmla="*/ 469232 h 4812632"/>
              <a:gd name="connsiteX73" fmla="*/ 4656221 w 4692315"/>
              <a:gd name="connsiteY73" fmla="*/ 397042 h 4812632"/>
              <a:gd name="connsiteX74" fmla="*/ 4692315 w 4692315"/>
              <a:gd name="connsiteY74" fmla="*/ 336884 h 4812632"/>
              <a:gd name="connsiteX75" fmla="*/ 3970421 w 4692315"/>
              <a:gd name="connsiteY75" fmla="*/ 0 h 4812632"/>
              <a:gd name="connsiteX76" fmla="*/ 3657600 w 4692315"/>
              <a:gd name="connsiteY76" fmla="*/ 757989 h 4812632"/>
              <a:gd name="connsiteX77" fmla="*/ 3826042 w 4692315"/>
              <a:gd name="connsiteY77" fmla="*/ 1708484 h 4812632"/>
              <a:gd name="connsiteX78" fmla="*/ 3104147 w 4692315"/>
              <a:gd name="connsiteY78" fmla="*/ 2767263 h 4812632"/>
              <a:gd name="connsiteX79" fmla="*/ 2286000 w 4692315"/>
              <a:gd name="connsiteY79" fmla="*/ 3236495 h 4812632"/>
              <a:gd name="connsiteX80" fmla="*/ 649705 w 4692315"/>
              <a:gd name="connsiteY80" fmla="*/ 3597442 h 4812632"/>
              <a:gd name="connsiteX81" fmla="*/ 0 w 4692315"/>
              <a:gd name="connsiteY81" fmla="*/ 4054642 h 4812632"/>
              <a:gd name="connsiteX82" fmla="*/ 625642 w 4692315"/>
              <a:gd name="connsiteY82" fmla="*/ 4812632 h 4812632"/>
              <a:gd name="connsiteX83" fmla="*/ 589547 w 4692315"/>
              <a:gd name="connsiteY83"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14010 w 4692315"/>
              <a:gd name="connsiteY38" fmla="*/ 3260558 h 4812632"/>
              <a:gd name="connsiteX39" fmla="*/ 3838073 w 4692315"/>
              <a:gd name="connsiteY39" fmla="*/ 3188368 h 4812632"/>
              <a:gd name="connsiteX40" fmla="*/ 3886200 w 4692315"/>
              <a:gd name="connsiteY40" fmla="*/ 3116179 h 4812632"/>
              <a:gd name="connsiteX41" fmla="*/ 3922294 w 4692315"/>
              <a:gd name="connsiteY41" fmla="*/ 3007895 h 4812632"/>
              <a:gd name="connsiteX42" fmla="*/ 3934326 w 4692315"/>
              <a:gd name="connsiteY42" fmla="*/ 2971800 h 4812632"/>
              <a:gd name="connsiteX43" fmla="*/ 3946357 w 4692315"/>
              <a:gd name="connsiteY43" fmla="*/ 2791326 h 4812632"/>
              <a:gd name="connsiteX44" fmla="*/ 3958389 w 4692315"/>
              <a:gd name="connsiteY44" fmla="*/ 2755232 h 4812632"/>
              <a:gd name="connsiteX45" fmla="*/ 4006515 w 4692315"/>
              <a:gd name="connsiteY45" fmla="*/ 2683042 h 4812632"/>
              <a:gd name="connsiteX46" fmla="*/ 4054642 w 4692315"/>
              <a:gd name="connsiteY46" fmla="*/ 2622884 h 4812632"/>
              <a:gd name="connsiteX47" fmla="*/ 4078705 w 4692315"/>
              <a:gd name="connsiteY47" fmla="*/ 2586789 h 4812632"/>
              <a:gd name="connsiteX48" fmla="*/ 4090736 w 4692315"/>
              <a:gd name="connsiteY48" fmla="*/ 2550695 h 4812632"/>
              <a:gd name="connsiteX49" fmla="*/ 4114800 w 4692315"/>
              <a:gd name="connsiteY49" fmla="*/ 2526632 h 4812632"/>
              <a:gd name="connsiteX50" fmla="*/ 4150894 w 4692315"/>
              <a:gd name="connsiteY50" fmla="*/ 2454442 h 4812632"/>
              <a:gd name="connsiteX51" fmla="*/ 4162926 w 4692315"/>
              <a:gd name="connsiteY51" fmla="*/ 2418347 h 4812632"/>
              <a:gd name="connsiteX52" fmla="*/ 4211052 w 4692315"/>
              <a:gd name="connsiteY52" fmla="*/ 2358189 h 4812632"/>
              <a:gd name="connsiteX53" fmla="*/ 4247147 w 4692315"/>
              <a:gd name="connsiteY53" fmla="*/ 2237874 h 4812632"/>
              <a:gd name="connsiteX54" fmla="*/ 4259179 w 4692315"/>
              <a:gd name="connsiteY54" fmla="*/ 2201779 h 4812632"/>
              <a:gd name="connsiteX55" fmla="*/ 4271210 w 4692315"/>
              <a:gd name="connsiteY55" fmla="*/ 2165684 h 4812632"/>
              <a:gd name="connsiteX56" fmla="*/ 4295273 w 4692315"/>
              <a:gd name="connsiteY56" fmla="*/ 2129589 h 4812632"/>
              <a:gd name="connsiteX57" fmla="*/ 4319336 w 4692315"/>
              <a:gd name="connsiteY57" fmla="*/ 2057400 h 4812632"/>
              <a:gd name="connsiteX58" fmla="*/ 4331368 w 4692315"/>
              <a:gd name="connsiteY58" fmla="*/ 2021305 h 4812632"/>
              <a:gd name="connsiteX59" fmla="*/ 4343400 w 4692315"/>
              <a:gd name="connsiteY59" fmla="*/ 1985210 h 4812632"/>
              <a:gd name="connsiteX60" fmla="*/ 4367463 w 4692315"/>
              <a:gd name="connsiteY60" fmla="*/ 1792705 h 4812632"/>
              <a:gd name="connsiteX61" fmla="*/ 4391526 w 4692315"/>
              <a:gd name="connsiteY61" fmla="*/ 1395663 h 4812632"/>
              <a:gd name="connsiteX62" fmla="*/ 4403557 w 4692315"/>
              <a:gd name="connsiteY62" fmla="*/ 938463 h 4812632"/>
              <a:gd name="connsiteX63" fmla="*/ 4427621 w 4692315"/>
              <a:gd name="connsiteY63" fmla="*/ 914400 h 4812632"/>
              <a:gd name="connsiteX64" fmla="*/ 4439652 w 4692315"/>
              <a:gd name="connsiteY64" fmla="*/ 878305 h 4812632"/>
              <a:gd name="connsiteX65" fmla="*/ 4487779 w 4692315"/>
              <a:gd name="connsiteY65" fmla="*/ 818147 h 4812632"/>
              <a:gd name="connsiteX66" fmla="*/ 4511842 w 4692315"/>
              <a:gd name="connsiteY66" fmla="*/ 733926 h 4812632"/>
              <a:gd name="connsiteX67" fmla="*/ 4523873 w 4692315"/>
              <a:gd name="connsiteY67" fmla="*/ 673768 h 4812632"/>
              <a:gd name="connsiteX68" fmla="*/ 4547936 w 4692315"/>
              <a:gd name="connsiteY68" fmla="*/ 601579 h 4812632"/>
              <a:gd name="connsiteX69" fmla="*/ 4559968 w 4692315"/>
              <a:gd name="connsiteY69" fmla="*/ 565484 h 4812632"/>
              <a:gd name="connsiteX70" fmla="*/ 4584031 w 4692315"/>
              <a:gd name="connsiteY70" fmla="*/ 529389 h 4812632"/>
              <a:gd name="connsiteX71" fmla="*/ 4632157 w 4692315"/>
              <a:gd name="connsiteY71" fmla="*/ 469232 h 4812632"/>
              <a:gd name="connsiteX72" fmla="*/ 4656221 w 4692315"/>
              <a:gd name="connsiteY72" fmla="*/ 397042 h 4812632"/>
              <a:gd name="connsiteX73" fmla="*/ 4692315 w 4692315"/>
              <a:gd name="connsiteY73" fmla="*/ 336884 h 4812632"/>
              <a:gd name="connsiteX74" fmla="*/ 3970421 w 4692315"/>
              <a:gd name="connsiteY74" fmla="*/ 0 h 4812632"/>
              <a:gd name="connsiteX75" fmla="*/ 3657600 w 4692315"/>
              <a:gd name="connsiteY75" fmla="*/ 757989 h 4812632"/>
              <a:gd name="connsiteX76" fmla="*/ 3826042 w 4692315"/>
              <a:gd name="connsiteY76" fmla="*/ 1708484 h 4812632"/>
              <a:gd name="connsiteX77" fmla="*/ 3104147 w 4692315"/>
              <a:gd name="connsiteY77" fmla="*/ 2767263 h 4812632"/>
              <a:gd name="connsiteX78" fmla="*/ 2286000 w 4692315"/>
              <a:gd name="connsiteY78" fmla="*/ 3236495 h 4812632"/>
              <a:gd name="connsiteX79" fmla="*/ 649705 w 4692315"/>
              <a:gd name="connsiteY79" fmla="*/ 3597442 h 4812632"/>
              <a:gd name="connsiteX80" fmla="*/ 0 w 4692315"/>
              <a:gd name="connsiteY80" fmla="*/ 4054642 h 4812632"/>
              <a:gd name="connsiteX81" fmla="*/ 625642 w 4692315"/>
              <a:gd name="connsiteY81" fmla="*/ 4812632 h 4812632"/>
              <a:gd name="connsiteX82" fmla="*/ 589547 w 4692315"/>
              <a:gd name="connsiteY82"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14010 w 4692315"/>
              <a:gd name="connsiteY38" fmla="*/ 3260558 h 4812632"/>
              <a:gd name="connsiteX39" fmla="*/ 3838073 w 4692315"/>
              <a:gd name="connsiteY39" fmla="*/ 3188368 h 4812632"/>
              <a:gd name="connsiteX40" fmla="*/ 3922294 w 4692315"/>
              <a:gd name="connsiteY40" fmla="*/ 3007895 h 4812632"/>
              <a:gd name="connsiteX41" fmla="*/ 3934326 w 4692315"/>
              <a:gd name="connsiteY41" fmla="*/ 2971800 h 4812632"/>
              <a:gd name="connsiteX42" fmla="*/ 3946357 w 4692315"/>
              <a:gd name="connsiteY42" fmla="*/ 2791326 h 4812632"/>
              <a:gd name="connsiteX43" fmla="*/ 3958389 w 4692315"/>
              <a:gd name="connsiteY43" fmla="*/ 2755232 h 4812632"/>
              <a:gd name="connsiteX44" fmla="*/ 4006515 w 4692315"/>
              <a:gd name="connsiteY44" fmla="*/ 2683042 h 4812632"/>
              <a:gd name="connsiteX45" fmla="*/ 4054642 w 4692315"/>
              <a:gd name="connsiteY45" fmla="*/ 2622884 h 4812632"/>
              <a:gd name="connsiteX46" fmla="*/ 4078705 w 4692315"/>
              <a:gd name="connsiteY46" fmla="*/ 2586789 h 4812632"/>
              <a:gd name="connsiteX47" fmla="*/ 4090736 w 4692315"/>
              <a:gd name="connsiteY47" fmla="*/ 2550695 h 4812632"/>
              <a:gd name="connsiteX48" fmla="*/ 4114800 w 4692315"/>
              <a:gd name="connsiteY48" fmla="*/ 2526632 h 4812632"/>
              <a:gd name="connsiteX49" fmla="*/ 4150894 w 4692315"/>
              <a:gd name="connsiteY49" fmla="*/ 2454442 h 4812632"/>
              <a:gd name="connsiteX50" fmla="*/ 4162926 w 4692315"/>
              <a:gd name="connsiteY50" fmla="*/ 2418347 h 4812632"/>
              <a:gd name="connsiteX51" fmla="*/ 4211052 w 4692315"/>
              <a:gd name="connsiteY51" fmla="*/ 2358189 h 4812632"/>
              <a:gd name="connsiteX52" fmla="*/ 4247147 w 4692315"/>
              <a:gd name="connsiteY52" fmla="*/ 2237874 h 4812632"/>
              <a:gd name="connsiteX53" fmla="*/ 4259179 w 4692315"/>
              <a:gd name="connsiteY53" fmla="*/ 2201779 h 4812632"/>
              <a:gd name="connsiteX54" fmla="*/ 4271210 w 4692315"/>
              <a:gd name="connsiteY54" fmla="*/ 2165684 h 4812632"/>
              <a:gd name="connsiteX55" fmla="*/ 4295273 w 4692315"/>
              <a:gd name="connsiteY55" fmla="*/ 2129589 h 4812632"/>
              <a:gd name="connsiteX56" fmla="*/ 4319336 w 4692315"/>
              <a:gd name="connsiteY56" fmla="*/ 2057400 h 4812632"/>
              <a:gd name="connsiteX57" fmla="*/ 4331368 w 4692315"/>
              <a:gd name="connsiteY57" fmla="*/ 2021305 h 4812632"/>
              <a:gd name="connsiteX58" fmla="*/ 4343400 w 4692315"/>
              <a:gd name="connsiteY58" fmla="*/ 1985210 h 4812632"/>
              <a:gd name="connsiteX59" fmla="*/ 4367463 w 4692315"/>
              <a:gd name="connsiteY59" fmla="*/ 1792705 h 4812632"/>
              <a:gd name="connsiteX60" fmla="*/ 4391526 w 4692315"/>
              <a:gd name="connsiteY60" fmla="*/ 1395663 h 4812632"/>
              <a:gd name="connsiteX61" fmla="*/ 4403557 w 4692315"/>
              <a:gd name="connsiteY61" fmla="*/ 938463 h 4812632"/>
              <a:gd name="connsiteX62" fmla="*/ 4427621 w 4692315"/>
              <a:gd name="connsiteY62" fmla="*/ 914400 h 4812632"/>
              <a:gd name="connsiteX63" fmla="*/ 4439652 w 4692315"/>
              <a:gd name="connsiteY63" fmla="*/ 878305 h 4812632"/>
              <a:gd name="connsiteX64" fmla="*/ 4487779 w 4692315"/>
              <a:gd name="connsiteY64" fmla="*/ 818147 h 4812632"/>
              <a:gd name="connsiteX65" fmla="*/ 4511842 w 4692315"/>
              <a:gd name="connsiteY65" fmla="*/ 733926 h 4812632"/>
              <a:gd name="connsiteX66" fmla="*/ 4523873 w 4692315"/>
              <a:gd name="connsiteY66" fmla="*/ 673768 h 4812632"/>
              <a:gd name="connsiteX67" fmla="*/ 4547936 w 4692315"/>
              <a:gd name="connsiteY67" fmla="*/ 601579 h 4812632"/>
              <a:gd name="connsiteX68" fmla="*/ 4559968 w 4692315"/>
              <a:gd name="connsiteY68" fmla="*/ 565484 h 4812632"/>
              <a:gd name="connsiteX69" fmla="*/ 4584031 w 4692315"/>
              <a:gd name="connsiteY69" fmla="*/ 529389 h 4812632"/>
              <a:gd name="connsiteX70" fmla="*/ 4632157 w 4692315"/>
              <a:gd name="connsiteY70" fmla="*/ 469232 h 4812632"/>
              <a:gd name="connsiteX71" fmla="*/ 4656221 w 4692315"/>
              <a:gd name="connsiteY71" fmla="*/ 397042 h 4812632"/>
              <a:gd name="connsiteX72" fmla="*/ 4692315 w 4692315"/>
              <a:gd name="connsiteY72" fmla="*/ 336884 h 4812632"/>
              <a:gd name="connsiteX73" fmla="*/ 3970421 w 4692315"/>
              <a:gd name="connsiteY73" fmla="*/ 0 h 4812632"/>
              <a:gd name="connsiteX74" fmla="*/ 3657600 w 4692315"/>
              <a:gd name="connsiteY74" fmla="*/ 757989 h 4812632"/>
              <a:gd name="connsiteX75" fmla="*/ 3826042 w 4692315"/>
              <a:gd name="connsiteY75" fmla="*/ 1708484 h 4812632"/>
              <a:gd name="connsiteX76" fmla="*/ 3104147 w 4692315"/>
              <a:gd name="connsiteY76" fmla="*/ 2767263 h 4812632"/>
              <a:gd name="connsiteX77" fmla="*/ 2286000 w 4692315"/>
              <a:gd name="connsiteY77" fmla="*/ 3236495 h 4812632"/>
              <a:gd name="connsiteX78" fmla="*/ 649705 w 4692315"/>
              <a:gd name="connsiteY78" fmla="*/ 3597442 h 4812632"/>
              <a:gd name="connsiteX79" fmla="*/ 0 w 4692315"/>
              <a:gd name="connsiteY79" fmla="*/ 4054642 h 4812632"/>
              <a:gd name="connsiteX80" fmla="*/ 625642 w 4692315"/>
              <a:gd name="connsiteY80" fmla="*/ 4812632 h 4812632"/>
              <a:gd name="connsiteX81" fmla="*/ 589547 w 4692315"/>
              <a:gd name="connsiteY81"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06515 w 4692315"/>
              <a:gd name="connsiteY43" fmla="*/ 2683042 h 4812632"/>
              <a:gd name="connsiteX44" fmla="*/ 4054642 w 4692315"/>
              <a:gd name="connsiteY44" fmla="*/ 2622884 h 4812632"/>
              <a:gd name="connsiteX45" fmla="*/ 4078705 w 4692315"/>
              <a:gd name="connsiteY45" fmla="*/ 2586789 h 4812632"/>
              <a:gd name="connsiteX46" fmla="*/ 4090736 w 4692315"/>
              <a:gd name="connsiteY46" fmla="*/ 2550695 h 4812632"/>
              <a:gd name="connsiteX47" fmla="*/ 4114800 w 4692315"/>
              <a:gd name="connsiteY47" fmla="*/ 2526632 h 4812632"/>
              <a:gd name="connsiteX48" fmla="*/ 4150894 w 4692315"/>
              <a:gd name="connsiteY48" fmla="*/ 2454442 h 4812632"/>
              <a:gd name="connsiteX49" fmla="*/ 4162926 w 4692315"/>
              <a:gd name="connsiteY49" fmla="*/ 2418347 h 4812632"/>
              <a:gd name="connsiteX50" fmla="*/ 4211052 w 4692315"/>
              <a:gd name="connsiteY50" fmla="*/ 2358189 h 4812632"/>
              <a:gd name="connsiteX51" fmla="*/ 4247147 w 4692315"/>
              <a:gd name="connsiteY51" fmla="*/ 2237874 h 4812632"/>
              <a:gd name="connsiteX52" fmla="*/ 4259179 w 4692315"/>
              <a:gd name="connsiteY52" fmla="*/ 2201779 h 4812632"/>
              <a:gd name="connsiteX53" fmla="*/ 4271210 w 4692315"/>
              <a:gd name="connsiteY53" fmla="*/ 2165684 h 4812632"/>
              <a:gd name="connsiteX54" fmla="*/ 4295273 w 4692315"/>
              <a:gd name="connsiteY54" fmla="*/ 2129589 h 4812632"/>
              <a:gd name="connsiteX55" fmla="*/ 4319336 w 4692315"/>
              <a:gd name="connsiteY55" fmla="*/ 2057400 h 4812632"/>
              <a:gd name="connsiteX56" fmla="*/ 4331368 w 4692315"/>
              <a:gd name="connsiteY56" fmla="*/ 2021305 h 4812632"/>
              <a:gd name="connsiteX57" fmla="*/ 4343400 w 4692315"/>
              <a:gd name="connsiteY57" fmla="*/ 1985210 h 4812632"/>
              <a:gd name="connsiteX58" fmla="*/ 4367463 w 4692315"/>
              <a:gd name="connsiteY58" fmla="*/ 1792705 h 4812632"/>
              <a:gd name="connsiteX59" fmla="*/ 4391526 w 4692315"/>
              <a:gd name="connsiteY59" fmla="*/ 1395663 h 4812632"/>
              <a:gd name="connsiteX60" fmla="*/ 4403557 w 4692315"/>
              <a:gd name="connsiteY60" fmla="*/ 938463 h 4812632"/>
              <a:gd name="connsiteX61" fmla="*/ 4427621 w 4692315"/>
              <a:gd name="connsiteY61" fmla="*/ 914400 h 4812632"/>
              <a:gd name="connsiteX62" fmla="*/ 4439652 w 4692315"/>
              <a:gd name="connsiteY62" fmla="*/ 878305 h 4812632"/>
              <a:gd name="connsiteX63" fmla="*/ 4487779 w 4692315"/>
              <a:gd name="connsiteY63" fmla="*/ 818147 h 4812632"/>
              <a:gd name="connsiteX64" fmla="*/ 4511842 w 4692315"/>
              <a:gd name="connsiteY64" fmla="*/ 733926 h 4812632"/>
              <a:gd name="connsiteX65" fmla="*/ 4523873 w 4692315"/>
              <a:gd name="connsiteY65" fmla="*/ 673768 h 4812632"/>
              <a:gd name="connsiteX66" fmla="*/ 4547936 w 4692315"/>
              <a:gd name="connsiteY66" fmla="*/ 601579 h 4812632"/>
              <a:gd name="connsiteX67" fmla="*/ 4559968 w 4692315"/>
              <a:gd name="connsiteY67" fmla="*/ 565484 h 4812632"/>
              <a:gd name="connsiteX68" fmla="*/ 4584031 w 4692315"/>
              <a:gd name="connsiteY68" fmla="*/ 529389 h 4812632"/>
              <a:gd name="connsiteX69" fmla="*/ 4632157 w 4692315"/>
              <a:gd name="connsiteY69" fmla="*/ 469232 h 4812632"/>
              <a:gd name="connsiteX70" fmla="*/ 4656221 w 4692315"/>
              <a:gd name="connsiteY70" fmla="*/ 397042 h 4812632"/>
              <a:gd name="connsiteX71" fmla="*/ 4692315 w 4692315"/>
              <a:gd name="connsiteY71" fmla="*/ 336884 h 4812632"/>
              <a:gd name="connsiteX72" fmla="*/ 3970421 w 4692315"/>
              <a:gd name="connsiteY72" fmla="*/ 0 h 4812632"/>
              <a:gd name="connsiteX73" fmla="*/ 3657600 w 4692315"/>
              <a:gd name="connsiteY73" fmla="*/ 757989 h 4812632"/>
              <a:gd name="connsiteX74" fmla="*/ 3826042 w 4692315"/>
              <a:gd name="connsiteY74" fmla="*/ 1708484 h 4812632"/>
              <a:gd name="connsiteX75" fmla="*/ 3104147 w 4692315"/>
              <a:gd name="connsiteY75" fmla="*/ 2767263 h 4812632"/>
              <a:gd name="connsiteX76" fmla="*/ 2286000 w 4692315"/>
              <a:gd name="connsiteY76" fmla="*/ 3236495 h 4812632"/>
              <a:gd name="connsiteX77" fmla="*/ 649705 w 4692315"/>
              <a:gd name="connsiteY77" fmla="*/ 3597442 h 4812632"/>
              <a:gd name="connsiteX78" fmla="*/ 0 w 4692315"/>
              <a:gd name="connsiteY78" fmla="*/ 4054642 h 4812632"/>
              <a:gd name="connsiteX79" fmla="*/ 625642 w 4692315"/>
              <a:gd name="connsiteY79" fmla="*/ 4812632 h 4812632"/>
              <a:gd name="connsiteX80" fmla="*/ 589547 w 4692315"/>
              <a:gd name="connsiteY80"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06515 w 4692315"/>
              <a:gd name="connsiteY43" fmla="*/ 2683042 h 4812632"/>
              <a:gd name="connsiteX44" fmla="*/ 4054642 w 4692315"/>
              <a:gd name="connsiteY44" fmla="*/ 2622884 h 4812632"/>
              <a:gd name="connsiteX45" fmla="*/ 4078705 w 4692315"/>
              <a:gd name="connsiteY45" fmla="*/ 2586789 h 4812632"/>
              <a:gd name="connsiteX46" fmla="*/ 4090736 w 4692315"/>
              <a:gd name="connsiteY46" fmla="*/ 2550695 h 4812632"/>
              <a:gd name="connsiteX47" fmla="*/ 4114800 w 4692315"/>
              <a:gd name="connsiteY47" fmla="*/ 2526632 h 4812632"/>
              <a:gd name="connsiteX48" fmla="*/ 4150894 w 4692315"/>
              <a:gd name="connsiteY48" fmla="*/ 2454442 h 4812632"/>
              <a:gd name="connsiteX49" fmla="*/ 4162926 w 4692315"/>
              <a:gd name="connsiteY49" fmla="*/ 2418347 h 4812632"/>
              <a:gd name="connsiteX50" fmla="*/ 4247147 w 4692315"/>
              <a:gd name="connsiteY50" fmla="*/ 2237874 h 4812632"/>
              <a:gd name="connsiteX51" fmla="*/ 4259179 w 4692315"/>
              <a:gd name="connsiteY51" fmla="*/ 2201779 h 4812632"/>
              <a:gd name="connsiteX52" fmla="*/ 4271210 w 4692315"/>
              <a:gd name="connsiteY52" fmla="*/ 2165684 h 4812632"/>
              <a:gd name="connsiteX53" fmla="*/ 4295273 w 4692315"/>
              <a:gd name="connsiteY53" fmla="*/ 2129589 h 4812632"/>
              <a:gd name="connsiteX54" fmla="*/ 4319336 w 4692315"/>
              <a:gd name="connsiteY54" fmla="*/ 2057400 h 4812632"/>
              <a:gd name="connsiteX55" fmla="*/ 4331368 w 4692315"/>
              <a:gd name="connsiteY55" fmla="*/ 2021305 h 4812632"/>
              <a:gd name="connsiteX56" fmla="*/ 4343400 w 4692315"/>
              <a:gd name="connsiteY56" fmla="*/ 1985210 h 4812632"/>
              <a:gd name="connsiteX57" fmla="*/ 4367463 w 4692315"/>
              <a:gd name="connsiteY57" fmla="*/ 1792705 h 4812632"/>
              <a:gd name="connsiteX58" fmla="*/ 4391526 w 4692315"/>
              <a:gd name="connsiteY58" fmla="*/ 1395663 h 4812632"/>
              <a:gd name="connsiteX59" fmla="*/ 4403557 w 4692315"/>
              <a:gd name="connsiteY59" fmla="*/ 938463 h 4812632"/>
              <a:gd name="connsiteX60" fmla="*/ 4427621 w 4692315"/>
              <a:gd name="connsiteY60" fmla="*/ 914400 h 4812632"/>
              <a:gd name="connsiteX61" fmla="*/ 4439652 w 4692315"/>
              <a:gd name="connsiteY61" fmla="*/ 878305 h 4812632"/>
              <a:gd name="connsiteX62" fmla="*/ 4487779 w 4692315"/>
              <a:gd name="connsiteY62" fmla="*/ 818147 h 4812632"/>
              <a:gd name="connsiteX63" fmla="*/ 4511842 w 4692315"/>
              <a:gd name="connsiteY63" fmla="*/ 733926 h 4812632"/>
              <a:gd name="connsiteX64" fmla="*/ 4523873 w 4692315"/>
              <a:gd name="connsiteY64" fmla="*/ 673768 h 4812632"/>
              <a:gd name="connsiteX65" fmla="*/ 4547936 w 4692315"/>
              <a:gd name="connsiteY65" fmla="*/ 601579 h 4812632"/>
              <a:gd name="connsiteX66" fmla="*/ 4559968 w 4692315"/>
              <a:gd name="connsiteY66" fmla="*/ 565484 h 4812632"/>
              <a:gd name="connsiteX67" fmla="*/ 4584031 w 4692315"/>
              <a:gd name="connsiteY67" fmla="*/ 529389 h 4812632"/>
              <a:gd name="connsiteX68" fmla="*/ 4632157 w 4692315"/>
              <a:gd name="connsiteY68" fmla="*/ 469232 h 4812632"/>
              <a:gd name="connsiteX69" fmla="*/ 4656221 w 4692315"/>
              <a:gd name="connsiteY69" fmla="*/ 397042 h 4812632"/>
              <a:gd name="connsiteX70" fmla="*/ 4692315 w 4692315"/>
              <a:gd name="connsiteY70" fmla="*/ 336884 h 4812632"/>
              <a:gd name="connsiteX71" fmla="*/ 3970421 w 4692315"/>
              <a:gd name="connsiteY71" fmla="*/ 0 h 4812632"/>
              <a:gd name="connsiteX72" fmla="*/ 3657600 w 4692315"/>
              <a:gd name="connsiteY72" fmla="*/ 757989 h 4812632"/>
              <a:gd name="connsiteX73" fmla="*/ 3826042 w 4692315"/>
              <a:gd name="connsiteY73" fmla="*/ 1708484 h 4812632"/>
              <a:gd name="connsiteX74" fmla="*/ 3104147 w 4692315"/>
              <a:gd name="connsiteY74" fmla="*/ 2767263 h 4812632"/>
              <a:gd name="connsiteX75" fmla="*/ 2286000 w 4692315"/>
              <a:gd name="connsiteY75" fmla="*/ 3236495 h 4812632"/>
              <a:gd name="connsiteX76" fmla="*/ 649705 w 4692315"/>
              <a:gd name="connsiteY76" fmla="*/ 3597442 h 4812632"/>
              <a:gd name="connsiteX77" fmla="*/ 0 w 4692315"/>
              <a:gd name="connsiteY77" fmla="*/ 4054642 h 4812632"/>
              <a:gd name="connsiteX78" fmla="*/ 625642 w 4692315"/>
              <a:gd name="connsiteY78" fmla="*/ 4812632 h 4812632"/>
              <a:gd name="connsiteX79" fmla="*/ 589547 w 4692315"/>
              <a:gd name="connsiteY79"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06515 w 4692315"/>
              <a:gd name="connsiteY43" fmla="*/ 2683042 h 4812632"/>
              <a:gd name="connsiteX44" fmla="*/ 4054642 w 4692315"/>
              <a:gd name="connsiteY44" fmla="*/ 2622884 h 4812632"/>
              <a:gd name="connsiteX45" fmla="*/ 4078705 w 4692315"/>
              <a:gd name="connsiteY45" fmla="*/ 2586789 h 4812632"/>
              <a:gd name="connsiteX46" fmla="*/ 4090736 w 4692315"/>
              <a:gd name="connsiteY46" fmla="*/ 2550695 h 4812632"/>
              <a:gd name="connsiteX47" fmla="*/ 4150894 w 4692315"/>
              <a:gd name="connsiteY47" fmla="*/ 2454442 h 4812632"/>
              <a:gd name="connsiteX48" fmla="*/ 4162926 w 4692315"/>
              <a:gd name="connsiteY48" fmla="*/ 2418347 h 4812632"/>
              <a:gd name="connsiteX49" fmla="*/ 4247147 w 4692315"/>
              <a:gd name="connsiteY49" fmla="*/ 2237874 h 4812632"/>
              <a:gd name="connsiteX50" fmla="*/ 4259179 w 4692315"/>
              <a:gd name="connsiteY50" fmla="*/ 2201779 h 4812632"/>
              <a:gd name="connsiteX51" fmla="*/ 4271210 w 4692315"/>
              <a:gd name="connsiteY51" fmla="*/ 2165684 h 4812632"/>
              <a:gd name="connsiteX52" fmla="*/ 4295273 w 4692315"/>
              <a:gd name="connsiteY52" fmla="*/ 2129589 h 4812632"/>
              <a:gd name="connsiteX53" fmla="*/ 4319336 w 4692315"/>
              <a:gd name="connsiteY53" fmla="*/ 2057400 h 4812632"/>
              <a:gd name="connsiteX54" fmla="*/ 4331368 w 4692315"/>
              <a:gd name="connsiteY54" fmla="*/ 2021305 h 4812632"/>
              <a:gd name="connsiteX55" fmla="*/ 4343400 w 4692315"/>
              <a:gd name="connsiteY55" fmla="*/ 1985210 h 4812632"/>
              <a:gd name="connsiteX56" fmla="*/ 4367463 w 4692315"/>
              <a:gd name="connsiteY56" fmla="*/ 1792705 h 4812632"/>
              <a:gd name="connsiteX57" fmla="*/ 4391526 w 4692315"/>
              <a:gd name="connsiteY57" fmla="*/ 1395663 h 4812632"/>
              <a:gd name="connsiteX58" fmla="*/ 4403557 w 4692315"/>
              <a:gd name="connsiteY58" fmla="*/ 938463 h 4812632"/>
              <a:gd name="connsiteX59" fmla="*/ 4427621 w 4692315"/>
              <a:gd name="connsiteY59" fmla="*/ 914400 h 4812632"/>
              <a:gd name="connsiteX60" fmla="*/ 4439652 w 4692315"/>
              <a:gd name="connsiteY60" fmla="*/ 878305 h 4812632"/>
              <a:gd name="connsiteX61" fmla="*/ 4487779 w 4692315"/>
              <a:gd name="connsiteY61" fmla="*/ 818147 h 4812632"/>
              <a:gd name="connsiteX62" fmla="*/ 4511842 w 4692315"/>
              <a:gd name="connsiteY62" fmla="*/ 733926 h 4812632"/>
              <a:gd name="connsiteX63" fmla="*/ 4523873 w 4692315"/>
              <a:gd name="connsiteY63" fmla="*/ 673768 h 4812632"/>
              <a:gd name="connsiteX64" fmla="*/ 4547936 w 4692315"/>
              <a:gd name="connsiteY64" fmla="*/ 601579 h 4812632"/>
              <a:gd name="connsiteX65" fmla="*/ 4559968 w 4692315"/>
              <a:gd name="connsiteY65" fmla="*/ 565484 h 4812632"/>
              <a:gd name="connsiteX66" fmla="*/ 4584031 w 4692315"/>
              <a:gd name="connsiteY66" fmla="*/ 529389 h 4812632"/>
              <a:gd name="connsiteX67" fmla="*/ 4632157 w 4692315"/>
              <a:gd name="connsiteY67" fmla="*/ 469232 h 4812632"/>
              <a:gd name="connsiteX68" fmla="*/ 4656221 w 4692315"/>
              <a:gd name="connsiteY68" fmla="*/ 397042 h 4812632"/>
              <a:gd name="connsiteX69" fmla="*/ 4692315 w 4692315"/>
              <a:gd name="connsiteY69" fmla="*/ 336884 h 4812632"/>
              <a:gd name="connsiteX70" fmla="*/ 3970421 w 4692315"/>
              <a:gd name="connsiteY70" fmla="*/ 0 h 4812632"/>
              <a:gd name="connsiteX71" fmla="*/ 3657600 w 4692315"/>
              <a:gd name="connsiteY71" fmla="*/ 757989 h 4812632"/>
              <a:gd name="connsiteX72" fmla="*/ 3826042 w 4692315"/>
              <a:gd name="connsiteY72" fmla="*/ 1708484 h 4812632"/>
              <a:gd name="connsiteX73" fmla="*/ 3104147 w 4692315"/>
              <a:gd name="connsiteY73" fmla="*/ 2767263 h 4812632"/>
              <a:gd name="connsiteX74" fmla="*/ 2286000 w 4692315"/>
              <a:gd name="connsiteY74" fmla="*/ 3236495 h 4812632"/>
              <a:gd name="connsiteX75" fmla="*/ 649705 w 4692315"/>
              <a:gd name="connsiteY75" fmla="*/ 3597442 h 4812632"/>
              <a:gd name="connsiteX76" fmla="*/ 0 w 4692315"/>
              <a:gd name="connsiteY76" fmla="*/ 4054642 h 4812632"/>
              <a:gd name="connsiteX77" fmla="*/ 625642 w 4692315"/>
              <a:gd name="connsiteY77" fmla="*/ 4812632 h 4812632"/>
              <a:gd name="connsiteX78" fmla="*/ 589547 w 4692315"/>
              <a:gd name="connsiteY78"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06515 w 4692315"/>
              <a:gd name="connsiteY43" fmla="*/ 2683042 h 4812632"/>
              <a:gd name="connsiteX44" fmla="*/ 4054642 w 4692315"/>
              <a:gd name="connsiteY44" fmla="*/ 2622884 h 4812632"/>
              <a:gd name="connsiteX45" fmla="*/ 4090736 w 4692315"/>
              <a:gd name="connsiteY45" fmla="*/ 2550695 h 4812632"/>
              <a:gd name="connsiteX46" fmla="*/ 4150894 w 4692315"/>
              <a:gd name="connsiteY46" fmla="*/ 2454442 h 4812632"/>
              <a:gd name="connsiteX47" fmla="*/ 4162926 w 4692315"/>
              <a:gd name="connsiteY47" fmla="*/ 2418347 h 4812632"/>
              <a:gd name="connsiteX48" fmla="*/ 4247147 w 4692315"/>
              <a:gd name="connsiteY48" fmla="*/ 2237874 h 4812632"/>
              <a:gd name="connsiteX49" fmla="*/ 4259179 w 4692315"/>
              <a:gd name="connsiteY49" fmla="*/ 2201779 h 4812632"/>
              <a:gd name="connsiteX50" fmla="*/ 4271210 w 4692315"/>
              <a:gd name="connsiteY50" fmla="*/ 2165684 h 4812632"/>
              <a:gd name="connsiteX51" fmla="*/ 4295273 w 4692315"/>
              <a:gd name="connsiteY51" fmla="*/ 2129589 h 4812632"/>
              <a:gd name="connsiteX52" fmla="*/ 4319336 w 4692315"/>
              <a:gd name="connsiteY52" fmla="*/ 2057400 h 4812632"/>
              <a:gd name="connsiteX53" fmla="*/ 4331368 w 4692315"/>
              <a:gd name="connsiteY53" fmla="*/ 2021305 h 4812632"/>
              <a:gd name="connsiteX54" fmla="*/ 4343400 w 4692315"/>
              <a:gd name="connsiteY54" fmla="*/ 1985210 h 4812632"/>
              <a:gd name="connsiteX55" fmla="*/ 4367463 w 4692315"/>
              <a:gd name="connsiteY55" fmla="*/ 1792705 h 4812632"/>
              <a:gd name="connsiteX56" fmla="*/ 4391526 w 4692315"/>
              <a:gd name="connsiteY56" fmla="*/ 1395663 h 4812632"/>
              <a:gd name="connsiteX57" fmla="*/ 4403557 w 4692315"/>
              <a:gd name="connsiteY57" fmla="*/ 938463 h 4812632"/>
              <a:gd name="connsiteX58" fmla="*/ 4427621 w 4692315"/>
              <a:gd name="connsiteY58" fmla="*/ 914400 h 4812632"/>
              <a:gd name="connsiteX59" fmla="*/ 4439652 w 4692315"/>
              <a:gd name="connsiteY59" fmla="*/ 878305 h 4812632"/>
              <a:gd name="connsiteX60" fmla="*/ 4487779 w 4692315"/>
              <a:gd name="connsiteY60" fmla="*/ 818147 h 4812632"/>
              <a:gd name="connsiteX61" fmla="*/ 4511842 w 4692315"/>
              <a:gd name="connsiteY61" fmla="*/ 733926 h 4812632"/>
              <a:gd name="connsiteX62" fmla="*/ 4523873 w 4692315"/>
              <a:gd name="connsiteY62" fmla="*/ 673768 h 4812632"/>
              <a:gd name="connsiteX63" fmla="*/ 4547936 w 4692315"/>
              <a:gd name="connsiteY63" fmla="*/ 601579 h 4812632"/>
              <a:gd name="connsiteX64" fmla="*/ 4559968 w 4692315"/>
              <a:gd name="connsiteY64" fmla="*/ 565484 h 4812632"/>
              <a:gd name="connsiteX65" fmla="*/ 4584031 w 4692315"/>
              <a:gd name="connsiteY65" fmla="*/ 529389 h 4812632"/>
              <a:gd name="connsiteX66" fmla="*/ 4632157 w 4692315"/>
              <a:gd name="connsiteY66" fmla="*/ 469232 h 4812632"/>
              <a:gd name="connsiteX67" fmla="*/ 4656221 w 4692315"/>
              <a:gd name="connsiteY67" fmla="*/ 397042 h 4812632"/>
              <a:gd name="connsiteX68" fmla="*/ 4692315 w 4692315"/>
              <a:gd name="connsiteY68" fmla="*/ 336884 h 4812632"/>
              <a:gd name="connsiteX69" fmla="*/ 3970421 w 4692315"/>
              <a:gd name="connsiteY69" fmla="*/ 0 h 4812632"/>
              <a:gd name="connsiteX70" fmla="*/ 3657600 w 4692315"/>
              <a:gd name="connsiteY70" fmla="*/ 757989 h 4812632"/>
              <a:gd name="connsiteX71" fmla="*/ 3826042 w 4692315"/>
              <a:gd name="connsiteY71" fmla="*/ 1708484 h 4812632"/>
              <a:gd name="connsiteX72" fmla="*/ 3104147 w 4692315"/>
              <a:gd name="connsiteY72" fmla="*/ 2767263 h 4812632"/>
              <a:gd name="connsiteX73" fmla="*/ 2286000 w 4692315"/>
              <a:gd name="connsiteY73" fmla="*/ 3236495 h 4812632"/>
              <a:gd name="connsiteX74" fmla="*/ 649705 w 4692315"/>
              <a:gd name="connsiteY74" fmla="*/ 3597442 h 4812632"/>
              <a:gd name="connsiteX75" fmla="*/ 0 w 4692315"/>
              <a:gd name="connsiteY75" fmla="*/ 4054642 h 4812632"/>
              <a:gd name="connsiteX76" fmla="*/ 625642 w 4692315"/>
              <a:gd name="connsiteY76" fmla="*/ 4812632 h 4812632"/>
              <a:gd name="connsiteX77" fmla="*/ 589547 w 4692315"/>
              <a:gd name="connsiteY77"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54642 w 4692315"/>
              <a:gd name="connsiteY43" fmla="*/ 2622884 h 4812632"/>
              <a:gd name="connsiteX44" fmla="*/ 4090736 w 4692315"/>
              <a:gd name="connsiteY44" fmla="*/ 2550695 h 4812632"/>
              <a:gd name="connsiteX45" fmla="*/ 4150894 w 4692315"/>
              <a:gd name="connsiteY45" fmla="*/ 2454442 h 4812632"/>
              <a:gd name="connsiteX46" fmla="*/ 4162926 w 4692315"/>
              <a:gd name="connsiteY46" fmla="*/ 2418347 h 4812632"/>
              <a:gd name="connsiteX47" fmla="*/ 4247147 w 4692315"/>
              <a:gd name="connsiteY47" fmla="*/ 2237874 h 4812632"/>
              <a:gd name="connsiteX48" fmla="*/ 4259179 w 4692315"/>
              <a:gd name="connsiteY48" fmla="*/ 2201779 h 4812632"/>
              <a:gd name="connsiteX49" fmla="*/ 4271210 w 4692315"/>
              <a:gd name="connsiteY49" fmla="*/ 2165684 h 4812632"/>
              <a:gd name="connsiteX50" fmla="*/ 4295273 w 4692315"/>
              <a:gd name="connsiteY50" fmla="*/ 2129589 h 4812632"/>
              <a:gd name="connsiteX51" fmla="*/ 4319336 w 4692315"/>
              <a:gd name="connsiteY51" fmla="*/ 2057400 h 4812632"/>
              <a:gd name="connsiteX52" fmla="*/ 4331368 w 4692315"/>
              <a:gd name="connsiteY52" fmla="*/ 2021305 h 4812632"/>
              <a:gd name="connsiteX53" fmla="*/ 4343400 w 4692315"/>
              <a:gd name="connsiteY53" fmla="*/ 1985210 h 4812632"/>
              <a:gd name="connsiteX54" fmla="*/ 4367463 w 4692315"/>
              <a:gd name="connsiteY54" fmla="*/ 1792705 h 4812632"/>
              <a:gd name="connsiteX55" fmla="*/ 4391526 w 4692315"/>
              <a:gd name="connsiteY55" fmla="*/ 1395663 h 4812632"/>
              <a:gd name="connsiteX56" fmla="*/ 4403557 w 4692315"/>
              <a:gd name="connsiteY56" fmla="*/ 938463 h 4812632"/>
              <a:gd name="connsiteX57" fmla="*/ 4427621 w 4692315"/>
              <a:gd name="connsiteY57" fmla="*/ 914400 h 4812632"/>
              <a:gd name="connsiteX58" fmla="*/ 4439652 w 4692315"/>
              <a:gd name="connsiteY58" fmla="*/ 878305 h 4812632"/>
              <a:gd name="connsiteX59" fmla="*/ 4487779 w 4692315"/>
              <a:gd name="connsiteY59" fmla="*/ 818147 h 4812632"/>
              <a:gd name="connsiteX60" fmla="*/ 4511842 w 4692315"/>
              <a:gd name="connsiteY60" fmla="*/ 733926 h 4812632"/>
              <a:gd name="connsiteX61" fmla="*/ 4523873 w 4692315"/>
              <a:gd name="connsiteY61" fmla="*/ 673768 h 4812632"/>
              <a:gd name="connsiteX62" fmla="*/ 4547936 w 4692315"/>
              <a:gd name="connsiteY62" fmla="*/ 601579 h 4812632"/>
              <a:gd name="connsiteX63" fmla="*/ 4559968 w 4692315"/>
              <a:gd name="connsiteY63" fmla="*/ 565484 h 4812632"/>
              <a:gd name="connsiteX64" fmla="*/ 4584031 w 4692315"/>
              <a:gd name="connsiteY64" fmla="*/ 529389 h 4812632"/>
              <a:gd name="connsiteX65" fmla="*/ 4632157 w 4692315"/>
              <a:gd name="connsiteY65" fmla="*/ 469232 h 4812632"/>
              <a:gd name="connsiteX66" fmla="*/ 4656221 w 4692315"/>
              <a:gd name="connsiteY66" fmla="*/ 397042 h 4812632"/>
              <a:gd name="connsiteX67" fmla="*/ 4692315 w 4692315"/>
              <a:gd name="connsiteY67" fmla="*/ 336884 h 4812632"/>
              <a:gd name="connsiteX68" fmla="*/ 3970421 w 4692315"/>
              <a:gd name="connsiteY68" fmla="*/ 0 h 4812632"/>
              <a:gd name="connsiteX69" fmla="*/ 3657600 w 4692315"/>
              <a:gd name="connsiteY69" fmla="*/ 757989 h 4812632"/>
              <a:gd name="connsiteX70" fmla="*/ 3826042 w 4692315"/>
              <a:gd name="connsiteY70" fmla="*/ 1708484 h 4812632"/>
              <a:gd name="connsiteX71" fmla="*/ 3104147 w 4692315"/>
              <a:gd name="connsiteY71" fmla="*/ 2767263 h 4812632"/>
              <a:gd name="connsiteX72" fmla="*/ 2286000 w 4692315"/>
              <a:gd name="connsiteY72" fmla="*/ 3236495 h 4812632"/>
              <a:gd name="connsiteX73" fmla="*/ 649705 w 4692315"/>
              <a:gd name="connsiteY73" fmla="*/ 3597442 h 4812632"/>
              <a:gd name="connsiteX74" fmla="*/ 0 w 4692315"/>
              <a:gd name="connsiteY74" fmla="*/ 4054642 h 4812632"/>
              <a:gd name="connsiteX75" fmla="*/ 625642 w 4692315"/>
              <a:gd name="connsiteY75" fmla="*/ 4812632 h 4812632"/>
              <a:gd name="connsiteX76" fmla="*/ 589547 w 4692315"/>
              <a:gd name="connsiteY76"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54642 w 4692315"/>
              <a:gd name="connsiteY43" fmla="*/ 2622884 h 4812632"/>
              <a:gd name="connsiteX44" fmla="*/ 4090736 w 4692315"/>
              <a:gd name="connsiteY44" fmla="*/ 2550695 h 4812632"/>
              <a:gd name="connsiteX45" fmla="*/ 4150894 w 4692315"/>
              <a:gd name="connsiteY45" fmla="*/ 2454442 h 4812632"/>
              <a:gd name="connsiteX46" fmla="*/ 4162926 w 4692315"/>
              <a:gd name="connsiteY46" fmla="*/ 2418347 h 4812632"/>
              <a:gd name="connsiteX47" fmla="*/ 4247147 w 4692315"/>
              <a:gd name="connsiteY47" fmla="*/ 2237874 h 4812632"/>
              <a:gd name="connsiteX48" fmla="*/ 4259179 w 4692315"/>
              <a:gd name="connsiteY48" fmla="*/ 2201779 h 4812632"/>
              <a:gd name="connsiteX49" fmla="*/ 4271210 w 4692315"/>
              <a:gd name="connsiteY49" fmla="*/ 2165684 h 4812632"/>
              <a:gd name="connsiteX50" fmla="*/ 4319336 w 4692315"/>
              <a:gd name="connsiteY50" fmla="*/ 2057400 h 4812632"/>
              <a:gd name="connsiteX51" fmla="*/ 4331368 w 4692315"/>
              <a:gd name="connsiteY51" fmla="*/ 2021305 h 4812632"/>
              <a:gd name="connsiteX52" fmla="*/ 4343400 w 4692315"/>
              <a:gd name="connsiteY52" fmla="*/ 1985210 h 4812632"/>
              <a:gd name="connsiteX53" fmla="*/ 4367463 w 4692315"/>
              <a:gd name="connsiteY53" fmla="*/ 1792705 h 4812632"/>
              <a:gd name="connsiteX54" fmla="*/ 4391526 w 4692315"/>
              <a:gd name="connsiteY54" fmla="*/ 1395663 h 4812632"/>
              <a:gd name="connsiteX55" fmla="*/ 4403557 w 4692315"/>
              <a:gd name="connsiteY55" fmla="*/ 938463 h 4812632"/>
              <a:gd name="connsiteX56" fmla="*/ 4427621 w 4692315"/>
              <a:gd name="connsiteY56" fmla="*/ 914400 h 4812632"/>
              <a:gd name="connsiteX57" fmla="*/ 4439652 w 4692315"/>
              <a:gd name="connsiteY57" fmla="*/ 878305 h 4812632"/>
              <a:gd name="connsiteX58" fmla="*/ 4487779 w 4692315"/>
              <a:gd name="connsiteY58" fmla="*/ 818147 h 4812632"/>
              <a:gd name="connsiteX59" fmla="*/ 4511842 w 4692315"/>
              <a:gd name="connsiteY59" fmla="*/ 733926 h 4812632"/>
              <a:gd name="connsiteX60" fmla="*/ 4523873 w 4692315"/>
              <a:gd name="connsiteY60" fmla="*/ 673768 h 4812632"/>
              <a:gd name="connsiteX61" fmla="*/ 4547936 w 4692315"/>
              <a:gd name="connsiteY61" fmla="*/ 601579 h 4812632"/>
              <a:gd name="connsiteX62" fmla="*/ 4559968 w 4692315"/>
              <a:gd name="connsiteY62" fmla="*/ 565484 h 4812632"/>
              <a:gd name="connsiteX63" fmla="*/ 4584031 w 4692315"/>
              <a:gd name="connsiteY63" fmla="*/ 529389 h 4812632"/>
              <a:gd name="connsiteX64" fmla="*/ 4632157 w 4692315"/>
              <a:gd name="connsiteY64" fmla="*/ 469232 h 4812632"/>
              <a:gd name="connsiteX65" fmla="*/ 4656221 w 4692315"/>
              <a:gd name="connsiteY65" fmla="*/ 397042 h 4812632"/>
              <a:gd name="connsiteX66" fmla="*/ 4692315 w 4692315"/>
              <a:gd name="connsiteY66" fmla="*/ 336884 h 4812632"/>
              <a:gd name="connsiteX67" fmla="*/ 3970421 w 4692315"/>
              <a:gd name="connsiteY67" fmla="*/ 0 h 4812632"/>
              <a:gd name="connsiteX68" fmla="*/ 3657600 w 4692315"/>
              <a:gd name="connsiteY68" fmla="*/ 757989 h 4812632"/>
              <a:gd name="connsiteX69" fmla="*/ 3826042 w 4692315"/>
              <a:gd name="connsiteY69" fmla="*/ 1708484 h 4812632"/>
              <a:gd name="connsiteX70" fmla="*/ 3104147 w 4692315"/>
              <a:gd name="connsiteY70" fmla="*/ 2767263 h 4812632"/>
              <a:gd name="connsiteX71" fmla="*/ 2286000 w 4692315"/>
              <a:gd name="connsiteY71" fmla="*/ 3236495 h 4812632"/>
              <a:gd name="connsiteX72" fmla="*/ 649705 w 4692315"/>
              <a:gd name="connsiteY72" fmla="*/ 3597442 h 4812632"/>
              <a:gd name="connsiteX73" fmla="*/ 0 w 4692315"/>
              <a:gd name="connsiteY73" fmla="*/ 4054642 h 4812632"/>
              <a:gd name="connsiteX74" fmla="*/ 625642 w 4692315"/>
              <a:gd name="connsiteY74" fmla="*/ 4812632 h 4812632"/>
              <a:gd name="connsiteX75" fmla="*/ 589547 w 4692315"/>
              <a:gd name="connsiteY75"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54642 w 4692315"/>
              <a:gd name="connsiteY43" fmla="*/ 2622884 h 4812632"/>
              <a:gd name="connsiteX44" fmla="*/ 4090736 w 4692315"/>
              <a:gd name="connsiteY44" fmla="*/ 2550695 h 4812632"/>
              <a:gd name="connsiteX45" fmla="*/ 4150894 w 4692315"/>
              <a:gd name="connsiteY45" fmla="*/ 2454442 h 4812632"/>
              <a:gd name="connsiteX46" fmla="*/ 4162926 w 4692315"/>
              <a:gd name="connsiteY46" fmla="*/ 2418347 h 4812632"/>
              <a:gd name="connsiteX47" fmla="*/ 4247147 w 4692315"/>
              <a:gd name="connsiteY47" fmla="*/ 2237874 h 4812632"/>
              <a:gd name="connsiteX48" fmla="*/ 4259179 w 4692315"/>
              <a:gd name="connsiteY48" fmla="*/ 2201779 h 4812632"/>
              <a:gd name="connsiteX49" fmla="*/ 4271210 w 4692315"/>
              <a:gd name="connsiteY49" fmla="*/ 2165684 h 4812632"/>
              <a:gd name="connsiteX50" fmla="*/ 4319336 w 4692315"/>
              <a:gd name="connsiteY50" fmla="*/ 2057400 h 4812632"/>
              <a:gd name="connsiteX51" fmla="*/ 4331368 w 4692315"/>
              <a:gd name="connsiteY51" fmla="*/ 2021305 h 4812632"/>
              <a:gd name="connsiteX52" fmla="*/ 4367463 w 4692315"/>
              <a:gd name="connsiteY52" fmla="*/ 1792705 h 4812632"/>
              <a:gd name="connsiteX53" fmla="*/ 4391526 w 4692315"/>
              <a:gd name="connsiteY53" fmla="*/ 1395663 h 4812632"/>
              <a:gd name="connsiteX54" fmla="*/ 4403557 w 4692315"/>
              <a:gd name="connsiteY54" fmla="*/ 938463 h 4812632"/>
              <a:gd name="connsiteX55" fmla="*/ 4427621 w 4692315"/>
              <a:gd name="connsiteY55" fmla="*/ 914400 h 4812632"/>
              <a:gd name="connsiteX56" fmla="*/ 4439652 w 4692315"/>
              <a:gd name="connsiteY56" fmla="*/ 878305 h 4812632"/>
              <a:gd name="connsiteX57" fmla="*/ 4487779 w 4692315"/>
              <a:gd name="connsiteY57" fmla="*/ 818147 h 4812632"/>
              <a:gd name="connsiteX58" fmla="*/ 4511842 w 4692315"/>
              <a:gd name="connsiteY58" fmla="*/ 733926 h 4812632"/>
              <a:gd name="connsiteX59" fmla="*/ 4523873 w 4692315"/>
              <a:gd name="connsiteY59" fmla="*/ 673768 h 4812632"/>
              <a:gd name="connsiteX60" fmla="*/ 4547936 w 4692315"/>
              <a:gd name="connsiteY60" fmla="*/ 601579 h 4812632"/>
              <a:gd name="connsiteX61" fmla="*/ 4559968 w 4692315"/>
              <a:gd name="connsiteY61" fmla="*/ 565484 h 4812632"/>
              <a:gd name="connsiteX62" fmla="*/ 4584031 w 4692315"/>
              <a:gd name="connsiteY62" fmla="*/ 529389 h 4812632"/>
              <a:gd name="connsiteX63" fmla="*/ 4632157 w 4692315"/>
              <a:gd name="connsiteY63" fmla="*/ 469232 h 4812632"/>
              <a:gd name="connsiteX64" fmla="*/ 4656221 w 4692315"/>
              <a:gd name="connsiteY64" fmla="*/ 397042 h 4812632"/>
              <a:gd name="connsiteX65" fmla="*/ 4692315 w 4692315"/>
              <a:gd name="connsiteY65" fmla="*/ 336884 h 4812632"/>
              <a:gd name="connsiteX66" fmla="*/ 3970421 w 4692315"/>
              <a:gd name="connsiteY66" fmla="*/ 0 h 4812632"/>
              <a:gd name="connsiteX67" fmla="*/ 3657600 w 4692315"/>
              <a:gd name="connsiteY67" fmla="*/ 757989 h 4812632"/>
              <a:gd name="connsiteX68" fmla="*/ 3826042 w 4692315"/>
              <a:gd name="connsiteY68" fmla="*/ 1708484 h 4812632"/>
              <a:gd name="connsiteX69" fmla="*/ 3104147 w 4692315"/>
              <a:gd name="connsiteY69" fmla="*/ 2767263 h 4812632"/>
              <a:gd name="connsiteX70" fmla="*/ 2286000 w 4692315"/>
              <a:gd name="connsiteY70" fmla="*/ 3236495 h 4812632"/>
              <a:gd name="connsiteX71" fmla="*/ 649705 w 4692315"/>
              <a:gd name="connsiteY71" fmla="*/ 3597442 h 4812632"/>
              <a:gd name="connsiteX72" fmla="*/ 0 w 4692315"/>
              <a:gd name="connsiteY72" fmla="*/ 4054642 h 4812632"/>
              <a:gd name="connsiteX73" fmla="*/ 625642 w 4692315"/>
              <a:gd name="connsiteY73" fmla="*/ 4812632 h 4812632"/>
              <a:gd name="connsiteX74" fmla="*/ 589547 w 4692315"/>
              <a:gd name="connsiteY74"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54642 w 4692315"/>
              <a:gd name="connsiteY43" fmla="*/ 2622884 h 4812632"/>
              <a:gd name="connsiteX44" fmla="*/ 4090736 w 4692315"/>
              <a:gd name="connsiteY44" fmla="*/ 2550695 h 4812632"/>
              <a:gd name="connsiteX45" fmla="*/ 4150894 w 4692315"/>
              <a:gd name="connsiteY45" fmla="*/ 2454442 h 4812632"/>
              <a:gd name="connsiteX46" fmla="*/ 4162926 w 4692315"/>
              <a:gd name="connsiteY46" fmla="*/ 2418347 h 4812632"/>
              <a:gd name="connsiteX47" fmla="*/ 4247147 w 4692315"/>
              <a:gd name="connsiteY47" fmla="*/ 2237874 h 4812632"/>
              <a:gd name="connsiteX48" fmla="*/ 4259179 w 4692315"/>
              <a:gd name="connsiteY48" fmla="*/ 2201779 h 4812632"/>
              <a:gd name="connsiteX49" fmla="*/ 4319336 w 4692315"/>
              <a:gd name="connsiteY49" fmla="*/ 2057400 h 4812632"/>
              <a:gd name="connsiteX50" fmla="*/ 4331368 w 4692315"/>
              <a:gd name="connsiteY50" fmla="*/ 2021305 h 4812632"/>
              <a:gd name="connsiteX51" fmla="*/ 4367463 w 4692315"/>
              <a:gd name="connsiteY51" fmla="*/ 1792705 h 4812632"/>
              <a:gd name="connsiteX52" fmla="*/ 4391526 w 4692315"/>
              <a:gd name="connsiteY52" fmla="*/ 1395663 h 4812632"/>
              <a:gd name="connsiteX53" fmla="*/ 4403557 w 4692315"/>
              <a:gd name="connsiteY53" fmla="*/ 938463 h 4812632"/>
              <a:gd name="connsiteX54" fmla="*/ 4427621 w 4692315"/>
              <a:gd name="connsiteY54" fmla="*/ 914400 h 4812632"/>
              <a:gd name="connsiteX55" fmla="*/ 4439652 w 4692315"/>
              <a:gd name="connsiteY55" fmla="*/ 878305 h 4812632"/>
              <a:gd name="connsiteX56" fmla="*/ 4487779 w 4692315"/>
              <a:gd name="connsiteY56" fmla="*/ 818147 h 4812632"/>
              <a:gd name="connsiteX57" fmla="*/ 4511842 w 4692315"/>
              <a:gd name="connsiteY57" fmla="*/ 733926 h 4812632"/>
              <a:gd name="connsiteX58" fmla="*/ 4523873 w 4692315"/>
              <a:gd name="connsiteY58" fmla="*/ 673768 h 4812632"/>
              <a:gd name="connsiteX59" fmla="*/ 4547936 w 4692315"/>
              <a:gd name="connsiteY59" fmla="*/ 601579 h 4812632"/>
              <a:gd name="connsiteX60" fmla="*/ 4559968 w 4692315"/>
              <a:gd name="connsiteY60" fmla="*/ 565484 h 4812632"/>
              <a:gd name="connsiteX61" fmla="*/ 4584031 w 4692315"/>
              <a:gd name="connsiteY61" fmla="*/ 529389 h 4812632"/>
              <a:gd name="connsiteX62" fmla="*/ 4632157 w 4692315"/>
              <a:gd name="connsiteY62" fmla="*/ 469232 h 4812632"/>
              <a:gd name="connsiteX63" fmla="*/ 4656221 w 4692315"/>
              <a:gd name="connsiteY63" fmla="*/ 397042 h 4812632"/>
              <a:gd name="connsiteX64" fmla="*/ 4692315 w 4692315"/>
              <a:gd name="connsiteY64" fmla="*/ 336884 h 4812632"/>
              <a:gd name="connsiteX65" fmla="*/ 3970421 w 4692315"/>
              <a:gd name="connsiteY65" fmla="*/ 0 h 4812632"/>
              <a:gd name="connsiteX66" fmla="*/ 3657600 w 4692315"/>
              <a:gd name="connsiteY66" fmla="*/ 757989 h 4812632"/>
              <a:gd name="connsiteX67" fmla="*/ 3826042 w 4692315"/>
              <a:gd name="connsiteY67" fmla="*/ 1708484 h 4812632"/>
              <a:gd name="connsiteX68" fmla="*/ 3104147 w 4692315"/>
              <a:gd name="connsiteY68" fmla="*/ 2767263 h 4812632"/>
              <a:gd name="connsiteX69" fmla="*/ 2286000 w 4692315"/>
              <a:gd name="connsiteY69" fmla="*/ 3236495 h 4812632"/>
              <a:gd name="connsiteX70" fmla="*/ 649705 w 4692315"/>
              <a:gd name="connsiteY70" fmla="*/ 3597442 h 4812632"/>
              <a:gd name="connsiteX71" fmla="*/ 0 w 4692315"/>
              <a:gd name="connsiteY71" fmla="*/ 4054642 h 4812632"/>
              <a:gd name="connsiteX72" fmla="*/ 625642 w 4692315"/>
              <a:gd name="connsiteY72" fmla="*/ 4812632 h 4812632"/>
              <a:gd name="connsiteX73" fmla="*/ 589547 w 4692315"/>
              <a:gd name="connsiteY73"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54642 w 4692315"/>
              <a:gd name="connsiteY43" fmla="*/ 2622884 h 4812632"/>
              <a:gd name="connsiteX44" fmla="*/ 4090736 w 4692315"/>
              <a:gd name="connsiteY44" fmla="*/ 2550695 h 4812632"/>
              <a:gd name="connsiteX45" fmla="*/ 4150894 w 4692315"/>
              <a:gd name="connsiteY45" fmla="*/ 2454442 h 4812632"/>
              <a:gd name="connsiteX46" fmla="*/ 4162926 w 4692315"/>
              <a:gd name="connsiteY46" fmla="*/ 2418347 h 4812632"/>
              <a:gd name="connsiteX47" fmla="*/ 4150894 w 4692315"/>
              <a:gd name="connsiteY47" fmla="*/ 2478505 h 4812632"/>
              <a:gd name="connsiteX48" fmla="*/ 4247147 w 4692315"/>
              <a:gd name="connsiteY48" fmla="*/ 2237874 h 4812632"/>
              <a:gd name="connsiteX49" fmla="*/ 4259179 w 4692315"/>
              <a:gd name="connsiteY49" fmla="*/ 2201779 h 4812632"/>
              <a:gd name="connsiteX50" fmla="*/ 4319336 w 4692315"/>
              <a:gd name="connsiteY50" fmla="*/ 2057400 h 4812632"/>
              <a:gd name="connsiteX51" fmla="*/ 4331368 w 4692315"/>
              <a:gd name="connsiteY51" fmla="*/ 2021305 h 4812632"/>
              <a:gd name="connsiteX52" fmla="*/ 4367463 w 4692315"/>
              <a:gd name="connsiteY52" fmla="*/ 1792705 h 4812632"/>
              <a:gd name="connsiteX53" fmla="*/ 4391526 w 4692315"/>
              <a:gd name="connsiteY53" fmla="*/ 1395663 h 4812632"/>
              <a:gd name="connsiteX54" fmla="*/ 4403557 w 4692315"/>
              <a:gd name="connsiteY54" fmla="*/ 938463 h 4812632"/>
              <a:gd name="connsiteX55" fmla="*/ 4427621 w 4692315"/>
              <a:gd name="connsiteY55" fmla="*/ 914400 h 4812632"/>
              <a:gd name="connsiteX56" fmla="*/ 4439652 w 4692315"/>
              <a:gd name="connsiteY56" fmla="*/ 878305 h 4812632"/>
              <a:gd name="connsiteX57" fmla="*/ 4487779 w 4692315"/>
              <a:gd name="connsiteY57" fmla="*/ 818147 h 4812632"/>
              <a:gd name="connsiteX58" fmla="*/ 4511842 w 4692315"/>
              <a:gd name="connsiteY58" fmla="*/ 733926 h 4812632"/>
              <a:gd name="connsiteX59" fmla="*/ 4523873 w 4692315"/>
              <a:gd name="connsiteY59" fmla="*/ 673768 h 4812632"/>
              <a:gd name="connsiteX60" fmla="*/ 4547936 w 4692315"/>
              <a:gd name="connsiteY60" fmla="*/ 601579 h 4812632"/>
              <a:gd name="connsiteX61" fmla="*/ 4559968 w 4692315"/>
              <a:gd name="connsiteY61" fmla="*/ 565484 h 4812632"/>
              <a:gd name="connsiteX62" fmla="*/ 4584031 w 4692315"/>
              <a:gd name="connsiteY62" fmla="*/ 529389 h 4812632"/>
              <a:gd name="connsiteX63" fmla="*/ 4632157 w 4692315"/>
              <a:gd name="connsiteY63" fmla="*/ 469232 h 4812632"/>
              <a:gd name="connsiteX64" fmla="*/ 4656221 w 4692315"/>
              <a:gd name="connsiteY64" fmla="*/ 397042 h 4812632"/>
              <a:gd name="connsiteX65" fmla="*/ 4692315 w 4692315"/>
              <a:gd name="connsiteY65" fmla="*/ 336884 h 4812632"/>
              <a:gd name="connsiteX66" fmla="*/ 3970421 w 4692315"/>
              <a:gd name="connsiteY66" fmla="*/ 0 h 4812632"/>
              <a:gd name="connsiteX67" fmla="*/ 3657600 w 4692315"/>
              <a:gd name="connsiteY67" fmla="*/ 757989 h 4812632"/>
              <a:gd name="connsiteX68" fmla="*/ 3826042 w 4692315"/>
              <a:gd name="connsiteY68" fmla="*/ 1708484 h 4812632"/>
              <a:gd name="connsiteX69" fmla="*/ 3104147 w 4692315"/>
              <a:gd name="connsiteY69" fmla="*/ 2767263 h 4812632"/>
              <a:gd name="connsiteX70" fmla="*/ 2286000 w 4692315"/>
              <a:gd name="connsiteY70" fmla="*/ 3236495 h 4812632"/>
              <a:gd name="connsiteX71" fmla="*/ 649705 w 4692315"/>
              <a:gd name="connsiteY71" fmla="*/ 3597442 h 4812632"/>
              <a:gd name="connsiteX72" fmla="*/ 0 w 4692315"/>
              <a:gd name="connsiteY72" fmla="*/ 4054642 h 4812632"/>
              <a:gd name="connsiteX73" fmla="*/ 625642 w 4692315"/>
              <a:gd name="connsiteY73" fmla="*/ 4812632 h 4812632"/>
              <a:gd name="connsiteX74" fmla="*/ 589547 w 4692315"/>
              <a:gd name="connsiteY74"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54642 w 4692315"/>
              <a:gd name="connsiteY43" fmla="*/ 2622884 h 4812632"/>
              <a:gd name="connsiteX44" fmla="*/ 4150894 w 4692315"/>
              <a:gd name="connsiteY44" fmla="*/ 2454442 h 4812632"/>
              <a:gd name="connsiteX45" fmla="*/ 4162926 w 4692315"/>
              <a:gd name="connsiteY45" fmla="*/ 2418347 h 4812632"/>
              <a:gd name="connsiteX46" fmla="*/ 4150894 w 4692315"/>
              <a:gd name="connsiteY46" fmla="*/ 2478505 h 4812632"/>
              <a:gd name="connsiteX47" fmla="*/ 4247147 w 4692315"/>
              <a:gd name="connsiteY47" fmla="*/ 2237874 h 4812632"/>
              <a:gd name="connsiteX48" fmla="*/ 4259179 w 4692315"/>
              <a:gd name="connsiteY48" fmla="*/ 2201779 h 4812632"/>
              <a:gd name="connsiteX49" fmla="*/ 4319336 w 4692315"/>
              <a:gd name="connsiteY49" fmla="*/ 2057400 h 4812632"/>
              <a:gd name="connsiteX50" fmla="*/ 4331368 w 4692315"/>
              <a:gd name="connsiteY50" fmla="*/ 2021305 h 4812632"/>
              <a:gd name="connsiteX51" fmla="*/ 4367463 w 4692315"/>
              <a:gd name="connsiteY51" fmla="*/ 1792705 h 4812632"/>
              <a:gd name="connsiteX52" fmla="*/ 4391526 w 4692315"/>
              <a:gd name="connsiteY52" fmla="*/ 1395663 h 4812632"/>
              <a:gd name="connsiteX53" fmla="*/ 4403557 w 4692315"/>
              <a:gd name="connsiteY53" fmla="*/ 938463 h 4812632"/>
              <a:gd name="connsiteX54" fmla="*/ 4427621 w 4692315"/>
              <a:gd name="connsiteY54" fmla="*/ 914400 h 4812632"/>
              <a:gd name="connsiteX55" fmla="*/ 4439652 w 4692315"/>
              <a:gd name="connsiteY55" fmla="*/ 878305 h 4812632"/>
              <a:gd name="connsiteX56" fmla="*/ 4487779 w 4692315"/>
              <a:gd name="connsiteY56" fmla="*/ 818147 h 4812632"/>
              <a:gd name="connsiteX57" fmla="*/ 4511842 w 4692315"/>
              <a:gd name="connsiteY57" fmla="*/ 733926 h 4812632"/>
              <a:gd name="connsiteX58" fmla="*/ 4523873 w 4692315"/>
              <a:gd name="connsiteY58" fmla="*/ 673768 h 4812632"/>
              <a:gd name="connsiteX59" fmla="*/ 4547936 w 4692315"/>
              <a:gd name="connsiteY59" fmla="*/ 601579 h 4812632"/>
              <a:gd name="connsiteX60" fmla="*/ 4559968 w 4692315"/>
              <a:gd name="connsiteY60" fmla="*/ 565484 h 4812632"/>
              <a:gd name="connsiteX61" fmla="*/ 4584031 w 4692315"/>
              <a:gd name="connsiteY61" fmla="*/ 529389 h 4812632"/>
              <a:gd name="connsiteX62" fmla="*/ 4632157 w 4692315"/>
              <a:gd name="connsiteY62" fmla="*/ 469232 h 4812632"/>
              <a:gd name="connsiteX63" fmla="*/ 4656221 w 4692315"/>
              <a:gd name="connsiteY63" fmla="*/ 397042 h 4812632"/>
              <a:gd name="connsiteX64" fmla="*/ 4692315 w 4692315"/>
              <a:gd name="connsiteY64" fmla="*/ 336884 h 4812632"/>
              <a:gd name="connsiteX65" fmla="*/ 3970421 w 4692315"/>
              <a:gd name="connsiteY65" fmla="*/ 0 h 4812632"/>
              <a:gd name="connsiteX66" fmla="*/ 3657600 w 4692315"/>
              <a:gd name="connsiteY66" fmla="*/ 757989 h 4812632"/>
              <a:gd name="connsiteX67" fmla="*/ 3826042 w 4692315"/>
              <a:gd name="connsiteY67" fmla="*/ 1708484 h 4812632"/>
              <a:gd name="connsiteX68" fmla="*/ 3104147 w 4692315"/>
              <a:gd name="connsiteY68" fmla="*/ 2767263 h 4812632"/>
              <a:gd name="connsiteX69" fmla="*/ 2286000 w 4692315"/>
              <a:gd name="connsiteY69" fmla="*/ 3236495 h 4812632"/>
              <a:gd name="connsiteX70" fmla="*/ 649705 w 4692315"/>
              <a:gd name="connsiteY70" fmla="*/ 3597442 h 4812632"/>
              <a:gd name="connsiteX71" fmla="*/ 0 w 4692315"/>
              <a:gd name="connsiteY71" fmla="*/ 4054642 h 4812632"/>
              <a:gd name="connsiteX72" fmla="*/ 625642 w 4692315"/>
              <a:gd name="connsiteY72" fmla="*/ 4812632 h 4812632"/>
              <a:gd name="connsiteX73" fmla="*/ 589547 w 4692315"/>
              <a:gd name="connsiteY73"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54642 w 4692315"/>
              <a:gd name="connsiteY43" fmla="*/ 2622884 h 4812632"/>
              <a:gd name="connsiteX44" fmla="*/ 4150894 w 4692315"/>
              <a:gd name="connsiteY44" fmla="*/ 2454442 h 4812632"/>
              <a:gd name="connsiteX45" fmla="*/ 4162926 w 4692315"/>
              <a:gd name="connsiteY45" fmla="*/ 2418347 h 4812632"/>
              <a:gd name="connsiteX46" fmla="*/ 4247147 w 4692315"/>
              <a:gd name="connsiteY46" fmla="*/ 2237874 h 4812632"/>
              <a:gd name="connsiteX47" fmla="*/ 4259179 w 4692315"/>
              <a:gd name="connsiteY47" fmla="*/ 2201779 h 4812632"/>
              <a:gd name="connsiteX48" fmla="*/ 4319336 w 4692315"/>
              <a:gd name="connsiteY48" fmla="*/ 2057400 h 4812632"/>
              <a:gd name="connsiteX49" fmla="*/ 4331368 w 4692315"/>
              <a:gd name="connsiteY49" fmla="*/ 2021305 h 4812632"/>
              <a:gd name="connsiteX50" fmla="*/ 4367463 w 4692315"/>
              <a:gd name="connsiteY50" fmla="*/ 1792705 h 4812632"/>
              <a:gd name="connsiteX51" fmla="*/ 4391526 w 4692315"/>
              <a:gd name="connsiteY51" fmla="*/ 1395663 h 4812632"/>
              <a:gd name="connsiteX52" fmla="*/ 4403557 w 4692315"/>
              <a:gd name="connsiteY52" fmla="*/ 938463 h 4812632"/>
              <a:gd name="connsiteX53" fmla="*/ 4427621 w 4692315"/>
              <a:gd name="connsiteY53" fmla="*/ 914400 h 4812632"/>
              <a:gd name="connsiteX54" fmla="*/ 4439652 w 4692315"/>
              <a:gd name="connsiteY54" fmla="*/ 878305 h 4812632"/>
              <a:gd name="connsiteX55" fmla="*/ 4487779 w 4692315"/>
              <a:gd name="connsiteY55" fmla="*/ 818147 h 4812632"/>
              <a:gd name="connsiteX56" fmla="*/ 4511842 w 4692315"/>
              <a:gd name="connsiteY56" fmla="*/ 733926 h 4812632"/>
              <a:gd name="connsiteX57" fmla="*/ 4523873 w 4692315"/>
              <a:gd name="connsiteY57" fmla="*/ 673768 h 4812632"/>
              <a:gd name="connsiteX58" fmla="*/ 4547936 w 4692315"/>
              <a:gd name="connsiteY58" fmla="*/ 601579 h 4812632"/>
              <a:gd name="connsiteX59" fmla="*/ 4559968 w 4692315"/>
              <a:gd name="connsiteY59" fmla="*/ 565484 h 4812632"/>
              <a:gd name="connsiteX60" fmla="*/ 4584031 w 4692315"/>
              <a:gd name="connsiteY60" fmla="*/ 529389 h 4812632"/>
              <a:gd name="connsiteX61" fmla="*/ 4632157 w 4692315"/>
              <a:gd name="connsiteY61" fmla="*/ 469232 h 4812632"/>
              <a:gd name="connsiteX62" fmla="*/ 4656221 w 4692315"/>
              <a:gd name="connsiteY62" fmla="*/ 397042 h 4812632"/>
              <a:gd name="connsiteX63" fmla="*/ 4692315 w 4692315"/>
              <a:gd name="connsiteY63" fmla="*/ 336884 h 4812632"/>
              <a:gd name="connsiteX64" fmla="*/ 3970421 w 4692315"/>
              <a:gd name="connsiteY64" fmla="*/ 0 h 4812632"/>
              <a:gd name="connsiteX65" fmla="*/ 3657600 w 4692315"/>
              <a:gd name="connsiteY65" fmla="*/ 757989 h 4812632"/>
              <a:gd name="connsiteX66" fmla="*/ 3826042 w 4692315"/>
              <a:gd name="connsiteY66" fmla="*/ 1708484 h 4812632"/>
              <a:gd name="connsiteX67" fmla="*/ 3104147 w 4692315"/>
              <a:gd name="connsiteY67" fmla="*/ 2767263 h 4812632"/>
              <a:gd name="connsiteX68" fmla="*/ 2286000 w 4692315"/>
              <a:gd name="connsiteY68" fmla="*/ 3236495 h 4812632"/>
              <a:gd name="connsiteX69" fmla="*/ 649705 w 4692315"/>
              <a:gd name="connsiteY69" fmla="*/ 3597442 h 4812632"/>
              <a:gd name="connsiteX70" fmla="*/ 0 w 4692315"/>
              <a:gd name="connsiteY70" fmla="*/ 4054642 h 4812632"/>
              <a:gd name="connsiteX71" fmla="*/ 625642 w 4692315"/>
              <a:gd name="connsiteY71" fmla="*/ 4812632 h 4812632"/>
              <a:gd name="connsiteX72" fmla="*/ 589547 w 4692315"/>
              <a:gd name="connsiteY72"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54642 w 4692315"/>
              <a:gd name="connsiteY43" fmla="*/ 2622884 h 4812632"/>
              <a:gd name="connsiteX44" fmla="*/ 4150894 w 4692315"/>
              <a:gd name="connsiteY44" fmla="*/ 2454442 h 4812632"/>
              <a:gd name="connsiteX45" fmla="*/ 4162926 w 4692315"/>
              <a:gd name="connsiteY45" fmla="*/ 2418347 h 4812632"/>
              <a:gd name="connsiteX46" fmla="*/ 4247147 w 4692315"/>
              <a:gd name="connsiteY46" fmla="*/ 2237874 h 4812632"/>
              <a:gd name="connsiteX47" fmla="*/ 4259179 w 4692315"/>
              <a:gd name="connsiteY47" fmla="*/ 2201779 h 4812632"/>
              <a:gd name="connsiteX48" fmla="*/ 4319336 w 4692315"/>
              <a:gd name="connsiteY48" fmla="*/ 2057400 h 4812632"/>
              <a:gd name="connsiteX49" fmla="*/ 4331368 w 4692315"/>
              <a:gd name="connsiteY49" fmla="*/ 2021305 h 4812632"/>
              <a:gd name="connsiteX50" fmla="*/ 4367463 w 4692315"/>
              <a:gd name="connsiteY50" fmla="*/ 1792705 h 4812632"/>
              <a:gd name="connsiteX51" fmla="*/ 4391526 w 4692315"/>
              <a:gd name="connsiteY51" fmla="*/ 1395663 h 4812632"/>
              <a:gd name="connsiteX52" fmla="*/ 4403557 w 4692315"/>
              <a:gd name="connsiteY52" fmla="*/ 938463 h 4812632"/>
              <a:gd name="connsiteX53" fmla="*/ 4427621 w 4692315"/>
              <a:gd name="connsiteY53" fmla="*/ 914400 h 4812632"/>
              <a:gd name="connsiteX54" fmla="*/ 4439652 w 4692315"/>
              <a:gd name="connsiteY54" fmla="*/ 878305 h 4812632"/>
              <a:gd name="connsiteX55" fmla="*/ 4487779 w 4692315"/>
              <a:gd name="connsiteY55" fmla="*/ 818147 h 4812632"/>
              <a:gd name="connsiteX56" fmla="*/ 4523873 w 4692315"/>
              <a:gd name="connsiteY56" fmla="*/ 673768 h 4812632"/>
              <a:gd name="connsiteX57" fmla="*/ 4547936 w 4692315"/>
              <a:gd name="connsiteY57" fmla="*/ 601579 h 4812632"/>
              <a:gd name="connsiteX58" fmla="*/ 4559968 w 4692315"/>
              <a:gd name="connsiteY58" fmla="*/ 565484 h 4812632"/>
              <a:gd name="connsiteX59" fmla="*/ 4584031 w 4692315"/>
              <a:gd name="connsiteY59" fmla="*/ 529389 h 4812632"/>
              <a:gd name="connsiteX60" fmla="*/ 4632157 w 4692315"/>
              <a:gd name="connsiteY60" fmla="*/ 469232 h 4812632"/>
              <a:gd name="connsiteX61" fmla="*/ 4656221 w 4692315"/>
              <a:gd name="connsiteY61" fmla="*/ 397042 h 4812632"/>
              <a:gd name="connsiteX62" fmla="*/ 4692315 w 4692315"/>
              <a:gd name="connsiteY62" fmla="*/ 336884 h 4812632"/>
              <a:gd name="connsiteX63" fmla="*/ 3970421 w 4692315"/>
              <a:gd name="connsiteY63" fmla="*/ 0 h 4812632"/>
              <a:gd name="connsiteX64" fmla="*/ 3657600 w 4692315"/>
              <a:gd name="connsiteY64" fmla="*/ 757989 h 4812632"/>
              <a:gd name="connsiteX65" fmla="*/ 3826042 w 4692315"/>
              <a:gd name="connsiteY65" fmla="*/ 1708484 h 4812632"/>
              <a:gd name="connsiteX66" fmla="*/ 3104147 w 4692315"/>
              <a:gd name="connsiteY66" fmla="*/ 2767263 h 4812632"/>
              <a:gd name="connsiteX67" fmla="*/ 2286000 w 4692315"/>
              <a:gd name="connsiteY67" fmla="*/ 3236495 h 4812632"/>
              <a:gd name="connsiteX68" fmla="*/ 649705 w 4692315"/>
              <a:gd name="connsiteY68" fmla="*/ 3597442 h 4812632"/>
              <a:gd name="connsiteX69" fmla="*/ 0 w 4692315"/>
              <a:gd name="connsiteY69" fmla="*/ 4054642 h 4812632"/>
              <a:gd name="connsiteX70" fmla="*/ 625642 w 4692315"/>
              <a:gd name="connsiteY70" fmla="*/ 4812632 h 4812632"/>
              <a:gd name="connsiteX71" fmla="*/ 589547 w 4692315"/>
              <a:gd name="connsiteY71" fmla="*/ 4740442 h 4812632"/>
              <a:gd name="connsiteX0" fmla="*/ 589547 w 4692315"/>
              <a:gd name="connsiteY0" fmla="*/ 4740442 h 4812632"/>
              <a:gd name="connsiteX1" fmla="*/ 589547 w 4692315"/>
              <a:gd name="connsiteY1" fmla="*/ 4740442 h 4812632"/>
              <a:gd name="connsiteX2" fmla="*/ 673768 w 4692315"/>
              <a:gd name="connsiteY2" fmla="*/ 4656221 h 4812632"/>
              <a:gd name="connsiteX3" fmla="*/ 721894 w 4692315"/>
              <a:gd name="connsiteY3" fmla="*/ 4596063 h 4812632"/>
              <a:gd name="connsiteX4" fmla="*/ 757989 w 4692315"/>
              <a:gd name="connsiteY4" fmla="*/ 4523874 h 4812632"/>
              <a:gd name="connsiteX5" fmla="*/ 818147 w 4692315"/>
              <a:gd name="connsiteY5" fmla="*/ 4463716 h 4812632"/>
              <a:gd name="connsiteX6" fmla="*/ 842210 w 4692315"/>
              <a:gd name="connsiteY6" fmla="*/ 4427621 h 4812632"/>
              <a:gd name="connsiteX7" fmla="*/ 914400 w 4692315"/>
              <a:gd name="connsiteY7" fmla="*/ 4379495 h 4812632"/>
              <a:gd name="connsiteX8" fmla="*/ 950494 w 4692315"/>
              <a:gd name="connsiteY8" fmla="*/ 4355432 h 4812632"/>
              <a:gd name="connsiteX9" fmla="*/ 1034715 w 4692315"/>
              <a:gd name="connsiteY9" fmla="*/ 4295274 h 4812632"/>
              <a:gd name="connsiteX10" fmla="*/ 1058779 w 4692315"/>
              <a:gd name="connsiteY10" fmla="*/ 4271210 h 4812632"/>
              <a:gd name="connsiteX11" fmla="*/ 1130968 w 4692315"/>
              <a:gd name="connsiteY11" fmla="*/ 4247147 h 4812632"/>
              <a:gd name="connsiteX12" fmla="*/ 1167063 w 4692315"/>
              <a:gd name="connsiteY12" fmla="*/ 4235116 h 4812632"/>
              <a:gd name="connsiteX13" fmla="*/ 1227221 w 4692315"/>
              <a:gd name="connsiteY13" fmla="*/ 4223084 h 4812632"/>
              <a:gd name="connsiteX14" fmla="*/ 1299410 w 4692315"/>
              <a:gd name="connsiteY14" fmla="*/ 4199021 h 4812632"/>
              <a:gd name="connsiteX15" fmla="*/ 1371600 w 4692315"/>
              <a:gd name="connsiteY15" fmla="*/ 4174958 h 4812632"/>
              <a:gd name="connsiteX16" fmla="*/ 1407694 w 4692315"/>
              <a:gd name="connsiteY16" fmla="*/ 4162926 h 4812632"/>
              <a:gd name="connsiteX17" fmla="*/ 1431757 w 4692315"/>
              <a:gd name="connsiteY17" fmla="*/ 4126832 h 4812632"/>
              <a:gd name="connsiteX18" fmla="*/ 1467852 w 4692315"/>
              <a:gd name="connsiteY18" fmla="*/ 4114800 h 4812632"/>
              <a:gd name="connsiteX19" fmla="*/ 1503947 w 4692315"/>
              <a:gd name="connsiteY19" fmla="*/ 4090737 h 4812632"/>
              <a:gd name="connsiteX20" fmla="*/ 1540042 w 4692315"/>
              <a:gd name="connsiteY20" fmla="*/ 4054642 h 4812632"/>
              <a:gd name="connsiteX21" fmla="*/ 1612231 w 4692315"/>
              <a:gd name="connsiteY21" fmla="*/ 4030579 h 4812632"/>
              <a:gd name="connsiteX22" fmla="*/ 1648326 w 4692315"/>
              <a:gd name="connsiteY22" fmla="*/ 4018547 h 4812632"/>
              <a:gd name="connsiteX23" fmla="*/ 1864894 w 4692315"/>
              <a:gd name="connsiteY23" fmla="*/ 3994484 h 4812632"/>
              <a:gd name="connsiteX24" fmla="*/ 2177715 w 4692315"/>
              <a:gd name="connsiteY24" fmla="*/ 3982453 h 4812632"/>
              <a:gd name="connsiteX25" fmla="*/ 2382252 w 4692315"/>
              <a:gd name="connsiteY25" fmla="*/ 3958389 h 4812632"/>
              <a:gd name="connsiteX26" fmla="*/ 2550694 w 4692315"/>
              <a:gd name="connsiteY26" fmla="*/ 3922295 h 4812632"/>
              <a:gd name="connsiteX27" fmla="*/ 2719136 w 4692315"/>
              <a:gd name="connsiteY27" fmla="*/ 3886200 h 4812632"/>
              <a:gd name="connsiteX28" fmla="*/ 2815389 w 4692315"/>
              <a:gd name="connsiteY28" fmla="*/ 3862137 h 4812632"/>
              <a:gd name="connsiteX29" fmla="*/ 2887579 w 4692315"/>
              <a:gd name="connsiteY29" fmla="*/ 3838074 h 4812632"/>
              <a:gd name="connsiteX30" fmla="*/ 3019926 w 4692315"/>
              <a:gd name="connsiteY30" fmla="*/ 3801979 h 4812632"/>
              <a:gd name="connsiteX31" fmla="*/ 3164305 w 4692315"/>
              <a:gd name="connsiteY31" fmla="*/ 3765884 h 4812632"/>
              <a:gd name="connsiteX32" fmla="*/ 3344779 w 4692315"/>
              <a:gd name="connsiteY32" fmla="*/ 3693695 h 4812632"/>
              <a:gd name="connsiteX33" fmla="*/ 3453063 w 4692315"/>
              <a:gd name="connsiteY33" fmla="*/ 3609474 h 4812632"/>
              <a:gd name="connsiteX34" fmla="*/ 3513221 w 4692315"/>
              <a:gd name="connsiteY34" fmla="*/ 3573379 h 4812632"/>
              <a:gd name="connsiteX35" fmla="*/ 3573379 w 4692315"/>
              <a:gd name="connsiteY35" fmla="*/ 3513221 h 4812632"/>
              <a:gd name="connsiteX36" fmla="*/ 3741821 w 4692315"/>
              <a:gd name="connsiteY36" fmla="*/ 3368842 h 4812632"/>
              <a:gd name="connsiteX37" fmla="*/ 3789947 w 4692315"/>
              <a:gd name="connsiteY37" fmla="*/ 3296653 h 4812632"/>
              <a:gd name="connsiteX38" fmla="*/ 3838073 w 4692315"/>
              <a:gd name="connsiteY38" fmla="*/ 3188368 h 4812632"/>
              <a:gd name="connsiteX39" fmla="*/ 3922294 w 4692315"/>
              <a:gd name="connsiteY39" fmla="*/ 3007895 h 4812632"/>
              <a:gd name="connsiteX40" fmla="*/ 3934326 w 4692315"/>
              <a:gd name="connsiteY40" fmla="*/ 2971800 h 4812632"/>
              <a:gd name="connsiteX41" fmla="*/ 3946357 w 4692315"/>
              <a:gd name="connsiteY41" fmla="*/ 2791326 h 4812632"/>
              <a:gd name="connsiteX42" fmla="*/ 3958389 w 4692315"/>
              <a:gd name="connsiteY42" fmla="*/ 2755232 h 4812632"/>
              <a:gd name="connsiteX43" fmla="*/ 4054642 w 4692315"/>
              <a:gd name="connsiteY43" fmla="*/ 2622884 h 4812632"/>
              <a:gd name="connsiteX44" fmla="*/ 4150894 w 4692315"/>
              <a:gd name="connsiteY44" fmla="*/ 2454442 h 4812632"/>
              <a:gd name="connsiteX45" fmla="*/ 4162926 w 4692315"/>
              <a:gd name="connsiteY45" fmla="*/ 2418347 h 4812632"/>
              <a:gd name="connsiteX46" fmla="*/ 4247147 w 4692315"/>
              <a:gd name="connsiteY46" fmla="*/ 2237874 h 4812632"/>
              <a:gd name="connsiteX47" fmla="*/ 4259179 w 4692315"/>
              <a:gd name="connsiteY47" fmla="*/ 2201779 h 4812632"/>
              <a:gd name="connsiteX48" fmla="*/ 4319336 w 4692315"/>
              <a:gd name="connsiteY48" fmla="*/ 2057400 h 4812632"/>
              <a:gd name="connsiteX49" fmla="*/ 4331368 w 4692315"/>
              <a:gd name="connsiteY49" fmla="*/ 2021305 h 4812632"/>
              <a:gd name="connsiteX50" fmla="*/ 4367463 w 4692315"/>
              <a:gd name="connsiteY50" fmla="*/ 1792705 h 4812632"/>
              <a:gd name="connsiteX51" fmla="*/ 4391526 w 4692315"/>
              <a:gd name="connsiteY51" fmla="*/ 1395663 h 4812632"/>
              <a:gd name="connsiteX52" fmla="*/ 4403557 w 4692315"/>
              <a:gd name="connsiteY52" fmla="*/ 938463 h 4812632"/>
              <a:gd name="connsiteX53" fmla="*/ 4427621 w 4692315"/>
              <a:gd name="connsiteY53" fmla="*/ 914400 h 4812632"/>
              <a:gd name="connsiteX54" fmla="*/ 4439652 w 4692315"/>
              <a:gd name="connsiteY54" fmla="*/ 878305 h 4812632"/>
              <a:gd name="connsiteX55" fmla="*/ 4487779 w 4692315"/>
              <a:gd name="connsiteY55" fmla="*/ 818147 h 4812632"/>
              <a:gd name="connsiteX56" fmla="*/ 4523873 w 4692315"/>
              <a:gd name="connsiteY56" fmla="*/ 673768 h 4812632"/>
              <a:gd name="connsiteX57" fmla="*/ 4547936 w 4692315"/>
              <a:gd name="connsiteY57" fmla="*/ 601579 h 4812632"/>
              <a:gd name="connsiteX58" fmla="*/ 4559968 w 4692315"/>
              <a:gd name="connsiteY58" fmla="*/ 565484 h 4812632"/>
              <a:gd name="connsiteX59" fmla="*/ 4632157 w 4692315"/>
              <a:gd name="connsiteY59" fmla="*/ 469232 h 4812632"/>
              <a:gd name="connsiteX60" fmla="*/ 4656221 w 4692315"/>
              <a:gd name="connsiteY60" fmla="*/ 397042 h 4812632"/>
              <a:gd name="connsiteX61" fmla="*/ 4692315 w 4692315"/>
              <a:gd name="connsiteY61" fmla="*/ 336884 h 4812632"/>
              <a:gd name="connsiteX62" fmla="*/ 3970421 w 4692315"/>
              <a:gd name="connsiteY62" fmla="*/ 0 h 4812632"/>
              <a:gd name="connsiteX63" fmla="*/ 3657600 w 4692315"/>
              <a:gd name="connsiteY63" fmla="*/ 757989 h 4812632"/>
              <a:gd name="connsiteX64" fmla="*/ 3826042 w 4692315"/>
              <a:gd name="connsiteY64" fmla="*/ 1708484 h 4812632"/>
              <a:gd name="connsiteX65" fmla="*/ 3104147 w 4692315"/>
              <a:gd name="connsiteY65" fmla="*/ 2767263 h 4812632"/>
              <a:gd name="connsiteX66" fmla="*/ 2286000 w 4692315"/>
              <a:gd name="connsiteY66" fmla="*/ 3236495 h 4812632"/>
              <a:gd name="connsiteX67" fmla="*/ 649705 w 4692315"/>
              <a:gd name="connsiteY67" fmla="*/ 3597442 h 4812632"/>
              <a:gd name="connsiteX68" fmla="*/ 0 w 4692315"/>
              <a:gd name="connsiteY68" fmla="*/ 4054642 h 4812632"/>
              <a:gd name="connsiteX69" fmla="*/ 625642 w 4692315"/>
              <a:gd name="connsiteY69" fmla="*/ 4812632 h 4812632"/>
              <a:gd name="connsiteX70" fmla="*/ 589547 w 4692315"/>
              <a:gd name="connsiteY70" fmla="*/ 4740442 h 4812632"/>
              <a:gd name="connsiteX0" fmla="*/ 589547 w 4701176"/>
              <a:gd name="connsiteY0" fmla="*/ 4746883 h 4819073"/>
              <a:gd name="connsiteX1" fmla="*/ 589547 w 4701176"/>
              <a:gd name="connsiteY1" fmla="*/ 4746883 h 4819073"/>
              <a:gd name="connsiteX2" fmla="*/ 673768 w 4701176"/>
              <a:gd name="connsiteY2" fmla="*/ 4662662 h 4819073"/>
              <a:gd name="connsiteX3" fmla="*/ 721894 w 4701176"/>
              <a:gd name="connsiteY3" fmla="*/ 4602504 h 4819073"/>
              <a:gd name="connsiteX4" fmla="*/ 757989 w 4701176"/>
              <a:gd name="connsiteY4" fmla="*/ 4530315 h 4819073"/>
              <a:gd name="connsiteX5" fmla="*/ 818147 w 4701176"/>
              <a:gd name="connsiteY5" fmla="*/ 4470157 h 4819073"/>
              <a:gd name="connsiteX6" fmla="*/ 842210 w 4701176"/>
              <a:gd name="connsiteY6" fmla="*/ 4434062 h 4819073"/>
              <a:gd name="connsiteX7" fmla="*/ 914400 w 4701176"/>
              <a:gd name="connsiteY7" fmla="*/ 4385936 h 4819073"/>
              <a:gd name="connsiteX8" fmla="*/ 950494 w 4701176"/>
              <a:gd name="connsiteY8" fmla="*/ 4361873 h 4819073"/>
              <a:gd name="connsiteX9" fmla="*/ 1034715 w 4701176"/>
              <a:gd name="connsiteY9" fmla="*/ 4301715 h 4819073"/>
              <a:gd name="connsiteX10" fmla="*/ 1058779 w 4701176"/>
              <a:gd name="connsiteY10" fmla="*/ 4277651 h 4819073"/>
              <a:gd name="connsiteX11" fmla="*/ 1130968 w 4701176"/>
              <a:gd name="connsiteY11" fmla="*/ 4253588 h 4819073"/>
              <a:gd name="connsiteX12" fmla="*/ 1167063 w 4701176"/>
              <a:gd name="connsiteY12" fmla="*/ 4241557 h 4819073"/>
              <a:gd name="connsiteX13" fmla="*/ 1227221 w 4701176"/>
              <a:gd name="connsiteY13" fmla="*/ 4229525 h 4819073"/>
              <a:gd name="connsiteX14" fmla="*/ 1299410 w 4701176"/>
              <a:gd name="connsiteY14" fmla="*/ 4205462 h 4819073"/>
              <a:gd name="connsiteX15" fmla="*/ 1371600 w 4701176"/>
              <a:gd name="connsiteY15" fmla="*/ 4181399 h 4819073"/>
              <a:gd name="connsiteX16" fmla="*/ 1407694 w 4701176"/>
              <a:gd name="connsiteY16" fmla="*/ 4169367 h 4819073"/>
              <a:gd name="connsiteX17" fmla="*/ 1431757 w 4701176"/>
              <a:gd name="connsiteY17" fmla="*/ 4133273 h 4819073"/>
              <a:gd name="connsiteX18" fmla="*/ 1467852 w 4701176"/>
              <a:gd name="connsiteY18" fmla="*/ 4121241 h 4819073"/>
              <a:gd name="connsiteX19" fmla="*/ 1503947 w 4701176"/>
              <a:gd name="connsiteY19" fmla="*/ 4097178 h 4819073"/>
              <a:gd name="connsiteX20" fmla="*/ 1540042 w 4701176"/>
              <a:gd name="connsiteY20" fmla="*/ 4061083 h 4819073"/>
              <a:gd name="connsiteX21" fmla="*/ 1612231 w 4701176"/>
              <a:gd name="connsiteY21" fmla="*/ 4037020 h 4819073"/>
              <a:gd name="connsiteX22" fmla="*/ 1648326 w 4701176"/>
              <a:gd name="connsiteY22" fmla="*/ 4024988 h 4819073"/>
              <a:gd name="connsiteX23" fmla="*/ 1864894 w 4701176"/>
              <a:gd name="connsiteY23" fmla="*/ 4000925 h 4819073"/>
              <a:gd name="connsiteX24" fmla="*/ 2177715 w 4701176"/>
              <a:gd name="connsiteY24" fmla="*/ 3988894 h 4819073"/>
              <a:gd name="connsiteX25" fmla="*/ 2382252 w 4701176"/>
              <a:gd name="connsiteY25" fmla="*/ 3964830 h 4819073"/>
              <a:gd name="connsiteX26" fmla="*/ 2550694 w 4701176"/>
              <a:gd name="connsiteY26" fmla="*/ 3928736 h 4819073"/>
              <a:gd name="connsiteX27" fmla="*/ 2719136 w 4701176"/>
              <a:gd name="connsiteY27" fmla="*/ 3892641 h 4819073"/>
              <a:gd name="connsiteX28" fmla="*/ 2815389 w 4701176"/>
              <a:gd name="connsiteY28" fmla="*/ 3868578 h 4819073"/>
              <a:gd name="connsiteX29" fmla="*/ 2887579 w 4701176"/>
              <a:gd name="connsiteY29" fmla="*/ 3844515 h 4819073"/>
              <a:gd name="connsiteX30" fmla="*/ 3019926 w 4701176"/>
              <a:gd name="connsiteY30" fmla="*/ 3808420 h 4819073"/>
              <a:gd name="connsiteX31" fmla="*/ 3164305 w 4701176"/>
              <a:gd name="connsiteY31" fmla="*/ 3772325 h 4819073"/>
              <a:gd name="connsiteX32" fmla="*/ 3344779 w 4701176"/>
              <a:gd name="connsiteY32" fmla="*/ 3700136 h 4819073"/>
              <a:gd name="connsiteX33" fmla="*/ 3453063 w 4701176"/>
              <a:gd name="connsiteY33" fmla="*/ 3615915 h 4819073"/>
              <a:gd name="connsiteX34" fmla="*/ 3513221 w 4701176"/>
              <a:gd name="connsiteY34" fmla="*/ 3579820 h 4819073"/>
              <a:gd name="connsiteX35" fmla="*/ 3573379 w 4701176"/>
              <a:gd name="connsiteY35" fmla="*/ 3519662 h 4819073"/>
              <a:gd name="connsiteX36" fmla="*/ 3741821 w 4701176"/>
              <a:gd name="connsiteY36" fmla="*/ 3375283 h 4819073"/>
              <a:gd name="connsiteX37" fmla="*/ 3789947 w 4701176"/>
              <a:gd name="connsiteY37" fmla="*/ 3303094 h 4819073"/>
              <a:gd name="connsiteX38" fmla="*/ 3838073 w 4701176"/>
              <a:gd name="connsiteY38" fmla="*/ 3194809 h 4819073"/>
              <a:gd name="connsiteX39" fmla="*/ 3922294 w 4701176"/>
              <a:gd name="connsiteY39" fmla="*/ 3014336 h 4819073"/>
              <a:gd name="connsiteX40" fmla="*/ 3934326 w 4701176"/>
              <a:gd name="connsiteY40" fmla="*/ 2978241 h 4819073"/>
              <a:gd name="connsiteX41" fmla="*/ 3946357 w 4701176"/>
              <a:gd name="connsiteY41" fmla="*/ 2797767 h 4819073"/>
              <a:gd name="connsiteX42" fmla="*/ 3958389 w 4701176"/>
              <a:gd name="connsiteY42" fmla="*/ 2761673 h 4819073"/>
              <a:gd name="connsiteX43" fmla="*/ 4054642 w 4701176"/>
              <a:gd name="connsiteY43" fmla="*/ 2629325 h 4819073"/>
              <a:gd name="connsiteX44" fmla="*/ 4150894 w 4701176"/>
              <a:gd name="connsiteY44" fmla="*/ 2460883 h 4819073"/>
              <a:gd name="connsiteX45" fmla="*/ 4162926 w 4701176"/>
              <a:gd name="connsiteY45" fmla="*/ 2424788 h 4819073"/>
              <a:gd name="connsiteX46" fmla="*/ 4247147 w 4701176"/>
              <a:gd name="connsiteY46" fmla="*/ 2244315 h 4819073"/>
              <a:gd name="connsiteX47" fmla="*/ 4259179 w 4701176"/>
              <a:gd name="connsiteY47" fmla="*/ 2208220 h 4819073"/>
              <a:gd name="connsiteX48" fmla="*/ 4319336 w 4701176"/>
              <a:gd name="connsiteY48" fmla="*/ 2063841 h 4819073"/>
              <a:gd name="connsiteX49" fmla="*/ 4331368 w 4701176"/>
              <a:gd name="connsiteY49" fmla="*/ 2027746 h 4819073"/>
              <a:gd name="connsiteX50" fmla="*/ 4367463 w 4701176"/>
              <a:gd name="connsiteY50" fmla="*/ 1799146 h 4819073"/>
              <a:gd name="connsiteX51" fmla="*/ 4391526 w 4701176"/>
              <a:gd name="connsiteY51" fmla="*/ 1402104 h 4819073"/>
              <a:gd name="connsiteX52" fmla="*/ 4403557 w 4701176"/>
              <a:gd name="connsiteY52" fmla="*/ 944904 h 4819073"/>
              <a:gd name="connsiteX53" fmla="*/ 4427621 w 4701176"/>
              <a:gd name="connsiteY53" fmla="*/ 920841 h 4819073"/>
              <a:gd name="connsiteX54" fmla="*/ 4439652 w 4701176"/>
              <a:gd name="connsiteY54" fmla="*/ 884746 h 4819073"/>
              <a:gd name="connsiteX55" fmla="*/ 4487779 w 4701176"/>
              <a:gd name="connsiteY55" fmla="*/ 824588 h 4819073"/>
              <a:gd name="connsiteX56" fmla="*/ 4523873 w 4701176"/>
              <a:gd name="connsiteY56" fmla="*/ 680209 h 4819073"/>
              <a:gd name="connsiteX57" fmla="*/ 4547936 w 4701176"/>
              <a:gd name="connsiteY57" fmla="*/ 608020 h 4819073"/>
              <a:gd name="connsiteX58" fmla="*/ 4559968 w 4701176"/>
              <a:gd name="connsiteY58" fmla="*/ 571925 h 4819073"/>
              <a:gd name="connsiteX59" fmla="*/ 4632157 w 4701176"/>
              <a:gd name="connsiteY59" fmla="*/ 475673 h 4819073"/>
              <a:gd name="connsiteX60" fmla="*/ 4656221 w 4701176"/>
              <a:gd name="connsiteY60" fmla="*/ 403483 h 4819073"/>
              <a:gd name="connsiteX61" fmla="*/ 3970421 w 4701176"/>
              <a:gd name="connsiteY61" fmla="*/ 6441 h 4819073"/>
              <a:gd name="connsiteX62" fmla="*/ 3657600 w 4701176"/>
              <a:gd name="connsiteY62" fmla="*/ 764430 h 4819073"/>
              <a:gd name="connsiteX63" fmla="*/ 3826042 w 4701176"/>
              <a:gd name="connsiteY63" fmla="*/ 1714925 h 4819073"/>
              <a:gd name="connsiteX64" fmla="*/ 3104147 w 4701176"/>
              <a:gd name="connsiteY64" fmla="*/ 2773704 h 4819073"/>
              <a:gd name="connsiteX65" fmla="*/ 2286000 w 4701176"/>
              <a:gd name="connsiteY65" fmla="*/ 3242936 h 4819073"/>
              <a:gd name="connsiteX66" fmla="*/ 649705 w 4701176"/>
              <a:gd name="connsiteY66" fmla="*/ 3603883 h 4819073"/>
              <a:gd name="connsiteX67" fmla="*/ 0 w 4701176"/>
              <a:gd name="connsiteY67" fmla="*/ 4061083 h 4819073"/>
              <a:gd name="connsiteX68" fmla="*/ 625642 w 4701176"/>
              <a:gd name="connsiteY68" fmla="*/ 4819073 h 4819073"/>
              <a:gd name="connsiteX69" fmla="*/ 589547 w 4701176"/>
              <a:gd name="connsiteY69" fmla="*/ 4746883 h 4819073"/>
              <a:gd name="connsiteX0" fmla="*/ 589547 w 4703146"/>
              <a:gd name="connsiteY0" fmla="*/ 4746883 h 4819073"/>
              <a:gd name="connsiteX1" fmla="*/ 589547 w 4703146"/>
              <a:gd name="connsiteY1" fmla="*/ 4746883 h 4819073"/>
              <a:gd name="connsiteX2" fmla="*/ 673768 w 4703146"/>
              <a:gd name="connsiteY2" fmla="*/ 4662662 h 4819073"/>
              <a:gd name="connsiteX3" fmla="*/ 721894 w 4703146"/>
              <a:gd name="connsiteY3" fmla="*/ 4602504 h 4819073"/>
              <a:gd name="connsiteX4" fmla="*/ 757989 w 4703146"/>
              <a:gd name="connsiteY4" fmla="*/ 4530315 h 4819073"/>
              <a:gd name="connsiteX5" fmla="*/ 818147 w 4703146"/>
              <a:gd name="connsiteY5" fmla="*/ 4470157 h 4819073"/>
              <a:gd name="connsiteX6" fmla="*/ 842210 w 4703146"/>
              <a:gd name="connsiteY6" fmla="*/ 4434062 h 4819073"/>
              <a:gd name="connsiteX7" fmla="*/ 914400 w 4703146"/>
              <a:gd name="connsiteY7" fmla="*/ 4385936 h 4819073"/>
              <a:gd name="connsiteX8" fmla="*/ 950494 w 4703146"/>
              <a:gd name="connsiteY8" fmla="*/ 4361873 h 4819073"/>
              <a:gd name="connsiteX9" fmla="*/ 1034715 w 4703146"/>
              <a:gd name="connsiteY9" fmla="*/ 4301715 h 4819073"/>
              <a:gd name="connsiteX10" fmla="*/ 1058779 w 4703146"/>
              <a:gd name="connsiteY10" fmla="*/ 4277651 h 4819073"/>
              <a:gd name="connsiteX11" fmla="*/ 1130968 w 4703146"/>
              <a:gd name="connsiteY11" fmla="*/ 4253588 h 4819073"/>
              <a:gd name="connsiteX12" fmla="*/ 1167063 w 4703146"/>
              <a:gd name="connsiteY12" fmla="*/ 4241557 h 4819073"/>
              <a:gd name="connsiteX13" fmla="*/ 1227221 w 4703146"/>
              <a:gd name="connsiteY13" fmla="*/ 4229525 h 4819073"/>
              <a:gd name="connsiteX14" fmla="*/ 1299410 w 4703146"/>
              <a:gd name="connsiteY14" fmla="*/ 4205462 h 4819073"/>
              <a:gd name="connsiteX15" fmla="*/ 1371600 w 4703146"/>
              <a:gd name="connsiteY15" fmla="*/ 4181399 h 4819073"/>
              <a:gd name="connsiteX16" fmla="*/ 1407694 w 4703146"/>
              <a:gd name="connsiteY16" fmla="*/ 4169367 h 4819073"/>
              <a:gd name="connsiteX17" fmla="*/ 1431757 w 4703146"/>
              <a:gd name="connsiteY17" fmla="*/ 4133273 h 4819073"/>
              <a:gd name="connsiteX18" fmla="*/ 1467852 w 4703146"/>
              <a:gd name="connsiteY18" fmla="*/ 4121241 h 4819073"/>
              <a:gd name="connsiteX19" fmla="*/ 1503947 w 4703146"/>
              <a:gd name="connsiteY19" fmla="*/ 4097178 h 4819073"/>
              <a:gd name="connsiteX20" fmla="*/ 1540042 w 4703146"/>
              <a:gd name="connsiteY20" fmla="*/ 4061083 h 4819073"/>
              <a:gd name="connsiteX21" fmla="*/ 1612231 w 4703146"/>
              <a:gd name="connsiteY21" fmla="*/ 4037020 h 4819073"/>
              <a:gd name="connsiteX22" fmla="*/ 1648326 w 4703146"/>
              <a:gd name="connsiteY22" fmla="*/ 4024988 h 4819073"/>
              <a:gd name="connsiteX23" fmla="*/ 1864894 w 4703146"/>
              <a:gd name="connsiteY23" fmla="*/ 4000925 h 4819073"/>
              <a:gd name="connsiteX24" fmla="*/ 2177715 w 4703146"/>
              <a:gd name="connsiteY24" fmla="*/ 3988894 h 4819073"/>
              <a:gd name="connsiteX25" fmla="*/ 2382252 w 4703146"/>
              <a:gd name="connsiteY25" fmla="*/ 3964830 h 4819073"/>
              <a:gd name="connsiteX26" fmla="*/ 2550694 w 4703146"/>
              <a:gd name="connsiteY26" fmla="*/ 3928736 h 4819073"/>
              <a:gd name="connsiteX27" fmla="*/ 2719136 w 4703146"/>
              <a:gd name="connsiteY27" fmla="*/ 3892641 h 4819073"/>
              <a:gd name="connsiteX28" fmla="*/ 2815389 w 4703146"/>
              <a:gd name="connsiteY28" fmla="*/ 3868578 h 4819073"/>
              <a:gd name="connsiteX29" fmla="*/ 2887579 w 4703146"/>
              <a:gd name="connsiteY29" fmla="*/ 3844515 h 4819073"/>
              <a:gd name="connsiteX30" fmla="*/ 3019926 w 4703146"/>
              <a:gd name="connsiteY30" fmla="*/ 3808420 h 4819073"/>
              <a:gd name="connsiteX31" fmla="*/ 3164305 w 4703146"/>
              <a:gd name="connsiteY31" fmla="*/ 3772325 h 4819073"/>
              <a:gd name="connsiteX32" fmla="*/ 3344779 w 4703146"/>
              <a:gd name="connsiteY32" fmla="*/ 3700136 h 4819073"/>
              <a:gd name="connsiteX33" fmla="*/ 3453063 w 4703146"/>
              <a:gd name="connsiteY33" fmla="*/ 3615915 h 4819073"/>
              <a:gd name="connsiteX34" fmla="*/ 3513221 w 4703146"/>
              <a:gd name="connsiteY34" fmla="*/ 3579820 h 4819073"/>
              <a:gd name="connsiteX35" fmla="*/ 3573379 w 4703146"/>
              <a:gd name="connsiteY35" fmla="*/ 3519662 h 4819073"/>
              <a:gd name="connsiteX36" fmla="*/ 3741821 w 4703146"/>
              <a:gd name="connsiteY36" fmla="*/ 3375283 h 4819073"/>
              <a:gd name="connsiteX37" fmla="*/ 3789947 w 4703146"/>
              <a:gd name="connsiteY37" fmla="*/ 3303094 h 4819073"/>
              <a:gd name="connsiteX38" fmla="*/ 3838073 w 4703146"/>
              <a:gd name="connsiteY38" fmla="*/ 3194809 h 4819073"/>
              <a:gd name="connsiteX39" fmla="*/ 3922294 w 4703146"/>
              <a:gd name="connsiteY39" fmla="*/ 3014336 h 4819073"/>
              <a:gd name="connsiteX40" fmla="*/ 3934326 w 4703146"/>
              <a:gd name="connsiteY40" fmla="*/ 2978241 h 4819073"/>
              <a:gd name="connsiteX41" fmla="*/ 3946357 w 4703146"/>
              <a:gd name="connsiteY41" fmla="*/ 2797767 h 4819073"/>
              <a:gd name="connsiteX42" fmla="*/ 3958389 w 4703146"/>
              <a:gd name="connsiteY42" fmla="*/ 2761673 h 4819073"/>
              <a:gd name="connsiteX43" fmla="*/ 4054642 w 4703146"/>
              <a:gd name="connsiteY43" fmla="*/ 2629325 h 4819073"/>
              <a:gd name="connsiteX44" fmla="*/ 4150894 w 4703146"/>
              <a:gd name="connsiteY44" fmla="*/ 2460883 h 4819073"/>
              <a:gd name="connsiteX45" fmla="*/ 4162926 w 4703146"/>
              <a:gd name="connsiteY45" fmla="*/ 2424788 h 4819073"/>
              <a:gd name="connsiteX46" fmla="*/ 4247147 w 4703146"/>
              <a:gd name="connsiteY46" fmla="*/ 2244315 h 4819073"/>
              <a:gd name="connsiteX47" fmla="*/ 4259179 w 4703146"/>
              <a:gd name="connsiteY47" fmla="*/ 2208220 h 4819073"/>
              <a:gd name="connsiteX48" fmla="*/ 4319336 w 4703146"/>
              <a:gd name="connsiteY48" fmla="*/ 2063841 h 4819073"/>
              <a:gd name="connsiteX49" fmla="*/ 4331368 w 4703146"/>
              <a:gd name="connsiteY49" fmla="*/ 2027746 h 4819073"/>
              <a:gd name="connsiteX50" fmla="*/ 4367463 w 4703146"/>
              <a:gd name="connsiteY50" fmla="*/ 1799146 h 4819073"/>
              <a:gd name="connsiteX51" fmla="*/ 4391526 w 4703146"/>
              <a:gd name="connsiteY51" fmla="*/ 1402104 h 4819073"/>
              <a:gd name="connsiteX52" fmla="*/ 4403557 w 4703146"/>
              <a:gd name="connsiteY52" fmla="*/ 944904 h 4819073"/>
              <a:gd name="connsiteX53" fmla="*/ 4427621 w 4703146"/>
              <a:gd name="connsiteY53" fmla="*/ 920841 h 4819073"/>
              <a:gd name="connsiteX54" fmla="*/ 4439652 w 4703146"/>
              <a:gd name="connsiteY54" fmla="*/ 884746 h 4819073"/>
              <a:gd name="connsiteX55" fmla="*/ 4487779 w 4703146"/>
              <a:gd name="connsiteY55" fmla="*/ 824588 h 4819073"/>
              <a:gd name="connsiteX56" fmla="*/ 4523873 w 4703146"/>
              <a:gd name="connsiteY56" fmla="*/ 680209 h 4819073"/>
              <a:gd name="connsiteX57" fmla="*/ 4547936 w 4703146"/>
              <a:gd name="connsiteY57" fmla="*/ 608020 h 4819073"/>
              <a:gd name="connsiteX58" fmla="*/ 4632157 w 4703146"/>
              <a:gd name="connsiteY58" fmla="*/ 475673 h 4819073"/>
              <a:gd name="connsiteX59" fmla="*/ 4656221 w 4703146"/>
              <a:gd name="connsiteY59" fmla="*/ 403483 h 4819073"/>
              <a:gd name="connsiteX60" fmla="*/ 3970421 w 4703146"/>
              <a:gd name="connsiteY60" fmla="*/ 6441 h 4819073"/>
              <a:gd name="connsiteX61" fmla="*/ 3657600 w 4703146"/>
              <a:gd name="connsiteY61" fmla="*/ 764430 h 4819073"/>
              <a:gd name="connsiteX62" fmla="*/ 3826042 w 4703146"/>
              <a:gd name="connsiteY62" fmla="*/ 1714925 h 4819073"/>
              <a:gd name="connsiteX63" fmla="*/ 3104147 w 4703146"/>
              <a:gd name="connsiteY63" fmla="*/ 2773704 h 4819073"/>
              <a:gd name="connsiteX64" fmla="*/ 2286000 w 4703146"/>
              <a:gd name="connsiteY64" fmla="*/ 3242936 h 4819073"/>
              <a:gd name="connsiteX65" fmla="*/ 649705 w 4703146"/>
              <a:gd name="connsiteY65" fmla="*/ 3603883 h 4819073"/>
              <a:gd name="connsiteX66" fmla="*/ 0 w 4703146"/>
              <a:gd name="connsiteY66" fmla="*/ 4061083 h 4819073"/>
              <a:gd name="connsiteX67" fmla="*/ 625642 w 4703146"/>
              <a:gd name="connsiteY67" fmla="*/ 4819073 h 4819073"/>
              <a:gd name="connsiteX68" fmla="*/ 589547 w 4703146"/>
              <a:gd name="connsiteY68" fmla="*/ 4746883 h 4819073"/>
              <a:gd name="connsiteX0" fmla="*/ 589547 w 4703146"/>
              <a:gd name="connsiteY0" fmla="*/ 4746883 h 4819073"/>
              <a:gd name="connsiteX1" fmla="*/ 589547 w 4703146"/>
              <a:gd name="connsiteY1" fmla="*/ 4746883 h 4819073"/>
              <a:gd name="connsiteX2" fmla="*/ 673768 w 4703146"/>
              <a:gd name="connsiteY2" fmla="*/ 4662662 h 4819073"/>
              <a:gd name="connsiteX3" fmla="*/ 721894 w 4703146"/>
              <a:gd name="connsiteY3" fmla="*/ 4602504 h 4819073"/>
              <a:gd name="connsiteX4" fmla="*/ 757989 w 4703146"/>
              <a:gd name="connsiteY4" fmla="*/ 4530315 h 4819073"/>
              <a:gd name="connsiteX5" fmla="*/ 818147 w 4703146"/>
              <a:gd name="connsiteY5" fmla="*/ 4470157 h 4819073"/>
              <a:gd name="connsiteX6" fmla="*/ 842210 w 4703146"/>
              <a:gd name="connsiteY6" fmla="*/ 4434062 h 4819073"/>
              <a:gd name="connsiteX7" fmla="*/ 914400 w 4703146"/>
              <a:gd name="connsiteY7" fmla="*/ 4385936 h 4819073"/>
              <a:gd name="connsiteX8" fmla="*/ 950494 w 4703146"/>
              <a:gd name="connsiteY8" fmla="*/ 4361873 h 4819073"/>
              <a:gd name="connsiteX9" fmla="*/ 1034715 w 4703146"/>
              <a:gd name="connsiteY9" fmla="*/ 4301715 h 4819073"/>
              <a:gd name="connsiteX10" fmla="*/ 1058779 w 4703146"/>
              <a:gd name="connsiteY10" fmla="*/ 4277651 h 4819073"/>
              <a:gd name="connsiteX11" fmla="*/ 1130968 w 4703146"/>
              <a:gd name="connsiteY11" fmla="*/ 4253588 h 4819073"/>
              <a:gd name="connsiteX12" fmla="*/ 1167063 w 4703146"/>
              <a:gd name="connsiteY12" fmla="*/ 4241557 h 4819073"/>
              <a:gd name="connsiteX13" fmla="*/ 1227221 w 4703146"/>
              <a:gd name="connsiteY13" fmla="*/ 4229525 h 4819073"/>
              <a:gd name="connsiteX14" fmla="*/ 1299410 w 4703146"/>
              <a:gd name="connsiteY14" fmla="*/ 4205462 h 4819073"/>
              <a:gd name="connsiteX15" fmla="*/ 1371600 w 4703146"/>
              <a:gd name="connsiteY15" fmla="*/ 4181399 h 4819073"/>
              <a:gd name="connsiteX16" fmla="*/ 1407694 w 4703146"/>
              <a:gd name="connsiteY16" fmla="*/ 4169367 h 4819073"/>
              <a:gd name="connsiteX17" fmla="*/ 1431757 w 4703146"/>
              <a:gd name="connsiteY17" fmla="*/ 4133273 h 4819073"/>
              <a:gd name="connsiteX18" fmla="*/ 1467852 w 4703146"/>
              <a:gd name="connsiteY18" fmla="*/ 4121241 h 4819073"/>
              <a:gd name="connsiteX19" fmla="*/ 1503947 w 4703146"/>
              <a:gd name="connsiteY19" fmla="*/ 4097178 h 4819073"/>
              <a:gd name="connsiteX20" fmla="*/ 1540042 w 4703146"/>
              <a:gd name="connsiteY20" fmla="*/ 4061083 h 4819073"/>
              <a:gd name="connsiteX21" fmla="*/ 1612231 w 4703146"/>
              <a:gd name="connsiteY21" fmla="*/ 4037020 h 4819073"/>
              <a:gd name="connsiteX22" fmla="*/ 1648326 w 4703146"/>
              <a:gd name="connsiteY22" fmla="*/ 4024988 h 4819073"/>
              <a:gd name="connsiteX23" fmla="*/ 1864894 w 4703146"/>
              <a:gd name="connsiteY23" fmla="*/ 4000925 h 4819073"/>
              <a:gd name="connsiteX24" fmla="*/ 2177715 w 4703146"/>
              <a:gd name="connsiteY24" fmla="*/ 3988894 h 4819073"/>
              <a:gd name="connsiteX25" fmla="*/ 2382252 w 4703146"/>
              <a:gd name="connsiteY25" fmla="*/ 3964830 h 4819073"/>
              <a:gd name="connsiteX26" fmla="*/ 2550694 w 4703146"/>
              <a:gd name="connsiteY26" fmla="*/ 3928736 h 4819073"/>
              <a:gd name="connsiteX27" fmla="*/ 2719136 w 4703146"/>
              <a:gd name="connsiteY27" fmla="*/ 3892641 h 4819073"/>
              <a:gd name="connsiteX28" fmla="*/ 2815389 w 4703146"/>
              <a:gd name="connsiteY28" fmla="*/ 3868578 h 4819073"/>
              <a:gd name="connsiteX29" fmla="*/ 2887579 w 4703146"/>
              <a:gd name="connsiteY29" fmla="*/ 3844515 h 4819073"/>
              <a:gd name="connsiteX30" fmla="*/ 3019926 w 4703146"/>
              <a:gd name="connsiteY30" fmla="*/ 3808420 h 4819073"/>
              <a:gd name="connsiteX31" fmla="*/ 3164305 w 4703146"/>
              <a:gd name="connsiteY31" fmla="*/ 3772325 h 4819073"/>
              <a:gd name="connsiteX32" fmla="*/ 3344779 w 4703146"/>
              <a:gd name="connsiteY32" fmla="*/ 3700136 h 4819073"/>
              <a:gd name="connsiteX33" fmla="*/ 3453063 w 4703146"/>
              <a:gd name="connsiteY33" fmla="*/ 3615915 h 4819073"/>
              <a:gd name="connsiteX34" fmla="*/ 3513221 w 4703146"/>
              <a:gd name="connsiteY34" fmla="*/ 3579820 h 4819073"/>
              <a:gd name="connsiteX35" fmla="*/ 3573379 w 4703146"/>
              <a:gd name="connsiteY35" fmla="*/ 3519662 h 4819073"/>
              <a:gd name="connsiteX36" fmla="*/ 3741821 w 4703146"/>
              <a:gd name="connsiteY36" fmla="*/ 3375283 h 4819073"/>
              <a:gd name="connsiteX37" fmla="*/ 3789947 w 4703146"/>
              <a:gd name="connsiteY37" fmla="*/ 3303094 h 4819073"/>
              <a:gd name="connsiteX38" fmla="*/ 3838073 w 4703146"/>
              <a:gd name="connsiteY38" fmla="*/ 3194809 h 4819073"/>
              <a:gd name="connsiteX39" fmla="*/ 3922294 w 4703146"/>
              <a:gd name="connsiteY39" fmla="*/ 3014336 h 4819073"/>
              <a:gd name="connsiteX40" fmla="*/ 3934326 w 4703146"/>
              <a:gd name="connsiteY40" fmla="*/ 2978241 h 4819073"/>
              <a:gd name="connsiteX41" fmla="*/ 3946357 w 4703146"/>
              <a:gd name="connsiteY41" fmla="*/ 2797767 h 4819073"/>
              <a:gd name="connsiteX42" fmla="*/ 3958389 w 4703146"/>
              <a:gd name="connsiteY42" fmla="*/ 2761673 h 4819073"/>
              <a:gd name="connsiteX43" fmla="*/ 4054642 w 4703146"/>
              <a:gd name="connsiteY43" fmla="*/ 2629325 h 4819073"/>
              <a:gd name="connsiteX44" fmla="*/ 4150894 w 4703146"/>
              <a:gd name="connsiteY44" fmla="*/ 2460883 h 4819073"/>
              <a:gd name="connsiteX45" fmla="*/ 4162926 w 4703146"/>
              <a:gd name="connsiteY45" fmla="*/ 2424788 h 4819073"/>
              <a:gd name="connsiteX46" fmla="*/ 4247147 w 4703146"/>
              <a:gd name="connsiteY46" fmla="*/ 2244315 h 4819073"/>
              <a:gd name="connsiteX47" fmla="*/ 4259179 w 4703146"/>
              <a:gd name="connsiteY47" fmla="*/ 2208220 h 4819073"/>
              <a:gd name="connsiteX48" fmla="*/ 4319336 w 4703146"/>
              <a:gd name="connsiteY48" fmla="*/ 2063841 h 4819073"/>
              <a:gd name="connsiteX49" fmla="*/ 4331368 w 4703146"/>
              <a:gd name="connsiteY49" fmla="*/ 2027746 h 4819073"/>
              <a:gd name="connsiteX50" fmla="*/ 4367463 w 4703146"/>
              <a:gd name="connsiteY50" fmla="*/ 1799146 h 4819073"/>
              <a:gd name="connsiteX51" fmla="*/ 4391526 w 4703146"/>
              <a:gd name="connsiteY51" fmla="*/ 1402104 h 4819073"/>
              <a:gd name="connsiteX52" fmla="*/ 4403557 w 4703146"/>
              <a:gd name="connsiteY52" fmla="*/ 944904 h 4819073"/>
              <a:gd name="connsiteX53" fmla="*/ 4427621 w 4703146"/>
              <a:gd name="connsiteY53" fmla="*/ 920841 h 4819073"/>
              <a:gd name="connsiteX54" fmla="*/ 4439652 w 4703146"/>
              <a:gd name="connsiteY54" fmla="*/ 884746 h 4819073"/>
              <a:gd name="connsiteX55" fmla="*/ 4523873 w 4703146"/>
              <a:gd name="connsiteY55" fmla="*/ 680209 h 4819073"/>
              <a:gd name="connsiteX56" fmla="*/ 4547936 w 4703146"/>
              <a:gd name="connsiteY56" fmla="*/ 608020 h 4819073"/>
              <a:gd name="connsiteX57" fmla="*/ 4632157 w 4703146"/>
              <a:gd name="connsiteY57" fmla="*/ 475673 h 4819073"/>
              <a:gd name="connsiteX58" fmla="*/ 4656221 w 4703146"/>
              <a:gd name="connsiteY58" fmla="*/ 403483 h 4819073"/>
              <a:gd name="connsiteX59" fmla="*/ 3970421 w 4703146"/>
              <a:gd name="connsiteY59" fmla="*/ 6441 h 4819073"/>
              <a:gd name="connsiteX60" fmla="*/ 3657600 w 4703146"/>
              <a:gd name="connsiteY60" fmla="*/ 764430 h 4819073"/>
              <a:gd name="connsiteX61" fmla="*/ 3826042 w 4703146"/>
              <a:gd name="connsiteY61" fmla="*/ 1714925 h 4819073"/>
              <a:gd name="connsiteX62" fmla="*/ 3104147 w 4703146"/>
              <a:gd name="connsiteY62" fmla="*/ 2773704 h 4819073"/>
              <a:gd name="connsiteX63" fmla="*/ 2286000 w 4703146"/>
              <a:gd name="connsiteY63" fmla="*/ 3242936 h 4819073"/>
              <a:gd name="connsiteX64" fmla="*/ 649705 w 4703146"/>
              <a:gd name="connsiteY64" fmla="*/ 3603883 h 4819073"/>
              <a:gd name="connsiteX65" fmla="*/ 0 w 4703146"/>
              <a:gd name="connsiteY65" fmla="*/ 4061083 h 4819073"/>
              <a:gd name="connsiteX66" fmla="*/ 625642 w 4703146"/>
              <a:gd name="connsiteY66" fmla="*/ 4819073 h 4819073"/>
              <a:gd name="connsiteX67" fmla="*/ 589547 w 4703146"/>
              <a:gd name="connsiteY67" fmla="*/ 4746883 h 4819073"/>
              <a:gd name="connsiteX0" fmla="*/ 589547 w 4703971"/>
              <a:gd name="connsiteY0" fmla="*/ 4746883 h 4819073"/>
              <a:gd name="connsiteX1" fmla="*/ 589547 w 4703971"/>
              <a:gd name="connsiteY1" fmla="*/ 4746883 h 4819073"/>
              <a:gd name="connsiteX2" fmla="*/ 673768 w 4703971"/>
              <a:gd name="connsiteY2" fmla="*/ 4662662 h 4819073"/>
              <a:gd name="connsiteX3" fmla="*/ 721894 w 4703971"/>
              <a:gd name="connsiteY3" fmla="*/ 4602504 h 4819073"/>
              <a:gd name="connsiteX4" fmla="*/ 757989 w 4703971"/>
              <a:gd name="connsiteY4" fmla="*/ 4530315 h 4819073"/>
              <a:gd name="connsiteX5" fmla="*/ 818147 w 4703971"/>
              <a:gd name="connsiteY5" fmla="*/ 4470157 h 4819073"/>
              <a:gd name="connsiteX6" fmla="*/ 842210 w 4703971"/>
              <a:gd name="connsiteY6" fmla="*/ 4434062 h 4819073"/>
              <a:gd name="connsiteX7" fmla="*/ 914400 w 4703971"/>
              <a:gd name="connsiteY7" fmla="*/ 4385936 h 4819073"/>
              <a:gd name="connsiteX8" fmla="*/ 950494 w 4703971"/>
              <a:gd name="connsiteY8" fmla="*/ 4361873 h 4819073"/>
              <a:gd name="connsiteX9" fmla="*/ 1034715 w 4703971"/>
              <a:gd name="connsiteY9" fmla="*/ 4301715 h 4819073"/>
              <a:gd name="connsiteX10" fmla="*/ 1058779 w 4703971"/>
              <a:gd name="connsiteY10" fmla="*/ 4277651 h 4819073"/>
              <a:gd name="connsiteX11" fmla="*/ 1130968 w 4703971"/>
              <a:gd name="connsiteY11" fmla="*/ 4253588 h 4819073"/>
              <a:gd name="connsiteX12" fmla="*/ 1167063 w 4703971"/>
              <a:gd name="connsiteY12" fmla="*/ 4241557 h 4819073"/>
              <a:gd name="connsiteX13" fmla="*/ 1227221 w 4703971"/>
              <a:gd name="connsiteY13" fmla="*/ 4229525 h 4819073"/>
              <a:gd name="connsiteX14" fmla="*/ 1299410 w 4703971"/>
              <a:gd name="connsiteY14" fmla="*/ 4205462 h 4819073"/>
              <a:gd name="connsiteX15" fmla="*/ 1371600 w 4703971"/>
              <a:gd name="connsiteY15" fmla="*/ 4181399 h 4819073"/>
              <a:gd name="connsiteX16" fmla="*/ 1407694 w 4703971"/>
              <a:gd name="connsiteY16" fmla="*/ 4169367 h 4819073"/>
              <a:gd name="connsiteX17" fmla="*/ 1431757 w 4703971"/>
              <a:gd name="connsiteY17" fmla="*/ 4133273 h 4819073"/>
              <a:gd name="connsiteX18" fmla="*/ 1467852 w 4703971"/>
              <a:gd name="connsiteY18" fmla="*/ 4121241 h 4819073"/>
              <a:gd name="connsiteX19" fmla="*/ 1503947 w 4703971"/>
              <a:gd name="connsiteY19" fmla="*/ 4097178 h 4819073"/>
              <a:gd name="connsiteX20" fmla="*/ 1540042 w 4703971"/>
              <a:gd name="connsiteY20" fmla="*/ 4061083 h 4819073"/>
              <a:gd name="connsiteX21" fmla="*/ 1612231 w 4703971"/>
              <a:gd name="connsiteY21" fmla="*/ 4037020 h 4819073"/>
              <a:gd name="connsiteX22" fmla="*/ 1648326 w 4703971"/>
              <a:gd name="connsiteY22" fmla="*/ 4024988 h 4819073"/>
              <a:gd name="connsiteX23" fmla="*/ 1864894 w 4703971"/>
              <a:gd name="connsiteY23" fmla="*/ 4000925 h 4819073"/>
              <a:gd name="connsiteX24" fmla="*/ 2177715 w 4703971"/>
              <a:gd name="connsiteY24" fmla="*/ 3988894 h 4819073"/>
              <a:gd name="connsiteX25" fmla="*/ 2382252 w 4703971"/>
              <a:gd name="connsiteY25" fmla="*/ 3964830 h 4819073"/>
              <a:gd name="connsiteX26" fmla="*/ 2550694 w 4703971"/>
              <a:gd name="connsiteY26" fmla="*/ 3928736 h 4819073"/>
              <a:gd name="connsiteX27" fmla="*/ 2719136 w 4703971"/>
              <a:gd name="connsiteY27" fmla="*/ 3892641 h 4819073"/>
              <a:gd name="connsiteX28" fmla="*/ 2815389 w 4703971"/>
              <a:gd name="connsiteY28" fmla="*/ 3868578 h 4819073"/>
              <a:gd name="connsiteX29" fmla="*/ 2887579 w 4703971"/>
              <a:gd name="connsiteY29" fmla="*/ 3844515 h 4819073"/>
              <a:gd name="connsiteX30" fmla="*/ 3019926 w 4703971"/>
              <a:gd name="connsiteY30" fmla="*/ 3808420 h 4819073"/>
              <a:gd name="connsiteX31" fmla="*/ 3164305 w 4703971"/>
              <a:gd name="connsiteY31" fmla="*/ 3772325 h 4819073"/>
              <a:gd name="connsiteX32" fmla="*/ 3344779 w 4703971"/>
              <a:gd name="connsiteY32" fmla="*/ 3700136 h 4819073"/>
              <a:gd name="connsiteX33" fmla="*/ 3453063 w 4703971"/>
              <a:gd name="connsiteY33" fmla="*/ 3615915 h 4819073"/>
              <a:gd name="connsiteX34" fmla="*/ 3513221 w 4703971"/>
              <a:gd name="connsiteY34" fmla="*/ 3579820 h 4819073"/>
              <a:gd name="connsiteX35" fmla="*/ 3573379 w 4703971"/>
              <a:gd name="connsiteY35" fmla="*/ 3519662 h 4819073"/>
              <a:gd name="connsiteX36" fmla="*/ 3741821 w 4703971"/>
              <a:gd name="connsiteY36" fmla="*/ 3375283 h 4819073"/>
              <a:gd name="connsiteX37" fmla="*/ 3789947 w 4703971"/>
              <a:gd name="connsiteY37" fmla="*/ 3303094 h 4819073"/>
              <a:gd name="connsiteX38" fmla="*/ 3838073 w 4703971"/>
              <a:gd name="connsiteY38" fmla="*/ 3194809 h 4819073"/>
              <a:gd name="connsiteX39" fmla="*/ 3922294 w 4703971"/>
              <a:gd name="connsiteY39" fmla="*/ 3014336 h 4819073"/>
              <a:gd name="connsiteX40" fmla="*/ 3934326 w 4703971"/>
              <a:gd name="connsiteY40" fmla="*/ 2978241 h 4819073"/>
              <a:gd name="connsiteX41" fmla="*/ 3946357 w 4703971"/>
              <a:gd name="connsiteY41" fmla="*/ 2797767 h 4819073"/>
              <a:gd name="connsiteX42" fmla="*/ 3958389 w 4703971"/>
              <a:gd name="connsiteY42" fmla="*/ 2761673 h 4819073"/>
              <a:gd name="connsiteX43" fmla="*/ 4054642 w 4703971"/>
              <a:gd name="connsiteY43" fmla="*/ 2629325 h 4819073"/>
              <a:gd name="connsiteX44" fmla="*/ 4150894 w 4703971"/>
              <a:gd name="connsiteY44" fmla="*/ 2460883 h 4819073"/>
              <a:gd name="connsiteX45" fmla="*/ 4162926 w 4703971"/>
              <a:gd name="connsiteY45" fmla="*/ 2424788 h 4819073"/>
              <a:gd name="connsiteX46" fmla="*/ 4247147 w 4703971"/>
              <a:gd name="connsiteY46" fmla="*/ 2244315 h 4819073"/>
              <a:gd name="connsiteX47" fmla="*/ 4259179 w 4703971"/>
              <a:gd name="connsiteY47" fmla="*/ 2208220 h 4819073"/>
              <a:gd name="connsiteX48" fmla="*/ 4319336 w 4703971"/>
              <a:gd name="connsiteY48" fmla="*/ 2063841 h 4819073"/>
              <a:gd name="connsiteX49" fmla="*/ 4331368 w 4703971"/>
              <a:gd name="connsiteY49" fmla="*/ 2027746 h 4819073"/>
              <a:gd name="connsiteX50" fmla="*/ 4367463 w 4703971"/>
              <a:gd name="connsiteY50" fmla="*/ 1799146 h 4819073"/>
              <a:gd name="connsiteX51" fmla="*/ 4391526 w 4703971"/>
              <a:gd name="connsiteY51" fmla="*/ 1402104 h 4819073"/>
              <a:gd name="connsiteX52" fmla="*/ 4403557 w 4703971"/>
              <a:gd name="connsiteY52" fmla="*/ 944904 h 4819073"/>
              <a:gd name="connsiteX53" fmla="*/ 4427621 w 4703971"/>
              <a:gd name="connsiteY53" fmla="*/ 920841 h 4819073"/>
              <a:gd name="connsiteX54" fmla="*/ 4439652 w 4703971"/>
              <a:gd name="connsiteY54" fmla="*/ 884746 h 4819073"/>
              <a:gd name="connsiteX55" fmla="*/ 4523873 w 4703971"/>
              <a:gd name="connsiteY55" fmla="*/ 680209 h 4819073"/>
              <a:gd name="connsiteX56" fmla="*/ 4632157 w 4703971"/>
              <a:gd name="connsiteY56" fmla="*/ 475673 h 4819073"/>
              <a:gd name="connsiteX57" fmla="*/ 4656221 w 4703971"/>
              <a:gd name="connsiteY57" fmla="*/ 403483 h 4819073"/>
              <a:gd name="connsiteX58" fmla="*/ 3970421 w 4703971"/>
              <a:gd name="connsiteY58" fmla="*/ 6441 h 4819073"/>
              <a:gd name="connsiteX59" fmla="*/ 3657600 w 4703971"/>
              <a:gd name="connsiteY59" fmla="*/ 764430 h 4819073"/>
              <a:gd name="connsiteX60" fmla="*/ 3826042 w 4703971"/>
              <a:gd name="connsiteY60" fmla="*/ 1714925 h 4819073"/>
              <a:gd name="connsiteX61" fmla="*/ 3104147 w 4703971"/>
              <a:gd name="connsiteY61" fmla="*/ 2773704 h 4819073"/>
              <a:gd name="connsiteX62" fmla="*/ 2286000 w 4703971"/>
              <a:gd name="connsiteY62" fmla="*/ 3242936 h 4819073"/>
              <a:gd name="connsiteX63" fmla="*/ 649705 w 4703971"/>
              <a:gd name="connsiteY63" fmla="*/ 3603883 h 4819073"/>
              <a:gd name="connsiteX64" fmla="*/ 0 w 4703971"/>
              <a:gd name="connsiteY64" fmla="*/ 4061083 h 4819073"/>
              <a:gd name="connsiteX65" fmla="*/ 625642 w 4703971"/>
              <a:gd name="connsiteY65" fmla="*/ 4819073 h 4819073"/>
              <a:gd name="connsiteX66" fmla="*/ 589547 w 4703971"/>
              <a:gd name="connsiteY66" fmla="*/ 4746883 h 4819073"/>
              <a:gd name="connsiteX0" fmla="*/ 589547 w 4659458"/>
              <a:gd name="connsiteY0" fmla="*/ 4744395 h 4816585"/>
              <a:gd name="connsiteX1" fmla="*/ 589547 w 4659458"/>
              <a:gd name="connsiteY1" fmla="*/ 4744395 h 4816585"/>
              <a:gd name="connsiteX2" fmla="*/ 673768 w 4659458"/>
              <a:gd name="connsiteY2" fmla="*/ 4660174 h 4816585"/>
              <a:gd name="connsiteX3" fmla="*/ 721894 w 4659458"/>
              <a:gd name="connsiteY3" fmla="*/ 4600016 h 4816585"/>
              <a:gd name="connsiteX4" fmla="*/ 757989 w 4659458"/>
              <a:gd name="connsiteY4" fmla="*/ 4527827 h 4816585"/>
              <a:gd name="connsiteX5" fmla="*/ 818147 w 4659458"/>
              <a:gd name="connsiteY5" fmla="*/ 4467669 h 4816585"/>
              <a:gd name="connsiteX6" fmla="*/ 842210 w 4659458"/>
              <a:gd name="connsiteY6" fmla="*/ 4431574 h 4816585"/>
              <a:gd name="connsiteX7" fmla="*/ 914400 w 4659458"/>
              <a:gd name="connsiteY7" fmla="*/ 4383448 h 4816585"/>
              <a:gd name="connsiteX8" fmla="*/ 950494 w 4659458"/>
              <a:gd name="connsiteY8" fmla="*/ 4359385 h 4816585"/>
              <a:gd name="connsiteX9" fmla="*/ 1034715 w 4659458"/>
              <a:gd name="connsiteY9" fmla="*/ 4299227 h 4816585"/>
              <a:gd name="connsiteX10" fmla="*/ 1058779 w 4659458"/>
              <a:gd name="connsiteY10" fmla="*/ 4275163 h 4816585"/>
              <a:gd name="connsiteX11" fmla="*/ 1130968 w 4659458"/>
              <a:gd name="connsiteY11" fmla="*/ 4251100 h 4816585"/>
              <a:gd name="connsiteX12" fmla="*/ 1167063 w 4659458"/>
              <a:gd name="connsiteY12" fmla="*/ 4239069 h 4816585"/>
              <a:gd name="connsiteX13" fmla="*/ 1227221 w 4659458"/>
              <a:gd name="connsiteY13" fmla="*/ 4227037 h 4816585"/>
              <a:gd name="connsiteX14" fmla="*/ 1299410 w 4659458"/>
              <a:gd name="connsiteY14" fmla="*/ 4202974 h 4816585"/>
              <a:gd name="connsiteX15" fmla="*/ 1371600 w 4659458"/>
              <a:gd name="connsiteY15" fmla="*/ 4178911 h 4816585"/>
              <a:gd name="connsiteX16" fmla="*/ 1407694 w 4659458"/>
              <a:gd name="connsiteY16" fmla="*/ 4166879 h 4816585"/>
              <a:gd name="connsiteX17" fmla="*/ 1431757 w 4659458"/>
              <a:gd name="connsiteY17" fmla="*/ 4130785 h 4816585"/>
              <a:gd name="connsiteX18" fmla="*/ 1467852 w 4659458"/>
              <a:gd name="connsiteY18" fmla="*/ 4118753 h 4816585"/>
              <a:gd name="connsiteX19" fmla="*/ 1503947 w 4659458"/>
              <a:gd name="connsiteY19" fmla="*/ 4094690 h 4816585"/>
              <a:gd name="connsiteX20" fmla="*/ 1540042 w 4659458"/>
              <a:gd name="connsiteY20" fmla="*/ 4058595 h 4816585"/>
              <a:gd name="connsiteX21" fmla="*/ 1612231 w 4659458"/>
              <a:gd name="connsiteY21" fmla="*/ 4034532 h 4816585"/>
              <a:gd name="connsiteX22" fmla="*/ 1648326 w 4659458"/>
              <a:gd name="connsiteY22" fmla="*/ 4022500 h 4816585"/>
              <a:gd name="connsiteX23" fmla="*/ 1864894 w 4659458"/>
              <a:gd name="connsiteY23" fmla="*/ 3998437 h 4816585"/>
              <a:gd name="connsiteX24" fmla="*/ 2177715 w 4659458"/>
              <a:gd name="connsiteY24" fmla="*/ 3986406 h 4816585"/>
              <a:gd name="connsiteX25" fmla="*/ 2382252 w 4659458"/>
              <a:gd name="connsiteY25" fmla="*/ 3962342 h 4816585"/>
              <a:gd name="connsiteX26" fmla="*/ 2550694 w 4659458"/>
              <a:gd name="connsiteY26" fmla="*/ 3926248 h 4816585"/>
              <a:gd name="connsiteX27" fmla="*/ 2719136 w 4659458"/>
              <a:gd name="connsiteY27" fmla="*/ 3890153 h 4816585"/>
              <a:gd name="connsiteX28" fmla="*/ 2815389 w 4659458"/>
              <a:gd name="connsiteY28" fmla="*/ 3866090 h 4816585"/>
              <a:gd name="connsiteX29" fmla="*/ 2887579 w 4659458"/>
              <a:gd name="connsiteY29" fmla="*/ 3842027 h 4816585"/>
              <a:gd name="connsiteX30" fmla="*/ 3019926 w 4659458"/>
              <a:gd name="connsiteY30" fmla="*/ 3805932 h 4816585"/>
              <a:gd name="connsiteX31" fmla="*/ 3164305 w 4659458"/>
              <a:gd name="connsiteY31" fmla="*/ 3769837 h 4816585"/>
              <a:gd name="connsiteX32" fmla="*/ 3344779 w 4659458"/>
              <a:gd name="connsiteY32" fmla="*/ 3697648 h 4816585"/>
              <a:gd name="connsiteX33" fmla="*/ 3453063 w 4659458"/>
              <a:gd name="connsiteY33" fmla="*/ 3613427 h 4816585"/>
              <a:gd name="connsiteX34" fmla="*/ 3513221 w 4659458"/>
              <a:gd name="connsiteY34" fmla="*/ 3577332 h 4816585"/>
              <a:gd name="connsiteX35" fmla="*/ 3573379 w 4659458"/>
              <a:gd name="connsiteY35" fmla="*/ 3517174 h 4816585"/>
              <a:gd name="connsiteX36" fmla="*/ 3741821 w 4659458"/>
              <a:gd name="connsiteY36" fmla="*/ 3372795 h 4816585"/>
              <a:gd name="connsiteX37" fmla="*/ 3789947 w 4659458"/>
              <a:gd name="connsiteY37" fmla="*/ 3300606 h 4816585"/>
              <a:gd name="connsiteX38" fmla="*/ 3838073 w 4659458"/>
              <a:gd name="connsiteY38" fmla="*/ 3192321 h 4816585"/>
              <a:gd name="connsiteX39" fmla="*/ 3922294 w 4659458"/>
              <a:gd name="connsiteY39" fmla="*/ 3011848 h 4816585"/>
              <a:gd name="connsiteX40" fmla="*/ 3934326 w 4659458"/>
              <a:gd name="connsiteY40" fmla="*/ 2975753 h 4816585"/>
              <a:gd name="connsiteX41" fmla="*/ 3946357 w 4659458"/>
              <a:gd name="connsiteY41" fmla="*/ 2795279 h 4816585"/>
              <a:gd name="connsiteX42" fmla="*/ 3958389 w 4659458"/>
              <a:gd name="connsiteY42" fmla="*/ 2759185 h 4816585"/>
              <a:gd name="connsiteX43" fmla="*/ 4054642 w 4659458"/>
              <a:gd name="connsiteY43" fmla="*/ 2626837 h 4816585"/>
              <a:gd name="connsiteX44" fmla="*/ 4150894 w 4659458"/>
              <a:gd name="connsiteY44" fmla="*/ 2458395 h 4816585"/>
              <a:gd name="connsiteX45" fmla="*/ 4162926 w 4659458"/>
              <a:gd name="connsiteY45" fmla="*/ 2422300 h 4816585"/>
              <a:gd name="connsiteX46" fmla="*/ 4247147 w 4659458"/>
              <a:gd name="connsiteY46" fmla="*/ 2241827 h 4816585"/>
              <a:gd name="connsiteX47" fmla="*/ 4259179 w 4659458"/>
              <a:gd name="connsiteY47" fmla="*/ 2205732 h 4816585"/>
              <a:gd name="connsiteX48" fmla="*/ 4319336 w 4659458"/>
              <a:gd name="connsiteY48" fmla="*/ 2061353 h 4816585"/>
              <a:gd name="connsiteX49" fmla="*/ 4331368 w 4659458"/>
              <a:gd name="connsiteY49" fmla="*/ 2025258 h 4816585"/>
              <a:gd name="connsiteX50" fmla="*/ 4367463 w 4659458"/>
              <a:gd name="connsiteY50" fmla="*/ 1796658 h 4816585"/>
              <a:gd name="connsiteX51" fmla="*/ 4391526 w 4659458"/>
              <a:gd name="connsiteY51" fmla="*/ 1399616 h 4816585"/>
              <a:gd name="connsiteX52" fmla="*/ 4403557 w 4659458"/>
              <a:gd name="connsiteY52" fmla="*/ 942416 h 4816585"/>
              <a:gd name="connsiteX53" fmla="*/ 4427621 w 4659458"/>
              <a:gd name="connsiteY53" fmla="*/ 918353 h 4816585"/>
              <a:gd name="connsiteX54" fmla="*/ 4439652 w 4659458"/>
              <a:gd name="connsiteY54" fmla="*/ 882258 h 4816585"/>
              <a:gd name="connsiteX55" fmla="*/ 4523873 w 4659458"/>
              <a:gd name="connsiteY55" fmla="*/ 677721 h 4816585"/>
              <a:gd name="connsiteX56" fmla="*/ 4632157 w 4659458"/>
              <a:gd name="connsiteY56" fmla="*/ 473185 h 4816585"/>
              <a:gd name="connsiteX57" fmla="*/ 3970421 w 4659458"/>
              <a:gd name="connsiteY57" fmla="*/ 3953 h 4816585"/>
              <a:gd name="connsiteX58" fmla="*/ 3657600 w 4659458"/>
              <a:gd name="connsiteY58" fmla="*/ 761942 h 4816585"/>
              <a:gd name="connsiteX59" fmla="*/ 3826042 w 4659458"/>
              <a:gd name="connsiteY59" fmla="*/ 1712437 h 4816585"/>
              <a:gd name="connsiteX60" fmla="*/ 3104147 w 4659458"/>
              <a:gd name="connsiteY60" fmla="*/ 2771216 h 4816585"/>
              <a:gd name="connsiteX61" fmla="*/ 2286000 w 4659458"/>
              <a:gd name="connsiteY61" fmla="*/ 3240448 h 4816585"/>
              <a:gd name="connsiteX62" fmla="*/ 649705 w 4659458"/>
              <a:gd name="connsiteY62" fmla="*/ 3601395 h 4816585"/>
              <a:gd name="connsiteX63" fmla="*/ 0 w 4659458"/>
              <a:gd name="connsiteY63" fmla="*/ 4058595 h 4816585"/>
              <a:gd name="connsiteX64" fmla="*/ 625642 w 4659458"/>
              <a:gd name="connsiteY64" fmla="*/ 4816585 h 4816585"/>
              <a:gd name="connsiteX65" fmla="*/ 589547 w 4659458"/>
              <a:gd name="connsiteY65" fmla="*/ 4744395 h 4816585"/>
              <a:gd name="connsiteX0" fmla="*/ 589547 w 4659670"/>
              <a:gd name="connsiteY0" fmla="*/ 4744395 h 4816585"/>
              <a:gd name="connsiteX1" fmla="*/ 589547 w 4659670"/>
              <a:gd name="connsiteY1" fmla="*/ 4744395 h 4816585"/>
              <a:gd name="connsiteX2" fmla="*/ 673768 w 4659670"/>
              <a:gd name="connsiteY2" fmla="*/ 4660174 h 4816585"/>
              <a:gd name="connsiteX3" fmla="*/ 721894 w 4659670"/>
              <a:gd name="connsiteY3" fmla="*/ 4600016 h 4816585"/>
              <a:gd name="connsiteX4" fmla="*/ 757989 w 4659670"/>
              <a:gd name="connsiteY4" fmla="*/ 4527827 h 4816585"/>
              <a:gd name="connsiteX5" fmla="*/ 818147 w 4659670"/>
              <a:gd name="connsiteY5" fmla="*/ 4467669 h 4816585"/>
              <a:gd name="connsiteX6" fmla="*/ 842210 w 4659670"/>
              <a:gd name="connsiteY6" fmla="*/ 4431574 h 4816585"/>
              <a:gd name="connsiteX7" fmla="*/ 914400 w 4659670"/>
              <a:gd name="connsiteY7" fmla="*/ 4383448 h 4816585"/>
              <a:gd name="connsiteX8" fmla="*/ 950494 w 4659670"/>
              <a:gd name="connsiteY8" fmla="*/ 4359385 h 4816585"/>
              <a:gd name="connsiteX9" fmla="*/ 1034715 w 4659670"/>
              <a:gd name="connsiteY9" fmla="*/ 4299227 h 4816585"/>
              <a:gd name="connsiteX10" fmla="*/ 1058779 w 4659670"/>
              <a:gd name="connsiteY10" fmla="*/ 4275163 h 4816585"/>
              <a:gd name="connsiteX11" fmla="*/ 1130968 w 4659670"/>
              <a:gd name="connsiteY11" fmla="*/ 4251100 h 4816585"/>
              <a:gd name="connsiteX12" fmla="*/ 1167063 w 4659670"/>
              <a:gd name="connsiteY12" fmla="*/ 4239069 h 4816585"/>
              <a:gd name="connsiteX13" fmla="*/ 1227221 w 4659670"/>
              <a:gd name="connsiteY13" fmla="*/ 4227037 h 4816585"/>
              <a:gd name="connsiteX14" fmla="*/ 1299410 w 4659670"/>
              <a:gd name="connsiteY14" fmla="*/ 4202974 h 4816585"/>
              <a:gd name="connsiteX15" fmla="*/ 1371600 w 4659670"/>
              <a:gd name="connsiteY15" fmla="*/ 4178911 h 4816585"/>
              <a:gd name="connsiteX16" fmla="*/ 1407694 w 4659670"/>
              <a:gd name="connsiteY16" fmla="*/ 4166879 h 4816585"/>
              <a:gd name="connsiteX17" fmla="*/ 1431757 w 4659670"/>
              <a:gd name="connsiteY17" fmla="*/ 4130785 h 4816585"/>
              <a:gd name="connsiteX18" fmla="*/ 1467852 w 4659670"/>
              <a:gd name="connsiteY18" fmla="*/ 4118753 h 4816585"/>
              <a:gd name="connsiteX19" fmla="*/ 1503947 w 4659670"/>
              <a:gd name="connsiteY19" fmla="*/ 4094690 h 4816585"/>
              <a:gd name="connsiteX20" fmla="*/ 1540042 w 4659670"/>
              <a:gd name="connsiteY20" fmla="*/ 4058595 h 4816585"/>
              <a:gd name="connsiteX21" fmla="*/ 1612231 w 4659670"/>
              <a:gd name="connsiteY21" fmla="*/ 4034532 h 4816585"/>
              <a:gd name="connsiteX22" fmla="*/ 1648326 w 4659670"/>
              <a:gd name="connsiteY22" fmla="*/ 4022500 h 4816585"/>
              <a:gd name="connsiteX23" fmla="*/ 1864894 w 4659670"/>
              <a:gd name="connsiteY23" fmla="*/ 3998437 h 4816585"/>
              <a:gd name="connsiteX24" fmla="*/ 2177715 w 4659670"/>
              <a:gd name="connsiteY24" fmla="*/ 3986406 h 4816585"/>
              <a:gd name="connsiteX25" fmla="*/ 2382252 w 4659670"/>
              <a:gd name="connsiteY25" fmla="*/ 3962342 h 4816585"/>
              <a:gd name="connsiteX26" fmla="*/ 2550694 w 4659670"/>
              <a:gd name="connsiteY26" fmla="*/ 3926248 h 4816585"/>
              <a:gd name="connsiteX27" fmla="*/ 2719136 w 4659670"/>
              <a:gd name="connsiteY27" fmla="*/ 3890153 h 4816585"/>
              <a:gd name="connsiteX28" fmla="*/ 2815389 w 4659670"/>
              <a:gd name="connsiteY28" fmla="*/ 3866090 h 4816585"/>
              <a:gd name="connsiteX29" fmla="*/ 2887579 w 4659670"/>
              <a:gd name="connsiteY29" fmla="*/ 3842027 h 4816585"/>
              <a:gd name="connsiteX30" fmla="*/ 3019926 w 4659670"/>
              <a:gd name="connsiteY30" fmla="*/ 3805932 h 4816585"/>
              <a:gd name="connsiteX31" fmla="*/ 3164305 w 4659670"/>
              <a:gd name="connsiteY31" fmla="*/ 3769837 h 4816585"/>
              <a:gd name="connsiteX32" fmla="*/ 3344779 w 4659670"/>
              <a:gd name="connsiteY32" fmla="*/ 3697648 h 4816585"/>
              <a:gd name="connsiteX33" fmla="*/ 3453063 w 4659670"/>
              <a:gd name="connsiteY33" fmla="*/ 3613427 h 4816585"/>
              <a:gd name="connsiteX34" fmla="*/ 3513221 w 4659670"/>
              <a:gd name="connsiteY34" fmla="*/ 3577332 h 4816585"/>
              <a:gd name="connsiteX35" fmla="*/ 3573379 w 4659670"/>
              <a:gd name="connsiteY35" fmla="*/ 3517174 h 4816585"/>
              <a:gd name="connsiteX36" fmla="*/ 3741821 w 4659670"/>
              <a:gd name="connsiteY36" fmla="*/ 3372795 h 4816585"/>
              <a:gd name="connsiteX37" fmla="*/ 3789947 w 4659670"/>
              <a:gd name="connsiteY37" fmla="*/ 3300606 h 4816585"/>
              <a:gd name="connsiteX38" fmla="*/ 3838073 w 4659670"/>
              <a:gd name="connsiteY38" fmla="*/ 3192321 h 4816585"/>
              <a:gd name="connsiteX39" fmla="*/ 3922294 w 4659670"/>
              <a:gd name="connsiteY39" fmla="*/ 3011848 h 4816585"/>
              <a:gd name="connsiteX40" fmla="*/ 3934326 w 4659670"/>
              <a:gd name="connsiteY40" fmla="*/ 2975753 h 4816585"/>
              <a:gd name="connsiteX41" fmla="*/ 3946357 w 4659670"/>
              <a:gd name="connsiteY41" fmla="*/ 2795279 h 4816585"/>
              <a:gd name="connsiteX42" fmla="*/ 3958389 w 4659670"/>
              <a:gd name="connsiteY42" fmla="*/ 2759185 h 4816585"/>
              <a:gd name="connsiteX43" fmla="*/ 4054642 w 4659670"/>
              <a:gd name="connsiteY43" fmla="*/ 2626837 h 4816585"/>
              <a:gd name="connsiteX44" fmla="*/ 4150894 w 4659670"/>
              <a:gd name="connsiteY44" fmla="*/ 2458395 h 4816585"/>
              <a:gd name="connsiteX45" fmla="*/ 4162926 w 4659670"/>
              <a:gd name="connsiteY45" fmla="*/ 2422300 h 4816585"/>
              <a:gd name="connsiteX46" fmla="*/ 4247147 w 4659670"/>
              <a:gd name="connsiteY46" fmla="*/ 2241827 h 4816585"/>
              <a:gd name="connsiteX47" fmla="*/ 4259179 w 4659670"/>
              <a:gd name="connsiteY47" fmla="*/ 2205732 h 4816585"/>
              <a:gd name="connsiteX48" fmla="*/ 4319336 w 4659670"/>
              <a:gd name="connsiteY48" fmla="*/ 2061353 h 4816585"/>
              <a:gd name="connsiteX49" fmla="*/ 4331368 w 4659670"/>
              <a:gd name="connsiteY49" fmla="*/ 2025258 h 4816585"/>
              <a:gd name="connsiteX50" fmla="*/ 4367463 w 4659670"/>
              <a:gd name="connsiteY50" fmla="*/ 1796658 h 4816585"/>
              <a:gd name="connsiteX51" fmla="*/ 4391526 w 4659670"/>
              <a:gd name="connsiteY51" fmla="*/ 1399616 h 4816585"/>
              <a:gd name="connsiteX52" fmla="*/ 4403557 w 4659670"/>
              <a:gd name="connsiteY52" fmla="*/ 942416 h 4816585"/>
              <a:gd name="connsiteX53" fmla="*/ 4427621 w 4659670"/>
              <a:gd name="connsiteY53" fmla="*/ 918353 h 4816585"/>
              <a:gd name="connsiteX54" fmla="*/ 4523873 w 4659670"/>
              <a:gd name="connsiteY54" fmla="*/ 677721 h 4816585"/>
              <a:gd name="connsiteX55" fmla="*/ 4632157 w 4659670"/>
              <a:gd name="connsiteY55" fmla="*/ 473185 h 4816585"/>
              <a:gd name="connsiteX56" fmla="*/ 3970421 w 4659670"/>
              <a:gd name="connsiteY56" fmla="*/ 3953 h 4816585"/>
              <a:gd name="connsiteX57" fmla="*/ 3657600 w 4659670"/>
              <a:gd name="connsiteY57" fmla="*/ 761942 h 4816585"/>
              <a:gd name="connsiteX58" fmla="*/ 3826042 w 4659670"/>
              <a:gd name="connsiteY58" fmla="*/ 1712437 h 4816585"/>
              <a:gd name="connsiteX59" fmla="*/ 3104147 w 4659670"/>
              <a:gd name="connsiteY59" fmla="*/ 2771216 h 4816585"/>
              <a:gd name="connsiteX60" fmla="*/ 2286000 w 4659670"/>
              <a:gd name="connsiteY60" fmla="*/ 3240448 h 4816585"/>
              <a:gd name="connsiteX61" fmla="*/ 649705 w 4659670"/>
              <a:gd name="connsiteY61" fmla="*/ 3601395 h 4816585"/>
              <a:gd name="connsiteX62" fmla="*/ 0 w 4659670"/>
              <a:gd name="connsiteY62" fmla="*/ 4058595 h 4816585"/>
              <a:gd name="connsiteX63" fmla="*/ 625642 w 4659670"/>
              <a:gd name="connsiteY63" fmla="*/ 4816585 h 4816585"/>
              <a:gd name="connsiteX64" fmla="*/ 589547 w 4659670"/>
              <a:gd name="connsiteY64" fmla="*/ 4744395 h 4816585"/>
              <a:gd name="connsiteX0" fmla="*/ 589547 w 4659670"/>
              <a:gd name="connsiteY0" fmla="*/ 4744395 h 4816585"/>
              <a:gd name="connsiteX1" fmla="*/ 589547 w 4659670"/>
              <a:gd name="connsiteY1" fmla="*/ 4744395 h 4816585"/>
              <a:gd name="connsiteX2" fmla="*/ 673768 w 4659670"/>
              <a:gd name="connsiteY2" fmla="*/ 4660174 h 4816585"/>
              <a:gd name="connsiteX3" fmla="*/ 721894 w 4659670"/>
              <a:gd name="connsiteY3" fmla="*/ 4600016 h 4816585"/>
              <a:gd name="connsiteX4" fmla="*/ 757989 w 4659670"/>
              <a:gd name="connsiteY4" fmla="*/ 4527827 h 4816585"/>
              <a:gd name="connsiteX5" fmla="*/ 818147 w 4659670"/>
              <a:gd name="connsiteY5" fmla="*/ 4467669 h 4816585"/>
              <a:gd name="connsiteX6" fmla="*/ 842210 w 4659670"/>
              <a:gd name="connsiteY6" fmla="*/ 4431574 h 4816585"/>
              <a:gd name="connsiteX7" fmla="*/ 914400 w 4659670"/>
              <a:gd name="connsiteY7" fmla="*/ 4383448 h 4816585"/>
              <a:gd name="connsiteX8" fmla="*/ 950494 w 4659670"/>
              <a:gd name="connsiteY8" fmla="*/ 4359385 h 4816585"/>
              <a:gd name="connsiteX9" fmla="*/ 1034715 w 4659670"/>
              <a:gd name="connsiteY9" fmla="*/ 4299227 h 4816585"/>
              <a:gd name="connsiteX10" fmla="*/ 1058779 w 4659670"/>
              <a:gd name="connsiteY10" fmla="*/ 4275163 h 4816585"/>
              <a:gd name="connsiteX11" fmla="*/ 1130968 w 4659670"/>
              <a:gd name="connsiteY11" fmla="*/ 4251100 h 4816585"/>
              <a:gd name="connsiteX12" fmla="*/ 1167063 w 4659670"/>
              <a:gd name="connsiteY12" fmla="*/ 4239069 h 4816585"/>
              <a:gd name="connsiteX13" fmla="*/ 1227221 w 4659670"/>
              <a:gd name="connsiteY13" fmla="*/ 4227037 h 4816585"/>
              <a:gd name="connsiteX14" fmla="*/ 1371600 w 4659670"/>
              <a:gd name="connsiteY14" fmla="*/ 4178911 h 4816585"/>
              <a:gd name="connsiteX15" fmla="*/ 1407694 w 4659670"/>
              <a:gd name="connsiteY15" fmla="*/ 4166879 h 4816585"/>
              <a:gd name="connsiteX16" fmla="*/ 1431757 w 4659670"/>
              <a:gd name="connsiteY16" fmla="*/ 4130785 h 4816585"/>
              <a:gd name="connsiteX17" fmla="*/ 1467852 w 4659670"/>
              <a:gd name="connsiteY17" fmla="*/ 4118753 h 4816585"/>
              <a:gd name="connsiteX18" fmla="*/ 1503947 w 4659670"/>
              <a:gd name="connsiteY18" fmla="*/ 4094690 h 4816585"/>
              <a:gd name="connsiteX19" fmla="*/ 1540042 w 4659670"/>
              <a:gd name="connsiteY19" fmla="*/ 4058595 h 4816585"/>
              <a:gd name="connsiteX20" fmla="*/ 1612231 w 4659670"/>
              <a:gd name="connsiteY20" fmla="*/ 4034532 h 4816585"/>
              <a:gd name="connsiteX21" fmla="*/ 1648326 w 4659670"/>
              <a:gd name="connsiteY21" fmla="*/ 4022500 h 4816585"/>
              <a:gd name="connsiteX22" fmla="*/ 1864894 w 4659670"/>
              <a:gd name="connsiteY22" fmla="*/ 3998437 h 4816585"/>
              <a:gd name="connsiteX23" fmla="*/ 2177715 w 4659670"/>
              <a:gd name="connsiteY23" fmla="*/ 3986406 h 4816585"/>
              <a:gd name="connsiteX24" fmla="*/ 2382252 w 4659670"/>
              <a:gd name="connsiteY24" fmla="*/ 3962342 h 4816585"/>
              <a:gd name="connsiteX25" fmla="*/ 2550694 w 4659670"/>
              <a:gd name="connsiteY25" fmla="*/ 3926248 h 4816585"/>
              <a:gd name="connsiteX26" fmla="*/ 2719136 w 4659670"/>
              <a:gd name="connsiteY26" fmla="*/ 3890153 h 4816585"/>
              <a:gd name="connsiteX27" fmla="*/ 2815389 w 4659670"/>
              <a:gd name="connsiteY27" fmla="*/ 3866090 h 4816585"/>
              <a:gd name="connsiteX28" fmla="*/ 2887579 w 4659670"/>
              <a:gd name="connsiteY28" fmla="*/ 3842027 h 4816585"/>
              <a:gd name="connsiteX29" fmla="*/ 3019926 w 4659670"/>
              <a:gd name="connsiteY29" fmla="*/ 3805932 h 4816585"/>
              <a:gd name="connsiteX30" fmla="*/ 3164305 w 4659670"/>
              <a:gd name="connsiteY30" fmla="*/ 3769837 h 4816585"/>
              <a:gd name="connsiteX31" fmla="*/ 3344779 w 4659670"/>
              <a:gd name="connsiteY31" fmla="*/ 3697648 h 4816585"/>
              <a:gd name="connsiteX32" fmla="*/ 3453063 w 4659670"/>
              <a:gd name="connsiteY32" fmla="*/ 3613427 h 4816585"/>
              <a:gd name="connsiteX33" fmla="*/ 3513221 w 4659670"/>
              <a:gd name="connsiteY33" fmla="*/ 3577332 h 4816585"/>
              <a:gd name="connsiteX34" fmla="*/ 3573379 w 4659670"/>
              <a:gd name="connsiteY34" fmla="*/ 3517174 h 4816585"/>
              <a:gd name="connsiteX35" fmla="*/ 3741821 w 4659670"/>
              <a:gd name="connsiteY35" fmla="*/ 3372795 h 4816585"/>
              <a:gd name="connsiteX36" fmla="*/ 3789947 w 4659670"/>
              <a:gd name="connsiteY36" fmla="*/ 3300606 h 4816585"/>
              <a:gd name="connsiteX37" fmla="*/ 3838073 w 4659670"/>
              <a:gd name="connsiteY37" fmla="*/ 3192321 h 4816585"/>
              <a:gd name="connsiteX38" fmla="*/ 3922294 w 4659670"/>
              <a:gd name="connsiteY38" fmla="*/ 3011848 h 4816585"/>
              <a:gd name="connsiteX39" fmla="*/ 3934326 w 4659670"/>
              <a:gd name="connsiteY39" fmla="*/ 2975753 h 4816585"/>
              <a:gd name="connsiteX40" fmla="*/ 3946357 w 4659670"/>
              <a:gd name="connsiteY40" fmla="*/ 2795279 h 4816585"/>
              <a:gd name="connsiteX41" fmla="*/ 3958389 w 4659670"/>
              <a:gd name="connsiteY41" fmla="*/ 2759185 h 4816585"/>
              <a:gd name="connsiteX42" fmla="*/ 4054642 w 4659670"/>
              <a:gd name="connsiteY42" fmla="*/ 2626837 h 4816585"/>
              <a:gd name="connsiteX43" fmla="*/ 4150894 w 4659670"/>
              <a:gd name="connsiteY43" fmla="*/ 2458395 h 4816585"/>
              <a:gd name="connsiteX44" fmla="*/ 4162926 w 4659670"/>
              <a:gd name="connsiteY44" fmla="*/ 2422300 h 4816585"/>
              <a:gd name="connsiteX45" fmla="*/ 4247147 w 4659670"/>
              <a:gd name="connsiteY45" fmla="*/ 2241827 h 4816585"/>
              <a:gd name="connsiteX46" fmla="*/ 4259179 w 4659670"/>
              <a:gd name="connsiteY46" fmla="*/ 2205732 h 4816585"/>
              <a:gd name="connsiteX47" fmla="*/ 4319336 w 4659670"/>
              <a:gd name="connsiteY47" fmla="*/ 2061353 h 4816585"/>
              <a:gd name="connsiteX48" fmla="*/ 4331368 w 4659670"/>
              <a:gd name="connsiteY48" fmla="*/ 2025258 h 4816585"/>
              <a:gd name="connsiteX49" fmla="*/ 4367463 w 4659670"/>
              <a:gd name="connsiteY49" fmla="*/ 1796658 h 4816585"/>
              <a:gd name="connsiteX50" fmla="*/ 4391526 w 4659670"/>
              <a:gd name="connsiteY50" fmla="*/ 1399616 h 4816585"/>
              <a:gd name="connsiteX51" fmla="*/ 4403557 w 4659670"/>
              <a:gd name="connsiteY51" fmla="*/ 942416 h 4816585"/>
              <a:gd name="connsiteX52" fmla="*/ 4427621 w 4659670"/>
              <a:gd name="connsiteY52" fmla="*/ 918353 h 4816585"/>
              <a:gd name="connsiteX53" fmla="*/ 4523873 w 4659670"/>
              <a:gd name="connsiteY53" fmla="*/ 677721 h 4816585"/>
              <a:gd name="connsiteX54" fmla="*/ 4632157 w 4659670"/>
              <a:gd name="connsiteY54" fmla="*/ 473185 h 4816585"/>
              <a:gd name="connsiteX55" fmla="*/ 3970421 w 4659670"/>
              <a:gd name="connsiteY55" fmla="*/ 3953 h 4816585"/>
              <a:gd name="connsiteX56" fmla="*/ 3657600 w 4659670"/>
              <a:gd name="connsiteY56" fmla="*/ 761942 h 4816585"/>
              <a:gd name="connsiteX57" fmla="*/ 3826042 w 4659670"/>
              <a:gd name="connsiteY57" fmla="*/ 1712437 h 4816585"/>
              <a:gd name="connsiteX58" fmla="*/ 3104147 w 4659670"/>
              <a:gd name="connsiteY58" fmla="*/ 2771216 h 4816585"/>
              <a:gd name="connsiteX59" fmla="*/ 2286000 w 4659670"/>
              <a:gd name="connsiteY59" fmla="*/ 3240448 h 4816585"/>
              <a:gd name="connsiteX60" fmla="*/ 649705 w 4659670"/>
              <a:gd name="connsiteY60" fmla="*/ 3601395 h 4816585"/>
              <a:gd name="connsiteX61" fmla="*/ 0 w 4659670"/>
              <a:gd name="connsiteY61" fmla="*/ 4058595 h 4816585"/>
              <a:gd name="connsiteX62" fmla="*/ 625642 w 4659670"/>
              <a:gd name="connsiteY62" fmla="*/ 4816585 h 4816585"/>
              <a:gd name="connsiteX63" fmla="*/ 589547 w 4659670"/>
              <a:gd name="connsiteY63" fmla="*/ 4744395 h 4816585"/>
              <a:gd name="connsiteX0" fmla="*/ 589547 w 4659670"/>
              <a:gd name="connsiteY0" fmla="*/ 4744395 h 4816585"/>
              <a:gd name="connsiteX1" fmla="*/ 589547 w 4659670"/>
              <a:gd name="connsiteY1" fmla="*/ 4744395 h 4816585"/>
              <a:gd name="connsiteX2" fmla="*/ 673768 w 4659670"/>
              <a:gd name="connsiteY2" fmla="*/ 4660174 h 4816585"/>
              <a:gd name="connsiteX3" fmla="*/ 721894 w 4659670"/>
              <a:gd name="connsiteY3" fmla="*/ 4600016 h 4816585"/>
              <a:gd name="connsiteX4" fmla="*/ 757989 w 4659670"/>
              <a:gd name="connsiteY4" fmla="*/ 4527827 h 4816585"/>
              <a:gd name="connsiteX5" fmla="*/ 818147 w 4659670"/>
              <a:gd name="connsiteY5" fmla="*/ 4467669 h 4816585"/>
              <a:gd name="connsiteX6" fmla="*/ 842210 w 4659670"/>
              <a:gd name="connsiteY6" fmla="*/ 4431574 h 4816585"/>
              <a:gd name="connsiteX7" fmla="*/ 914400 w 4659670"/>
              <a:gd name="connsiteY7" fmla="*/ 4383448 h 4816585"/>
              <a:gd name="connsiteX8" fmla="*/ 950494 w 4659670"/>
              <a:gd name="connsiteY8" fmla="*/ 4359385 h 4816585"/>
              <a:gd name="connsiteX9" fmla="*/ 1034715 w 4659670"/>
              <a:gd name="connsiteY9" fmla="*/ 4299227 h 4816585"/>
              <a:gd name="connsiteX10" fmla="*/ 1058779 w 4659670"/>
              <a:gd name="connsiteY10" fmla="*/ 4275163 h 4816585"/>
              <a:gd name="connsiteX11" fmla="*/ 1130968 w 4659670"/>
              <a:gd name="connsiteY11" fmla="*/ 4251100 h 4816585"/>
              <a:gd name="connsiteX12" fmla="*/ 1167063 w 4659670"/>
              <a:gd name="connsiteY12" fmla="*/ 4239069 h 4816585"/>
              <a:gd name="connsiteX13" fmla="*/ 1371600 w 4659670"/>
              <a:gd name="connsiteY13" fmla="*/ 4178911 h 4816585"/>
              <a:gd name="connsiteX14" fmla="*/ 1407694 w 4659670"/>
              <a:gd name="connsiteY14" fmla="*/ 4166879 h 4816585"/>
              <a:gd name="connsiteX15" fmla="*/ 1431757 w 4659670"/>
              <a:gd name="connsiteY15" fmla="*/ 4130785 h 4816585"/>
              <a:gd name="connsiteX16" fmla="*/ 1467852 w 4659670"/>
              <a:gd name="connsiteY16" fmla="*/ 4118753 h 4816585"/>
              <a:gd name="connsiteX17" fmla="*/ 1503947 w 4659670"/>
              <a:gd name="connsiteY17" fmla="*/ 4094690 h 4816585"/>
              <a:gd name="connsiteX18" fmla="*/ 1540042 w 4659670"/>
              <a:gd name="connsiteY18" fmla="*/ 4058595 h 4816585"/>
              <a:gd name="connsiteX19" fmla="*/ 1612231 w 4659670"/>
              <a:gd name="connsiteY19" fmla="*/ 4034532 h 4816585"/>
              <a:gd name="connsiteX20" fmla="*/ 1648326 w 4659670"/>
              <a:gd name="connsiteY20" fmla="*/ 4022500 h 4816585"/>
              <a:gd name="connsiteX21" fmla="*/ 1864894 w 4659670"/>
              <a:gd name="connsiteY21" fmla="*/ 3998437 h 4816585"/>
              <a:gd name="connsiteX22" fmla="*/ 2177715 w 4659670"/>
              <a:gd name="connsiteY22" fmla="*/ 3986406 h 4816585"/>
              <a:gd name="connsiteX23" fmla="*/ 2382252 w 4659670"/>
              <a:gd name="connsiteY23" fmla="*/ 3962342 h 4816585"/>
              <a:gd name="connsiteX24" fmla="*/ 2550694 w 4659670"/>
              <a:gd name="connsiteY24" fmla="*/ 3926248 h 4816585"/>
              <a:gd name="connsiteX25" fmla="*/ 2719136 w 4659670"/>
              <a:gd name="connsiteY25" fmla="*/ 3890153 h 4816585"/>
              <a:gd name="connsiteX26" fmla="*/ 2815389 w 4659670"/>
              <a:gd name="connsiteY26" fmla="*/ 3866090 h 4816585"/>
              <a:gd name="connsiteX27" fmla="*/ 2887579 w 4659670"/>
              <a:gd name="connsiteY27" fmla="*/ 3842027 h 4816585"/>
              <a:gd name="connsiteX28" fmla="*/ 3019926 w 4659670"/>
              <a:gd name="connsiteY28" fmla="*/ 3805932 h 4816585"/>
              <a:gd name="connsiteX29" fmla="*/ 3164305 w 4659670"/>
              <a:gd name="connsiteY29" fmla="*/ 3769837 h 4816585"/>
              <a:gd name="connsiteX30" fmla="*/ 3344779 w 4659670"/>
              <a:gd name="connsiteY30" fmla="*/ 3697648 h 4816585"/>
              <a:gd name="connsiteX31" fmla="*/ 3453063 w 4659670"/>
              <a:gd name="connsiteY31" fmla="*/ 3613427 h 4816585"/>
              <a:gd name="connsiteX32" fmla="*/ 3513221 w 4659670"/>
              <a:gd name="connsiteY32" fmla="*/ 3577332 h 4816585"/>
              <a:gd name="connsiteX33" fmla="*/ 3573379 w 4659670"/>
              <a:gd name="connsiteY33" fmla="*/ 3517174 h 4816585"/>
              <a:gd name="connsiteX34" fmla="*/ 3741821 w 4659670"/>
              <a:gd name="connsiteY34" fmla="*/ 3372795 h 4816585"/>
              <a:gd name="connsiteX35" fmla="*/ 3789947 w 4659670"/>
              <a:gd name="connsiteY35" fmla="*/ 3300606 h 4816585"/>
              <a:gd name="connsiteX36" fmla="*/ 3838073 w 4659670"/>
              <a:gd name="connsiteY36" fmla="*/ 3192321 h 4816585"/>
              <a:gd name="connsiteX37" fmla="*/ 3922294 w 4659670"/>
              <a:gd name="connsiteY37" fmla="*/ 3011848 h 4816585"/>
              <a:gd name="connsiteX38" fmla="*/ 3934326 w 4659670"/>
              <a:gd name="connsiteY38" fmla="*/ 2975753 h 4816585"/>
              <a:gd name="connsiteX39" fmla="*/ 3946357 w 4659670"/>
              <a:gd name="connsiteY39" fmla="*/ 2795279 h 4816585"/>
              <a:gd name="connsiteX40" fmla="*/ 3958389 w 4659670"/>
              <a:gd name="connsiteY40" fmla="*/ 2759185 h 4816585"/>
              <a:gd name="connsiteX41" fmla="*/ 4054642 w 4659670"/>
              <a:gd name="connsiteY41" fmla="*/ 2626837 h 4816585"/>
              <a:gd name="connsiteX42" fmla="*/ 4150894 w 4659670"/>
              <a:gd name="connsiteY42" fmla="*/ 2458395 h 4816585"/>
              <a:gd name="connsiteX43" fmla="*/ 4162926 w 4659670"/>
              <a:gd name="connsiteY43" fmla="*/ 2422300 h 4816585"/>
              <a:gd name="connsiteX44" fmla="*/ 4247147 w 4659670"/>
              <a:gd name="connsiteY44" fmla="*/ 2241827 h 4816585"/>
              <a:gd name="connsiteX45" fmla="*/ 4259179 w 4659670"/>
              <a:gd name="connsiteY45" fmla="*/ 2205732 h 4816585"/>
              <a:gd name="connsiteX46" fmla="*/ 4319336 w 4659670"/>
              <a:gd name="connsiteY46" fmla="*/ 2061353 h 4816585"/>
              <a:gd name="connsiteX47" fmla="*/ 4331368 w 4659670"/>
              <a:gd name="connsiteY47" fmla="*/ 2025258 h 4816585"/>
              <a:gd name="connsiteX48" fmla="*/ 4367463 w 4659670"/>
              <a:gd name="connsiteY48" fmla="*/ 1796658 h 4816585"/>
              <a:gd name="connsiteX49" fmla="*/ 4391526 w 4659670"/>
              <a:gd name="connsiteY49" fmla="*/ 1399616 h 4816585"/>
              <a:gd name="connsiteX50" fmla="*/ 4403557 w 4659670"/>
              <a:gd name="connsiteY50" fmla="*/ 942416 h 4816585"/>
              <a:gd name="connsiteX51" fmla="*/ 4427621 w 4659670"/>
              <a:gd name="connsiteY51" fmla="*/ 918353 h 4816585"/>
              <a:gd name="connsiteX52" fmla="*/ 4523873 w 4659670"/>
              <a:gd name="connsiteY52" fmla="*/ 677721 h 4816585"/>
              <a:gd name="connsiteX53" fmla="*/ 4632157 w 4659670"/>
              <a:gd name="connsiteY53" fmla="*/ 473185 h 4816585"/>
              <a:gd name="connsiteX54" fmla="*/ 3970421 w 4659670"/>
              <a:gd name="connsiteY54" fmla="*/ 3953 h 4816585"/>
              <a:gd name="connsiteX55" fmla="*/ 3657600 w 4659670"/>
              <a:gd name="connsiteY55" fmla="*/ 761942 h 4816585"/>
              <a:gd name="connsiteX56" fmla="*/ 3826042 w 4659670"/>
              <a:gd name="connsiteY56" fmla="*/ 1712437 h 4816585"/>
              <a:gd name="connsiteX57" fmla="*/ 3104147 w 4659670"/>
              <a:gd name="connsiteY57" fmla="*/ 2771216 h 4816585"/>
              <a:gd name="connsiteX58" fmla="*/ 2286000 w 4659670"/>
              <a:gd name="connsiteY58" fmla="*/ 3240448 h 4816585"/>
              <a:gd name="connsiteX59" fmla="*/ 649705 w 4659670"/>
              <a:gd name="connsiteY59" fmla="*/ 3601395 h 4816585"/>
              <a:gd name="connsiteX60" fmla="*/ 0 w 4659670"/>
              <a:gd name="connsiteY60" fmla="*/ 4058595 h 4816585"/>
              <a:gd name="connsiteX61" fmla="*/ 625642 w 4659670"/>
              <a:gd name="connsiteY61" fmla="*/ 4816585 h 4816585"/>
              <a:gd name="connsiteX62" fmla="*/ 589547 w 4659670"/>
              <a:gd name="connsiteY62" fmla="*/ 4744395 h 4816585"/>
              <a:gd name="connsiteX0" fmla="*/ 589547 w 4659670"/>
              <a:gd name="connsiteY0" fmla="*/ 4744395 h 4816585"/>
              <a:gd name="connsiteX1" fmla="*/ 589547 w 4659670"/>
              <a:gd name="connsiteY1" fmla="*/ 4744395 h 4816585"/>
              <a:gd name="connsiteX2" fmla="*/ 673768 w 4659670"/>
              <a:gd name="connsiteY2" fmla="*/ 4660174 h 4816585"/>
              <a:gd name="connsiteX3" fmla="*/ 721894 w 4659670"/>
              <a:gd name="connsiteY3" fmla="*/ 4600016 h 4816585"/>
              <a:gd name="connsiteX4" fmla="*/ 757989 w 4659670"/>
              <a:gd name="connsiteY4" fmla="*/ 4527827 h 4816585"/>
              <a:gd name="connsiteX5" fmla="*/ 818147 w 4659670"/>
              <a:gd name="connsiteY5" fmla="*/ 4467669 h 4816585"/>
              <a:gd name="connsiteX6" fmla="*/ 842210 w 4659670"/>
              <a:gd name="connsiteY6" fmla="*/ 4431574 h 4816585"/>
              <a:gd name="connsiteX7" fmla="*/ 914400 w 4659670"/>
              <a:gd name="connsiteY7" fmla="*/ 4383448 h 4816585"/>
              <a:gd name="connsiteX8" fmla="*/ 950494 w 4659670"/>
              <a:gd name="connsiteY8" fmla="*/ 4359385 h 4816585"/>
              <a:gd name="connsiteX9" fmla="*/ 1034715 w 4659670"/>
              <a:gd name="connsiteY9" fmla="*/ 4299227 h 4816585"/>
              <a:gd name="connsiteX10" fmla="*/ 1058779 w 4659670"/>
              <a:gd name="connsiteY10" fmla="*/ 4275163 h 4816585"/>
              <a:gd name="connsiteX11" fmla="*/ 1130968 w 4659670"/>
              <a:gd name="connsiteY11" fmla="*/ 4251100 h 4816585"/>
              <a:gd name="connsiteX12" fmla="*/ 1371600 w 4659670"/>
              <a:gd name="connsiteY12" fmla="*/ 4178911 h 4816585"/>
              <a:gd name="connsiteX13" fmla="*/ 1407694 w 4659670"/>
              <a:gd name="connsiteY13" fmla="*/ 4166879 h 4816585"/>
              <a:gd name="connsiteX14" fmla="*/ 1431757 w 4659670"/>
              <a:gd name="connsiteY14" fmla="*/ 4130785 h 4816585"/>
              <a:gd name="connsiteX15" fmla="*/ 1467852 w 4659670"/>
              <a:gd name="connsiteY15" fmla="*/ 4118753 h 4816585"/>
              <a:gd name="connsiteX16" fmla="*/ 1503947 w 4659670"/>
              <a:gd name="connsiteY16" fmla="*/ 4094690 h 4816585"/>
              <a:gd name="connsiteX17" fmla="*/ 1540042 w 4659670"/>
              <a:gd name="connsiteY17" fmla="*/ 4058595 h 4816585"/>
              <a:gd name="connsiteX18" fmla="*/ 1612231 w 4659670"/>
              <a:gd name="connsiteY18" fmla="*/ 4034532 h 4816585"/>
              <a:gd name="connsiteX19" fmla="*/ 1648326 w 4659670"/>
              <a:gd name="connsiteY19" fmla="*/ 4022500 h 4816585"/>
              <a:gd name="connsiteX20" fmla="*/ 1864894 w 4659670"/>
              <a:gd name="connsiteY20" fmla="*/ 3998437 h 4816585"/>
              <a:gd name="connsiteX21" fmla="*/ 2177715 w 4659670"/>
              <a:gd name="connsiteY21" fmla="*/ 3986406 h 4816585"/>
              <a:gd name="connsiteX22" fmla="*/ 2382252 w 4659670"/>
              <a:gd name="connsiteY22" fmla="*/ 3962342 h 4816585"/>
              <a:gd name="connsiteX23" fmla="*/ 2550694 w 4659670"/>
              <a:gd name="connsiteY23" fmla="*/ 3926248 h 4816585"/>
              <a:gd name="connsiteX24" fmla="*/ 2719136 w 4659670"/>
              <a:gd name="connsiteY24" fmla="*/ 3890153 h 4816585"/>
              <a:gd name="connsiteX25" fmla="*/ 2815389 w 4659670"/>
              <a:gd name="connsiteY25" fmla="*/ 3866090 h 4816585"/>
              <a:gd name="connsiteX26" fmla="*/ 2887579 w 4659670"/>
              <a:gd name="connsiteY26" fmla="*/ 3842027 h 4816585"/>
              <a:gd name="connsiteX27" fmla="*/ 3019926 w 4659670"/>
              <a:gd name="connsiteY27" fmla="*/ 3805932 h 4816585"/>
              <a:gd name="connsiteX28" fmla="*/ 3164305 w 4659670"/>
              <a:gd name="connsiteY28" fmla="*/ 3769837 h 4816585"/>
              <a:gd name="connsiteX29" fmla="*/ 3344779 w 4659670"/>
              <a:gd name="connsiteY29" fmla="*/ 3697648 h 4816585"/>
              <a:gd name="connsiteX30" fmla="*/ 3453063 w 4659670"/>
              <a:gd name="connsiteY30" fmla="*/ 3613427 h 4816585"/>
              <a:gd name="connsiteX31" fmla="*/ 3513221 w 4659670"/>
              <a:gd name="connsiteY31" fmla="*/ 3577332 h 4816585"/>
              <a:gd name="connsiteX32" fmla="*/ 3573379 w 4659670"/>
              <a:gd name="connsiteY32" fmla="*/ 3517174 h 4816585"/>
              <a:gd name="connsiteX33" fmla="*/ 3741821 w 4659670"/>
              <a:gd name="connsiteY33" fmla="*/ 3372795 h 4816585"/>
              <a:gd name="connsiteX34" fmla="*/ 3789947 w 4659670"/>
              <a:gd name="connsiteY34" fmla="*/ 3300606 h 4816585"/>
              <a:gd name="connsiteX35" fmla="*/ 3838073 w 4659670"/>
              <a:gd name="connsiteY35" fmla="*/ 3192321 h 4816585"/>
              <a:gd name="connsiteX36" fmla="*/ 3922294 w 4659670"/>
              <a:gd name="connsiteY36" fmla="*/ 3011848 h 4816585"/>
              <a:gd name="connsiteX37" fmla="*/ 3934326 w 4659670"/>
              <a:gd name="connsiteY37" fmla="*/ 2975753 h 4816585"/>
              <a:gd name="connsiteX38" fmla="*/ 3946357 w 4659670"/>
              <a:gd name="connsiteY38" fmla="*/ 2795279 h 4816585"/>
              <a:gd name="connsiteX39" fmla="*/ 3958389 w 4659670"/>
              <a:gd name="connsiteY39" fmla="*/ 2759185 h 4816585"/>
              <a:gd name="connsiteX40" fmla="*/ 4054642 w 4659670"/>
              <a:gd name="connsiteY40" fmla="*/ 2626837 h 4816585"/>
              <a:gd name="connsiteX41" fmla="*/ 4150894 w 4659670"/>
              <a:gd name="connsiteY41" fmla="*/ 2458395 h 4816585"/>
              <a:gd name="connsiteX42" fmla="*/ 4162926 w 4659670"/>
              <a:gd name="connsiteY42" fmla="*/ 2422300 h 4816585"/>
              <a:gd name="connsiteX43" fmla="*/ 4247147 w 4659670"/>
              <a:gd name="connsiteY43" fmla="*/ 2241827 h 4816585"/>
              <a:gd name="connsiteX44" fmla="*/ 4259179 w 4659670"/>
              <a:gd name="connsiteY44" fmla="*/ 2205732 h 4816585"/>
              <a:gd name="connsiteX45" fmla="*/ 4319336 w 4659670"/>
              <a:gd name="connsiteY45" fmla="*/ 2061353 h 4816585"/>
              <a:gd name="connsiteX46" fmla="*/ 4331368 w 4659670"/>
              <a:gd name="connsiteY46" fmla="*/ 2025258 h 4816585"/>
              <a:gd name="connsiteX47" fmla="*/ 4367463 w 4659670"/>
              <a:gd name="connsiteY47" fmla="*/ 1796658 h 4816585"/>
              <a:gd name="connsiteX48" fmla="*/ 4391526 w 4659670"/>
              <a:gd name="connsiteY48" fmla="*/ 1399616 h 4816585"/>
              <a:gd name="connsiteX49" fmla="*/ 4403557 w 4659670"/>
              <a:gd name="connsiteY49" fmla="*/ 942416 h 4816585"/>
              <a:gd name="connsiteX50" fmla="*/ 4427621 w 4659670"/>
              <a:gd name="connsiteY50" fmla="*/ 918353 h 4816585"/>
              <a:gd name="connsiteX51" fmla="*/ 4523873 w 4659670"/>
              <a:gd name="connsiteY51" fmla="*/ 677721 h 4816585"/>
              <a:gd name="connsiteX52" fmla="*/ 4632157 w 4659670"/>
              <a:gd name="connsiteY52" fmla="*/ 473185 h 4816585"/>
              <a:gd name="connsiteX53" fmla="*/ 3970421 w 4659670"/>
              <a:gd name="connsiteY53" fmla="*/ 3953 h 4816585"/>
              <a:gd name="connsiteX54" fmla="*/ 3657600 w 4659670"/>
              <a:gd name="connsiteY54" fmla="*/ 761942 h 4816585"/>
              <a:gd name="connsiteX55" fmla="*/ 3826042 w 4659670"/>
              <a:gd name="connsiteY55" fmla="*/ 1712437 h 4816585"/>
              <a:gd name="connsiteX56" fmla="*/ 3104147 w 4659670"/>
              <a:gd name="connsiteY56" fmla="*/ 2771216 h 4816585"/>
              <a:gd name="connsiteX57" fmla="*/ 2286000 w 4659670"/>
              <a:gd name="connsiteY57" fmla="*/ 3240448 h 4816585"/>
              <a:gd name="connsiteX58" fmla="*/ 649705 w 4659670"/>
              <a:gd name="connsiteY58" fmla="*/ 3601395 h 4816585"/>
              <a:gd name="connsiteX59" fmla="*/ 0 w 4659670"/>
              <a:gd name="connsiteY59" fmla="*/ 4058595 h 4816585"/>
              <a:gd name="connsiteX60" fmla="*/ 625642 w 4659670"/>
              <a:gd name="connsiteY60" fmla="*/ 4816585 h 4816585"/>
              <a:gd name="connsiteX61" fmla="*/ 589547 w 4659670"/>
              <a:gd name="connsiteY61" fmla="*/ 4744395 h 4816585"/>
              <a:gd name="connsiteX0" fmla="*/ 589547 w 4659670"/>
              <a:gd name="connsiteY0" fmla="*/ 4744395 h 4816585"/>
              <a:gd name="connsiteX1" fmla="*/ 589547 w 4659670"/>
              <a:gd name="connsiteY1" fmla="*/ 4744395 h 4816585"/>
              <a:gd name="connsiteX2" fmla="*/ 673768 w 4659670"/>
              <a:gd name="connsiteY2" fmla="*/ 4660174 h 4816585"/>
              <a:gd name="connsiteX3" fmla="*/ 721894 w 4659670"/>
              <a:gd name="connsiteY3" fmla="*/ 4600016 h 4816585"/>
              <a:gd name="connsiteX4" fmla="*/ 757989 w 4659670"/>
              <a:gd name="connsiteY4" fmla="*/ 4527827 h 4816585"/>
              <a:gd name="connsiteX5" fmla="*/ 818147 w 4659670"/>
              <a:gd name="connsiteY5" fmla="*/ 4467669 h 4816585"/>
              <a:gd name="connsiteX6" fmla="*/ 842210 w 4659670"/>
              <a:gd name="connsiteY6" fmla="*/ 4431574 h 4816585"/>
              <a:gd name="connsiteX7" fmla="*/ 914400 w 4659670"/>
              <a:gd name="connsiteY7" fmla="*/ 4383448 h 4816585"/>
              <a:gd name="connsiteX8" fmla="*/ 950494 w 4659670"/>
              <a:gd name="connsiteY8" fmla="*/ 4359385 h 4816585"/>
              <a:gd name="connsiteX9" fmla="*/ 1034715 w 4659670"/>
              <a:gd name="connsiteY9" fmla="*/ 4299227 h 4816585"/>
              <a:gd name="connsiteX10" fmla="*/ 1130968 w 4659670"/>
              <a:gd name="connsiteY10" fmla="*/ 4251100 h 4816585"/>
              <a:gd name="connsiteX11" fmla="*/ 1371600 w 4659670"/>
              <a:gd name="connsiteY11" fmla="*/ 4178911 h 4816585"/>
              <a:gd name="connsiteX12" fmla="*/ 1407694 w 4659670"/>
              <a:gd name="connsiteY12" fmla="*/ 4166879 h 4816585"/>
              <a:gd name="connsiteX13" fmla="*/ 1431757 w 4659670"/>
              <a:gd name="connsiteY13" fmla="*/ 4130785 h 4816585"/>
              <a:gd name="connsiteX14" fmla="*/ 1467852 w 4659670"/>
              <a:gd name="connsiteY14" fmla="*/ 4118753 h 4816585"/>
              <a:gd name="connsiteX15" fmla="*/ 1503947 w 4659670"/>
              <a:gd name="connsiteY15" fmla="*/ 4094690 h 4816585"/>
              <a:gd name="connsiteX16" fmla="*/ 1540042 w 4659670"/>
              <a:gd name="connsiteY16" fmla="*/ 4058595 h 4816585"/>
              <a:gd name="connsiteX17" fmla="*/ 1612231 w 4659670"/>
              <a:gd name="connsiteY17" fmla="*/ 4034532 h 4816585"/>
              <a:gd name="connsiteX18" fmla="*/ 1648326 w 4659670"/>
              <a:gd name="connsiteY18" fmla="*/ 4022500 h 4816585"/>
              <a:gd name="connsiteX19" fmla="*/ 1864894 w 4659670"/>
              <a:gd name="connsiteY19" fmla="*/ 3998437 h 4816585"/>
              <a:gd name="connsiteX20" fmla="*/ 2177715 w 4659670"/>
              <a:gd name="connsiteY20" fmla="*/ 3986406 h 4816585"/>
              <a:gd name="connsiteX21" fmla="*/ 2382252 w 4659670"/>
              <a:gd name="connsiteY21" fmla="*/ 3962342 h 4816585"/>
              <a:gd name="connsiteX22" fmla="*/ 2550694 w 4659670"/>
              <a:gd name="connsiteY22" fmla="*/ 3926248 h 4816585"/>
              <a:gd name="connsiteX23" fmla="*/ 2719136 w 4659670"/>
              <a:gd name="connsiteY23" fmla="*/ 3890153 h 4816585"/>
              <a:gd name="connsiteX24" fmla="*/ 2815389 w 4659670"/>
              <a:gd name="connsiteY24" fmla="*/ 3866090 h 4816585"/>
              <a:gd name="connsiteX25" fmla="*/ 2887579 w 4659670"/>
              <a:gd name="connsiteY25" fmla="*/ 3842027 h 4816585"/>
              <a:gd name="connsiteX26" fmla="*/ 3019926 w 4659670"/>
              <a:gd name="connsiteY26" fmla="*/ 3805932 h 4816585"/>
              <a:gd name="connsiteX27" fmla="*/ 3164305 w 4659670"/>
              <a:gd name="connsiteY27" fmla="*/ 3769837 h 4816585"/>
              <a:gd name="connsiteX28" fmla="*/ 3344779 w 4659670"/>
              <a:gd name="connsiteY28" fmla="*/ 3697648 h 4816585"/>
              <a:gd name="connsiteX29" fmla="*/ 3453063 w 4659670"/>
              <a:gd name="connsiteY29" fmla="*/ 3613427 h 4816585"/>
              <a:gd name="connsiteX30" fmla="*/ 3513221 w 4659670"/>
              <a:gd name="connsiteY30" fmla="*/ 3577332 h 4816585"/>
              <a:gd name="connsiteX31" fmla="*/ 3573379 w 4659670"/>
              <a:gd name="connsiteY31" fmla="*/ 3517174 h 4816585"/>
              <a:gd name="connsiteX32" fmla="*/ 3741821 w 4659670"/>
              <a:gd name="connsiteY32" fmla="*/ 3372795 h 4816585"/>
              <a:gd name="connsiteX33" fmla="*/ 3789947 w 4659670"/>
              <a:gd name="connsiteY33" fmla="*/ 3300606 h 4816585"/>
              <a:gd name="connsiteX34" fmla="*/ 3838073 w 4659670"/>
              <a:gd name="connsiteY34" fmla="*/ 3192321 h 4816585"/>
              <a:gd name="connsiteX35" fmla="*/ 3922294 w 4659670"/>
              <a:gd name="connsiteY35" fmla="*/ 3011848 h 4816585"/>
              <a:gd name="connsiteX36" fmla="*/ 3934326 w 4659670"/>
              <a:gd name="connsiteY36" fmla="*/ 2975753 h 4816585"/>
              <a:gd name="connsiteX37" fmla="*/ 3946357 w 4659670"/>
              <a:gd name="connsiteY37" fmla="*/ 2795279 h 4816585"/>
              <a:gd name="connsiteX38" fmla="*/ 3958389 w 4659670"/>
              <a:gd name="connsiteY38" fmla="*/ 2759185 h 4816585"/>
              <a:gd name="connsiteX39" fmla="*/ 4054642 w 4659670"/>
              <a:gd name="connsiteY39" fmla="*/ 2626837 h 4816585"/>
              <a:gd name="connsiteX40" fmla="*/ 4150894 w 4659670"/>
              <a:gd name="connsiteY40" fmla="*/ 2458395 h 4816585"/>
              <a:gd name="connsiteX41" fmla="*/ 4162926 w 4659670"/>
              <a:gd name="connsiteY41" fmla="*/ 2422300 h 4816585"/>
              <a:gd name="connsiteX42" fmla="*/ 4247147 w 4659670"/>
              <a:gd name="connsiteY42" fmla="*/ 2241827 h 4816585"/>
              <a:gd name="connsiteX43" fmla="*/ 4259179 w 4659670"/>
              <a:gd name="connsiteY43" fmla="*/ 2205732 h 4816585"/>
              <a:gd name="connsiteX44" fmla="*/ 4319336 w 4659670"/>
              <a:gd name="connsiteY44" fmla="*/ 2061353 h 4816585"/>
              <a:gd name="connsiteX45" fmla="*/ 4331368 w 4659670"/>
              <a:gd name="connsiteY45" fmla="*/ 2025258 h 4816585"/>
              <a:gd name="connsiteX46" fmla="*/ 4367463 w 4659670"/>
              <a:gd name="connsiteY46" fmla="*/ 1796658 h 4816585"/>
              <a:gd name="connsiteX47" fmla="*/ 4391526 w 4659670"/>
              <a:gd name="connsiteY47" fmla="*/ 1399616 h 4816585"/>
              <a:gd name="connsiteX48" fmla="*/ 4403557 w 4659670"/>
              <a:gd name="connsiteY48" fmla="*/ 942416 h 4816585"/>
              <a:gd name="connsiteX49" fmla="*/ 4427621 w 4659670"/>
              <a:gd name="connsiteY49" fmla="*/ 918353 h 4816585"/>
              <a:gd name="connsiteX50" fmla="*/ 4523873 w 4659670"/>
              <a:gd name="connsiteY50" fmla="*/ 677721 h 4816585"/>
              <a:gd name="connsiteX51" fmla="*/ 4632157 w 4659670"/>
              <a:gd name="connsiteY51" fmla="*/ 473185 h 4816585"/>
              <a:gd name="connsiteX52" fmla="*/ 3970421 w 4659670"/>
              <a:gd name="connsiteY52" fmla="*/ 3953 h 4816585"/>
              <a:gd name="connsiteX53" fmla="*/ 3657600 w 4659670"/>
              <a:gd name="connsiteY53" fmla="*/ 761942 h 4816585"/>
              <a:gd name="connsiteX54" fmla="*/ 3826042 w 4659670"/>
              <a:gd name="connsiteY54" fmla="*/ 1712437 h 4816585"/>
              <a:gd name="connsiteX55" fmla="*/ 3104147 w 4659670"/>
              <a:gd name="connsiteY55" fmla="*/ 2771216 h 4816585"/>
              <a:gd name="connsiteX56" fmla="*/ 2286000 w 4659670"/>
              <a:gd name="connsiteY56" fmla="*/ 3240448 h 4816585"/>
              <a:gd name="connsiteX57" fmla="*/ 649705 w 4659670"/>
              <a:gd name="connsiteY57" fmla="*/ 3601395 h 4816585"/>
              <a:gd name="connsiteX58" fmla="*/ 0 w 4659670"/>
              <a:gd name="connsiteY58" fmla="*/ 4058595 h 4816585"/>
              <a:gd name="connsiteX59" fmla="*/ 625642 w 4659670"/>
              <a:gd name="connsiteY59" fmla="*/ 4816585 h 4816585"/>
              <a:gd name="connsiteX60" fmla="*/ 589547 w 4659670"/>
              <a:gd name="connsiteY60" fmla="*/ 4744395 h 4816585"/>
              <a:gd name="connsiteX0" fmla="*/ 589547 w 4659670"/>
              <a:gd name="connsiteY0" fmla="*/ 4744395 h 4816585"/>
              <a:gd name="connsiteX1" fmla="*/ 589547 w 4659670"/>
              <a:gd name="connsiteY1" fmla="*/ 4744395 h 4816585"/>
              <a:gd name="connsiteX2" fmla="*/ 673768 w 4659670"/>
              <a:gd name="connsiteY2" fmla="*/ 4660174 h 4816585"/>
              <a:gd name="connsiteX3" fmla="*/ 721894 w 4659670"/>
              <a:gd name="connsiteY3" fmla="*/ 4600016 h 4816585"/>
              <a:gd name="connsiteX4" fmla="*/ 757989 w 4659670"/>
              <a:gd name="connsiteY4" fmla="*/ 4527827 h 4816585"/>
              <a:gd name="connsiteX5" fmla="*/ 818147 w 4659670"/>
              <a:gd name="connsiteY5" fmla="*/ 4467669 h 4816585"/>
              <a:gd name="connsiteX6" fmla="*/ 842210 w 4659670"/>
              <a:gd name="connsiteY6" fmla="*/ 4431574 h 4816585"/>
              <a:gd name="connsiteX7" fmla="*/ 914400 w 4659670"/>
              <a:gd name="connsiteY7" fmla="*/ 4383448 h 4816585"/>
              <a:gd name="connsiteX8" fmla="*/ 1034715 w 4659670"/>
              <a:gd name="connsiteY8" fmla="*/ 4299227 h 4816585"/>
              <a:gd name="connsiteX9" fmla="*/ 1130968 w 4659670"/>
              <a:gd name="connsiteY9" fmla="*/ 4251100 h 4816585"/>
              <a:gd name="connsiteX10" fmla="*/ 1371600 w 4659670"/>
              <a:gd name="connsiteY10" fmla="*/ 4178911 h 4816585"/>
              <a:gd name="connsiteX11" fmla="*/ 1407694 w 4659670"/>
              <a:gd name="connsiteY11" fmla="*/ 4166879 h 4816585"/>
              <a:gd name="connsiteX12" fmla="*/ 1431757 w 4659670"/>
              <a:gd name="connsiteY12" fmla="*/ 4130785 h 4816585"/>
              <a:gd name="connsiteX13" fmla="*/ 1467852 w 4659670"/>
              <a:gd name="connsiteY13" fmla="*/ 4118753 h 4816585"/>
              <a:gd name="connsiteX14" fmla="*/ 1503947 w 4659670"/>
              <a:gd name="connsiteY14" fmla="*/ 4094690 h 4816585"/>
              <a:gd name="connsiteX15" fmla="*/ 1540042 w 4659670"/>
              <a:gd name="connsiteY15" fmla="*/ 4058595 h 4816585"/>
              <a:gd name="connsiteX16" fmla="*/ 1612231 w 4659670"/>
              <a:gd name="connsiteY16" fmla="*/ 4034532 h 4816585"/>
              <a:gd name="connsiteX17" fmla="*/ 1648326 w 4659670"/>
              <a:gd name="connsiteY17" fmla="*/ 4022500 h 4816585"/>
              <a:gd name="connsiteX18" fmla="*/ 1864894 w 4659670"/>
              <a:gd name="connsiteY18" fmla="*/ 3998437 h 4816585"/>
              <a:gd name="connsiteX19" fmla="*/ 2177715 w 4659670"/>
              <a:gd name="connsiteY19" fmla="*/ 3986406 h 4816585"/>
              <a:gd name="connsiteX20" fmla="*/ 2382252 w 4659670"/>
              <a:gd name="connsiteY20" fmla="*/ 3962342 h 4816585"/>
              <a:gd name="connsiteX21" fmla="*/ 2550694 w 4659670"/>
              <a:gd name="connsiteY21" fmla="*/ 3926248 h 4816585"/>
              <a:gd name="connsiteX22" fmla="*/ 2719136 w 4659670"/>
              <a:gd name="connsiteY22" fmla="*/ 3890153 h 4816585"/>
              <a:gd name="connsiteX23" fmla="*/ 2815389 w 4659670"/>
              <a:gd name="connsiteY23" fmla="*/ 3866090 h 4816585"/>
              <a:gd name="connsiteX24" fmla="*/ 2887579 w 4659670"/>
              <a:gd name="connsiteY24" fmla="*/ 3842027 h 4816585"/>
              <a:gd name="connsiteX25" fmla="*/ 3019926 w 4659670"/>
              <a:gd name="connsiteY25" fmla="*/ 3805932 h 4816585"/>
              <a:gd name="connsiteX26" fmla="*/ 3164305 w 4659670"/>
              <a:gd name="connsiteY26" fmla="*/ 3769837 h 4816585"/>
              <a:gd name="connsiteX27" fmla="*/ 3344779 w 4659670"/>
              <a:gd name="connsiteY27" fmla="*/ 3697648 h 4816585"/>
              <a:gd name="connsiteX28" fmla="*/ 3453063 w 4659670"/>
              <a:gd name="connsiteY28" fmla="*/ 3613427 h 4816585"/>
              <a:gd name="connsiteX29" fmla="*/ 3513221 w 4659670"/>
              <a:gd name="connsiteY29" fmla="*/ 3577332 h 4816585"/>
              <a:gd name="connsiteX30" fmla="*/ 3573379 w 4659670"/>
              <a:gd name="connsiteY30" fmla="*/ 3517174 h 4816585"/>
              <a:gd name="connsiteX31" fmla="*/ 3741821 w 4659670"/>
              <a:gd name="connsiteY31" fmla="*/ 3372795 h 4816585"/>
              <a:gd name="connsiteX32" fmla="*/ 3789947 w 4659670"/>
              <a:gd name="connsiteY32" fmla="*/ 3300606 h 4816585"/>
              <a:gd name="connsiteX33" fmla="*/ 3838073 w 4659670"/>
              <a:gd name="connsiteY33" fmla="*/ 3192321 h 4816585"/>
              <a:gd name="connsiteX34" fmla="*/ 3922294 w 4659670"/>
              <a:gd name="connsiteY34" fmla="*/ 3011848 h 4816585"/>
              <a:gd name="connsiteX35" fmla="*/ 3934326 w 4659670"/>
              <a:gd name="connsiteY35" fmla="*/ 2975753 h 4816585"/>
              <a:gd name="connsiteX36" fmla="*/ 3946357 w 4659670"/>
              <a:gd name="connsiteY36" fmla="*/ 2795279 h 4816585"/>
              <a:gd name="connsiteX37" fmla="*/ 3958389 w 4659670"/>
              <a:gd name="connsiteY37" fmla="*/ 2759185 h 4816585"/>
              <a:gd name="connsiteX38" fmla="*/ 4054642 w 4659670"/>
              <a:gd name="connsiteY38" fmla="*/ 2626837 h 4816585"/>
              <a:gd name="connsiteX39" fmla="*/ 4150894 w 4659670"/>
              <a:gd name="connsiteY39" fmla="*/ 2458395 h 4816585"/>
              <a:gd name="connsiteX40" fmla="*/ 4162926 w 4659670"/>
              <a:gd name="connsiteY40" fmla="*/ 2422300 h 4816585"/>
              <a:gd name="connsiteX41" fmla="*/ 4247147 w 4659670"/>
              <a:gd name="connsiteY41" fmla="*/ 2241827 h 4816585"/>
              <a:gd name="connsiteX42" fmla="*/ 4259179 w 4659670"/>
              <a:gd name="connsiteY42" fmla="*/ 2205732 h 4816585"/>
              <a:gd name="connsiteX43" fmla="*/ 4319336 w 4659670"/>
              <a:gd name="connsiteY43" fmla="*/ 2061353 h 4816585"/>
              <a:gd name="connsiteX44" fmla="*/ 4331368 w 4659670"/>
              <a:gd name="connsiteY44" fmla="*/ 2025258 h 4816585"/>
              <a:gd name="connsiteX45" fmla="*/ 4367463 w 4659670"/>
              <a:gd name="connsiteY45" fmla="*/ 1796658 h 4816585"/>
              <a:gd name="connsiteX46" fmla="*/ 4391526 w 4659670"/>
              <a:gd name="connsiteY46" fmla="*/ 1399616 h 4816585"/>
              <a:gd name="connsiteX47" fmla="*/ 4403557 w 4659670"/>
              <a:gd name="connsiteY47" fmla="*/ 942416 h 4816585"/>
              <a:gd name="connsiteX48" fmla="*/ 4427621 w 4659670"/>
              <a:gd name="connsiteY48" fmla="*/ 918353 h 4816585"/>
              <a:gd name="connsiteX49" fmla="*/ 4523873 w 4659670"/>
              <a:gd name="connsiteY49" fmla="*/ 677721 h 4816585"/>
              <a:gd name="connsiteX50" fmla="*/ 4632157 w 4659670"/>
              <a:gd name="connsiteY50" fmla="*/ 473185 h 4816585"/>
              <a:gd name="connsiteX51" fmla="*/ 3970421 w 4659670"/>
              <a:gd name="connsiteY51" fmla="*/ 3953 h 4816585"/>
              <a:gd name="connsiteX52" fmla="*/ 3657600 w 4659670"/>
              <a:gd name="connsiteY52" fmla="*/ 761942 h 4816585"/>
              <a:gd name="connsiteX53" fmla="*/ 3826042 w 4659670"/>
              <a:gd name="connsiteY53" fmla="*/ 1712437 h 4816585"/>
              <a:gd name="connsiteX54" fmla="*/ 3104147 w 4659670"/>
              <a:gd name="connsiteY54" fmla="*/ 2771216 h 4816585"/>
              <a:gd name="connsiteX55" fmla="*/ 2286000 w 4659670"/>
              <a:gd name="connsiteY55" fmla="*/ 3240448 h 4816585"/>
              <a:gd name="connsiteX56" fmla="*/ 649705 w 4659670"/>
              <a:gd name="connsiteY56" fmla="*/ 3601395 h 4816585"/>
              <a:gd name="connsiteX57" fmla="*/ 0 w 4659670"/>
              <a:gd name="connsiteY57" fmla="*/ 4058595 h 4816585"/>
              <a:gd name="connsiteX58" fmla="*/ 625642 w 4659670"/>
              <a:gd name="connsiteY58" fmla="*/ 4816585 h 4816585"/>
              <a:gd name="connsiteX59" fmla="*/ 589547 w 4659670"/>
              <a:gd name="connsiteY59" fmla="*/ 4744395 h 4816585"/>
              <a:gd name="connsiteX0" fmla="*/ 589547 w 4659670"/>
              <a:gd name="connsiteY0" fmla="*/ 4744395 h 4816585"/>
              <a:gd name="connsiteX1" fmla="*/ 589547 w 4659670"/>
              <a:gd name="connsiteY1" fmla="*/ 4744395 h 4816585"/>
              <a:gd name="connsiteX2" fmla="*/ 673768 w 4659670"/>
              <a:gd name="connsiteY2" fmla="*/ 4660174 h 4816585"/>
              <a:gd name="connsiteX3" fmla="*/ 721894 w 4659670"/>
              <a:gd name="connsiteY3" fmla="*/ 4600016 h 4816585"/>
              <a:gd name="connsiteX4" fmla="*/ 757989 w 4659670"/>
              <a:gd name="connsiteY4" fmla="*/ 4527827 h 4816585"/>
              <a:gd name="connsiteX5" fmla="*/ 818147 w 4659670"/>
              <a:gd name="connsiteY5" fmla="*/ 4467669 h 4816585"/>
              <a:gd name="connsiteX6" fmla="*/ 914400 w 4659670"/>
              <a:gd name="connsiteY6" fmla="*/ 4383448 h 4816585"/>
              <a:gd name="connsiteX7" fmla="*/ 1034715 w 4659670"/>
              <a:gd name="connsiteY7" fmla="*/ 4299227 h 4816585"/>
              <a:gd name="connsiteX8" fmla="*/ 1130968 w 4659670"/>
              <a:gd name="connsiteY8" fmla="*/ 4251100 h 4816585"/>
              <a:gd name="connsiteX9" fmla="*/ 1371600 w 4659670"/>
              <a:gd name="connsiteY9" fmla="*/ 4178911 h 4816585"/>
              <a:gd name="connsiteX10" fmla="*/ 1407694 w 4659670"/>
              <a:gd name="connsiteY10" fmla="*/ 4166879 h 4816585"/>
              <a:gd name="connsiteX11" fmla="*/ 1431757 w 4659670"/>
              <a:gd name="connsiteY11" fmla="*/ 4130785 h 4816585"/>
              <a:gd name="connsiteX12" fmla="*/ 1467852 w 4659670"/>
              <a:gd name="connsiteY12" fmla="*/ 4118753 h 4816585"/>
              <a:gd name="connsiteX13" fmla="*/ 1503947 w 4659670"/>
              <a:gd name="connsiteY13" fmla="*/ 4094690 h 4816585"/>
              <a:gd name="connsiteX14" fmla="*/ 1540042 w 4659670"/>
              <a:gd name="connsiteY14" fmla="*/ 4058595 h 4816585"/>
              <a:gd name="connsiteX15" fmla="*/ 1612231 w 4659670"/>
              <a:gd name="connsiteY15" fmla="*/ 4034532 h 4816585"/>
              <a:gd name="connsiteX16" fmla="*/ 1648326 w 4659670"/>
              <a:gd name="connsiteY16" fmla="*/ 4022500 h 4816585"/>
              <a:gd name="connsiteX17" fmla="*/ 1864894 w 4659670"/>
              <a:gd name="connsiteY17" fmla="*/ 3998437 h 4816585"/>
              <a:gd name="connsiteX18" fmla="*/ 2177715 w 4659670"/>
              <a:gd name="connsiteY18" fmla="*/ 3986406 h 4816585"/>
              <a:gd name="connsiteX19" fmla="*/ 2382252 w 4659670"/>
              <a:gd name="connsiteY19" fmla="*/ 3962342 h 4816585"/>
              <a:gd name="connsiteX20" fmla="*/ 2550694 w 4659670"/>
              <a:gd name="connsiteY20" fmla="*/ 3926248 h 4816585"/>
              <a:gd name="connsiteX21" fmla="*/ 2719136 w 4659670"/>
              <a:gd name="connsiteY21" fmla="*/ 3890153 h 4816585"/>
              <a:gd name="connsiteX22" fmla="*/ 2815389 w 4659670"/>
              <a:gd name="connsiteY22" fmla="*/ 3866090 h 4816585"/>
              <a:gd name="connsiteX23" fmla="*/ 2887579 w 4659670"/>
              <a:gd name="connsiteY23" fmla="*/ 3842027 h 4816585"/>
              <a:gd name="connsiteX24" fmla="*/ 3019926 w 4659670"/>
              <a:gd name="connsiteY24" fmla="*/ 3805932 h 4816585"/>
              <a:gd name="connsiteX25" fmla="*/ 3164305 w 4659670"/>
              <a:gd name="connsiteY25" fmla="*/ 3769837 h 4816585"/>
              <a:gd name="connsiteX26" fmla="*/ 3344779 w 4659670"/>
              <a:gd name="connsiteY26" fmla="*/ 3697648 h 4816585"/>
              <a:gd name="connsiteX27" fmla="*/ 3453063 w 4659670"/>
              <a:gd name="connsiteY27" fmla="*/ 3613427 h 4816585"/>
              <a:gd name="connsiteX28" fmla="*/ 3513221 w 4659670"/>
              <a:gd name="connsiteY28" fmla="*/ 3577332 h 4816585"/>
              <a:gd name="connsiteX29" fmla="*/ 3573379 w 4659670"/>
              <a:gd name="connsiteY29" fmla="*/ 3517174 h 4816585"/>
              <a:gd name="connsiteX30" fmla="*/ 3741821 w 4659670"/>
              <a:gd name="connsiteY30" fmla="*/ 3372795 h 4816585"/>
              <a:gd name="connsiteX31" fmla="*/ 3789947 w 4659670"/>
              <a:gd name="connsiteY31" fmla="*/ 3300606 h 4816585"/>
              <a:gd name="connsiteX32" fmla="*/ 3838073 w 4659670"/>
              <a:gd name="connsiteY32" fmla="*/ 3192321 h 4816585"/>
              <a:gd name="connsiteX33" fmla="*/ 3922294 w 4659670"/>
              <a:gd name="connsiteY33" fmla="*/ 3011848 h 4816585"/>
              <a:gd name="connsiteX34" fmla="*/ 3934326 w 4659670"/>
              <a:gd name="connsiteY34" fmla="*/ 2975753 h 4816585"/>
              <a:gd name="connsiteX35" fmla="*/ 3946357 w 4659670"/>
              <a:gd name="connsiteY35" fmla="*/ 2795279 h 4816585"/>
              <a:gd name="connsiteX36" fmla="*/ 3958389 w 4659670"/>
              <a:gd name="connsiteY36" fmla="*/ 2759185 h 4816585"/>
              <a:gd name="connsiteX37" fmla="*/ 4054642 w 4659670"/>
              <a:gd name="connsiteY37" fmla="*/ 2626837 h 4816585"/>
              <a:gd name="connsiteX38" fmla="*/ 4150894 w 4659670"/>
              <a:gd name="connsiteY38" fmla="*/ 2458395 h 4816585"/>
              <a:gd name="connsiteX39" fmla="*/ 4162926 w 4659670"/>
              <a:gd name="connsiteY39" fmla="*/ 2422300 h 4816585"/>
              <a:gd name="connsiteX40" fmla="*/ 4247147 w 4659670"/>
              <a:gd name="connsiteY40" fmla="*/ 2241827 h 4816585"/>
              <a:gd name="connsiteX41" fmla="*/ 4259179 w 4659670"/>
              <a:gd name="connsiteY41" fmla="*/ 2205732 h 4816585"/>
              <a:gd name="connsiteX42" fmla="*/ 4319336 w 4659670"/>
              <a:gd name="connsiteY42" fmla="*/ 2061353 h 4816585"/>
              <a:gd name="connsiteX43" fmla="*/ 4331368 w 4659670"/>
              <a:gd name="connsiteY43" fmla="*/ 2025258 h 4816585"/>
              <a:gd name="connsiteX44" fmla="*/ 4367463 w 4659670"/>
              <a:gd name="connsiteY44" fmla="*/ 1796658 h 4816585"/>
              <a:gd name="connsiteX45" fmla="*/ 4391526 w 4659670"/>
              <a:gd name="connsiteY45" fmla="*/ 1399616 h 4816585"/>
              <a:gd name="connsiteX46" fmla="*/ 4403557 w 4659670"/>
              <a:gd name="connsiteY46" fmla="*/ 942416 h 4816585"/>
              <a:gd name="connsiteX47" fmla="*/ 4427621 w 4659670"/>
              <a:gd name="connsiteY47" fmla="*/ 918353 h 4816585"/>
              <a:gd name="connsiteX48" fmla="*/ 4523873 w 4659670"/>
              <a:gd name="connsiteY48" fmla="*/ 677721 h 4816585"/>
              <a:gd name="connsiteX49" fmla="*/ 4632157 w 4659670"/>
              <a:gd name="connsiteY49" fmla="*/ 473185 h 4816585"/>
              <a:gd name="connsiteX50" fmla="*/ 3970421 w 4659670"/>
              <a:gd name="connsiteY50" fmla="*/ 3953 h 4816585"/>
              <a:gd name="connsiteX51" fmla="*/ 3657600 w 4659670"/>
              <a:gd name="connsiteY51" fmla="*/ 761942 h 4816585"/>
              <a:gd name="connsiteX52" fmla="*/ 3826042 w 4659670"/>
              <a:gd name="connsiteY52" fmla="*/ 1712437 h 4816585"/>
              <a:gd name="connsiteX53" fmla="*/ 3104147 w 4659670"/>
              <a:gd name="connsiteY53" fmla="*/ 2771216 h 4816585"/>
              <a:gd name="connsiteX54" fmla="*/ 2286000 w 4659670"/>
              <a:gd name="connsiteY54" fmla="*/ 3240448 h 4816585"/>
              <a:gd name="connsiteX55" fmla="*/ 649705 w 4659670"/>
              <a:gd name="connsiteY55" fmla="*/ 3601395 h 4816585"/>
              <a:gd name="connsiteX56" fmla="*/ 0 w 4659670"/>
              <a:gd name="connsiteY56" fmla="*/ 4058595 h 4816585"/>
              <a:gd name="connsiteX57" fmla="*/ 625642 w 4659670"/>
              <a:gd name="connsiteY57" fmla="*/ 4816585 h 4816585"/>
              <a:gd name="connsiteX58" fmla="*/ 589547 w 4659670"/>
              <a:gd name="connsiteY58" fmla="*/ 4744395 h 4816585"/>
              <a:gd name="connsiteX0" fmla="*/ 589547 w 4659670"/>
              <a:gd name="connsiteY0" fmla="*/ 4744395 h 4816585"/>
              <a:gd name="connsiteX1" fmla="*/ 589547 w 4659670"/>
              <a:gd name="connsiteY1" fmla="*/ 4744395 h 4816585"/>
              <a:gd name="connsiteX2" fmla="*/ 673768 w 4659670"/>
              <a:gd name="connsiteY2" fmla="*/ 4660174 h 4816585"/>
              <a:gd name="connsiteX3" fmla="*/ 721894 w 4659670"/>
              <a:gd name="connsiteY3" fmla="*/ 4600016 h 4816585"/>
              <a:gd name="connsiteX4" fmla="*/ 757989 w 4659670"/>
              <a:gd name="connsiteY4" fmla="*/ 4527827 h 4816585"/>
              <a:gd name="connsiteX5" fmla="*/ 914400 w 4659670"/>
              <a:gd name="connsiteY5" fmla="*/ 4383448 h 4816585"/>
              <a:gd name="connsiteX6" fmla="*/ 1034715 w 4659670"/>
              <a:gd name="connsiteY6" fmla="*/ 4299227 h 4816585"/>
              <a:gd name="connsiteX7" fmla="*/ 1130968 w 4659670"/>
              <a:gd name="connsiteY7" fmla="*/ 4251100 h 4816585"/>
              <a:gd name="connsiteX8" fmla="*/ 1371600 w 4659670"/>
              <a:gd name="connsiteY8" fmla="*/ 4178911 h 4816585"/>
              <a:gd name="connsiteX9" fmla="*/ 1407694 w 4659670"/>
              <a:gd name="connsiteY9" fmla="*/ 4166879 h 4816585"/>
              <a:gd name="connsiteX10" fmla="*/ 1431757 w 4659670"/>
              <a:gd name="connsiteY10" fmla="*/ 4130785 h 4816585"/>
              <a:gd name="connsiteX11" fmla="*/ 1467852 w 4659670"/>
              <a:gd name="connsiteY11" fmla="*/ 4118753 h 4816585"/>
              <a:gd name="connsiteX12" fmla="*/ 1503947 w 4659670"/>
              <a:gd name="connsiteY12" fmla="*/ 4094690 h 4816585"/>
              <a:gd name="connsiteX13" fmla="*/ 1540042 w 4659670"/>
              <a:gd name="connsiteY13" fmla="*/ 4058595 h 4816585"/>
              <a:gd name="connsiteX14" fmla="*/ 1612231 w 4659670"/>
              <a:gd name="connsiteY14" fmla="*/ 4034532 h 4816585"/>
              <a:gd name="connsiteX15" fmla="*/ 1648326 w 4659670"/>
              <a:gd name="connsiteY15" fmla="*/ 4022500 h 4816585"/>
              <a:gd name="connsiteX16" fmla="*/ 1864894 w 4659670"/>
              <a:gd name="connsiteY16" fmla="*/ 3998437 h 4816585"/>
              <a:gd name="connsiteX17" fmla="*/ 2177715 w 4659670"/>
              <a:gd name="connsiteY17" fmla="*/ 3986406 h 4816585"/>
              <a:gd name="connsiteX18" fmla="*/ 2382252 w 4659670"/>
              <a:gd name="connsiteY18" fmla="*/ 3962342 h 4816585"/>
              <a:gd name="connsiteX19" fmla="*/ 2550694 w 4659670"/>
              <a:gd name="connsiteY19" fmla="*/ 3926248 h 4816585"/>
              <a:gd name="connsiteX20" fmla="*/ 2719136 w 4659670"/>
              <a:gd name="connsiteY20" fmla="*/ 3890153 h 4816585"/>
              <a:gd name="connsiteX21" fmla="*/ 2815389 w 4659670"/>
              <a:gd name="connsiteY21" fmla="*/ 3866090 h 4816585"/>
              <a:gd name="connsiteX22" fmla="*/ 2887579 w 4659670"/>
              <a:gd name="connsiteY22" fmla="*/ 3842027 h 4816585"/>
              <a:gd name="connsiteX23" fmla="*/ 3019926 w 4659670"/>
              <a:gd name="connsiteY23" fmla="*/ 3805932 h 4816585"/>
              <a:gd name="connsiteX24" fmla="*/ 3164305 w 4659670"/>
              <a:gd name="connsiteY24" fmla="*/ 3769837 h 4816585"/>
              <a:gd name="connsiteX25" fmla="*/ 3344779 w 4659670"/>
              <a:gd name="connsiteY25" fmla="*/ 3697648 h 4816585"/>
              <a:gd name="connsiteX26" fmla="*/ 3453063 w 4659670"/>
              <a:gd name="connsiteY26" fmla="*/ 3613427 h 4816585"/>
              <a:gd name="connsiteX27" fmla="*/ 3513221 w 4659670"/>
              <a:gd name="connsiteY27" fmla="*/ 3577332 h 4816585"/>
              <a:gd name="connsiteX28" fmla="*/ 3573379 w 4659670"/>
              <a:gd name="connsiteY28" fmla="*/ 3517174 h 4816585"/>
              <a:gd name="connsiteX29" fmla="*/ 3741821 w 4659670"/>
              <a:gd name="connsiteY29" fmla="*/ 3372795 h 4816585"/>
              <a:gd name="connsiteX30" fmla="*/ 3789947 w 4659670"/>
              <a:gd name="connsiteY30" fmla="*/ 3300606 h 4816585"/>
              <a:gd name="connsiteX31" fmla="*/ 3838073 w 4659670"/>
              <a:gd name="connsiteY31" fmla="*/ 3192321 h 4816585"/>
              <a:gd name="connsiteX32" fmla="*/ 3922294 w 4659670"/>
              <a:gd name="connsiteY32" fmla="*/ 3011848 h 4816585"/>
              <a:gd name="connsiteX33" fmla="*/ 3934326 w 4659670"/>
              <a:gd name="connsiteY33" fmla="*/ 2975753 h 4816585"/>
              <a:gd name="connsiteX34" fmla="*/ 3946357 w 4659670"/>
              <a:gd name="connsiteY34" fmla="*/ 2795279 h 4816585"/>
              <a:gd name="connsiteX35" fmla="*/ 3958389 w 4659670"/>
              <a:gd name="connsiteY35" fmla="*/ 2759185 h 4816585"/>
              <a:gd name="connsiteX36" fmla="*/ 4054642 w 4659670"/>
              <a:gd name="connsiteY36" fmla="*/ 2626837 h 4816585"/>
              <a:gd name="connsiteX37" fmla="*/ 4150894 w 4659670"/>
              <a:gd name="connsiteY37" fmla="*/ 2458395 h 4816585"/>
              <a:gd name="connsiteX38" fmla="*/ 4162926 w 4659670"/>
              <a:gd name="connsiteY38" fmla="*/ 2422300 h 4816585"/>
              <a:gd name="connsiteX39" fmla="*/ 4247147 w 4659670"/>
              <a:gd name="connsiteY39" fmla="*/ 2241827 h 4816585"/>
              <a:gd name="connsiteX40" fmla="*/ 4259179 w 4659670"/>
              <a:gd name="connsiteY40" fmla="*/ 2205732 h 4816585"/>
              <a:gd name="connsiteX41" fmla="*/ 4319336 w 4659670"/>
              <a:gd name="connsiteY41" fmla="*/ 2061353 h 4816585"/>
              <a:gd name="connsiteX42" fmla="*/ 4331368 w 4659670"/>
              <a:gd name="connsiteY42" fmla="*/ 2025258 h 4816585"/>
              <a:gd name="connsiteX43" fmla="*/ 4367463 w 4659670"/>
              <a:gd name="connsiteY43" fmla="*/ 1796658 h 4816585"/>
              <a:gd name="connsiteX44" fmla="*/ 4391526 w 4659670"/>
              <a:gd name="connsiteY44" fmla="*/ 1399616 h 4816585"/>
              <a:gd name="connsiteX45" fmla="*/ 4403557 w 4659670"/>
              <a:gd name="connsiteY45" fmla="*/ 942416 h 4816585"/>
              <a:gd name="connsiteX46" fmla="*/ 4427621 w 4659670"/>
              <a:gd name="connsiteY46" fmla="*/ 918353 h 4816585"/>
              <a:gd name="connsiteX47" fmla="*/ 4523873 w 4659670"/>
              <a:gd name="connsiteY47" fmla="*/ 677721 h 4816585"/>
              <a:gd name="connsiteX48" fmla="*/ 4632157 w 4659670"/>
              <a:gd name="connsiteY48" fmla="*/ 473185 h 4816585"/>
              <a:gd name="connsiteX49" fmla="*/ 3970421 w 4659670"/>
              <a:gd name="connsiteY49" fmla="*/ 3953 h 4816585"/>
              <a:gd name="connsiteX50" fmla="*/ 3657600 w 4659670"/>
              <a:gd name="connsiteY50" fmla="*/ 761942 h 4816585"/>
              <a:gd name="connsiteX51" fmla="*/ 3826042 w 4659670"/>
              <a:gd name="connsiteY51" fmla="*/ 1712437 h 4816585"/>
              <a:gd name="connsiteX52" fmla="*/ 3104147 w 4659670"/>
              <a:gd name="connsiteY52" fmla="*/ 2771216 h 4816585"/>
              <a:gd name="connsiteX53" fmla="*/ 2286000 w 4659670"/>
              <a:gd name="connsiteY53" fmla="*/ 3240448 h 4816585"/>
              <a:gd name="connsiteX54" fmla="*/ 649705 w 4659670"/>
              <a:gd name="connsiteY54" fmla="*/ 3601395 h 4816585"/>
              <a:gd name="connsiteX55" fmla="*/ 0 w 4659670"/>
              <a:gd name="connsiteY55" fmla="*/ 4058595 h 4816585"/>
              <a:gd name="connsiteX56" fmla="*/ 625642 w 4659670"/>
              <a:gd name="connsiteY56" fmla="*/ 4816585 h 4816585"/>
              <a:gd name="connsiteX57" fmla="*/ 589547 w 4659670"/>
              <a:gd name="connsiteY57" fmla="*/ 4744395 h 4816585"/>
              <a:gd name="connsiteX0" fmla="*/ 589547 w 4659670"/>
              <a:gd name="connsiteY0" fmla="*/ 474439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467852 w 4659670"/>
              <a:gd name="connsiteY10" fmla="*/ 4118753 h 4816585"/>
              <a:gd name="connsiteX11" fmla="*/ 1503947 w 4659670"/>
              <a:gd name="connsiteY11" fmla="*/ 4094690 h 4816585"/>
              <a:gd name="connsiteX12" fmla="*/ 1540042 w 4659670"/>
              <a:gd name="connsiteY12" fmla="*/ 4058595 h 4816585"/>
              <a:gd name="connsiteX13" fmla="*/ 1612231 w 4659670"/>
              <a:gd name="connsiteY13" fmla="*/ 4034532 h 4816585"/>
              <a:gd name="connsiteX14" fmla="*/ 1648326 w 4659670"/>
              <a:gd name="connsiteY14" fmla="*/ 4022500 h 4816585"/>
              <a:gd name="connsiteX15" fmla="*/ 1864894 w 4659670"/>
              <a:gd name="connsiteY15" fmla="*/ 3998437 h 4816585"/>
              <a:gd name="connsiteX16" fmla="*/ 2177715 w 4659670"/>
              <a:gd name="connsiteY16" fmla="*/ 3986406 h 4816585"/>
              <a:gd name="connsiteX17" fmla="*/ 2382252 w 4659670"/>
              <a:gd name="connsiteY17" fmla="*/ 3962342 h 4816585"/>
              <a:gd name="connsiteX18" fmla="*/ 2550694 w 4659670"/>
              <a:gd name="connsiteY18" fmla="*/ 3926248 h 4816585"/>
              <a:gd name="connsiteX19" fmla="*/ 2719136 w 4659670"/>
              <a:gd name="connsiteY19" fmla="*/ 3890153 h 4816585"/>
              <a:gd name="connsiteX20" fmla="*/ 2815389 w 4659670"/>
              <a:gd name="connsiteY20" fmla="*/ 3866090 h 4816585"/>
              <a:gd name="connsiteX21" fmla="*/ 2887579 w 4659670"/>
              <a:gd name="connsiteY21" fmla="*/ 3842027 h 4816585"/>
              <a:gd name="connsiteX22" fmla="*/ 3019926 w 4659670"/>
              <a:gd name="connsiteY22" fmla="*/ 3805932 h 4816585"/>
              <a:gd name="connsiteX23" fmla="*/ 3164305 w 4659670"/>
              <a:gd name="connsiteY23" fmla="*/ 3769837 h 4816585"/>
              <a:gd name="connsiteX24" fmla="*/ 3344779 w 4659670"/>
              <a:gd name="connsiteY24" fmla="*/ 3697648 h 4816585"/>
              <a:gd name="connsiteX25" fmla="*/ 3453063 w 4659670"/>
              <a:gd name="connsiteY25" fmla="*/ 3613427 h 4816585"/>
              <a:gd name="connsiteX26" fmla="*/ 3513221 w 4659670"/>
              <a:gd name="connsiteY26" fmla="*/ 3577332 h 4816585"/>
              <a:gd name="connsiteX27" fmla="*/ 3573379 w 4659670"/>
              <a:gd name="connsiteY27" fmla="*/ 3517174 h 4816585"/>
              <a:gd name="connsiteX28" fmla="*/ 3741821 w 4659670"/>
              <a:gd name="connsiteY28" fmla="*/ 3372795 h 4816585"/>
              <a:gd name="connsiteX29" fmla="*/ 3789947 w 4659670"/>
              <a:gd name="connsiteY29" fmla="*/ 3300606 h 4816585"/>
              <a:gd name="connsiteX30" fmla="*/ 3838073 w 4659670"/>
              <a:gd name="connsiteY30" fmla="*/ 3192321 h 4816585"/>
              <a:gd name="connsiteX31" fmla="*/ 3922294 w 4659670"/>
              <a:gd name="connsiteY31" fmla="*/ 3011848 h 4816585"/>
              <a:gd name="connsiteX32" fmla="*/ 3934326 w 4659670"/>
              <a:gd name="connsiteY32" fmla="*/ 2975753 h 4816585"/>
              <a:gd name="connsiteX33" fmla="*/ 3946357 w 4659670"/>
              <a:gd name="connsiteY33" fmla="*/ 2795279 h 4816585"/>
              <a:gd name="connsiteX34" fmla="*/ 3958389 w 4659670"/>
              <a:gd name="connsiteY34" fmla="*/ 2759185 h 4816585"/>
              <a:gd name="connsiteX35" fmla="*/ 4054642 w 4659670"/>
              <a:gd name="connsiteY35" fmla="*/ 2626837 h 4816585"/>
              <a:gd name="connsiteX36" fmla="*/ 4150894 w 4659670"/>
              <a:gd name="connsiteY36" fmla="*/ 2458395 h 4816585"/>
              <a:gd name="connsiteX37" fmla="*/ 4162926 w 4659670"/>
              <a:gd name="connsiteY37" fmla="*/ 2422300 h 4816585"/>
              <a:gd name="connsiteX38" fmla="*/ 4247147 w 4659670"/>
              <a:gd name="connsiteY38" fmla="*/ 2241827 h 4816585"/>
              <a:gd name="connsiteX39" fmla="*/ 4259179 w 4659670"/>
              <a:gd name="connsiteY39" fmla="*/ 2205732 h 4816585"/>
              <a:gd name="connsiteX40" fmla="*/ 4319336 w 4659670"/>
              <a:gd name="connsiteY40" fmla="*/ 2061353 h 4816585"/>
              <a:gd name="connsiteX41" fmla="*/ 4331368 w 4659670"/>
              <a:gd name="connsiteY41" fmla="*/ 2025258 h 4816585"/>
              <a:gd name="connsiteX42" fmla="*/ 4367463 w 4659670"/>
              <a:gd name="connsiteY42" fmla="*/ 1796658 h 4816585"/>
              <a:gd name="connsiteX43" fmla="*/ 4391526 w 4659670"/>
              <a:gd name="connsiteY43" fmla="*/ 1399616 h 4816585"/>
              <a:gd name="connsiteX44" fmla="*/ 4403557 w 4659670"/>
              <a:gd name="connsiteY44" fmla="*/ 942416 h 4816585"/>
              <a:gd name="connsiteX45" fmla="*/ 4427621 w 4659670"/>
              <a:gd name="connsiteY45" fmla="*/ 918353 h 4816585"/>
              <a:gd name="connsiteX46" fmla="*/ 4523873 w 4659670"/>
              <a:gd name="connsiteY46" fmla="*/ 677721 h 4816585"/>
              <a:gd name="connsiteX47" fmla="*/ 4632157 w 4659670"/>
              <a:gd name="connsiteY47" fmla="*/ 473185 h 4816585"/>
              <a:gd name="connsiteX48" fmla="*/ 3970421 w 4659670"/>
              <a:gd name="connsiteY48" fmla="*/ 3953 h 4816585"/>
              <a:gd name="connsiteX49" fmla="*/ 3657600 w 4659670"/>
              <a:gd name="connsiteY49" fmla="*/ 761942 h 4816585"/>
              <a:gd name="connsiteX50" fmla="*/ 3826042 w 4659670"/>
              <a:gd name="connsiteY50" fmla="*/ 1712437 h 4816585"/>
              <a:gd name="connsiteX51" fmla="*/ 3104147 w 4659670"/>
              <a:gd name="connsiteY51" fmla="*/ 2771216 h 4816585"/>
              <a:gd name="connsiteX52" fmla="*/ 2286000 w 4659670"/>
              <a:gd name="connsiteY52" fmla="*/ 3240448 h 4816585"/>
              <a:gd name="connsiteX53" fmla="*/ 649705 w 4659670"/>
              <a:gd name="connsiteY53" fmla="*/ 3601395 h 4816585"/>
              <a:gd name="connsiteX54" fmla="*/ 0 w 4659670"/>
              <a:gd name="connsiteY54" fmla="*/ 4058595 h 4816585"/>
              <a:gd name="connsiteX55" fmla="*/ 625642 w 4659670"/>
              <a:gd name="connsiteY55" fmla="*/ 4816585 h 4816585"/>
              <a:gd name="connsiteX56" fmla="*/ 589547 w 4659670"/>
              <a:gd name="connsiteY56" fmla="*/ 474439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467852 w 4659670"/>
              <a:gd name="connsiteY10" fmla="*/ 4118753 h 4816585"/>
              <a:gd name="connsiteX11" fmla="*/ 1503947 w 4659670"/>
              <a:gd name="connsiteY11" fmla="*/ 4094690 h 4816585"/>
              <a:gd name="connsiteX12" fmla="*/ 1540042 w 4659670"/>
              <a:gd name="connsiteY12" fmla="*/ 4058595 h 4816585"/>
              <a:gd name="connsiteX13" fmla="*/ 1612231 w 4659670"/>
              <a:gd name="connsiteY13" fmla="*/ 4034532 h 4816585"/>
              <a:gd name="connsiteX14" fmla="*/ 1648326 w 4659670"/>
              <a:gd name="connsiteY14" fmla="*/ 4022500 h 4816585"/>
              <a:gd name="connsiteX15" fmla="*/ 1864894 w 4659670"/>
              <a:gd name="connsiteY15" fmla="*/ 3998437 h 4816585"/>
              <a:gd name="connsiteX16" fmla="*/ 2177715 w 4659670"/>
              <a:gd name="connsiteY16" fmla="*/ 3986406 h 4816585"/>
              <a:gd name="connsiteX17" fmla="*/ 2382252 w 4659670"/>
              <a:gd name="connsiteY17" fmla="*/ 3962342 h 4816585"/>
              <a:gd name="connsiteX18" fmla="*/ 2550694 w 4659670"/>
              <a:gd name="connsiteY18" fmla="*/ 3926248 h 4816585"/>
              <a:gd name="connsiteX19" fmla="*/ 2719136 w 4659670"/>
              <a:gd name="connsiteY19" fmla="*/ 3890153 h 4816585"/>
              <a:gd name="connsiteX20" fmla="*/ 2815389 w 4659670"/>
              <a:gd name="connsiteY20" fmla="*/ 3866090 h 4816585"/>
              <a:gd name="connsiteX21" fmla="*/ 2887579 w 4659670"/>
              <a:gd name="connsiteY21" fmla="*/ 3842027 h 4816585"/>
              <a:gd name="connsiteX22" fmla="*/ 3019926 w 4659670"/>
              <a:gd name="connsiteY22" fmla="*/ 3805932 h 4816585"/>
              <a:gd name="connsiteX23" fmla="*/ 3164305 w 4659670"/>
              <a:gd name="connsiteY23" fmla="*/ 3769837 h 4816585"/>
              <a:gd name="connsiteX24" fmla="*/ 3344779 w 4659670"/>
              <a:gd name="connsiteY24" fmla="*/ 3697648 h 4816585"/>
              <a:gd name="connsiteX25" fmla="*/ 3453063 w 4659670"/>
              <a:gd name="connsiteY25" fmla="*/ 3613427 h 4816585"/>
              <a:gd name="connsiteX26" fmla="*/ 3513221 w 4659670"/>
              <a:gd name="connsiteY26" fmla="*/ 3577332 h 4816585"/>
              <a:gd name="connsiteX27" fmla="*/ 3573379 w 4659670"/>
              <a:gd name="connsiteY27" fmla="*/ 3517174 h 4816585"/>
              <a:gd name="connsiteX28" fmla="*/ 3741821 w 4659670"/>
              <a:gd name="connsiteY28" fmla="*/ 3372795 h 4816585"/>
              <a:gd name="connsiteX29" fmla="*/ 3789947 w 4659670"/>
              <a:gd name="connsiteY29" fmla="*/ 3300606 h 4816585"/>
              <a:gd name="connsiteX30" fmla="*/ 3838073 w 4659670"/>
              <a:gd name="connsiteY30" fmla="*/ 3192321 h 4816585"/>
              <a:gd name="connsiteX31" fmla="*/ 3922294 w 4659670"/>
              <a:gd name="connsiteY31" fmla="*/ 3011848 h 4816585"/>
              <a:gd name="connsiteX32" fmla="*/ 3934326 w 4659670"/>
              <a:gd name="connsiteY32" fmla="*/ 2975753 h 4816585"/>
              <a:gd name="connsiteX33" fmla="*/ 3946357 w 4659670"/>
              <a:gd name="connsiteY33" fmla="*/ 2795279 h 4816585"/>
              <a:gd name="connsiteX34" fmla="*/ 3958389 w 4659670"/>
              <a:gd name="connsiteY34" fmla="*/ 2759185 h 4816585"/>
              <a:gd name="connsiteX35" fmla="*/ 4054642 w 4659670"/>
              <a:gd name="connsiteY35" fmla="*/ 2626837 h 4816585"/>
              <a:gd name="connsiteX36" fmla="*/ 4150894 w 4659670"/>
              <a:gd name="connsiteY36" fmla="*/ 2458395 h 4816585"/>
              <a:gd name="connsiteX37" fmla="*/ 4162926 w 4659670"/>
              <a:gd name="connsiteY37" fmla="*/ 2422300 h 4816585"/>
              <a:gd name="connsiteX38" fmla="*/ 4247147 w 4659670"/>
              <a:gd name="connsiteY38" fmla="*/ 2241827 h 4816585"/>
              <a:gd name="connsiteX39" fmla="*/ 4259179 w 4659670"/>
              <a:gd name="connsiteY39" fmla="*/ 2205732 h 4816585"/>
              <a:gd name="connsiteX40" fmla="*/ 4319336 w 4659670"/>
              <a:gd name="connsiteY40" fmla="*/ 2061353 h 4816585"/>
              <a:gd name="connsiteX41" fmla="*/ 4331368 w 4659670"/>
              <a:gd name="connsiteY41" fmla="*/ 2025258 h 4816585"/>
              <a:gd name="connsiteX42" fmla="*/ 4367463 w 4659670"/>
              <a:gd name="connsiteY42" fmla="*/ 1796658 h 4816585"/>
              <a:gd name="connsiteX43" fmla="*/ 4391526 w 4659670"/>
              <a:gd name="connsiteY43" fmla="*/ 1399616 h 4816585"/>
              <a:gd name="connsiteX44" fmla="*/ 4403557 w 4659670"/>
              <a:gd name="connsiteY44" fmla="*/ 942416 h 4816585"/>
              <a:gd name="connsiteX45" fmla="*/ 4427621 w 4659670"/>
              <a:gd name="connsiteY45" fmla="*/ 918353 h 4816585"/>
              <a:gd name="connsiteX46" fmla="*/ 4523873 w 4659670"/>
              <a:gd name="connsiteY46" fmla="*/ 677721 h 4816585"/>
              <a:gd name="connsiteX47" fmla="*/ 4632157 w 4659670"/>
              <a:gd name="connsiteY47" fmla="*/ 473185 h 4816585"/>
              <a:gd name="connsiteX48" fmla="*/ 3970421 w 4659670"/>
              <a:gd name="connsiteY48" fmla="*/ 3953 h 4816585"/>
              <a:gd name="connsiteX49" fmla="*/ 3657600 w 4659670"/>
              <a:gd name="connsiteY49" fmla="*/ 761942 h 4816585"/>
              <a:gd name="connsiteX50" fmla="*/ 3826042 w 4659670"/>
              <a:gd name="connsiteY50" fmla="*/ 1712437 h 4816585"/>
              <a:gd name="connsiteX51" fmla="*/ 3104147 w 4659670"/>
              <a:gd name="connsiteY51" fmla="*/ 2771216 h 4816585"/>
              <a:gd name="connsiteX52" fmla="*/ 2286000 w 4659670"/>
              <a:gd name="connsiteY52" fmla="*/ 3240448 h 4816585"/>
              <a:gd name="connsiteX53" fmla="*/ 649705 w 4659670"/>
              <a:gd name="connsiteY53" fmla="*/ 3601395 h 4816585"/>
              <a:gd name="connsiteX54" fmla="*/ 0 w 4659670"/>
              <a:gd name="connsiteY54" fmla="*/ 4058595 h 4816585"/>
              <a:gd name="connsiteX55" fmla="*/ 625642 w 4659670"/>
              <a:gd name="connsiteY55"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467852 w 4659670"/>
              <a:gd name="connsiteY10" fmla="*/ 4118753 h 4816585"/>
              <a:gd name="connsiteX11" fmla="*/ 1540042 w 4659670"/>
              <a:gd name="connsiteY11" fmla="*/ 4058595 h 4816585"/>
              <a:gd name="connsiteX12" fmla="*/ 1612231 w 4659670"/>
              <a:gd name="connsiteY12" fmla="*/ 4034532 h 4816585"/>
              <a:gd name="connsiteX13" fmla="*/ 1648326 w 4659670"/>
              <a:gd name="connsiteY13" fmla="*/ 4022500 h 4816585"/>
              <a:gd name="connsiteX14" fmla="*/ 1864894 w 4659670"/>
              <a:gd name="connsiteY14" fmla="*/ 3998437 h 4816585"/>
              <a:gd name="connsiteX15" fmla="*/ 2177715 w 4659670"/>
              <a:gd name="connsiteY15" fmla="*/ 3986406 h 4816585"/>
              <a:gd name="connsiteX16" fmla="*/ 2382252 w 4659670"/>
              <a:gd name="connsiteY16" fmla="*/ 3962342 h 4816585"/>
              <a:gd name="connsiteX17" fmla="*/ 2550694 w 4659670"/>
              <a:gd name="connsiteY17" fmla="*/ 3926248 h 4816585"/>
              <a:gd name="connsiteX18" fmla="*/ 2719136 w 4659670"/>
              <a:gd name="connsiteY18" fmla="*/ 3890153 h 4816585"/>
              <a:gd name="connsiteX19" fmla="*/ 2815389 w 4659670"/>
              <a:gd name="connsiteY19" fmla="*/ 3866090 h 4816585"/>
              <a:gd name="connsiteX20" fmla="*/ 2887579 w 4659670"/>
              <a:gd name="connsiteY20" fmla="*/ 3842027 h 4816585"/>
              <a:gd name="connsiteX21" fmla="*/ 3019926 w 4659670"/>
              <a:gd name="connsiteY21" fmla="*/ 3805932 h 4816585"/>
              <a:gd name="connsiteX22" fmla="*/ 3164305 w 4659670"/>
              <a:gd name="connsiteY22" fmla="*/ 3769837 h 4816585"/>
              <a:gd name="connsiteX23" fmla="*/ 3344779 w 4659670"/>
              <a:gd name="connsiteY23" fmla="*/ 3697648 h 4816585"/>
              <a:gd name="connsiteX24" fmla="*/ 3453063 w 4659670"/>
              <a:gd name="connsiteY24" fmla="*/ 3613427 h 4816585"/>
              <a:gd name="connsiteX25" fmla="*/ 3513221 w 4659670"/>
              <a:gd name="connsiteY25" fmla="*/ 3577332 h 4816585"/>
              <a:gd name="connsiteX26" fmla="*/ 3573379 w 4659670"/>
              <a:gd name="connsiteY26" fmla="*/ 3517174 h 4816585"/>
              <a:gd name="connsiteX27" fmla="*/ 3741821 w 4659670"/>
              <a:gd name="connsiteY27" fmla="*/ 3372795 h 4816585"/>
              <a:gd name="connsiteX28" fmla="*/ 3789947 w 4659670"/>
              <a:gd name="connsiteY28" fmla="*/ 3300606 h 4816585"/>
              <a:gd name="connsiteX29" fmla="*/ 3838073 w 4659670"/>
              <a:gd name="connsiteY29" fmla="*/ 3192321 h 4816585"/>
              <a:gd name="connsiteX30" fmla="*/ 3922294 w 4659670"/>
              <a:gd name="connsiteY30" fmla="*/ 3011848 h 4816585"/>
              <a:gd name="connsiteX31" fmla="*/ 3934326 w 4659670"/>
              <a:gd name="connsiteY31" fmla="*/ 2975753 h 4816585"/>
              <a:gd name="connsiteX32" fmla="*/ 3946357 w 4659670"/>
              <a:gd name="connsiteY32" fmla="*/ 2795279 h 4816585"/>
              <a:gd name="connsiteX33" fmla="*/ 3958389 w 4659670"/>
              <a:gd name="connsiteY33" fmla="*/ 2759185 h 4816585"/>
              <a:gd name="connsiteX34" fmla="*/ 4054642 w 4659670"/>
              <a:gd name="connsiteY34" fmla="*/ 2626837 h 4816585"/>
              <a:gd name="connsiteX35" fmla="*/ 4150894 w 4659670"/>
              <a:gd name="connsiteY35" fmla="*/ 2458395 h 4816585"/>
              <a:gd name="connsiteX36" fmla="*/ 4162926 w 4659670"/>
              <a:gd name="connsiteY36" fmla="*/ 2422300 h 4816585"/>
              <a:gd name="connsiteX37" fmla="*/ 4247147 w 4659670"/>
              <a:gd name="connsiteY37" fmla="*/ 2241827 h 4816585"/>
              <a:gd name="connsiteX38" fmla="*/ 4259179 w 4659670"/>
              <a:gd name="connsiteY38" fmla="*/ 2205732 h 4816585"/>
              <a:gd name="connsiteX39" fmla="*/ 4319336 w 4659670"/>
              <a:gd name="connsiteY39" fmla="*/ 2061353 h 4816585"/>
              <a:gd name="connsiteX40" fmla="*/ 4331368 w 4659670"/>
              <a:gd name="connsiteY40" fmla="*/ 2025258 h 4816585"/>
              <a:gd name="connsiteX41" fmla="*/ 4367463 w 4659670"/>
              <a:gd name="connsiteY41" fmla="*/ 1796658 h 4816585"/>
              <a:gd name="connsiteX42" fmla="*/ 4391526 w 4659670"/>
              <a:gd name="connsiteY42" fmla="*/ 1399616 h 4816585"/>
              <a:gd name="connsiteX43" fmla="*/ 4403557 w 4659670"/>
              <a:gd name="connsiteY43" fmla="*/ 942416 h 4816585"/>
              <a:gd name="connsiteX44" fmla="*/ 4427621 w 4659670"/>
              <a:gd name="connsiteY44" fmla="*/ 918353 h 4816585"/>
              <a:gd name="connsiteX45" fmla="*/ 4523873 w 4659670"/>
              <a:gd name="connsiteY45" fmla="*/ 677721 h 4816585"/>
              <a:gd name="connsiteX46" fmla="*/ 4632157 w 4659670"/>
              <a:gd name="connsiteY46" fmla="*/ 473185 h 4816585"/>
              <a:gd name="connsiteX47" fmla="*/ 3970421 w 4659670"/>
              <a:gd name="connsiteY47" fmla="*/ 3953 h 4816585"/>
              <a:gd name="connsiteX48" fmla="*/ 3657600 w 4659670"/>
              <a:gd name="connsiteY48" fmla="*/ 761942 h 4816585"/>
              <a:gd name="connsiteX49" fmla="*/ 3826042 w 4659670"/>
              <a:gd name="connsiteY49" fmla="*/ 1712437 h 4816585"/>
              <a:gd name="connsiteX50" fmla="*/ 3104147 w 4659670"/>
              <a:gd name="connsiteY50" fmla="*/ 2771216 h 4816585"/>
              <a:gd name="connsiteX51" fmla="*/ 2286000 w 4659670"/>
              <a:gd name="connsiteY51" fmla="*/ 3240448 h 4816585"/>
              <a:gd name="connsiteX52" fmla="*/ 649705 w 4659670"/>
              <a:gd name="connsiteY52" fmla="*/ 3601395 h 4816585"/>
              <a:gd name="connsiteX53" fmla="*/ 0 w 4659670"/>
              <a:gd name="connsiteY53" fmla="*/ 4058595 h 4816585"/>
              <a:gd name="connsiteX54" fmla="*/ 625642 w 4659670"/>
              <a:gd name="connsiteY54"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467852 w 4659670"/>
              <a:gd name="connsiteY10" fmla="*/ 4118753 h 4816585"/>
              <a:gd name="connsiteX11" fmla="*/ 1540042 w 4659670"/>
              <a:gd name="connsiteY11" fmla="*/ 4058595 h 4816585"/>
              <a:gd name="connsiteX12" fmla="*/ 1612231 w 4659670"/>
              <a:gd name="connsiteY12" fmla="*/ 4034532 h 4816585"/>
              <a:gd name="connsiteX13" fmla="*/ 1864894 w 4659670"/>
              <a:gd name="connsiteY13" fmla="*/ 3998437 h 4816585"/>
              <a:gd name="connsiteX14" fmla="*/ 2177715 w 4659670"/>
              <a:gd name="connsiteY14" fmla="*/ 3986406 h 4816585"/>
              <a:gd name="connsiteX15" fmla="*/ 2382252 w 4659670"/>
              <a:gd name="connsiteY15" fmla="*/ 3962342 h 4816585"/>
              <a:gd name="connsiteX16" fmla="*/ 2550694 w 4659670"/>
              <a:gd name="connsiteY16" fmla="*/ 3926248 h 4816585"/>
              <a:gd name="connsiteX17" fmla="*/ 2719136 w 4659670"/>
              <a:gd name="connsiteY17" fmla="*/ 3890153 h 4816585"/>
              <a:gd name="connsiteX18" fmla="*/ 2815389 w 4659670"/>
              <a:gd name="connsiteY18" fmla="*/ 3866090 h 4816585"/>
              <a:gd name="connsiteX19" fmla="*/ 2887579 w 4659670"/>
              <a:gd name="connsiteY19" fmla="*/ 3842027 h 4816585"/>
              <a:gd name="connsiteX20" fmla="*/ 3019926 w 4659670"/>
              <a:gd name="connsiteY20" fmla="*/ 3805932 h 4816585"/>
              <a:gd name="connsiteX21" fmla="*/ 3164305 w 4659670"/>
              <a:gd name="connsiteY21" fmla="*/ 3769837 h 4816585"/>
              <a:gd name="connsiteX22" fmla="*/ 3344779 w 4659670"/>
              <a:gd name="connsiteY22" fmla="*/ 3697648 h 4816585"/>
              <a:gd name="connsiteX23" fmla="*/ 3453063 w 4659670"/>
              <a:gd name="connsiteY23" fmla="*/ 3613427 h 4816585"/>
              <a:gd name="connsiteX24" fmla="*/ 3513221 w 4659670"/>
              <a:gd name="connsiteY24" fmla="*/ 3577332 h 4816585"/>
              <a:gd name="connsiteX25" fmla="*/ 3573379 w 4659670"/>
              <a:gd name="connsiteY25" fmla="*/ 3517174 h 4816585"/>
              <a:gd name="connsiteX26" fmla="*/ 3741821 w 4659670"/>
              <a:gd name="connsiteY26" fmla="*/ 3372795 h 4816585"/>
              <a:gd name="connsiteX27" fmla="*/ 3789947 w 4659670"/>
              <a:gd name="connsiteY27" fmla="*/ 3300606 h 4816585"/>
              <a:gd name="connsiteX28" fmla="*/ 3838073 w 4659670"/>
              <a:gd name="connsiteY28" fmla="*/ 3192321 h 4816585"/>
              <a:gd name="connsiteX29" fmla="*/ 3922294 w 4659670"/>
              <a:gd name="connsiteY29" fmla="*/ 3011848 h 4816585"/>
              <a:gd name="connsiteX30" fmla="*/ 3934326 w 4659670"/>
              <a:gd name="connsiteY30" fmla="*/ 2975753 h 4816585"/>
              <a:gd name="connsiteX31" fmla="*/ 3946357 w 4659670"/>
              <a:gd name="connsiteY31" fmla="*/ 2795279 h 4816585"/>
              <a:gd name="connsiteX32" fmla="*/ 3958389 w 4659670"/>
              <a:gd name="connsiteY32" fmla="*/ 2759185 h 4816585"/>
              <a:gd name="connsiteX33" fmla="*/ 4054642 w 4659670"/>
              <a:gd name="connsiteY33" fmla="*/ 2626837 h 4816585"/>
              <a:gd name="connsiteX34" fmla="*/ 4150894 w 4659670"/>
              <a:gd name="connsiteY34" fmla="*/ 2458395 h 4816585"/>
              <a:gd name="connsiteX35" fmla="*/ 4162926 w 4659670"/>
              <a:gd name="connsiteY35" fmla="*/ 2422300 h 4816585"/>
              <a:gd name="connsiteX36" fmla="*/ 4247147 w 4659670"/>
              <a:gd name="connsiteY36" fmla="*/ 2241827 h 4816585"/>
              <a:gd name="connsiteX37" fmla="*/ 4259179 w 4659670"/>
              <a:gd name="connsiteY37" fmla="*/ 2205732 h 4816585"/>
              <a:gd name="connsiteX38" fmla="*/ 4319336 w 4659670"/>
              <a:gd name="connsiteY38" fmla="*/ 2061353 h 4816585"/>
              <a:gd name="connsiteX39" fmla="*/ 4331368 w 4659670"/>
              <a:gd name="connsiteY39" fmla="*/ 2025258 h 4816585"/>
              <a:gd name="connsiteX40" fmla="*/ 4367463 w 4659670"/>
              <a:gd name="connsiteY40" fmla="*/ 1796658 h 4816585"/>
              <a:gd name="connsiteX41" fmla="*/ 4391526 w 4659670"/>
              <a:gd name="connsiteY41" fmla="*/ 1399616 h 4816585"/>
              <a:gd name="connsiteX42" fmla="*/ 4403557 w 4659670"/>
              <a:gd name="connsiteY42" fmla="*/ 942416 h 4816585"/>
              <a:gd name="connsiteX43" fmla="*/ 4427621 w 4659670"/>
              <a:gd name="connsiteY43" fmla="*/ 918353 h 4816585"/>
              <a:gd name="connsiteX44" fmla="*/ 4523873 w 4659670"/>
              <a:gd name="connsiteY44" fmla="*/ 677721 h 4816585"/>
              <a:gd name="connsiteX45" fmla="*/ 4632157 w 4659670"/>
              <a:gd name="connsiteY45" fmla="*/ 473185 h 4816585"/>
              <a:gd name="connsiteX46" fmla="*/ 3970421 w 4659670"/>
              <a:gd name="connsiteY46" fmla="*/ 3953 h 4816585"/>
              <a:gd name="connsiteX47" fmla="*/ 3657600 w 4659670"/>
              <a:gd name="connsiteY47" fmla="*/ 761942 h 4816585"/>
              <a:gd name="connsiteX48" fmla="*/ 3826042 w 4659670"/>
              <a:gd name="connsiteY48" fmla="*/ 1712437 h 4816585"/>
              <a:gd name="connsiteX49" fmla="*/ 3104147 w 4659670"/>
              <a:gd name="connsiteY49" fmla="*/ 2771216 h 4816585"/>
              <a:gd name="connsiteX50" fmla="*/ 2286000 w 4659670"/>
              <a:gd name="connsiteY50" fmla="*/ 3240448 h 4816585"/>
              <a:gd name="connsiteX51" fmla="*/ 649705 w 4659670"/>
              <a:gd name="connsiteY51" fmla="*/ 3601395 h 4816585"/>
              <a:gd name="connsiteX52" fmla="*/ 0 w 4659670"/>
              <a:gd name="connsiteY52" fmla="*/ 4058595 h 4816585"/>
              <a:gd name="connsiteX53" fmla="*/ 625642 w 4659670"/>
              <a:gd name="connsiteY53"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467852 w 4659670"/>
              <a:gd name="connsiteY10" fmla="*/ 4118753 h 4816585"/>
              <a:gd name="connsiteX11" fmla="*/ 1612231 w 4659670"/>
              <a:gd name="connsiteY11" fmla="*/ 4034532 h 4816585"/>
              <a:gd name="connsiteX12" fmla="*/ 1864894 w 4659670"/>
              <a:gd name="connsiteY12" fmla="*/ 3998437 h 4816585"/>
              <a:gd name="connsiteX13" fmla="*/ 2177715 w 4659670"/>
              <a:gd name="connsiteY13" fmla="*/ 3986406 h 4816585"/>
              <a:gd name="connsiteX14" fmla="*/ 2382252 w 4659670"/>
              <a:gd name="connsiteY14" fmla="*/ 3962342 h 4816585"/>
              <a:gd name="connsiteX15" fmla="*/ 2550694 w 4659670"/>
              <a:gd name="connsiteY15" fmla="*/ 3926248 h 4816585"/>
              <a:gd name="connsiteX16" fmla="*/ 2719136 w 4659670"/>
              <a:gd name="connsiteY16" fmla="*/ 3890153 h 4816585"/>
              <a:gd name="connsiteX17" fmla="*/ 2815389 w 4659670"/>
              <a:gd name="connsiteY17" fmla="*/ 3866090 h 4816585"/>
              <a:gd name="connsiteX18" fmla="*/ 2887579 w 4659670"/>
              <a:gd name="connsiteY18" fmla="*/ 3842027 h 4816585"/>
              <a:gd name="connsiteX19" fmla="*/ 3019926 w 4659670"/>
              <a:gd name="connsiteY19" fmla="*/ 3805932 h 4816585"/>
              <a:gd name="connsiteX20" fmla="*/ 3164305 w 4659670"/>
              <a:gd name="connsiteY20" fmla="*/ 3769837 h 4816585"/>
              <a:gd name="connsiteX21" fmla="*/ 3344779 w 4659670"/>
              <a:gd name="connsiteY21" fmla="*/ 3697648 h 4816585"/>
              <a:gd name="connsiteX22" fmla="*/ 3453063 w 4659670"/>
              <a:gd name="connsiteY22" fmla="*/ 3613427 h 4816585"/>
              <a:gd name="connsiteX23" fmla="*/ 3513221 w 4659670"/>
              <a:gd name="connsiteY23" fmla="*/ 3577332 h 4816585"/>
              <a:gd name="connsiteX24" fmla="*/ 3573379 w 4659670"/>
              <a:gd name="connsiteY24" fmla="*/ 3517174 h 4816585"/>
              <a:gd name="connsiteX25" fmla="*/ 3741821 w 4659670"/>
              <a:gd name="connsiteY25" fmla="*/ 3372795 h 4816585"/>
              <a:gd name="connsiteX26" fmla="*/ 3789947 w 4659670"/>
              <a:gd name="connsiteY26" fmla="*/ 3300606 h 4816585"/>
              <a:gd name="connsiteX27" fmla="*/ 3838073 w 4659670"/>
              <a:gd name="connsiteY27" fmla="*/ 3192321 h 4816585"/>
              <a:gd name="connsiteX28" fmla="*/ 3922294 w 4659670"/>
              <a:gd name="connsiteY28" fmla="*/ 3011848 h 4816585"/>
              <a:gd name="connsiteX29" fmla="*/ 3934326 w 4659670"/>
              <a:gd name="connsiteY29" fmla="*/ 2975753 h 4816585"/>
              <a:gd name="connsiteX30" fmla="*/ 3946357 w 4659670"/>
              <a:gd name="connsiteY30" fmla="*/ 2795279 h 4816585"/>
              <a:gd name="connsiteX31" fmla="*/ 3958389 w 4659670"/>
              <a:gd name="connsiteY31" fmla="*/ 2759185 h 4816585"/>
              <a:gd name="connsiteX32" fmla="*/ 4054642 w 4659670"/>
              <a:gd name="connsiteY32" fmla="*/ 2626837 h 4816585"/>
              <a:gd name="connsiteX33" fmla="*/ 4150894 w 4659670"/>
              <a:gd name="connsiteY33" fmla="*/ 2458395 h 4816585"/>
              <a:gd name="connsiteX34" fmla="*/ 4162926 w 4659670"/>
              <a:gd name="connsiteY34" fmla="*/ 2422300 h 4816585"/>
              <a:gd name="connsiteX35" fmla="*/ 4247147 w 4659670"/>
              <a:gd name="connsiteY35" fmla="*/ 2241827 h 4816585"/>
              <a:gd name="connsiteX36" fmla="*/ 4259179 w 4659670"/>
              <a:gd name="connsiteY36" fmla="*/ 2205732 h 4816585"/>
              <a:gd name="connsiteX37" fmla="*/ 4319336 w 4659670"/>
              <a:gd name="connsiteY37" fmla="*/ 2061353 h 4816585"/>
              <a:gd name="connsiteX38" fmla="*/ 4331368 w 4659670"/>
              <a:gd name="connsiteY38" fmla="*/ 2025258 h 4816585"/>
              <a:gd name="connsiteX39" fmla="*/ 4367463 w 4659670"/>
              <a:gd name="connsiteY39" fmla="*/ 1796658 h 4816585"/>
              <a:gd name="connsiteX40" fmla="*/ 4391526 w 4659670"/>
              <a:gd name="connsiteY40" fmla="*/ 1399616 h 4816585"/>
              <a:gd name="connsiteX41" fmla="*/ 4403557 w 4659670"/>
              <a:gd name="connsiteY41" fmla="*/ 942416 h 4816585"/>
              <a:gd name="connsiteX42" fmla="*/ 4427621 w 4659670"/>
              <a:gd name="connsiteY42" fmla="*/ 918353 h 4816585"/>
              <a:gd name="connsiteX43" fmla="*/ 4523873 w 4659670"/>
              <a:gd name="connsiteY43" fmla="*/ 677721 h 4816585"/>
              <a:gd name="connsiteX44" fmla="*/ 4632157 w 4659670"/>
              <a:gd name="connsiteY44" fmla="*/ 473185 h 4816585"/>
              <a:gd name="connsiteX45" fmla="*/ 3970421 w 4659670"/>
              <a:gd name="connsiteY45" fmla="*/ 3953 h 4816585"/>
              <a:gd name="connsiteX46" fmla="*/ 3657600 w 4659670"/>
              <a:gd name="connsiteY46" fmla="*/ 761942 h 4816585"/>
              <a:gd name="connsiteX47" fmla="*/ 3826042 w 4659670"/>
              <a:gd name="connsiteY47" fmla="*/ 1712437 h 4816585"/>
              <a:gd name="connsiteX48" fmla="*/ 3104147 w 4659670"/>
              <a:gd name="connsiteY48" fmla="*/ 2771216 h 4816585"/>
              <a:gd name="connsiteX49" fmla="*/ 2286000 w 4659670"/>
              <a:gd name="connsiteY49" fmla="*/ 3240448 h 4816585"/>
              <a:gd name="connsiteX50" fmla="*/ 649705 w 4659670"/>
              <a:gd name="connsiteY50" fmla="*/ 3601395 h 4816585"/>
              <a:gd name="connsiteX51" fmla="*/ 0 w 4659670"/>
              <a:gd name="connsiteY51" fmla="*/ 4058595 h 4816585"/>
              <a:gd name="connsiteX52" fmla="*/ 625642 w 4659670"/>
              <a:gd name="connsiteY52"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2887579 w 4659670"/>
              <a:gd name="connsiteY17" fmla="*/ 3842027 h 4816585"/>
              <a:gd name="connsiteX18" fmla="*/ 3019926 w 4659670"/>
              <a:gd name="connsiteY18" fmla="*/ 3805932 h 4816585"/>
              <a:gd name="connsiteX19" fmla="*/ 3164305 w 4659670"/>
              <a:gd name="connsiteY19" fmla="*/ 3769837 h 4816585"/>
              <a:gd name="connsiteX20" fmla="*/ 3344779 w 4659670"/>
              <a:gd name="connsiteY20" fmla="*/ 3697648 h 4816585"/>
              <a:gd name="connsiteX21" fmla="*/ 3453063 w 4659670"/>
              <a:gd name="connsiteY21" fmla="*/ 3613427 h 4816585"/>
              <a:gd name="connsiteX22" fmla="*/ 3513221 w 4659670"/>
              <a:gd name="connsiteY22" fmla="*/ 3577332 h 4816585"/>
              <a:gd name="connsiteX23" fmla="*/ 3573379 w 4659670"/>
              <a:gd name="connsiteY23" fmla="*/ 3517174 h 4816585"/>
              <a:gd name="connsiteX24" fmla="*/ 3741821 w 4659670"/>
              <a:gd name="connsiteY24" fmla="*/ 3372795 h 4816585"/>
              <a:gd name="connsiteX25" fmla="*/ 3789947 w 4659670"/>
              <a:gd name="connsiteY25" fmla="*/ 3300606 h 4816585"/>
              <a:gd name="connsiteX26" fmla="*/ 3838073 w 4659670"/>
              <a:gd name="connsiteY26" fmla="*/ 3192321 h 4816585"/>
              <a:gd name="connsiteX27" fmla="*/ 3922294 w 4659670"/>
              <a:gd name="connsiteY27" fmla="*/ 3011848 h 4816585"/>
              <a:gd name="connsiteX28" fmla="*/ 3934326 w 4659670"/>
              <a:gd name="connsiteY28" fmla="*/ 2975753 h 4816585"/>
              <a:gd name="connsiteX29" fmla="*/ 3946357 w 4659670"/>
              <a:gd name="connsiteY29" fmla="*/ 2795279 h 4816585"/>
              <a:gd name="connsiteX30" fmla="*/ 3958389 w 4659670"/>
              <a:gd name="connsiteY30" fmla="*/ 2759185 h 4816585"/>
              <a:gd name="connsiteX31" fmla="*/ 4054642 w 4659670"/>
              <a:gd name="connsiteY31" fmla="*/ 2626837 h 4816585"/>
              <a:gd name="connsiteX32" fmla="*/ 4150894 w 4659670"/>
              <a:gd name="connsiteY32" fmla="*/ 2458395 h 4816585"/>
              <a:gd name="connsiteX33" fmla="*/ 4162926 w 4659670"/>
              <a:gd name="connsiteY33" fmla="*/ 2422300 h 4816585"/>
              <a:gd name="connsiteX34" fmla="*/ 4247147 w 4659670"/>
              <a:gd name="connsiteY34" fmla="*/ 2241827 h 4816585"/>
              <a:gd name="connsiteX35" fmla="*/ 4259179 w 4659670"/>
              <a:gd name="connsiteY35" fmla="*/ 2205732 h 4816585"/>
              <a:gd name="connsiteX36" fmla="*/ 4319336 w 4659670"/>
              <a:gd name="connsiteY36" fmla="*/ 2061353 h 4816585"/>
              <a:gd name="connsiteX37" fmla="*/ 4331368 w 4659670"/>
              <a:gd name="connsiteY37" fmla="*/ 2025258 h 4816585"/>
              <a:gd name="connsiteX38" fmla="*/ 4367463 w 4659670"/>
              <a:gd name="connsiteY38" fmla="*/ 1796658 h 4816585"/>
              <a:gd name="connsiteX39" fmla="*/ 4391526 w 4659670"/>
              <a:gd name="connsiteY39" fmla="*/ 1399616 h 4816585"/>
              <a:gd name="connsiteX40" fmla="*/ 4403557 w 4659670"/>
              <a:gd name="connsiteY40" fmla="*/ 942416 h 4816585"/>
              <a:gd name="connsiteX41" fmla="*/ 4427621 w 4659670"/>
              <a:gd name="connsiteY41" fmla="*/ 918353 h 4816585"/>
              <a:gd name="connsiteX42" fmla="*/ 4523873 w 4659670"/>
              <a:gd name="connsiteY42" fmla="*/ 677721 h 4816585"/>
              <a:gd name="connsiteX43" fmla="*/ 4632157 w 4659670"/>
              <a:gd name="connsiteY43" fmla="*/ 473185 h 4816585"/>
              <a:gd name="connsiteX44" fmla="*/ 3970421 w 4659670"/>
              <a:gd name="connsiteY44" fmla="*/ 3953 h 4816585"/>
              <a:gd name="connsiteX45" fmla="*/ 3657600 w 4659670"/>
              <a:gd name="connsiteY45" fmla="*/ 761942 h 4816585"/>
              <a:gd name="connsiteX46" fmla="*/ 3826042 w 4659670"/>
              <a:gd name="connsiteY46" fmla="*/ 1712437 h 4816585"/>
              <a:gd name="connsiteX47" fmla="*/ 3104147 w 4659670"/>
              <a:gd name="connsiteY47" fmla="*/ 2771216 h 4816585"/>
              <a:gd name="connsiteX48" fmla="*/ 2286000 w 4659670"/>
              <a:gd name="connsiteY48" fmla="*/ 3240448 h 4816585"/>
              <a:gd name="connsiteX49" fmla="*/ 649705 w 4659670"/>
              <a:gd name="connsiteY49" fmla="*/ 3601395 h 4816585"/>
              <a:gd name="connsiteX50" fmla="*/ 0 w 4659670"/>
              <a:gd name="connsiteY50" fmla="*/ 4058595 h 4816585"/>
              <a:gd name="connsiteX51" fmla="*/ 625642 w 4659670"/>
              <a:gd name="connsiteY51"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2887579 w 4659670"/>
              <a:gd name="connsiteY17" fmla="*/ 3842027 h 4816585"/>
              <a:gd name="connsiteX18" fmla="*/ 3019926 w 4659670"/>
              <a:gd name="connsiteY18" fmla="*/ 3805932 h 4816585"/>
              <a:gd name="connsiteX19" fmla="*/ 3164305 w 4659670"/>
              <a:gd name="connsiteY19" fmla="*/ 3769837 h 4816585"/>
              <a:gd name="connsiteX20" fmla="*/ 3344779 w 4659670"/>
              <a:gd name="connsiteY20" fmla="*/ 3697648 h 4816585"/>
              <a:gd name="connsiteX21" fmla="*/ 3453063 w 4659670"/>
              <a:gd name="connsiteY21" fmla="*/ 3613427 h 4816585"/>
              <a:gd name="connsiteX22" fmla="*/ 3513221 w 4659670"/>
              <a:gd name="connsiteY22" fmla="*/ 3577332 h 4816585"/>
              <a:gd name="connsiteX23" fmla="*/ 3741821 w 4659670"/>
              <a:gd name="connsiteY23" fmla="*/ 3372795 h 4816585"/>
              <a:gd name="connsiteX24" fmla="*/ 3789947 w 4659670"/>
              <a:gd name="connsiteY24" fmla="*/ 3300606 h 4816585"/>
              <a:gd name="connsiteX25" fmla="*/ 3838073 w 4659670"/>
              <a:gd name="connsiteY25" fmla="*/ 3192321 h 4816585"/>
              <a:gd name="connsiteX26" fmla="*/ 3922294 w 4659670"/>
              <a:gd name="connsiteY26" fmla="*/ 3011848 h 4816585"/>
              <a:gd name="connsiteX27" fmla="*/ 3934326 w 4659670"/>
              <a:gd name="connsiteY27" fmla="*/ 2975753 h 4816585"/>
              <a:gd name="connsiteX28" fmla="*/ 3946357 w 4659670"/>
              <a:gd name="connsiteY28" fmla="*/ 2795279 h 4816585"/>
              <a:gd name="connsiteX29" fmla="*/ 3958389 w 4659670"/>
              <a:gd name="connsiteY29" fmla="*/ 2759185 h 4816585"/>
              <a:gd name="connsiteX30" fmla="*/ 4054642 w 4659670"/>
              <a:gd name="connsiteY30" fmla="*/ 2626837 h 4816585"/>
              <a:gd name="connsiteX31" fmla="*/ 4150894 w 4659670"/>
              <a:gd name="connsiteY31" fmla="*/ 2458395 h 4816585"/>
              <a:gd name="connsiteX32" fmla="*/ 4162926 w 4659670"/>
              <a:gd name="connsiteY32" fmla="*/ 2422300 h 4816585"/>
              <a:gd name="connsiteX33" fmla="*/ 4247147 w 4659670"/>
              <a:gd name="connsiteY33" fmla="*/ 2241827 h 4816585"/>
              <a:gd name="connsiteX34" fmla="*/ 4259179 w 4659670"/>
              <a:gd name="connsiteY34" fmla="*/ 2205732 h 4816585"/>
              <a:gd name="connsiteX35" fmla="*/ 4319336 w 4659670"/>
              <a:gd name="connsiteY35" fmla="*/ 2061353 h 4816585"/>
              <a:gd name="connsiteX36" fmla="*/ 4331368 w 4659670"/>
              <a:gd name="connsiteY36" fmla="*/ 2025258 h 4816585"/>
              <a:gd name="connsiteX37" fmla="*/ 4367463 w 4659670"/>
              <a:gd name="connsiteY37" fmla="*/ 1796658 h 4816585"/>
              <a:gd name="connsiteX38" fmla="*/ 4391526 w 4659670"/>
              <a:gd name="connsiteY38" fmla="*/ 1399616 h 4816585"/>
              <a:gd name="connsiteX39" fmla="*/ 4403557 w 4659670"/>
              <a:gd name="connsiteY39" fmla="*/ 942416 h 4816585"/>
              <a:gd name="connsiteX40" fmla="*/ 4427621 w 4659670"/>
              <a:gd name="connsiteY40" fmla="*/ 918353 h 4816585"/>
              <a:gd name="connsiteX41" fmla="*/ 4523873 w 4659670"/>
              <a:gd name="connsiteY41" fmla="*/ 677721 h 4816585"/>
              <a:gd name="connsiteX42" fmla="*/ 4632157 w 4659670"/>
              <a:gd name="connsiteY42" fmla="*/ 473185 h 4816585"/>
              <a:gd name="connsiteX43" fmla="*/ 3970421 w 4659670"/>
              <a:gd name="connsiteY43" fmla="*/ 3953 h 4816585"/>
              <a:gd name="connsiteX44" fmla="*/ 3657600 w 4659670"/>
              <a:gd name="connsiteY44" fmla="*/ 761942 h 4816585"/>
              <a:gd name="connsiteX45" fmla="*/ 3826042 w 4659670"/>
              <a:gd name="connsiteY45" fmla="*/ 1712437 h 4816585"/>
              <a:gd name="connsiteX46" fmla="*/ 3104147 w 4659670"/>
              <a:gd name="connsiteY46" fmla="*/ 2771216 h 4816585"/>
              <a:gd name="connsiteX47" fmla="*/ 2286000 w 4659670"/>
              <a:gd name="connsiteY47" fmla="*/ 3240448 h 4816585"/>
              <a:gd name="connsiteX48" fmla="*/ 649705 w 4659670"/>
              <a:gd name="connsiteY48" fmla="*/ 3601395 h 4816585"/>
              <a:gd name="connsiteX49" fmla="*/ 0 w 4659670"/>
              <a:gd name="connsiteY49" fmla="*/ 4058595 h 4816585"/>
              <a:gd name="connsiteX50" fmla="*/ 625642 w 4659670"/>
              <a:gd name="connsiteY50"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2887579 w 4659670"/>
              <a:gd name="connsiteY17" fmla="*/ 3842027 h 4816585"/>
              <a:gd name="connsiteX18" fmla="*/ 3019926 w 4659670"/>
              <a:gd name="connsiteY18" fmla="*/ 3805932 h 4816585"/>
              <a:gd name="connsiteX19" fmla="*/ 3164305 w 4659670"/>
              <a:gd name="connsiteY19" fmla="*/ 3769837 h 4816585"/>
              <a:gd name="connsiteX20" fmla="*/ 3344779 w 4659670"/>
              <a:gd name="connsiteY20" fmla="*/ 3697648 h 4816585"/>
              <a:gd name="connsiteX21" fmla="*/ 3453063 w 4659670"/>
              <a:gd name="connsiteY21" fmla="*/ 3613427 h 4816585"/>
              <a:gd name="connsiteX22" fmla="*/ 3741821 w 4659670"/>
              <a:gd name="connsiteY22" fmla="*/ 3372795 h 4816585"/>
              <a:gd name="connsiteX23" fmla="*/ 3789947 w 4659670"/>
              <a:gd name="connsiteY23" fmla="*/ 3300606 h 4816585"/>
              <a:gd name="connsiteX24" fmla="*/ 3838073 w 4659670"/>
              <a:gd name="connsiteY24" fmla="*/ 3192321 h 4816585"/>
              <a:gd name="connsiteX25" fmla="*/ 3922294 w 4659670"/>
              <a:gd name="connsiteY25" fmla="*/ 3011848 h 4816585"/>
              <a:gd name="connsiteX26" fmla="*/ 3934326 w 4659670"/>
              <a:gd name="connsiteY26" fmla="*/ 2975753 h 4816585"/>
              <a:gd name="connsiteX27" fmla="*/ 3946357 w 4659670"/>
              <a:gd name="connsiteY27" fmla="*/ 2795279 h 4816585"/>
              <a:gd name="connsiteX28" fmla="*/ 3958389 w 4659670"/>
              <a:gd name="connsiteY28" fmla="*/ 2759185 h 4816585"/>
              <a:gd name="connsiteX29" fmla="*/ 4054642 w 4659670"/>
              <a:gd name="connsiteY29" fmla="*/ 2626837 h 4816585"/>
              <a:gd name="connsiteX30" fmla="*/ 4150894 w 4659670"/>
              <a:gd name="connsiteY30" fmla="*/ 2458395 h 4816585"/>
              <a:gd name="connsiteX31" fmla="*/ 4162926 w 4659670"/>
              <a:gd name="connsiteY31" fmla="*/ 2422300 h 4816585"/>
              <a:gd name="connsiteX32" fmla="*/ 4247147 w 4659670"/>
              <a:gd name="connsiteY32" fmla="*/ 2241827 h 4816585"/>
              <a:gd name="connsiteX33" fmla="*/ 4259179 w 4659670"/>
              <a:gd name="connsiteY33" fmla="*/ 2205732 h 4816585"/>
              <a:gd name="connsiteX34" fmla="*/ 4319336 w 4659670"/>
              <a:gd name="connsiteY34" fmla="*/ 2061353 h 4816585"/>
              <a:gd name="connsiteX35" fmla="*/ 4331368 w 4659670"/>
              <a:gd name="connsiteY35" fmla="*/ 2025258 h 4816585"/>
              <a:gd name="connsiteX36" fmla="*/ 4367463 w 4659670"/>
              <a:gd name="connsiteY36" fmla="*/ 1796658 h 4816585"/>
              <a:gd name="connsiteX37" fmla="*/ 4391526 w 4659670"/>
              <a:gd name="connsiteY37" fmla="*/ 1399616 h 4816585"/>
              <a:gd name="connsiteX38" fmla="*/ 4403557 w 4659670"/>
              <a:gd name="connsiteY38" fmla="*/ 942416 h 4816585"/>
              <a:gd name="connsiteX39" fmla="*/ 4427621 w 4659670"/>
              <a:gd name="connsiteY39" fmla="*/ 918353 h 4816585"/>
              <a:gd name="connsiteX40" fmla="*/ 4523873 w 4659670"/>
              <a:gd name="connsiteY40" fmla="*/ 677721 h 4816585"/>
              <a:gd name="connsiteX41" fmla="*/ 4632157 w 4659670"/>
              <a:gd name="connsiteY41" fmla="*/ 473185 h 4816585"/>
              <a:gd name="connsiteX42" fmla="*/ 3970421 w 4659670"/>
              <a:gd name="connsiteY42" fmla="*/ 3953 h 4816585"/>
              <a:gd name="connsiteX43" fmla="*/ 3657600 w 4659670"/>
              <a:gd name="connsiteY43" fmla="*/ 761942 h 4816585"/>
              <a:gd name="connsiteX44" fmla="*/ 3826042 w 4659670"/>
              <a:gd name="connsiteY44" fmla="*/ 1712437 h 4816585"/>
              <a:gd name="connsiteX45" fmla="*/ 3104147 w 4659670"/>
              <a:gd name="connsiteY45" fmla="*/ 2771216 h 4816585"/>
              <a:gd name="connsiteX46" fmla="*/ 2286000 w 4659670"/>
              <a:gd name="connsiteY46" fmla="*/ 3240448 h 4816585"/>
              <a:gd name="connsiteX47" fmla="*/ 649705 w 4659670"/>
              <a:gd name="connsiteY47" fmla="*/ 3601395 h 4816585"/>
              <a:gd name="connsiteX48" fmla="*/ 0 w 4659670"/>
              <a:gd name="connsiteY48" fmla="*/ 4058595 h 4816585"/>
              <a:gd name="connsiteX49" fmla="*/ 625642 w 4659670"/>
              <a:gd name="connsiteY49"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2887579 w 4659670"/>
              <a:gd name="connsiteY17" fmla="*/ 3842027 h 4816585"/>
              <a:gd name="connsiteX18" fmla="*/ 3019926 w 4659670"/>
              <a:gd name="connsiteY18" fmla="*/ 3805932 h 4816585"/>
              <a:gd name="connsiteX19" fmla="*/ 3164305 w 4659670"/>
              <a:gd name="connsiteY19" fmla="*/ 3769837 h 4816585"/>
              <a:gd name="connsiteX20" fmla="*/ 3344779 w 4659670"/>
              <a:gd name="connsiteY20" fmla="*/ 3697648 h 4816585"/>
              <a:gd name="connsiteX21" fmla="*/ 3453063 w 4659670"/>
              <a:gd name="connsiteY21" fmla="*/ 3613427 h 4816585"/>
              <a:gd name="connsiteX22" fmla="*/ 3741821 w 4659670"/>
              <a:gd name="connsiteY22" fmla="*/ 3372795 h 4816585"/>
              <a:gd name="connsiteX23" fmla="*/ 3789947 w 4659670"/>
              <a:gd name="connsiteY23" fmla="*/ 3300606 h 4816585"/>
              <a:gd name="connsiteX24" fmla="*/ 3922294 w 4659670"/>
              <a:gd name="connsiteY24" fmla="*/ 3011848 h 4816585"/>
              <a:gd name="connsiteX25" fmla="*/ 3934326 w 4659670"/>
              <a:gd name="connsiteY25" fmla="*/ 2975753 h 4816585"/>
              <a:gd name="connsiteX26" fmla="*/ 3946357 w 4659670"/>
              <a:gd name="connsiteY26" fmla="*/ 2795279 h 4816585"/>
              <a:gd name="connsiteX27" fmla="*/ 3958389 w 4659670"/>
              <a:gd name="connsiteY27" fmla="*/ 2759185 h 4816585"/>
              <a:gd name="connsiteX28" fmla="*/ 4054642 w 4659670"/>
              <a:gd name="connsiteY28" fmla="*/ 2626837 h 4816585"/>
              <a:gd name="connsiteX29" fmla="*/ 4150894 w 4659670"/>
              <a:gd name="connsiteY29" fmla="*/ 2458395 h 4816585"/>
              <a:gd name="connsiteX30" fmla="*/ 4162926 w 4659670"/>
              <a:gd name="connsiteY30" fmla="*/ 2422300 h 4816585"/>
              <a:gd name="connsiteX31" fmla="*/ 4247147 w 4659670"/>
              <a:gd name="connsiteY31" fmla="*/ 2241827 h 4816585"/>
              <a:gd name="connsiteX32" fmla="*/ 4259179 w 4659670"/>
              <a:gd name="connsiteY32" fmla="*/ 2205732 h 4816585"/>
              <a:gd name="connsiteX33" fmla="*/ 4319336 w 4659670"/>
              <a:gd name="connsiteY33" fmla="*/ 2061353 h 4816585"/>
              <a:gd name="connsiteX34" fmla="*/ 4331368 w 4659670"/>
              <a:gd name="connsiteY34" fmla="*/ 2025258 h 4816585"/>
              <a:gd name="connsiteX35" fmla="*/ 4367463 w 4659670"/>
              <a:gd name="connsiteY35" fmla="*/ 1796658 h 4816585"/>
              <a:gd name="connsiteX36" fmla="*/ 4391526 w 4659670"/>
              <a:gd name="connsiteY36" fmla="*/ 1399616 h 4816585"/>
              <a:gd name="connsiteX37" fmla="*/ 4403557 w 4659670"/>
              <a:gd name="connsiteY37" fmla="*/ 942416 h 4816585"/>
              <a:gd name="connsiteX38" fmla="*/ 4427621 w 4659670"/>
              <a:gd name="connsiteY38" fmla="*/ 918353 h 4816585"/>
              <a:gd name="connsiteX39" fmla="*/ 4523873 w 4659670"/>
              <a:gd name="connsiteY39" fmla="*/ 677721 h 4816585"/>
              <a:gd name="connsiteX40" fmla="*/ 4632157 w 4659670"/>
              <a:gd name="connsiteY40" fmla="*/ 473185 h 4816585"/>
              <a:gd name="connsiteX41" fmla="*/ 3970421 w 4659670"/>
              <a:gd name="connsiteY41" fmla="*/ 3953 h 4816585"/>
              <a:gd name="connsiteX42" fmla="*/ 3657600 w 4659670"/>
              <a:gd name="connsiteY42" fmla="*/ 761942 h 4816585"/>
              <a:gd name="connsiteX43" fmla="*/ 3826042 w 4659670"/>
              <a:gd name="connsiteY43" fmla="*/ 1712437 h 4816585"/>
              <a:gd name="connsiteX44" fmla="*/ 3104147 w 4659670"/>
              <a:gd name="connsiteY44" fmla="*/ 2771216 h 4816585"/>
              <a:gd name="connsiteX45" fmla="*/ 2286000 w 4659670"/>
              <a:gd name="connsiteY45" fmla="*/ 3240448 h 4816585"/>
              <a:gd name="connsiteX46" fmla="*/ 649705 w 4659670"/>
              <a:gd name="connsiteY46" fmla="*/ 3601395 h 4816585"/>
              <a:gd name="connsiteX47" fmla="*/ 0 w 4659670"/>
              <a:gd name="connsiteY47" fmla="*/ 4058595 h 4816585"/>
              <a:gd name="connsiteX48" fmla="*/ 625642 w 4659670"/>
              <a:gd name="connsiteY48"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3019926 w 4659670"/>
              <a:gd name="connsiteY17" fmla="*/ 3805932 h 4816585"/>
              <a:gd name="connsiteX18" fmla="*/ 3164305 w 4659670"/>
              <a:gd name="connsiteY18" fmla="*/ 3769837 h 4816585"/>
              <a:gd name="connsiteX19" fmla="*/ 3344779 w 4659670"/>
              <a:gd name="connsiteY19" fmla="*/ 3697648 h 4816585"/>
              <a:gd name="connsiteX20" fmla="*/ 3453063 w 4659670"/>
              <a:gd name="connsiteY20" fmla="*/ 3613427 h 4816585"/>
              <a:gd name="connsiteX21" fmla="*/ 3741821 w 4659670"/>
              <a:gd name="connsiteY21" fmla="*/ 3372795 h 4816585"/>
              <a:gd name="connsiteX22" fmla="*/ 3789947 w 4659670"/>
              <a:gd name="connsiteY22" fmla="*/ 3300606 h 4816585"/>
              <a:gd name="connsiteX23" fmla="*/ 3922294 w 4659670"/>
              <a:gd name="connsiteY23" fmla="*/ 3011848 h 4816585"/>
              <a:gd name="connsiteX24" fmla="*/ 3934326 w 4659670"/>
              <a:gd name="connsiteY24" fmla="*/ 2975753 h 4816585"/>
              <a:gd name="connsiteX25" fmla="*/ 3946357 w 4659670"/>
              <a:gd name="connsiteY25" fmla="*/ 2795279 h 4816585"/>
              <a:gd name="connsiteX26" fmla="*/ 3958389 w 4659670"/>
              <a:gd name="connsiteY26" fmla="*/ 2759185 h 4816585"/>
              <a:gd name="connsiteX27" fmla="*/ 4054642 w 4659670"/>
              <a:gd name="connsiteY27" fmla="*/ 2626837 h 4816585"/>
              <a:gd name="connsiteX28" fmla="*/ 4150894 w 4659670"/>
              <a:gd name="connsiteY28" fmla="*/ 2458395 h 4816585"/>
              <a:gd name="connsiteX29" fmla="*/ 4162926 w 4659670"/>
              <a:gd name="connsiteY29" fmla="*/ 2422300 h 4816585"/>
              <a:gd name="connsiteX30" fmla="*/ 4247147 w 4659670"/>
              <a:gd name="connsiteY30" fmla="*/ 2241827 h 4816585"/>
              <a:gd name="connsiteX31" fmla="*/ 4259179 w 4659670"/>
              <a:gd name="connsiteY31" fmla="*/ 2205732 h 4816585"/>
              <a:gd name="connsiteX32" fmla="*/ 4319336 w 4659670"/>
              <a:gd name="connsiteY32" fmla="*/ 2061353 h 4816585"/>
              <a:gd name="connsiteX33" fmla="*/ 4331368 w 4659670"/>
              <a:gd name="connsiteY33" fmla="*/ 2025258 h 4816585"/>
              <a:gd name="connsiteX34" fmla="*/ 4367463 w 4659670"/>
              <a:gd name="connsiteY34" fmla="*/ 1796658 h 4816585"/>
              <a:gd name="connsiteX35" fmla="*/ 4391526 w 4659670"/>
              <a:gd name="connsiteY35" fmla="*/ 1399616 h 4816585"/>
              <a:gd name="connsiteX36" fmla="*/ 4403557 w 4659670"/>
              <a:gd name="connsiteY36" fmla="*/ 942416 h 4816585"/>
              <a:gd name="connsiteX37" fmla="*/ 4427621 w 4659670"/>
              <a:gd name="connsiteY37" fmla="*/ 918353 h 4816585"/>
              <a:gd name="connsiteX38" fmla="*/ 4523873 w 4659670"/>
              <a:gd name="connsiteY38" fmla="*/ 677721 h 4816585"/>
              <a:gd name="connsiteX39" fmla="*/ 4632157 w 4659670"/>
              <a:gd name="connsiteY39" fmla="*/ 473185 h 4816585"/>
              <a:gd name="connsiteX40" fmla="*/ 3970421 w 4659670"/>
              <a:gd name="connsiteY40" fmla="*/ 3953 h 4816585"/>
              <a:gd name="connsiteX41" fmla="*/ 3657600 w 4659670"/>
              <a:gd name="connsiteY41" fmla="*/ 761942 h 4816585"/>
              <a:gd name="connsiteX42" fmla="*/ 3826042 w 4659670"/>
              <a:gd name="connsiteY42" fmla="*/ 1712437 h 4816585"/>
              <a:gd name="connsiteX43" fmla="*/ 3104147 w 4659670"/>
              <a:gd name="connsiteY43" fmla="*/ 2771216 h 4816585"/>
              <a:gd name="connsiteX44" fmla="*/ 2286000 w 4659670"/>
              <a:gd name="connsiteY44" fmla="*/ 3240448 h 4816585"/>
              <a:gd name="connsiteX45" fmla="*/ 649705 w 4659670"/>
              <a:gd name="connsiteY45" fmla="*/ 3601395 h 4816585"/>
              <a:gd name="connsiteX46" fmla="*/ 0 w 4659670"/>
              <a:gd name="connsiteY46" fmla="*/ 4058595 h 4816585"/>
              <a:gd name="connsiteX47" fmla="*/ 625642 w 4659670"/>
              <a:gd name="connsiteY47"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3019926 w 4659670"/>
              <a:gd name="connsiteY17" fmla="*/ 3805932 h 4816585"/>
              <a:gd name="connsiteX18" fmla="*/ 3164305 w 4659670"/>
              <a:gd name="connsiteY18" fmla="*/ 3769837 h 4816585"/>
              <a:gd name="connsiteX19" fmla="*/ 3344779 w 4659670"/>
              <a:gd name="connsiteY19" fmla="*/ 3697648 h 4816585"/>
              <a:gd name="connsiteX20" fmla="*/ 3453063 w 4659670"/>
              <a:gd name="connsiteY20" fmla="*/ 3613427 h 4816585"/>
              <a:gd name="connsiteX21" fmla="*/ 3741821 w 4659670"/>
              <a:gd name="connsiteY21" fmla="*/ 3372795 h 4816585"/>
              <a:gd name="connsiteX22" fmla="*/ 3789947 w 4659670"/>
              <a:gd name="connsiteY22" fmla="*/ 3300606 h 4816585"/>
              <a:gd name="connsiteX23" fmla="*/ 3922294 w 4659670"/>
              <a:gd name="connsiteY23" fmla="*/ 3011848 h 4816585"/>
              <a:gd name="connsiteX24" fmla="*/ 3982452 w 4659670"/>
              <a:gd name="connsiteY24" fmla="*/ 2975753 h 4816585"/>
              <a:gd name="connsiteX25" fmla="*/ 3946357 w 4659670"/>
              <a:gd name="connsiteY25" fmla="*/ 2795279 h 4816585"/>
              <a:gd name="connsiteX26" fmla="*/ 3958389 w 4659670"/>
              <a:gd name="connsiteY26" fmla="*/ 2759185 h 4816585"/>
              <a:gd name="connsiteX27" fmla="*/ 4054642 w 4659670"/>
              <a:gd name="connsiteY27" fmla="*/ 2626837 h 4816585"/>
              <a:gd name="connsiteX28" fmla="*/ 4150894 w 4659670"/>
              <a:gd name="connsiteY28" fmla="*/ 2458395 h 4816585"/>
              <a:gd name="connsiteX29" fmla="*/ 4162926 w 4659670"/>
              <a:gd name="connsiteY29" fmla="*/ 2422300 h 4816585"/>
              <a:gd name="connsiteX30" fmla="*/ 4247147 w 4659670"/>
              <a:gd name="connsiteY30" fmla="*/ 2241827 h 4816585"/>
              <a:gd name="connsiteX31" fmla="*/ 4259179 w 4659670"/>
              <a:gd name="connsiteY31" fmla="*/ 2205732 h 4816585"/>
              <a:gd name="connsiteX32" fmla="*/ 4319336 w 4659670"/>
              <a:gd name="connsiteY32" fmla="*/ 2061353 h 4816585"/>
              <a:gd name="connsiteX33" fmla="*/ 4331368 w 4659670"/>
              <a:gd name="connsiteY33" fmla="*/ 2025258 h 4816585"/>
              <a:gd name="connsiteX34" fmla="*/ 4367463 w 4659670"/>
              <a:gd name="connsiteY34" fmla="*/ 1796658 h 4816585"/>
              <a:gd name="connsiteX35" fmla="*/ 4391526 w 4659670"/>
              <a:gd name="connsiteY35" fmla="*/ 1399616 h 4816585"/>
              <a:gd name="connsiteX36" fmla="*/ 4403557 w 4659670"/>
              <a:gd name="connsiteY36" fmla="*/ 942416 h 4816585"/>
              <a:gd name="connsiteX37" fmla="*/ 4427621 w 4659670"/>
              <a:gd name="connsiteY37" fmla="*/ 918353 h 4816585"/>
              <a:gd name="connsiteX38" fmla="*/ 4523873 w 4659670"/>
              <a:gd name="connsiteY38" fmla="*/ 677721 h 4816585"/>
              <a:gd name="connsiteX39" fmla="*/ 4632157 w 4659670"/>
              <a:gd name="connsiteY39" fmla="*/ 473185 h 4816585"/>
              <a:gd name="connsiteX40" fmla="*/ 3970421 w 4659670"/>
              <a:gd name="connsiteY40" fmla="*/ 3953 h 4816585"/>
              <a:gd name="connsiteX41" fmla="*/ 3657600 w 4659670"/>
              <a:gd name="connsiteY41" fmla="*/ 761942 h 4816585"/>
              <a:gd name="connsiteX42" fmla="*/ 3826042 w 4659670"/>
              <a:gd name="connsiteY42" fmla="*/ 1712437 h 4816585"/>
              <a:gd name="connsiteX43" fmla="*/ 3104147 w 4659670"/>
              <a:gd name="connsiteY43" fmla="*/ 2771216 h 4816585"/>
              <a:gd name="connsiteX44" fmla="*/ 2286000 w 4659670"/>
              <a:gd name="connsiteY44" fmla="*/ 3240448 h 4816585"/>
              <a:gd name="connsiteX45" fmla="*/ 649705 w 4659670"/>
              <a:gd name="connsiteY45" fmla="*/ 3601395 h 4816585"/>
              <a:gd name="connsiteX46" fmla="*/ 0 w 4659670"/>
              <a:gd name="connsiteY46" fmla="*/ 4058595 h 4816585"/>
              <a:gd name="connsiteX47" fmla="*/ 625642 w 4659670"/>
              <a:gd name="connsiteY47"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3019926 w 4659670"/>
              <a:gd name="connsiteY17" fmla="*/ 3805932 h 4816585"/>
              <a:gd name="connsiteX18" fmla="*/ 3164305 w 4659670"/>
              <a:gd name="connsiteY18" fmla="*/ 3769837 h 4816585"/>
              <a:gd name="connsiteX19" fmla="*/ 3344779 w 4659670"/>
              <a:gd name="connsiteY19" fmla="*/ 3697648 h 4816585"/>
              <a:gd name="connsiteX20" fmla="*/ 3453063 w 4659670"/>
              <a:gd name="connsiteY20" fmla="*/ 3613427 h 4816585"/>
              <a:gd name="connsiteX21" fmla="*/ 3741821 w 4659670"/>
              <a:gd name="connsiteY21" fmla="*/ 3372795 h 4816585"/>
              <a:gd name="connsiteX22" fmla="*/ 3789947 w 4659670"/>
              <a:gd name="connsiteY22" fmla="*/ 3300606 h 4816585"/>
              <a:gd name="connsiteX23" fmla="*/ 3922294 w 4659670"/>
              <a:gd name="connsiteY23" fmla="*/ 3011848 h 4816585"/>
              <a:gd name="connsiteX24" fmla="*/ 3982452 w 4659670"/>
              <a:gd name="connsiteY24" fmla="*/ 2975753 h 4816585"/>
              <a:gd name="connsiteX25" fmla="*/ 3946357 w 4659670"/>
              <a:gd name="connsiteY25" fmla="*/ 2795279 h 4816585"/>
              <a:gd name="connsiteX26" fmla="*/ 4018547 w 4659670"/>
              <a:gd name="connsiteY26" fmla="*/ 2759185 h 4816585"/>
              <a:gd name="connsiteX27" fmla="*/ 4054642 w 4659670"/>
              <a:gd name="connsiteY27" fmla="*/ 2626837 h 4816585"/>
              <a:gd name="connsiteX28" fmla="*/ 4150894 w 4659670"/>
              <a:gd name="connsiteY28" fmla="*/ 2458395 h 4816585"/>
              <a:gd name="connsiteX29" fmla="*/ 4162926 w 4659670"/>
              <a:gd name="connsiteY29" fmla="*/ 2422300 h 4816585"/>
              <a:gd name="connsiteX30" fmla="*/ 4247147 w 4659670"/>
              <a:gd name="connsiteY30" fmla="*/ 2241827 h 4816585"/>
              <a:gd name="connsiteX31" fmla="*/ 4259179 w 4659670"/>
              <a:gd name="connsiteY31" fmla="*/ 2205732 h 4816585"/>
              <a:gd name="connsiteX32" fmla="*/ 4319336 w 4659670"/>
              <a:gd name="connsiteY32" fmla="*/ 2061353 h 4816585"/>
              <a:gd name="connsiteX33" fmla="*/ 4331368 w 4659670"/>
              <a:gd name="connsiteY33" fmla="*/ 2025258 h 4816585"/>
              <a:gd name="connsiteX34" fmla="*/ 4367463 w 4659670"/>
              <a:gd name="connsiteY34" fmla="*/ 1796658 h 4816585"/>
              <a:gd name="connsiteX35" fmla="*/ 4391526 w 4659670"/>
              <a:gd name="connsiteY35" fmla="*/ 1399616 h 4816585"/>
              <a:gd name="connsiteX36" fmla="*/ 4403557 w 4659670"/>
              <a:gd name="connsiteY36" fmla="*/ 942416 h 4816585"/>
              <a:gd name="connsiteX37" fmla="*/ 4427621 w 4659670"/>
              <a:gd name="connsiteY37" fmla="*/ 918353 h 4816585"/>
              <a:gd name="connsiteX38" fmla="*/ 4523873 w 4659670"/>
              <a:gd name="connsiteY38" fmla="*/ 677721 h 4816585"/>
              <a:gd name="connsiteX39" fmla="*/ 4632157 w 4659670"/>
              <a:gd name="connsiteY39" fmla="*/ 473185 h 4816585"/>
              <a:gd name="connsiteX40" fmla="*/ 3970421 w 4659670"/>
              <a:gd name="connsiteY40" fmla="*/ 3953 h 4816585"/>
              <a:gd name="connsiteX41" fmla="*/ 3657600 w 4659670"/>
              <a:gd name="connsiteY41" fmla="*/ 761942 h 4816585"/>
              <a:gd name="connsiteX42" fmla="*/ 3826042 w 4659670"/>
              <a:gd name="connsiteY42" fmla="*/ 1712437 h 4816585"/>
              <a:gd name="connsiteX43" fmla="*/ 3104147 w 4659670"/>
              <a:gd name="connsiteY43" fmla="*/ 2771216 h 4816585"/>
              <a:gd name="connsiteX44" fmla="*/ 2286000 w 4659670"/>
              <a:gd name="connsiteY44" fmla="*/ 3240448 h 4816585"/>
              <a:gd name="connsiteX45" fmla="*/ 649705 w 4659670"/>
              <a:gd name="connsiteY45" fmla="*/ 3601395 h 4816585"/>
              <a:gd name="connsiteX46" fmla="*/ 0 w 4659670"/>
              <a:gd name="connsiteY46" fmla="*/ 4058595 h 4816585"/>
              <a:gd name="connsiteX47" fmla="*/ 625642 w 4659670"/>
              <a:gd name="connsiteY47"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3019926 w 4659670"/>
              <a:gd name="connsiteY17" fmla="*/ 3805932 h 4816585"/>
              <a:gd name="connsiteX18" fmla="*/ 3164305 w 4659670"/>
              <a:gd name="connsiteY18" fmla="*/ 3769837 h 4816585"/>
              <a:gd name="connsiteX19" fmla="*/ 3344779 w 4659670"/>
              <a:gd name="connsiteY19" fmla="*/ 3697648 h 4816585"/>
              <a:gd name="connsiteX20" fmla="*/ 3453063 w 4659670"/>
              <a:gd name="connsiteY20" fmla="*/ 3613427 h 4816585"/>
              <a:gd name="connsiteX21" fmla="*/ 3741821 w 4659670"/>
              <a:gd name="connsiteY21" fmla="*/ 3372795 h 4816585"/>
              <a:gd name="connsiteX22" fmla="*/ 3789947 w 4659670"/>
              <a:gd name="connsiteY22" fmla="*/ 3300606 h 4816585"/>
              <a:gd name="connsiteX23" fmla="*/ 3922294 w 4659670"/>
              <a:gd name="connsiteY23" fmla="*/ 3011848 h 4816585"/>
              <a:gd name="connsiteX24" fmla="*/ 3898231 w 4659670"/>
              <a:gd name="connsiteY24" fmla="*/ 3096069 h 4816585"/>
              <a:gd name="connsiteX25" fmla="*/ 3946357 w 4659670"/>
              <a:gd name="connsiteY25" fmla="*/ 2795279 h 4816585"/>
              <a:gd name="connsiteX26" fmla="*/ 4018547 w 4659670"/>
              <a:gd name="connsiteY26" fmla="*/ 2759185 h 4816585"/>
              <a:gd name="connsiteX27" fmla="*/ 4054642 w 4659670"/>
              <a:gd name="connsiteY27" fmla="*/ 2626837 h 4816585"/>
              <a:gd name="connsiteX28" fmla="*/ 4150894 w 4659670"/>
              <a:gd name="connsiteY28" fmla="*/ 2458395 h 4816585"/>
              <a:gd name="connsiteX29" fmla="*/ 4162926 w 4659670"/>
              <a:gd name="connsiteY29" fmla="*/ 2422300 h 4816585"/>
              <a:gd name="connsiteX30" fmla="*/ 4247147 w 4659670"/>
              <a:gd name="connsiteY30" fmla="*/ 2241827 h 4816585"/>
              <a:gd name="connsiteX31" fmla="*/ 4259179 w 4659670"/>
              <a:gd name="connsiteY31" fmla="*/ 2205732 h 4816585"/>
              <a:gd name="connsiteX32" fmla="*/ 4319336 w 4659670"/>
              <a:gd name="connsiteY32" fmla="*/ 2061353 h 4816585"/>
              <a:gd name="connsiteX33" fmla="*/ 4331368 w 4659670"/>
              <a:gd name="connsiteY33" fmla="*/ 2025258 h 4816585"/>
              <a:gd name="connsiteX34" fmla="*/ 4367463 w 4659670"/>
              <a:gd name="connsiteY34" fmla="*/ 1796658 h 4816585"/>
              <a:gd name="connsiteX35" fmla="*/ 4391526 w 4659670"/>
              <a:gd name="connsiteY35" fmla="*/ 1399616 h 4816585"/>
              <a:gd name="connsiteX36" fmla="*/ 4403557 w 4659670"/>
              <a:gd name="connsiteY36" fmla="*/ 942416 h 4816585"/>
              <a:gd name="connsiteX37" fmla="*/ 4427621 w 4659670"/>
              <a:gd name="connsiteY37" fmla="*/ 918353 h 4816585"/>
              <a:gd name="connsiteX38" fmla="*/ 4523873 w 4659670"/>
              <a:gd name="connsiteY38" fmla="*/ 677721 h 4816585"/>
              <a:gd name="connsiteX39" fmla="*/ 4632157 w 4659670"/>
              <a:gd name="connsiteY39" fmla="*/ 473185 h 4816585"/>
              <a:gd name="connsiteX40" fmla="*/ 3970421 w 4659670"/>
              <a:gd name="connsiteY40" fmla="*/ 3953 h 4816585"/>
              <a:gd name="connsiteX41" fmla="*/ 3657600 w 4659670"/>
              <a:gd name="connsiteY41" fmla="*/ 761942 h 4816585"/>
              <a:gd name="connsiteX42" fmla="*/ 3826042 w 4659670"/>
              <a:gd name="connsiteY42" fmla="*/ 1712437 h 4816585"/>
              <a:gd name="connsiteX43" fmla="*/ 3104147 w 4659670"/>
              <a:gd name="connsiteY43" fmla="*/ 2771216 h 4816585"/>
              <a:gd name="connsiteX44" fmla="*/ 2286000 w 4659670"/>
              <a:gd name="connsiteY44" fmla="*/ 3240448 h 4816585"/>
              <a:gd name="connsiteX45" fmla="*/ 649705 w 4659670"/>
              <a:gd name="connsiteY45" fmla="*/ 3601395 h 4816585"/>
              <a:gd name="connsiteX46" fmla="*/ 0 w 4659670"/>
              <a:gd name="connsiteY46" fmla="*/ 4058595 h 4816585"/>
              <a:gd name="connsiteX47" fmla="*/ 625642 w 4659670"/>
              <a:gd name="connsiteY47"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3019926 w 4659670"/>
              <a:gd name="connsiteY17" fmla="*/ 3805932 h 4816585"/>
              <a:gd name="connsiteX18" fmla="*/ 3164305 w 4659670"/>
              <a:gd name="connsiteY18" fmla="*/ 3769837 h 4816585"/>
              <a:gd name="connsiteX19" fmla="*/ 3344779 w 4659670"/>
              <a:gd name="connsiteY19" fmla="*/ 3697648 h 4816585"/>
              <a:gd name="connsiteX20" fmla="*/ 3453063 w 4659670"/>
              <a:gd name="connsiteY20" fmla="*/ 3613427 h 4816585"/>
              <a:gd name="connsiteX21" fmla="*/ 3741821 w 4659670"/>
              <a:gd name="connsiteY21" fmla="*/ 3372795 h 4816585"/>
              <a:gd name="connsiteX22" fmla="*/ 3789947 w 4659670"/>
              <a:gd name="connsiteY22" fmla="*/ 3300606 h 4816585"/>
              <a:gd name="connsiteX23" fmla="*/ 3922294 w 4659670"/>
              <a:gd name="connsiteY23" fmla="*/ 3011848 h 4816585"/>
              <a:gd name="connsiteX24" fmla="*/ 3898231 w 4659670"/>
              <a:gd name="connsiteY24" fmla="*/ 3096069 h 4816585"/>
              <a:gd name="connsiteX25" fmla="*/ 3946357 w 4659670"/>
              <a:gd name="connsiteY25" fmla="*/ 2795279 h 4816585"/>
              <a:gd name="connsiteX26" fmla="*/ 4162926 w 4659670"/>
              <a:gd name="connsiteY26" fmla="*/ 2650901 h 4816585"/>
              <a:gd name="connsiteX27" fmla="*/ 4054642 w 4659670"/>
              <a:gd name="connsiteY27" fmla="*/ 2626837 h 4816585"/>
              <a:gd name="connsiteX28" fmla="*/ 4150894 w 4659670"/>
              <a:gd name="connsiteY28" fmla="*/ 2458395 h 4816585"/>
              <a:gd name="connsiteX29" fmla="*/ 4162926 w 4659670"/>
              <a:gd name="connsiteY29" fmla="*/ 2422300 h 4816585"/>
              <a:gd name="connsiteX30" fmla="*/ 4247147 w 4659670"/>
              <a:gd name="connsiteY30" fmla="*/ 2241827 h 4816585"/>
              <a:gd name="connsiteX31" fmla="*/ 4259179 w 4659670"/>
              <a:gd name="connsiteY31" fmla="*/ 2205732 h 4816585"/>
              <a:gd name="connsiteX32" fmla="*/ 4319336 w 4659670"/>
              <a:gd name="connsiteY32" fmla="*/ 2061353 h 4816585"/>
              <a:gd name="connsiteX33" fmla="*/ 4331368 w 4659670"/>
              <a:gd name="connsiteY33" fmla="*/ 2025258 h 4816585"/>
              <a:gd name="connsiteX34" fmla="*/ 4367463 w 4659670"/>
              <a:gd name="connsiteY34" fmla="*/ 1796658 h 4816585"/>
              <a:gd name="connsiteX35" fmla="*/ 4391526 w 4659670"/>
              <a:gd name="connsiteY35" fmla="*/ 1399616 h 4816585"/>
              <a:gd name="connsiteX36" fmla="*/ 4403557 w 4659670"/>
              <a:gd name="connsiteY36" fmla="*/ 942416 h 4816585"/>
              <a:gd name="connsiteX37" fmla="*/ 4427621 w 4659670"/>
              <a:gd name="connsiteY37" fmla="*/ 918353 h 4816585"/>
              <a:gd name="connsiteX38" fmla="*/ 4523873 w 4659670"/>
              <a:gd name="connsiteY38" fmla="*/ 677721 h 4816585"/>
              <a:gd name="connsiteX39" fmla="*/ 4632157 w 4659670"/>
              <a:gd name="connsiteY39" fmla="*/ 473185 h 4816585"/>
              <a:gd name="connsiteX40" fmla="*/ 3970421 w 4659670"/>
              <a:gd name="connsiteY40" fmla="*/ 3953 h 4816585"/>
              <a:gd name="connsiteX41" fmla="*/ 3657600 w 4659670"/>
              <a:gd name="connsiteY41" fmla="*/ 761942 h 4816585"/>
              <a:gd name="connsiteX42" fmla="*/ 3826042 w 4659670"/>
              <a:gd name="connsiteY42" fmla="*/ 1712437 h 4816585"/>
              <a:gd name="connsiteX43" fmla="*/ 3104147 w 4659670"/>
              <a:gd name="connsiteY43" fmla="*/ 2771216 h 4816585"/>
              <a:gd name="connsiteX44" fmla="*/ 2286000 w 4659670"/>
              <a:gd name="connsiteY44" fmla="*/ 3240448 h 4816585"/>
              <a:gd name="connsiteX45" fmla="*/ 649705 w 4659670"/>
              <a:gd name="connsiteY45" fmla="*/ 3601395 h 4816585"/>
              <a:gd name="connsiteX46" fmla="*/ 0 w 4659670"/>
              <a:gd name="connsiteY46" fmla="*/ 4058595 h 4816585"/>
              <a:gd name="connsiteX47" fmla="*/ 625642 w 4659670"/>
              <a:gd name="connsiteY47"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3019926 w 4659670"/>
              <a:gd name="connsiteY17" fmla="*/ 3805932 h 4816585"/>
              <a:gd name="connsiteX18" fmla="*/ 3164305 w 4659670"/>
              <a:gd name="connsiteY18" fmla="*/ 3769837 h 4816585"/>
              <a:gd name="connsiteX19" fmla="*/ 3344779 w 4659670"/>
              <a:gd name="connsiteY19" fmla="*/ 3697648 h 4816585"/>
              <a:gd name="connsiteX20" fmla="*/ 3453063 w 4659670"/>
              <a:gd name="connsiteY20" fmla="*/ 3613427 h 4816585"/>
              <a:gd name="connsiteX21" fmla="*/ 3741821 w 4659670"/>
              <a:gd name="connsiteY21" fmla="*/ 3372795 h 4816585"/>
              <a:gd name="connsiteX22" fmla="*/ 3789947 w 4659670"/>
              <a:gd name="connsiteY22" fmla="*/ 3300606 h 4816585"/>
              <a:gd name="connsiteX23" fmla="*/ 3922294 w 4659670"/>
              <a:gd name="connsiteY23" fmla="*/ 3011848 h 4816585"/>
              <a:gd name="connsiteX24" fmla="*/ 3898231 w 4659670"/>
              <a:gd name="connsiteY24" fmla="*/ 3096069 h 4816585"/>
              <a:gd name="connsiteX25" fmla="*/ 3946357 w 4659670"/>
              <a:gd name="connsiteY25" fmla="*/ 2795279 h 4816585"/>
              <a:gd name="connsiteX26" fmla="*/ 4030579 w 4659670"/>
              <a:gd name="connsiteY26" fmla="*/ 2650901 h 4816585"/>
              <a:gd name="connsiteX27" fmla="*/ 4054642 w 4659670"/>
              <a:gd name="connsiteY27" fmla="*/ 2626837 h 4816585"/>
              <a:gd name="connsiteX28" fmla="*/ 4150894 w 4659670"/>
              <a:gd name="connsiteY28" fmla="*/ 2458395 h 4816585"/>
              <a:gd name="connsiteX29" fmla="*/ 4162926 w 4659670"/>
              <a:gd name="connsiteY29" fmla="*/ 2422300 h 4816585"/>
              <a:gd name="connsiteX30" fmla="*/ 4247147 w 4659670"/>
              <a:gd name="connsiteY30" fmla="*/ 2241827 h 4816585"/>
              <a:gd name="connsiteX31" fmla="*/ 4259179 w 4659670"/>
              <a:gd name="connsiteY31" fmla="*/ 2205732 h 4816585"/>
              <a:gd name="connsiteX32" fmla="*/ 4319336 w 4659670"/>
              <a:gd name="connsiteY32" fmla="*/ 2061353 h 4816585"/>
              <a:gd name="connsiteX33" fmla="*/ 4331368 w 4659670"/>
              <a:gd name="connsiteY33" fmla="*/ 2025258 h 4816585"/>
              <a:gd name="connsiteX34" fmla="*/ 4367463 w 4659670"/>
              <a:gd name="connsiteY34" fmla="*/ 1796658 h 4816585"/>
              <a:gd name="connsiteX35" fmla="*/ 4391526 w 4659670"/>
              <a:gd name="connsiteY35" fmla="*/ 1399616 h 4816585"/>
              <a:gd name="connsiteX36" fmla="*/ 4403557 w 4659670"/>
              <a:gd name="connsiteY36" fmla="*/ 942416 h 4816585"/>
              <a:gd name="connsiteX37" fmla="*/ 4427621 w 4659670"/>
              <a:gd name="connsiteY37" fmla="*/ 918353 h 4816585"/>
              <a:gd name="connsiteX38" fmla="*/ 4523873 w 4659670"/>
              <a:gd name="connsiteY38" fmla="*/ 677721 h 4816585"/>
              <a:gd name="connsiteX39" fmla="*/ 4632157 w 4659670"/>
              <a:gd name="connsiteY39" fmla="*/ 473185 h 4816585"/>
              <a:gd name="connsiteX40" fmla="*/ 3970421 w 4659670"/>
              <a:gd name="connsiteY40" fmla="*/ 3953 h 4816585"/>
              <a:gd name="connsiteX41" fmla="*/ 3657600 w 4659670"/>
              <a:gd name="connsiteY41" fmla="*/ 761942 h 4816585"/>
              <a:gd name="connsiteX42" fmla="*/ 3826042 w 4659670"/>
              <a:gd name="connsiteY42" fmla="*/ 1712437 h 4816585"/>
              <a:gd name="connsiteX43" fmla="*/ 3104147 w 4659670"/>
              <a:gd name="connsiteY43" fmla="*/ 2771216 h 4816585"/>
              <a:gd name="connsiteX44" fmla="*/ 2286000 w 4659670"/>
              <a:gd name="connsiteY44" fmla="*/ 3240448 h 4816585"/>
              <a:gd name="connsiteX45" fmla="*/ 649705 w 4659670"/>
              <a:gd name="connsiteY45" fmla="*/ 3601395 h 4816585"/>
              <a:gd name="connsiteX46" fmla="*/ 0 w 4659670"/>
              <a:gd name="connsiteY46" fmla="*/ 4058595 h 4816585"/>
              <a:gd name="connsiteX47" fmla="*/ 625642 w 4659670"/>
              <a:gd name="connsiteY47" fmla="*/ 4816585 h 4816585"/>
              <a:gd name="connsiteX0" fmla="*/ 625642 w 4659670"/>
              <a:gd name="connsiteY0" fmla="*/ 4816585 h 4816585"/>
              <a:gd name="connsiteX1" fmla="*/ 589547 w 4659670"/>
              <a:gd name="connsiteY1" fmla="*/ 4744395 h 4816585"/>
              <a:gd name="connsiteX2" fmla="*/ 673768 w 4659670"/>
              <a:gd name="connsiteY2" fmla="*/ 4660174 h 4816585"/>
              <a:gd name="connsiteX3" fmla="*/ 757989 w 4659670"/>
              <a:gd name="connsiteY3" fmla="*/ 4527827 h 4816585"/>
              <a:gd name="connsiteX4" fmla="*/ 914400 w 4659670"/>
              <a:gd name="connsiteY4" fmla="*/ 4383448 h 4816585"/>
              <a:gd name="connsiteX5" fmla="*/ 1034715 w 4659670"/>
              <a:gd name="connsiteY5" fmla="*/ 4299227 h 4816585"/>
              <a:gd name="connsiteX6" fmla="*/ 1130968 w 4659670"/>
              <a:gd name="connsiteY6" fmla="*/ 4251100 h 4816585"/>
              <a:gd name="connsiteX7" fmla="*/ 1371600 w 4659670"/>
              <a:gd name="connsiteY7" fmla="*/ 4178911 h 4816585"/>
              <a:gd name="connsiteX8" fmla="*/ 1407694 w 4659670"/>
              <a:gd name="connsiteY8" fmla="*/ 4166879 h 4816585"/>
              <a:gd name="connsiteX9" fmla="*/ 1431757 w 4659670"/>
              <a:gd name="connsiteY9" fmla="*/ 4130785 h 4816585"/>
              <a:gd name="connsiteX10" fmla="*/ 1612231 w 4659670"/>
              <a:gd name="connsiteY10" fmla="*/ 4034532 h 4816585"/>
              <a:gd name="connsiteX11" fmla="*/ 1864894 w 4659670"/>
              <a:gd name="connsiteY11" fmla="*/ 3998437 h 4816585"/>
              <a:gd name="connsiteX12" fmla="*/ 2177715 w 4659670"/>
              <a:gd name="connsiteY12" fmla="*/ 3986406 h 4816585"/>
              <a:gd name="connsiteX13" fmla="*/ 2382252 w 4659670"/>
              <a:gd name="connsiteY13" fmla="*/ 3962342 h 4816585"/>
              <a:gd name="connsiteX14" fmla="*/ 2550694 w 4659670"/>
              <a:gd name="connsiteY14" fmla="*/ 3926248 h 4816585"/>
              <a:gd name="connsiteX15" fmla="*/ 2719136 w 4659670"/>
              <a:gd name="connsiteY15" fmla="*/ 3890153 h 4816585"/>
              <a:gd name="connsiteX16" fmla="*/ 2815389 w 4659670"/>
              <a:gd name="connsiteY16" fmla="*/ 3866090 h 4816585"/>
              <a:gd name="connsiteX17" fmla="*/ 3019926 w 4659670"/>
              <a:gd name="connsiteY17" fmla="*/ 3805932 h 4816585"/>
              <a:gd name="connsiteX18" fmla="*/ 3164305 w 4659670"/>
              <a:gd name="connsiteY18" fmla="*/ 3769837 h 4816585"/>
              <a:gd name="connsiteX19" fmla="*/ 3344779 w 4659670"/>
              <a:gd name="connsiteY19" fmla="*/ 3697648 h 4816585"/>
              <a:gd name="connsiteX20" fmla="*/ 3453063 w 4659670"/>
              <a:gd name="connsiteY20" fmla="*/ 3613427 h 4816585"/>
              <a:gd name="connsiteX21" fmla="*/ 3741821 w 4659670"/>
              <a:gd name="connsiteY21" fmla="*/ 3372795 h 4816585"/>
              <a:gd name="connsiteX22" fmla="*/ 3789947 w 4659670"/>
              <a:gd name="connsiteY22" fmla="*/ 3300606 h 4816585"/>
              <a:gd name="connsiteX23" fmla="*/ 3922294 w 4659670"/>
              <a:gd name="connsiteY23" fmla="*/ 3011848 h 4816585"/>
              <a:gd name="connsiteX24" fmla="*/ 3898231 w 4659670"/>
              <a:gd name="connsiteY24" fmla="*/ 3096069 h 4816585"/>
              <a:gd name="connsiteX25" fmla="*/ 3946357 w 4659670"/>
              <a:gd name="connsiteY25" fmla="*/ 2795279 h 4816585"/>
              <a:gd name="connsiteX26" fmla="*/ 4030579 w 4659670"/>
              <a:gd name="connsiteY26" fmla="*/ 2650901 h 4816585"/>
              <a:gd name="connsiteX27" fmla="*/ 4150895 w 4659670"/>
              <a:gd name="connsiteY27" fmla="*/ 2422301 h 4816585"/>
              <a:gd name="connsiteX28" fmla="*/ 4150894 w 4659670"/>
              <a:gd name="connsiteY28" fmla="*/ 2458395 h 4816585"/>
              <a:gd name="connsiteX29" fmla="*/ 4162926 w 4659670"/>
              <a:gd name="connsiteY29" fmla="*/ 2422300 h 4816585"/>
              <a:gd name="connsiteX30" fmla="*/ 4247147 w 4659670"/>
              <a:gd name="connsiteY30" fmla="*/ 2241827 h 4816585"/>
              <a:gd name="connsiteX31" fmla="*/ 4259179 w 4659670"/>
              <a:gd name="connsiteY31" fmla="*/ 2205732 h 4816585"/>
              <a:gd name="connsiteX32" fmla="*/ 4319336 w 4659670"/>
              <a:gd name="connsiteY32" fmla="*/ 2061353 h 4816585"/>
              <a:gd name="connsiteX33" fmla="*/ 4331368 w 4659670"/>
              <a:gd name="connsiteY33" fmla="*/ 2025258 h 4816585"/>
              <a:gd name="connsiteX34" fmla="*/ 4367463 w 4659670"/>
              <a:gd name="connsiteY34" fmla="*/ 1796658 h 4816585"/>
              <a:gd name="connsiteX35" fmla="*/ 4391526 w 4659670"/>
              <a:gd name="connsiteY35" fmla="*/ 1399616 h 4816585"/>
              <a:gd name="connsiteX36" fmla="*/ 4403557 w 4659670"/>
              <a:gd name="connsiteY36" fmla="*/ 942416 h 4816585"/>
              <a:gd name="connsiteX37" fmla="*/ 4427621 w 4659670"/>
              <a:gd name="connsiteY37" fmla="*/ 918353 h 4816585"/>
              <a:gd name="connsiteX38" fmla="*/ 4523873 w 4659670"/>
              <a:gd name="connsiteY38" fmla="*/ 677721 h 4816585"/>
              <a:gd name="connsiteX39" fmla="*/ 4632157 w 4659670"/>
              <a:gd name="connsiteY39" fmla="*/ 473185 h 4816585"/>
              <a:gd name="connsiteX40" fmla="*/ 3970421 w 4659670"/>
              <a:gd name="connsiteY40" fmla="*/ 3953 h 4816585"/>
              <a:gd name="connsiteX41" fmla="*/ 3657600 w 4659670"/>
              <a:gd name="connsiteY41" fmla="*/ 761942 h 4816585"/>
              <a:gd name="connsiteX42" fmla="*/ 3826042 w 4659670"/>
              <a:gd name="connsiteY42" fmla="*/ 1712437 h 4816585"/>
              <a:gd name="connsiteX43" fmla="*/ 3104147 w 4659670"/>
              <a:gd name="connsiteY43" fmla="*/ 2771216 h 4816585"/>
              <a:gd name="connsiteX44" fmla="*/ 2286000 w 4659670"/>
              <a:gd name="connsiteY44" fmla="*/ 3240448 h 4816585"/>
              <a:gd name="connsiteX45" fmla="*/ 649705 w 4659670"/>
              <a:gd name="connsiteY45" fmla="*/ 3601395 h 4816585"/>
              <a:gd name="connsiteX46" fmla="*/ 0 w 4659670"/>
              <a:gd name="connsiteY46" fmla="*/ 4058595 h 4816585"/>
              <a:gd name="connsiteX47" fmla="*/ 625642 w 4659670"/>
              <a:gd name="connsiteY47" fmla="*/ 4816585 h 4816585"/>
              <a:gd name="connsiteX0" fmla="*/ 613610 w 4647638"/>
              <a:gd name="connsiteY0" fmla="*/ 4816585 h 4816585"/>
              <a:gd name="connsiteX1" fmla="*/ 577515 w 4647638"/>
              <a:gd name="connsiteY1" fmla="*/ 4744395 h 4816585"/>
              <a:gd name="connsiteX2" fmla="*/ 661736 w 4647638"/>
              <a:gd name="connsiteY2" fmla="*/ 4660174 h 4816585"/>
              <a:gd name="connsiteX3" fmla="*/ 745957 w 4647638"/>
              <a:gd name="connsiteY3" fmla="*/ 4527827 h 4816585"/>
              <a:gd name="connsiteX4" fmla="*/ 902368 w 4647638"/>
              <a:gd name="connsiteY4" fmla="*/ 4383448 h 4816585"/>
              <a:gd name="connsiteX5" fmla="*/ 1022683 w 4647638"/>
              <a:gd name="connsiteY5" fmla="*/ 4299227 h 4816585"/>
              <a:gd name="connsiteX6" fmla="*/ 1118936 w 4647638"/>
              <a:gd name="connsiteY6" fmla="*/ 4251100 h 4816585"/>
              <a:gd name="connsiteX7" fmla="*/ 1359568 w 4647638"/>
              <a:gd name="connsiteY7" fmla="*/ 4178911 h 4816585"/>
              <a:gd name="connsiteX8" fmla="*/ 1395662 w 4647638"/>
              <a:gd name="connsiteY8" fmla="*/ 4166879 h 4816585"/>
              <a:gd name="connsiteX9" fmla="*/ 1419725 w 4647638"/>
              <a:gd name="connsiteY9" fmla="*/ 4130785 h 4816585"/>
              <a:gd name="connsiteX10" fmla="*/ 1600199 w 4647638"/>
              <a:gd name="connsiteY10" fmla="*/ 4034532 h 4816585"/>
              <a:gd name="connsiteX11" fmla="*/ 1852862 w 4647638"/>
              <a:gd name="connsiteY11" fmla="*/ 3998437 h 4816585"/>
              <a:gd name="connsiteX12" fmla="*/ 2165683 w 4647638"/>
              <a:gd name="connsiteY12" fmla="*/ 3986406 h 4816585"/>
              <a:gd name="connsiteX13" fmla="*/ 2370220 w 4647638"/>
              <a:gd name="connsiteY13" fmla="*/ 3962342 h 4816585"/>
              <a:gd name="connsiteX14" fmla="*/ 2538662 w 4647638"/>
              <a:gd name="connsiteY14" fmla="*/ 3926248 h 4816585"/>
              <a:gd name="connsiteX15" fmla="*/ 2707104 w 4647638"/>
              <a:gd name="connsiteY15" fmla="*/ 3890153 h 4816585"/>
              <a:gd name="connsiteX16" fmla="*/ 2803357 w 4647638"/>
              <a:gd name="connsiteY16" fmla="*/ 3866090 h 4816585"/>
              <a:gd name="connsiteX17" fmla="*/ 3007894 w 4647638"/>
              <a:gd name="connsiteY17" fmla="*/ 3805932 h 4816585"/>
              <a:gd name="connsiteX18" fmla="*/ 3152273 w 4647638"/>
              <a:gd name="connsiteY18" fmla="*/ 3769837 h 4816585"/>
              <a:gd name="connsiteX19" fmla="*/ 3332747 w 4647638"/>
              <a:gd name="connsiteY19" fmla="*/ 3697648 h 4816585"/>
              <a:gd name="connsiteX20" fmla="*/ 3441031 w 4647638"/>
              <a:gd name="connsiteY20" fmla="*/ 3613427 h 4816585"/>
              <a:gd name="connsiteX21" fmla="*/ 3729789 w 4647638"/>
              <a:gd name="connsiteY21" fmla="*/ 3372795 h 4816585"/>
              <a:gd name="connsiteX22" fmla="*/ 3777915 w 4647638"/>
              <a:gd name="connsiteY22" fmla="*/ 3300606 h 4816585"/>
              <a:gd name="connsiteX23" fmla="*/ 3910262 w 4647638"/>
              <a:gd name="connsiteY23" fmla="*/ 3011848 h 4816585"/>
              <a:gd name="connsiteX24" fmla="*/ 3886199 w 4647638"/>
              <a:gd name="connsiteY24" fmla="*/ 3096069 h 4816585"/>
              <a:gd name="connsiteX25" fmla="*/ 3934325 w 4647638"/>
              <a:gd name="connsiteY25" fmla="*/ 2795279 h 4816585"/>
              <a:gd name="connsiteX26" fmla="*/ 4018547 w 4647638"/>
              <a:gd name="connsiteY26" fmla="*/ 2650901 h 4816585"/>
              <a:gd name="connsiteX27" fmla="*/ 4138863 w 4647638"/>
              <a:gd name="connsiteY27" fmla="*/ 2422301 h 4816585"/>
              <a:gd name="connsiteX28" fmla="*/ 4138862 w 4647638"/>
              <a:gd name="connsiteY28" fmla="*/ 2458395 h 4816585"/>
              <a:gd name="connsiteX29" fmla="*/ 4150894 w 4647638"/>
              <a:gd name="connsiteY29" fmla="*/ 2422300 h 4816585"/>
              <a:gd name="connsiteX30" fmla="*/ 4235115 w 4647638"/>
              <a:gd name="connsiteY30" fmla="*/ 2241827 h 4816585"/>
              <a:gd name="connsiteX31" fmla="*/ 4247147 w 4647638"/>
              <a:gd name="connsiteY31" fmla="*/ 2205732 h 4816585"/>
              <a:gd name="connsiteX32" fmla="*/ 4307304 w 4647638"/>
              <a:gd name="connsiteY32" fmla="*/ 2061353 h 4816585"/>
              <a:gd name="connsiteX33" fmla="*/ 4319336 w 4647638"/>
              <a:gd name="connsiteY33" fmla="*/ 2025258 h 4816585"/>
              <a:gd name="connsiteX34" fmla="*/ 4355431 w 4647638"/>
              <a:gd name="connsiteY34" fmla="*/ 1796658 h 4816585"/>
              <a:gd name="connsiteX35" fmla="*/ 4379494 w 4647638"/>
              <a:gd name="connsiteY35" fmla="*/ 1399616 h 4816585"/>
              <a:gd name="connsiteX36" fmla="*/ 4391525 w 4647638"/>
              <a:gd name="connsiteY36" fmla="*/ 942416 h 4816585"/>
              <a:gd name="connsiteX37" fmla="*/ 4415589 w 4647638"/>
              <a:gd name="connsiteY37" fmla="*/ 918353 h 4816585"/>
              <a:gd name="connsiteX38" fmla="*/ 4511841 w 4647638"/>
              <a:gd name="connsiteY38" fmla="*/ 677721 h 4816585"/>
              <a:gd name="connsiteX39" fmla="*/ 4620125 w 4647638"/>
              <a:gd name="connsiteY39" fmla="*/ 473185 h 4816585"/>
              <a:gd name="connsiteX40" fmla="*/ 3958389 w 4647638"/>
              <a:gd name="connsiteY40" fmla="*/ 3953 h 4816585"/>
              <a:gd name="connsiteX41" fmla="*/ 3645568 w 4647638"/>
              <a:gd name="connsiteY41" fmla="*/ 761942 h 4816585"/>
              <a:gd name="connsiteX42" fmla="*/ 3814010 w 4647638"/>
              <a:gd name="connsiteY42" fmla="*/ 1712437 h 4816585"/>
              <a:gd name="connsiteX43" fmla="*/ 3092115 w 4647638"/>
              <a:gd name="connsiteY43" fmla="*/ 2771216 h 4816585"/>
              <a:gd name="connsiteX44" fmla="*/ 2273968 w 4647638"/>
              <a:gd name="connsiteY44" fmla="*/ 3240448 h 4816585"/>
              <a:gd name="connsiteX45" fmla="*/ 637673 w 4647638"/>
              <a:gd name="connsiteY45" fmla="*/ 3601395 h 4816585"/>
              <a:gd name="connsiteX46" fmla="*/ 0 w 4647638"/>
              <a:gd name="connsiteY46" fmla="*/ 4371416 h 4816585"/>
              <a:gd name="connsiteX47" fmla="*/ 613610 w 4647638"/>
              <a:gd name="connsiteY47" fmla="*/ 4816585 h 4816585"/>
              <a:gd name="connsiteX0" fmla="*/ 613610 w 4647638"/>
              <a:gd name="connsiteY0" fmla="*/ 4816585 h 4816585"/>
              <a:gd name="connsiteX1" fmla="*/ 577515 w 4647638"/>
              <a:gd name="connsiteY1" fmla="*/ 4744395 h 4816585"/>
              <a:gd name="connsiteX2" fmla="*/ 661736 w 4647638"/>
              <a:gd name="connsiteY2" fmla="*/ 4660174 h 4816585"/>
              <a:gd name="connsiteX3" fmla="*/ 745957 w 4647638"/>
              <a:gd name="connsiteY3" fmla="*/ 4527827 h 4816585"/>
              <a:gd name="connsiteX4" fmla="*/ 902368 w 4647638"/>
              <a:gd name="connsiteY4" fmla="*/ 4383448 h 4816585"/>
              <a:gd name="connsiteX5" fmla="*/ 1022683 w 4647638"/>
              <a:gd name="connsiteY5" fmla="*/ 4299227 h 4816585"/>
              <a:gd name="connsiteX6" fmla="*/ 1118936 w 4647638"/>
              <a:gd name="connsiteY6" fmla="*/ 4251100 h 4816585"/>
              <a:gd name="connsiteX7" fmla="*/ 1359568 w 4647638"/>
              <a:gd name="connsiteY7" fmla="*/ 4178911 h 4816585"/>
              <a:gd name="connsiteX8" fmla="*/ 1395662 w 4647638"/>
              <a:gd name="connsiteY8" fmla="*/ 4166879 h 4816585"/>
              <a:gd name="connsiteX9" fmla="*/ 1419725 w 4647638"/>
              <a:gd name="connsiteY9" fmla="*/ 4130785 h 4816585"/>
              <a:gd name="connsiteX10" fmla="*/ 1600199 w 4647638"/>
              <a:gd name="connsiteY10" fmla="*/ 4034532 h 4816585"/>
              <a:gd name="connsiteX11" fmla="*/ 1852862 w 4647638"/>
              <a:gd name="connsiteY11" fmla="*/ 3998437 h 4816585"/>
              <a:gd name="connsiteX12" fmla="*/ 2165683 w 4647638"/>
              <a:gd name="connsiteY12" fmla="*/ 3986406 h 4816585"/>
              <a:gd name="connsiteX13" fmla="*/ 2370220 w 4647638"/>
              <a:gd name="connsiteY13" fmla="*/ 3962342 h 4816585"/>
              <a:gd name="connsiteX14" fmla="*/ 2538662 w 4647638"/>
              <a:gd name="connsiteY14" fmla="*/ 3926248 h 4816585"/>
              <a:gd name="connsiteX15" fmla="*/ 2707104 w 4647638"/>
              <a:gd name="connsiteY15" fmla="*/ 3890153 h 4816585"/>
              <a:gd name="connsiteX16" fmla="*/ 2803357 w 4647638"/>
              <a:gd name="connsiteY16" fmla="*/ 3866090 h 4816585"/>
              <a:gd name="connsiteX17" fmla="*/ 3007894 w 4647638"/>
              <a:gd name="connsiteY17" fmla="*/ 3805932 h 4816585"/>
              <a:gd name="connsiteX18" fmla="*/ 3152273 w 4647638"/>
              <a:gd name="connsiteY18" fmla="*/ 3769837 h 4816585"/>
              <a:gd name="connsiteX19" fmla="*/ 3332747 w 4647638"/>
              <a:gd name="connsiteY19" fmla="*/ 3697648 h 4816585"/>
              <a:gd name="connsiteX20" fmla="*/ 3441031 w 4647638"/>
              <a:gd name="connsiteY20" fmla="*/ 3613427 h 4816585"/>
              <a:gd name="connsiteX21" fmla="*/ 3729789 w 4647638"/>
              <a:gd name="connsiteY21" fmla="*/ 3372795 h 4816585"/>
              <a:gd name="connsiteX22" fmla="*/ 3777915 w 4647638"/>
              <a:gd name="connsiteY22" fmla="*/ 3300606 h 4816585"/>
              <a:gd name="connsiteX23" fmla="*/ 3910262 w 4647638"/>
              <a:gd name="connsiteY23" fmla="*/ 3011848 h 4816585"/>
              <a:gd name="connsiteX24" fmla="*/ 3886199 w 4647638"/>
              <a:gd name="connsiteY24" fmla="*/ 3096069 h 4816585"/>
              <a:gd name="connsiteX25" fmla="*/ 3934325 w 4647638"/>
              <a:gd name="connsiteY25" fmla="*/ 2795279 h 4816585"/>
              <a:gd name="connsiteX26" fmla="*/ 4018547 w 4647638"/>
              <a:gd name="connsiteY26" fmla="*/ 2650901 h 4816585"/>
              <a:gd name="connsiteX27" fmla="*/ 4138863 w 4647638"/>
              <a:gd name="connsiteY27" fmla="*/ 2422301 h 4816585"/>
              <a:gd name="connsiteX28" fmla="*/ 4138862 w 4647638"/>
              <a:gd name="connsiteY28" fmla="*/ 2458395 h 4816585"/>
              <a:gd name="connsiteX29" fmla="*/ 4150894 w 4647638"/>
              <a:gd name="connsiteY29" fmla="*/ 2422300 h 4816585"/>
              <a:gd name="connsiteX30" fmla="*/ 4235115 w 4647638"/>
              <a:gd name="connsiteY30" fmla="*/ 2241827 h 4816585"/>
              <a:gd name="connsiteX31" fmla="*/ 4247147 w 4647638"/>
              <a:gd name="connsiteY31" fmla="*/ 2205732 h 4816585"/>
              <a:gd name="connsiteX32" fmla="*/ 4307304 w 4647638"/>
              <a:gd name="connsiteY32" fmla="*/ 2061353 h 4816585"/>
              <a:gd name="connsiteX33" fmla="*/ 4319336 w 4647638"/>
              <a:gd name="connsiteY33" fmla="*/ 2025258 h 4816585"/>
              <a:gd name="connsiteX34" fmla="*/ 4355431 w 4647638"/>
              <a:gd name="connsiteY34" fmla="*/ 1796658 h 4816585"/>
              <a:gd name="connsiteX35" fmla="*/ 4379494 w 4647638"/>
              <a:gd name="connsiteY35" fmla="*/ 1399616 h 4816585"/>
              <a:gd name="connsiteX36" fmla="*/ 4391525 w 4647638"/>
              <a:gd name="connsiteY36" fmla="*/ 942416 h 4816585"/>
              <a:gd name="connsiteX37" fmla="*/ 4415589 w 4647638"/>
              <a:gd name="connsiteY37" fmla="*/ 918353 h 4816585"/>
              <a:gd name="connsiteX38" fmla="*/ 4511841 w 4647638"/>
              <a:gd name="connsiteY38" fmla="*/ 677721 h 4816585"/>
              <a:gd name="connsiteX39" fmla="*/ 4620125 w 4647638"/>
              <a:gd name="connsiteY39" fmla="*/ 473185 h 4816585"/>
              <a:gd name="connsiteX40" fmla="*/ 3958389 w 4647638"/>
              <a:gd name="connsiteY40" fmla="*/ 3953 h 4816585"/>
              <a:gd name="connsiteX41" fmla="*/ 3645568 w 4647638"/>
              <a:gd name="connsiteY41" fmla="*/ 761942 h 4816585"/>
              <a:gd name="connsiteX42" fmla="*/ 3814010 w 4647638"/>
              <a:gd name="connsiteY42" fmla="*/ 1712437 h 4816585"/>
              <a:gd name="connsiteX43" fmla="*/ 3092115 w 4647638"/>
              <a:gd name="connsiteY43" fmla="*/ 2771216 h 4816585"/>
              <a:gd name="connsiteX44" fmla="*/ 2273968 w 4647638"/>
              <a:gd name="connsiteY44" fmla="*/ 3240448 h 4816585"/>
              <a:gd name="connsiteX45" fmla="*/ 637673 w 4647638"/>
              <a:gd name="connsiteY45" fmla="*/ 3601395 h 4816585"/>
              <a:gd name="connsiteX46" fmla="*/ 348914 w 4647638"/>
              <a:gd name="connsiteY46" fmla="*/ 3805933 h 4816585"/>
              <a:gd name="connsiteX47" fmla="*/ 0 w 4647638"/>
              <a:gd name="connsiteY47" fmla="*/ 4371416 h 4816585"/>
              <a:gd name="connsiteX48" fmla="*/ 613610 w 4647638"/>
              <a:gd name="connsiteY48" fmla="*/ 4816585 h 4816585"/>
              <a:gd name="connsiteX0" fmla="*/ 613610 w 4647638"/>
              <a:gd name="connsiteY0" fmla="*/ 4816585 h 4816585"/>
              <a:gd name="connsiteX1" fmla="*/ 577515 w 4647638"/>
              <a:gd name="connsiteY1" fmla="*/ 4744395 h 4816585"/>
              <a:gd name="connsiteX2" fmla="*/ 661736 w 4647638"/>
              <a:gd name="connsiteY2" fmla="*/ 4660174 h 4816585"/>
              <a:gd name="connsiteX3" fmla="*/ 745957 w 4647638"/>
              <a:gd name="connsiteY3" fmla="*/ 4527827 h 4816585"/>
              <a:gd name="connsiteX4" fmla="*/ 902368 w 4647638"/>
              <a:gd name="connsiteY4" fmla="*/ 4383448 h 4816585"/>
              <a:gd name="connsiteX5" fmla="*/ 1022683 w 4647638"/>
              <a:gd name="connsiteY5" fmla="*/ 4299227 h 4816585"/>
              <a:gd name="connsiteX6" fmla="*/ 1118936 w 4647638"/>
              <a:gd name="connsiteY6" fmla="*/ 4251100 h 4816585"/>
              <a:gd name="connsiteX7" fmla="*/ 1359568 w 4647638"/>
              <a:gd name="connsiteY7" fmla="*/ 4178911 h 4816585"/>
              <a:gd name="connsiteX8" fmla="*/ 1395662 w 4647638"/>
              <a:gd name="connsiteY8" fmla="*/ 4166879 h 4816585"/>
              <a:gd name="connsiteX9" fmla="*/ 1419725 w 4647638"/>
              <a:gd name="connsiteY9" fmla="*/ 4130785 h 4816585"/>
              <a:gd name="connsiteX10" fmla="*/ 1600199 w 4647638"/>
              <a:gd name="connsiteY10" fmla="*/ 4034532 h 4816585"/>
              <a:gd name="connsiteX11" fmla="*/ 1852862 w 4647638"/>
              <a:gd name="connsiteY11" fmla="*/ 3998437 h 4816585"/>
              <a:gd name="connsiteX12" fmla="*/ 2165683 w 4647638"/>
              <a:gd name="connsiteY12" fmla="*/ 3986406 h 4816585"/>
              <a:gd name="connsiteX13" fmla="*/ 2370220 w 4647638"/>
              <a:gd name="connsiteY13" fmla="*/ 3962342 h 4816585"/>
              <a:gd name="connsiteX14" fmla="*/ 2538662 w 4647638"/>
              <a:gd name="connsiteY14" fmla="*/ 3926248 h 4816585"/>
              <a:gd name="connsiteX15" fmla="*/ 2707104 w 4647638"/>
              <a:gd name="connsiteY15" fmla="*/ 3890153 h 4816585"/>
              <a:gd name="connsiteX16" fmla="*/ 2803357 w 4647638"/>
              <a:gd name="connsiteY16" fmla="*/ 3866090 h 4816585"/>
              <a:gd name="connsiteX17" fmla="*/ 3007894 w 4647638"/>
              <a:gd name="connsiteY17" fmla="*/ 3805932 h 4816585"/>
              <a:gd name="connsiteX18" fmla="*/ 3152273 w 4647638"/>
              <a:gd name="connsiteY18" fmla="*/ 3769837 h 4816585"/>
              <a:gd name="connsiteX19" fmla="*/ 3332747 w 4647638"/>
              <a:gd name="connsiteY19" fmla="*/ 3697648 h 4816585"/>
              <a:gd name="connsiteX20" fmla="*/ 3441031 w 4647638"/>
              <a:gd name="connsiteY20" fmla="*/ 3613427 h 4816585"/>
              <a:gd name="connsiteX21" fmla="*/ 3729789 w 4647638"/>
              <a:gd name="connsiteY21" fmla="*/ 3372795 h 4816585"/>
              <a:gd name="connsiteX22" fmla="*/ 3777915 w 4647638"/>
              <a:gd name="connsiteY22" fmla="*/ 3300606 h 4816585"/>
              <a:gd name="connsiteX23" fmla="*/ 3910262 w 4647638"/>
              <a:gd name="connsiteY23" fmla="*/ 3011848 h 4816585"/>
              <a:gd name="connsiteX24" fmla="*/ 3886199 w 4647638"/>
              <a:gd name="connsiteY24" fmla="*/ 3096069 h 4816585"/>
              <a:gd name="connsiteX25" fmla="*/ 3934325 w 4647638"/>
              <a:gd name="connsiteY25" fmla="*/ 2795279 h 4816585"/>
              <a:gd name="connsiteX26" fmla="*/ 4018547 w 4647638"/>
              <a:gd name="connsiteY26" fmla="*/ 2650901 h 4816585"/>
              <a:gd name="connsiteX27" fmla="*/ 4138863 w 4647638"/>
              <a:gd name="connsiteY27" fmla="*/ 2422301 h 4816585"/>
              <a:gd name="connsiteX28" fmla="*/ 4138862 w 4647638"/>
              <a:gd name="connsiteY28" fmla="*/ 2458395 h 4816585"/>
              <a:gd name="connsiteX29" fmla="*/ 4150894 w 4647638"/>
              <a:gd name="connsiteY29" fmla="*/ 2422300 h 4816585"/>
              <a:gd name="connsiteX30" fmla="*/ 4235115 w 4647638"/>
              <a:gd name="connsiteY30" fmla="*/ 2241827 h 4816585"/>
              <a:gd name="connsiteX31" fmla="*/ 4247147 w 4647638"/>
              <a:gd name="connsiteY31" fmla="*/ 2205732 h 4816585"/>
              <a:gd name="connsiteX32" fmla="*/ 4307304 w 4647638"/>
              <a:gd name="connsiteY32" fmla="*/ 2061353 h 4816585"/>
              <a:gd name="connsiteX33" fmla="*/ 4319336 w 4647638"/>
              <a:gd name="connsiteY33" fmla="*/ 2025258 h 4816585"/>
              <a:gd name="connsiteX34" fmla="*/ 4355431 w 4647638"/>
              <a:gd name="connsiteY34" fmla="*/ 1796658 h 4816585"/>
              <a:gd name="connsiteX35" fmla="*/ 4379494 w 4647638"/>
              <a:gd name="connsiteY35" fmla="*/ 1399616 h 4816585"/>
              <a:gd name="connsiteX36" fmla="*/ 4391525 w 4647638"/>
              <a:gd name="connsiteY36" fmla="*/ 942416 h 4816585"/>
              <a:gd name="connsiteX37" fmla="*/ 4415589 w 4647638"/>
              <a:gd name="connsiteY37" fmla="*/ 918353 h 4816585"/>
              <a:gd name="connsiteX38" fmla="*/ 4511841 w 4647638"/>
              <a:gd name="connsiteY38" fmla="*/ 677721 h 4816585"/>
              <a:gd name="connsiteX39" fmla="*/ 4620125 w 4647638"/>
              <a:gd name="connsiteY39" fmla="*/ 473185 h 4816585"/>
              <a:gd name="connsiteX40" fmla="*/ 3958389 w 4647638"/>
              <a:gd name="connsiteY40" fmla="*/ 3953 h 4816585"/>
              <a:gd name="connsiteX41" fmla="*/ 3645568 w 4647638"/>
              <a:gd name="connsiteY41" fmla="*/ 761942 h 4816585"/>
              <a:gd name="connsiteX42" fmla="*/ 3814010 w 4647638"/>
              <a:gd name="connsiteY42" fmla="*/ 1712437 h 4816585"/>
              <a:gd name="connsiteX43" fmla="*/ 3092115 w 4647638"/>
              <a:gd name="connsiteY43" fmla="*/ 2771216 h 4816585"/>
              <a:gd name="connsiteX44" fmla="*/ 2273968 w 4647638"/>
              <a:gd name="connsiteY44" fmla="*/ 3240448 h 4816585"/>
              <a:gd name="connsiteX45" fmla="*/ 637673 w 4647638"/>
              <a:gd name="connsiteY45" fmla="*/ 3601395 h 4816585"/>
              <a:gd name="connsiteX46" fmla="*/ 348914 w 4647638"/>
              <a:gd name="connsiteY46" fmla="*/ 3805933 h 4816585"/>
              <a:gd name="connsiteX47" fmla="*/ 96251 w 4647638"/>
              <a:gd name="connsiteY47" fmla="*/ 4106722 h 4816585"/>
              <a:gd name="connsiteX48" fmla="*/ 0 w 4647638"/>
              <a:gd name="connsiteY48" fmla="*/ 4371416 h 4816585"/>
              <a:gd name="connsiteX49" fmla="*/ 613610 w 4647638"/>
              <a:gd name="connsiteY49" fmla="*/ 4816585 h 4816585"/>
              <a:gd name="connsiteX0" fmla="*/ 613610 w 4647638"/>
              <a:gd name="connsiteY0" fmla="*/ 4900173 h 4900173"/>
              <a:gd name="connsiteX1" fmla="*/ 577515 w 4647638"/>
              <a:gd name="connsiteY1" fmla="*/ 4827983 h 4900173"/>
              <a:gd name="connsiteX2" fmla="*/ 661736 w 4647638"/>
              <a:gd name="connsiteY2" fmla="*/ 4743762 h 4900173"/>
              <a:gd name="connsiteX3" fmla="*/ 745957 w 4647638"/>
              <a:gd name="connsiteY3" fmla="*/ 4611415 h 4900173"/>
              <a:gd name="connsiteX4" fmla="*/ 902368 w 4647638"/>
              <a:gd name="connsiteY4" fmla="*/ 4467036 h 4900173"/>
              <a:gd name="connsiteX5" fmla="*/ 1022683 w 4647638"/>
              <a:gd name="connsiteY5" fmla="*/ 4382815 h 4900173"/>
              <a:gd name="connsiteX6" fmla="*/ 1118936 w 4647638"/>
              <a:gd name="connsiteY6" fmla="*/ 4334688 h 4900173"/>
              <a:gd name="connsiteX7" fmla="*/ 1359568 w 4647638"/>
              <a:gd name="connsiteY7" fmla="*/ 4262499 h 4900173"/>
              <a:gd name="connsiteX8" fmla="*/ 1395662 w 4647638"/>
              <a:gd name="connsiteY8" fmla="*/ 4250467 h 4900173"/>
              <a:gd name="connsiteX9" fmla="*/ 1419725 w 4647638"/>
              <a:gd name="connsiteY9" fmla="*/ 4214373 h 4900173"/>
              <a:gd name="connsiteX10" fmla="*/ 1600199 w 4647638"/>
              <a:gd name="connsiteY10" fmla="*/ 4118120 h 4900173"/>
              <a:gd name="connsiteX11" fmla="*/ 1852862 w 4647638"/>
              <a:gd name="connsiteY11" fmla="*/ 4082025 h 4900173"/>
              <a:gd name="connsiteX12" fmla="*/ 2165683 w 4647638"/>
              <a:gd name="connsiteY12" fmla="*/ 4069994 h 4900173"/>
              <a:gd name="connsiteX13" fmla="*/ 2370220 w 4647638"/>
              <a:gd name="connsiteY13" fmla="*/ 4045930 h 4900173"/>
              <a:gd name="connsiteX14" fmla="*/ 2538662 w 4647638"/>
              <a:gd name="connsiteY14" fmla="*/ 4009836 h 4900173"/>
              <a:gd name="connsiteX15" fmla="*/ 2707104 w 4647638"/>
              <a:gd name="connsiteY15" fmla="*/ 3973741 h 4900173"/>
              <a:gd name="connsiteX16" fmla="*/ 2803357 w 4647638"/>
              <a:gd name="connsiteY16" fmla="*/ 3949678 h 4900173"/>
              <a:gd name="connsiteX17" fmla="*/ 3007894 w 4647638"/>
              <a:gd name="connsiteY17" fmla="*/ 3889520 h 4900173"/>
              <a:gd name="connsiteX18" fmla="*/ 3152273 w 4647638"/>
              <a:gd name="connsiteY18" fmla="*/ 3853425 h 4900173"/>
              <a:gd name="connsiteX19" fmla="*/ 3332747 w 4647638"/>
              <a:gd name="connsiteY19" fmla="*/ 3781236 h 4900173"/>
              <a:gd name="connsiteX20" fmla="*/ 3441031 w 4647638"/>
              <a:gd name="connsiteY20" fmla="*/ 3697015 h 4900173"/>
              <a:gd name="connsiteX21" fmla="*/ 3729789 w 4647638"/>
              <a:gd name="connsiteY21" fmla="*/ 3456383 h 4900173"/>
              <a:gd name="connsiteX22" fmla="*/ 3777915 w 4647638"/>
              <a:gd name="connsiteY22" fmla="*/ 3384194 h 4900173"/>
              <a:gd name="connsiteX23" fmla="*/ 3910262 w 4647638"/>
              <a:gd name="connsiteY23" fmla="*/ 3095436 h 4900173"/>
              <a:gd name="connsiteX24" fmla="*/ 3886199 w 4647638"/>
              <a:gd name="connsiteY24" fmla="*/ 3179657 h 4900173"/>
              <a:gd name="connsiteX25" fmla="*/ 3934325 w 4647638"/>
              <a:gd name="connsiteY25" fmla="*/ 2878867 h 4900173"/>
              <a:gd name="connsiteX26" fmla="*/ 4018547 w 4647638"/>
              <a:gd name="connsiteY26" fmla="*/ 2734489 h 4900173"/>
              <a:gd name="connsiteX27" fmla="*/ 4138863 w 4647638"/>
              <a:gd name="connsiteY27" fmla="*/ 2505889 h 4900173"/>
              <a:gd name="connsiteX28" fmla="*/ 4138862 w 4647638"/>
              <a:gd name="connsiteY28" fmla="*/ 2541983 h 4900173"/>
              <a:gd name="connsiteX29" fmla="*/ 4150894 w 4647638"/>
              <a:gd name="connsiteY29" fmla="*/ 2505888 h 4900173"/>
              <a:gd name="connsiteX30" fmla="*/ 4235115 w 4647638"/>
              <a:gd name="connsiteY30" fmla="*/ 2325415 h 4900173"/>
              <a:gd name="connsiteX31" fmla="*/ 4247147 w 4647638"/>
              <a:gd name="connsiteY31" fmla="*/ 2289320 h 4900173"/>
              <a:gd name="connsiteX32" fmla="*/ 4307304 w 4647638"/>
              <a:gd name="connsiteY32" fmla="*/ 2144941 h 4900173"/>
              <a:gd name="connsiteX33" fmla="*/ 4319336 w 4647638"/>
              <a:gd name="connsiteY33" fmla="*/ 2108846 h 4900173"/>
              <a:gd name="connsiteX34" fmla="*/ 4355431 w 4647638"/>
              <a:gd name="connsiteY34" fmla="*/ 1880246 h 4900173"/>
              <a:gd name="connsiteX35" fmla="*/ 4379494 w 4647638"/>
              <a:gd name="connsiteY35" fmla="*/ 1483204 h 4900173"/>
              <a:gd name="connsiteX36" fmla="*/ 4391525 w 4647638"/>
              <a:gd name="connsiteY36" fmla="*/ 1026004 h 4900173"/>
              <a:gd name="connsiteX37" fmla="*/ 4415589 w 4647638"/>
              <a:gd name="connsiteY37" fmla="*/ 1001941 h 4900173"/>
              <a:gd name="connsiteX38" fmla="*/ 4511841 w 4647638"/>
              <a:gd name="connsiteY38" fmla="*/ 761309 h 4900173"/>
              <a:gd name="connsiteX39" fmla="*/ 4620125 w 4647638"/>
              <a:gd name="connsiteY39" fmla="*/ 556773 h 4900173"/>
              <a:gd name="connsiteX40" fmla="*/ 4162926 w 4647638"/>
              <a:gd name="connsiteY40" fmla="*/ 3319 h 4900173"/>
              <a:gd name="connsiteX41" fmla="*/ 3645568 w 4647638"/>
              <a:gd name="connsiteY41" fmla="*/ 845530 h 4900173"/>
              <a:gd name="connsiteX42" fmla="*/ 3814010 w 4647638"/>
              <a:gd name="connsiteY42" fmla="*/ 1796025 h 4900173"/>
              <a:gd name="connsiteX43" fmla="*/ 3092115 w 4647638"/>
              <a:gd name="connsiteY43" fmla="*/ 2854804 h 4900173"/>
              <a:gd name="connsiteX44" fmla="*/ 2273968 w 4647638"/>
              <a:gd name="connsiteY44" fmla="*/ 3324036 h 4900173"/>
              <a:gd name="connsiteX45" fmla="*/ 637673 w 4647638"/>
              <a:gd name="connsiteY45" fmla="*/ 3684983 h 4900173"/>
              <a:gd name="connsiteX46" fmla="*/ 348914 w 4647638"/>
              <a:gd name="connsiteY46" fmla="*/ 3889521 h 4900173"/>
              <a:gd name="connsiteX47" fmla="*/ 96251 w 4647638"/>
              <a:gd name="connsiteY47" fmla="*/ 4190310 h 4900173"/>
              <a:gd name="connsiteX48" fmla="*/ 0 w 4647638"/>
              <a:gd name="connsiteY48" fmla="*/ 4455004 h 4900173"/>
              <a:gd name="connsiteX49" fmla="*/ 613610 w 4647638"/>
              <a:gd name="connsiteY49" fmla="*/ 4900173 h 4900173"/>
              <a:gd name="connsiteX0" fmla="*/ 613610 w 4794167"/>
              <a:gd name="connsiteY0" fmla="*/ 4901158 h 4901158"/>
              <a:gd name="connsiteX1" fmla="*/ 577515 w 4794167"/>
              <a:gd name="connsiteY1" fmla="*/ 4828968 h 4901158"/>
              <a:gd name="connsiteX2" fmla="*/ 661736 w 4794167"/>
              <a:gd name="connsiteY2" fmla="*/ 4744747 h 4901158"/>
              <a:gd name="connsiteX3" fmla="*/ 745957 w 4794167"/>
              <a:gd name="connsiteY3" fmla="*/ 4612400 h 4901158"/>
              <a:gd name="connsiteX4" fmla="*/ 902368 w 4794167"/>
              <a:gd name="connsiteY4" fmla="*/ 4468021 h 4901158"/>
              <a:gd name="connsiteX5" fmla="*/ 1022683 w 4794167"/>
              <a:gd name="connsiteY5" fmla="*/ 4383800 h 4901158"/>
              <a:gd name="connsiteX6" fmla="*/ 1118936 w 4794167"/>
              <a:gd name="connsiteY6" fmla="*/ 4335673 h 4901158"/>
              <a:gd name="connsiteX7" fmla="*/ 1359568 w 4794167"/>
              <a:gd name="connsiteY7" fmla="*/ 4263484 h 4901158"/>
              <a:gd name="connsiteX8" fmla="*/ 1395662 w 4794167"/>
              <a:gd name="connsiteY8" fmla="*/ 4251452 h 4901158"/>
              <a:gd name="connsiteX9" fmla="*/ 1419725 w 4794167"/>
              <a:gd name="connsiteY9" fmla="*/ 4215358 h 4901158"/>
              <a:gd name="connsiteX10" fmla="*/ 1600199 w 4794167"/>
              <a:gd name="connsiteY10" fmla="*/ 4119105 h 4901158"/>
              <a:gd name="connsiteX11" fmla="*/ 1852862 w 4794167"/>
              <a:gd name="connsiteY11" fmla="*/ 4083010 h 4901158"/>
              <a:gd name="connsiteX12" fmla="*/ 2165683 w 4794167"/>
              <a:gd name="connsiteY12" fmla="*/ 4070979 h 4901158"/>
              <a:gd name="connsiteX13" fmla="*/ 2370220 w 4794167"/>
              <a:gd name="connsiteY13" fmla="*/ 4046915 h 4901158"/>
              <a:gd name="connsiteX14" fmla="*/ 2538662 w 4794167"/>
              <a:gd name="connsiteY14" fmla="*/ 4010821 h 4901158"/>
              <a:gd name="connsiteX15" fmla="*/ 2707104 w 4794167"/>
              <a:gd name="connsiteY15" fmla="*/ 3974726 h 4901158"/>
              <a:gd name="connsiteX16" fmla="*/ 2803357 w 4794167"/>
              <a:gd name="connsiteY16" fmla="*/ 3950663 h 4901158"/>
              <a:gd name="connsiteX17" fmla="*/ 3007894 w 4794167"/>
              <a:gd name="connsiteY17" fmla="*/ 3890505 h 4901158"/>
              <a:gd name="connsiteX18" fmla="*/ 3152273 w 4794167"/>
              <a:gd name="connsiteY18" fmla="*/ 3854410 h 4901158"/>
              <a:gd name="connsiteX19" fmla="*/ 3332747 w 4794167"/>
              <a:gd name="connsiteY19" fmla="*/ 3782221 h 4901158"/>
              <a:gd name="connsiteX20" fmla="*/ 3441031 w 4794167"/>
              <a:gd name="connsiteY20" fmla="*/ 3698000 h 4901158"/>
              <a:gd name="connsiteX21" fmla="*/ 3729789 w 4794167"/>
              <a:gd name="connsiteY21" fmla="*/ 3457368 h 4901158"/>
              <a:gd name="connsiteX22" fmla="*/ 3777915 w 4794167"/>
              <a:gd name="connsiteY22" fmla="*/ 3385179 h 4901158"/>
              <a:gd name="connsiteX23" fmla="*/ 3910262 w 4794167"/>
              <a:gd name="connsiteY23" fmla="*/ 3096421 h 4901158"/>
              <a:gd name="connsiteX24" fmla="*/ 3886199 w 4794167"/>
              <a:gd name="connsiteY24" fmla="*/ 3180642 h 4901158"/>
              <a:gd name="connsiteX25" fmla="*/ 3934325 w 4794167"/>
              <a:gd name="connsiteY25" fmla="*/ 2879852 h 4901158"/>
              <a:gd name="connsiteX26" fmla="*/ 4018547 w 4794167"/>
              <a:gd name="connsiteY26" fmla="*/ 2735474 h 4901158"/>
              <a:gd name="connsiteX27" fmla="*/ 4138863 w 4794167"/>
              <a:gd name="connsiteY27" fmla="*/ 2506874 h 4901158"/>
              <a:gd name="connsiteX28" fmla="*/ 4138862 w 4794167"/>
              <a:gd name="connsiteY28" fmla="*/ 2542968 h 4901158"/>
              <a:gd name="connsiteX29" fmla="*/ 4150894 w 4794167"/>
              <a:gd name="connsiteY29" fmla="*/ 2506873 h 4901158"/>
              <a:gd name="connsiteX30" fmla="*/ 4235115 w 4794167"/>
              <a:gd name="connsiteY30" fmla="*/ 2326400 h 4901158"/>
              <a:gd name="connsiteX31" fmla="*/ 4247147 w 4794167"/>
              <a:gd name="connsiteY31" fmla="*/ 2290305 h 4901158"/>
              <a:gd name="connsiteX32" fmla="*/ 4307304 w 4794167"/>
              <a:gd name="connsiteY32" fmla="*/ 2145926 h 4901158"/>
              <a:gd name="connsiteX33" fmla="*/ 4319336 w 4794167"/>
              <a:gd name="connsiteY33" fmla="*/ 2109831 h 4901158"/>
              <a:gd name="connsiteX34" fmla="*/ 4355431 w 4794167"/>
              <a:gd name="connsiteY34" fmla="*/ 1881231 h 4901158"/>
              <a:gd name="connsiteX35" fmla="*/ 4379494 w 4794167"/>
              <a:gd name="connsiteY35" fmla="*/ 1484189 h 4901158"/>
              <a:gd name="connsiteX36" fmla="*/ 4391525 w 4794167"/>
              <a:gd name="connsiteY36" fmla="*/ 1026989 h 4901158"/>
              <a:gd name="connsiteX37" fmla="*/ 4415589 w 4794167"/>
              <a:gd name="connsiteY37" fmla="*/ 1002926 h 4901158"/>
              <a:gd name="connsiteX38" fmla="*/ 4511841 w 4794167"/>
              <a:gd name="connsiteY38" fmla="*/ 762294 h 4901158"/>
              <a:gd name="connsiteX39" fmla="*/ 4776535 w 4794167"/>
              <a:gd name="connsiteY39" fmla="*/ 437442 h 4901158"/>
              <a:gd name="connsiteX40" fmla="*/ 4162926 w 4794167"/>
              <a:gd name="connsiteY40" fmla="*/ 4304 h 4901158"/>
              <a:gd name="connsiteX41" fmla="*/ 3645568 w 4794167"/>
              <a:gd name="connsiteY41" fmla="*/ 846515 h 4901158"/>
              <a:gd name="connsiteX42" fmla="*/ 3814010 w 4794167"/>
              <a:gd name="connsiteY42" fmla="*/ 1797010 h 4901158"/>
              <a:gd name="connsiteX43" fmla="*/ 3092115 w 4794167"/>
              <a:gd name="connsiteY43" fmla="*/ 2855789 h 4901158"/>
              <a:gd name="connsiteX44" fmla="*/ 2273968 w 4794167"/>
              <a:gd name="connsiteY44" fmla="*/ 3325021 h 4901158"/>
              <a:gd name="connsiteX45" fmla="*/ 637673 w 4794167"/>
              <a:gd name="connsiteY45" fmla="*/ 3685968 h 4901158"/>
              <a:gd name="connsiteX46" fmla="*/ 348914 w 4794167"/>
              <a:gd name="connsiteY46" fmla="*/ 3890506 h 4901158"/>
              <a:gd name="connsiteX47" fmla="*/ 96251 w 4794167"/>
              <a:gd name="connsiteY47" fmla="*/ 4191295 h 4901158"/>
              <a:gd name="connsiteX48" fmla="*/ 0 w 4794167"/>
              <a:gd name="connsiteY48" fmla="*/ 4455989 h 4901158"/>
              <a:gd name="connsiteX49" fmla="*/ 613610 w 4794167"/>
              <a:gd name="connsiteY49" fmla="*/ 4901158 h 4901158"/>
              <a:gd name="connsiteX0" fmla="*/ 613610 w 4794167"/>
              <a:gd name="connsiteY0" fmla="*/ 4896854 h 4896854"/>
              <a:gd name="connsiteX1" fmla="*/ 577515 w 4794167"/>
              <a:gd name="connsiteY1" fmla="*/ 4824664 h 4896854"/>
              <a:gd name="connsiteX2" fmla="*/ 661736 w 4794167"/>
              <a:gd name="connsiteY2" fmla="*/ 4740443 h 4896854"/>
              <a:gd name="connsiteX3" fmla="*/ 745957 w 4794167"/>
              <a:gd name="connsiteY3" fmla="*/ 4608096 h 4896854"/>
              <a:gd name="connsiteX4" fmla="*/ 902368 w 4794167"/>
              <a:gd name="connsiteY4" fmla="*/ 4463717 h 4896854"/>
              <a:gd name="connsiteX5" fmla="*/ 1022683 w 4794167"/>
              <a:gd name="connsiteY5" fmla="*/ 4379496 h 4896854"/>
              <a:gd name="connsiteX6" fmla="*/ 1118936 w 4794167"/>
              <a:gd name="connsiteY6" fmla="*/ 4331369 h 4896854"/>
              <a:gd name="connsiteX7" fmla="*/ 1359568 w 4794167"/>
              <a:gd name="connsiteY7" fmla="*/ 4259180 h 4896854"/>
              <a:gd name="connsiteX8" fmla="*/ 1395662 w 4794167"/>
              <a:gd name="connsiteY8" fmla="*/ 4247148 h 4896854"/>
              <a:gd name="connsiteX9" fmla="*/ 1419725 w 4794167"/>
              <a:gd name="connsiteY9" fmla="*/ 4211054 h 4896854"/>
              <a:gd name="connsiteX10" fmla="*/ 1600199 w 4794167"/>
              <a:gd name="connsiteY10" fmla="*/ 4114801 h 4896854"/>
              <a:gd name="connsiteX11" fmla="*/ 1852862 w 4794167"/>
              <a:gd name="connsiteY11" fmla="*/ 4078706 h 4896854"/>
              <a:gd name="connsiteX12" fmla="*/ 2165683 w 4794167"/>
              <a:gd name="connsiteY12" fmla="*/ 4066675 h 4896854"/>
              <a:gd name="connsiteX13" fmla="*/ 2370220 w 4794167"/>
              <a:gd name="connsiteY13" fmla="*/ 4042611 h 4896854"/>
              <a:gd name="connsiteX14" fmla="*/ 2538662 w 4794167"/>
              <a:gd name="connsiteY14" fmla="*/ 4006517 h 4896854"/>
              <a:gd name="connsiteX15" fmla="*/ 2707104 w 4794167"/>
              <a:gd name="connsiteY15" fmla="*/ 3970422 h 4896854"/>
              <a:gd name="connsiteX16" fmla="*/ 2803357 w 4794167"/>
              <a:gd name="connsiteY16" fmla="*/ 3946359 h 4896854"/>
              <a:gd name="connsiteX17" fmla="*/ 3007894 w 4794167"/>
              <a:gd name="connsiteY17" fmla="*/ 3886201 h 4896854"/>
              <a:gd name="connsiteX18" fmla="*/ 3152273 w 4794167"/>
              <a:gd name="connsiteY18" fmla="*/ 3850106 h 4896854"/>
              <a:gd name="connsiteX19" fmla="*/ 3332747 w 4794167"/>
              <a:gd name="connsiteY19" fmla="*/ 3777917 h 4896854"/>
              <a:gd name="connsiteX20" fmla="*/ 3441031 w 4794167"/>
              <a:gd name="connsiteY20" fmla="*/ 3693696 h 4896854"/>
              <a:gd name="connsiteX21" fmla="*/ 3729789 w 4794167"/>
              <a:gd name="connsiteY21" fmla="*/ 3453064 h 4896854"/>
              <a:gd name="connsiteX22" fmla="*/ 3777915 w 4794167"/>
              <a:gd name="connsiteY22" fmla="*/ 3380875 h 4896854"/>
              <a:gd name="connsiteX23" fmla="*/ 3910262 w 4794167"/>
              <a:gd name="connsiteY23" fmla="*/ 3092117 h 4896854"/>
              <a:gd name="connsiteX24" fmla="*/ 3886199 w 4794167"/>
              <a:gd name="connsiteY24" fmla="*/ 3176338 h 4896854"/>
              <a:gd name="connsiteX25" fmla="*/ 3934325 w 4794167"/>
              <a:gd name="connsiteY25" fmla="*/ 2875548 h 4896854"/>
              <a:gd name="connsiteX26" fmla="*/ 4018547 w 4794167"/>
              <a:gd name="connsiteY26" fmla="*/ 2731170 h 4896854"/>
              <a:gd name="connsiteX27" fmla="*/ 4138863 w 4794167"/>
              <a:gd name="connsiteY27" fmla="*/ 2502570 h 4896854"/>
              <a:gd name="connsiteX28" fmla="*/ 4138862 w 4794167"/>
              <a:gd name="connsiteY28" fmla="*/ 2538664 h 4896854"/>
              <a:gd name="connsiteX29" fmla="*/ 4150894 w 4794167"/>
              <a:gd name="connsiteY29" fmla="*/ 2502569 h 4896854"/>
              <a:gd name="connsiteX30" fmla="*/ 4235115 w 4794167"/>
              <a:gd name="connsiteY30" fmla="*/ 2322096 h 4896854"/>
              <a:gd name="connsiteX31" fmla="*/ 4247147 w 4794167"/>
              <a:gd name="connsiteY31" fmla="*/ 2286001 h 4896854"/>
              <a:gd name="connsiteX32" fmla="*/ 4307304 w 4794167"/>
              <a:gd name="connsiteY32" fmla="*/ 2141622 h 4896854"/>
              <a:gd name="connsiteX33" fmla="*/ 4319336 w 4794167"/>
              <a:gd name="connsiteY33" fmla="*/ 2105527 h 4896854"/>
              <a:gd name="connsiteX34" fmla="*/ 4355431 w 4794167"/>
              <a:gd name="connsiteY34" fmla="*/ 1876927 h 4896854"/>
              <a:gd name="connsiteX35" fmla="*/ 4379494 w 4794167"/>
              <a:gd name="connsiteY35" fmla="*/ 1479885 h 4896854"/>
              <a:gd name="connsiteX36" fmla="*/ 4391525 w 4794167"/>
              <a:gd name="connsiteY36" fmla="*/ 1022685 h 4896854"/>
              <a:gd name="connsiteX37" fmla="*/ 4415589 w 4794167"/>
              <a:gd name="connsiteY37" fmla="*/ 998622 h 4896854"/>
              <a:gd name="connsiteX38" fmla="*/ 4511841 w 4794167"/>
              <a:gd name="connsiteY38" fmla="*/ 757990 h 4896854"/>
              <a:gd name="connsiteX39" fmla="*/ 4776535 w 4794167"/>
              <a:gd name="connsiteY39" fmla="*/ 433138 h 4896854"/>
              <a:gd name="connsiteX40" fmla="*/ 4162926 w 4794167"/>
              <a:gd name="connsiteY40" fmla="*/ 0 h 4896854"/>
              <a:gd name="connsiteX41" fmla="*/ 3934324 w 4794167"/>
              <a:gd name="connsiteY41" fmla="*/ 204539 h 4896854"/>
              <a:gd name="connsiteX42" fmla="*/ 3645568 w 4794167"/>
              <a:gd name="connsiteY42" fmla="*/ 842211 h 4896854"/>
              <a:gd name="connsiteX43" fmla="*/ 3814010 w 4794167"/>
              <a:gd name="connsiteY43" fmla="*/ 1792706 h 4896854"/>
              <a:gd name="connsiteX44" fmla="*/ 3092115 w 4794167"/>
              <a:gd name="connsiteY44" fmla="*/ 2851485 h 4896854"/>
              <a:gd name="connsiteX45" fmla="*/ 2273968 w 4794167"/>
              <a:gd name="connsiteY45" fmla="*/ 3320717 h 4896854"/>
              <a:gd name="connsiteX46" fmla="*/ 637673 w 4794167"/>
              <a:gd name="connsiteY46" fmla="*/ 3681664 h 4896854"/>
              <a:gd name="connsiteX47" fmla="*/ 348914 w 4794167"/>
              <a:gd name="connsiteY47" fmla="*/ 3886202 h 4896854"/>
              <a:gd name="connsiteX48" fmla="*/ 96251 w 4794167"/>
              <a:gd name="connsiteY48" fmla="*/ 4186991 h 4896854"/>
              <a:gd name="connsiteX49" fmla="*/ 0 w 4794167"/>
              <a:gd name="connsiteY49" fmla="*/ 4451685 h 4896854"/>
              <a:gd name="connsiteX50" fmla="*/ 613610 w 4794167"/>
              <a:gd name="connsiteY50" fmla="*/ 4896854 h 4896854"/>
              <a:gd name="connsiteX0" fmla="*/ 613610 w 4719663"/>
              <a:gd name="connsiteY0" fmla="*/ 4896854 h 4896854"/>
              <a:gd name="connsiteX1" fmla="*/ 577515 w 4719663"/>
              <a:gd name="connsiteY1" fmla="*/ 4824664 h 4896854"/>
              <a:gd name="connsiteX2" fmla="*/ 661736 w 4719663"/>
              <a:gd name="connsiteY2" fmla="*/ 4740443 h 4896854"/>
              <a:gd name="connsiteX3" fmla="*/ 745957 w 4719663"/>
              <a:gd name="connsiteY3" fmla="*/ 4608096 h 4896854"/>
              <a:gd name="connsiteX4" fmla="*/ 902368 w 4719663"/>
              <a:gd name="connsiteY4" fmla="*/ 4463717 h 4896854"/>
              <a:gd name="connsiteX5" fmla="*/ 1022683 w 4719663"/>
              <a:gd name="connsiteY5" fmla="*/ 4379496 h 4896854"/>
              <a:gd name="connsiteX6" fmla="*/ 1118936 w 4719663"/>
              <a:gd name="connsiteY6" fmla="*/ 4331369 h 4896854"/>
              <a:gd name="connsiteX7" fmla="*/ 1359568 w 4719663"/>
              <a:gd name="connsiteY7" fmla="*/ 4259180 h 4896854"/>
              <a:gd name="connsiteX8" fmla="*/ 1395662 w 4719663"/>
              <a:gd name="connsiteY8" fmla="*/ 4247148 h 4896854"/>
              <a:gd name="connsiteX9" fmla="*/ 1419725 w 4719663"/>
              <a:gd name="connsiteY9" fmla="*/ 4211054 h 4896854"/>
              <a:gd name="connsiteX10" fmla="*/ 1600199 w 4719663"/>
              <a:gd name="connsiteY10" fmla="*/ 4114801 h 4896854"/>
              <a:gd name="connsiteX11" fmla="*/ 1852862 w 4719663"/>
              <a:gd name="connsiteY11" fmla="*/ 4078706 h 4896854"/>
              <a:gd name="connsiteX12" fmla="*/ 2165683 w 4719663"/>
              <a:gd name="connsiteY12" fmla="*/ 4066675 h 4896854"/>
              <a:gd name="connsiteX13" fmla="*/ 2370220 w 4719663"/>
              <a:gd name="connsiteY13" fmla="*/ 4042611 h 4896854"/>
              <a:gd name="connsiteX14" fmla="*/ 2538662 w 4719663"/>
              <a:gd name="connsiteY14" fmla="*/ 4006517 h 4896854"/>
              <a:gd name="connsiteX15" fmla="*/ 2707104 w 4719663"/>
              <a:gd name="connsiteY15" fmla="*/ 3970422 h 4896854"/>
              <a:gd name="connsiteX16" fmla="*/ 2803357 w 4719663"/>
              <a:gd name="connsiteY16" fmla="*/ 3946359 h 4896854"/>
              <a:gd name="connsiteX17" fmla="*/ 3007894 w 4719663"/>
              <a:gd name="connsiteY17" fmla="*/ 3886201 h 4896854"/>
              <a:gd name="connsiteX18" fmla="*/ 3152273 w 4719663"/>
              <a:gd name="connsiteY18" fmla="*/ 3850106 h 4896854"/>
              <a:gd name="connsiteX19" fmla="*/ 3332747 w 4719663"/>
              <a:gd name="connsiteY19" fmla="*/ 3777917 h 4896854"/>
              <a:gd name="connsiteX20" fmla="*/ 3441031 w 4719663"/>
              <a:gd name="connsiteY20" fmla="*/ 3693696 h 4896854"/>
              <a:gd name="connsiteX21" fmla="*/ 3729789 w 4719663"/>
              <a:gd name="connsiteY21" fmla="*/ 3453064 h 4896854"/>
              <a:gd name="connsiteX22" fmla="*/ 3777915 w 4719663"/>
              <a:gd name="connsiteY22" fmla="*/ 3380875 h 4896854"/>
              <a:gd name="connsiteX23" fmla="*/ 3910262 w 4719663"/>
              <a:gd name="connsiteY23" fmla="*/ 3092117 h 4896854"/>
              <a:gd name="connsiteX24" fmla="*/ 3886199 w 4719663"/>
              <a:gd name="connsiteY24" fmla="*/ 3176338 h 4896854"/>
              <a:gd name="connsiteX25" fmla="*/ 3934325 w 4719663"/>
              <a:gd name="connsiteY25" fmla="*/ 2875548 h 4896854"/>
              <a:gd name="connsiteX26" fmla="*/ 4018547 w 4719663"/>
              <a:gd name="connsiteY26" fmla="*/ 2731170 h 4896854"/>
              <a:gd name="connsiteX27" fmla="*/ 4138863 w 4719663"/>
              <a:gd name="connsiteY27" fmla="*/ 2502570 h 4896854"/>
              <a:gd name="connsiteX28" fmla="*/ 4138862 w 4719663"/>
              <a:gd name="connsiteY28" fmla="*/ 2538664 h 4896854"/>
              <a:gd name="connsiteX29" fmla="*/ 4150894 w 4719663"/>
              <a:gd name="connsiteY29" fmla="*/ 2502569 h 4896854"/>
              <a:gd name="connsiteX30" fmla="*/ 4235115 w 4719663"/>
              <a:gd name="connsiteY30" fmla="*/ 2322096 h 4896854"/>
              <a:gd name="connsiteX31" fmla="*/ 4247147 w 4719663"/>
              <a:gd name="connsiteY31" fmla="*/ 2286001 h 4896854"/>
              <a:gd name="connsiteX32" fmla="*/ 4307304 w 4719663"/>
              <a:gd name="connsiteY32" fmla="*/ 2141622 h 4896854"/>
              <a:gd name="connsiteX33" fmla="*/ 4319336 w 4719663"/>
              <a:gd name="connsiteY33" fmla="*/ 2105527 h 4896854"/>
              <a:gd name="connsiteX34" fmla="*/ 4355431 w 4719663"/>
              <a:gd name="connsiteY34" fmla="*/ 1876927 h 4896854"/>
              <a:gd name="connsiteX35" fmla="*/ 4379494 w 4719663"/>
              <a:gd name="connsiteY35" fmla="*/ 1479885 h 4896854"/>
              <a:gd name="connsiteX36" fmla="*/ 4391525 w 4719663"/>
              <a:gd name="connsiteY36" fmla="*/ 1022685 h 4896854"/>
              <a:gd name="connsiteX37" fmla="*/ 4415589 w 4719663"/>
              <a:gd name="connsiteY37" fmla="*/ 998622 h 4896854"/>
              <a:gd name="connsiteX38" fmla="*/ 4511841 w 4719663"/>
              <a:gd name="connsiteY38" fmla="*/ 757990 h 4896854"/>
              <a:gd name="connsiteX39" fmla="*/ 4698158 w 4719663"/>
              <a:gd name="connsiteY39" fmla="*/ 450555 h 4896854"/>
              <a:gd name="connsiteX40" fmla="*/ 4162926 w 4719663"/>
              <a:gd name="connsiteY40" fmla="*/ 0 h 4896854"/>
              <a:gd name="connsiteX41" fmla="*/ 3934324 w 4719663"/>
              <a:gd name="connsiteY41" fmla="*/ 204539 h 4896854"/>
              <a:gd name="connsiteX42" fmla="*/ 3645568 w 4719663"/>
              <a:gd name="connsiteY42" fmla="*/ 842211 h 4896854"/>
              <a:gd name="connsiteX43" fmla="*/ 3814010 w 4719663"/>
              <a:gd name="connsiteY43" fmla="*/ 1792706 h 4896854"/>
              <a:gd name="connsiteX44" fmla="*/ 3092115 w 4719663"/>
              <a:gd name="connsiteY44" fmla="*/ 2851485 h 4896854"/>
              <a:gd name="connsiteX45" fmla="*/ 2273968 w 4719663"/>
              <a:gd name="connsiteY45" fmla="*/ 3320717 h 4896854"/>
              <a:gd name="connsiteX46" fmla="*/ 637673 w 4719663"/>
              <a:gd name="connsiteY46" fmla="*/ 3681664 h 4896854"/>
              <a:gd name="connsiteX47" fmla="*/ 348914 w 4719663"/>
              <a:gd name="connsiteY47" fmla="*/ 3886202 h 4896854"/>
              <a:gd name="connsiteX48" fmla="*/ 96251 w 4719663"/>
              <a:gd name="connsiteY48" fmla="*/ 4186991 h 4896854"/>
              <a:gd name="connsiteX49" fmla="*/ 0 w 4719663"/>
              <a:gd name="connsiteY49" fmla="*/ 4451685 h 4896854"/>
              <a:gd name="connsiteX50" fmla="*/ 613610 w 4719663"/>
              <a:gd name="connsiteY50" fmla="*/ 4896854 h 4896854"/>
              <a:gd name="connsiteX0" fmla="*/ 613610 w 4719663"/>
              <a:gd name="connsiteY0" fmla="*/ 4879437 h 4879437"/>
              <a:gd name="connsiteX1" fmla="*/ 577515 w 4719663"/>
              <a:gd name="connsiteY1" fmla="*/ 4807247 h 4879437"/>
              <a:gd name="connsiteX2" fmla="*/ 661736 w 4719663"/>
              <a:gd name="connsiteY2" fmla="*/ 4723026 h 4879437"/>
              <a:gd name="connsiteX3" fmla="*/ 745957 w 4719663"/>
              <a:gd name="connsiteY3" fmla="*/ 4590679 h 4879437"/>
              <a:gd name="connsiteX4" fmla="*/ 902368 w 4719663"/>
              <a:gd name="connsiteY4" fmla="*/ 4446300 h 4879437"/>
              <a:gd name="connsiteX5" fmla="*/ 1022683 w 4719663"/>
              <a:gd name="connsiteY5" fmla="*/ 4362079 h 4879437"/>
              <a:gd name="connsiteX6" fmla="*/ 1118936 w 4719663"/>
              <a:gd name="connsiteY6" fmla="*/ 4313952 h 4879437"/>
              <a:gd name="connsiteX7" fmla="*/ 1359568 w 4719663"/>
              <a:gd name="connsiteY7" fmla="*/ 4241763 h 4879437"/>
              <a:gd name="connsiteX8" fmla="*/ 1395662 w 4719663"/>
              <a:gd name="connsiteY8" fmla="*/ 4229731 h 4879437"/>
              <a:gd name="connsiteX9" fmla="*/ 1419725 w 4719663"/>
              <a:gd name="connsiteY9" fmla="*/ 4193637 h 4879437"/>
              <a:gd name="connsiteX10" fmla="*/ 1600199 w 4719663"/>
              <a:gd name="connsiteY10" fmla="*/ 4097384 h 4879437"/>
              <a:gd name="connsiteX11" fmla="*/ 1852862 w 4719663"/>
              <a:gd name="connsiteY11" fmla="*/ 4061289 h 4879437"/>
              <a:gd name="connsiteX12" fmla="*/ 2165683 w 4719663"/>
              <a:gd name="connsiteY12" fmla="*/ 4049258 h 4879437"/>
              <a:gd name="connsiteX13" fmla="*/ 2370220 w 4719663"/>
              <a:gd name="connsiteY13" fmla="*/ 4025194 h 4879437"/>
              <a:gd name="connsiteX14" fmla="*/ 2538662 w 4719663"/>
              <a:gd name="connsiteY14" fmla="*/ 3989100 h 4879437"/>
              <a:gd name="connsiteX15" fmla="*/ 2707104 w 4719663"/>
              <a:gd name="connsiteY15" fmla="*/ 3953005 h 4879437"/>
              <a:gd name="connsiteX16" fmla="*/ 2803357 w 4719663"/>
              <a:gd name="connsiteY16" fmla="*/ 3928942 h 4879437"/>
              <a:gd name="connsiteX17" fmla="*/ 3007894 w 4719663"/>
              <a:gd name="connsiteY17" fmla="*/ 3868784 h 4879437"/>
              <a:gd name="connsiteX18" fmla="*/ 3152273 w 4719663"/>
              <a:gd name="connsiteY18" fmla="*/ 3832689 h 4879437"/>
              <a:gd name="connsiteX19" fmla="*/ 3332747 w 4719663"/>
              <a:gd name="connsiteY19" fmla="*/ 3760500 h 4879437"/>
              <a:gd name="connsiteX20" fmla="*/ 3441031 w 4719663"/>
              <a:gd name="connsiteY20" fmla="*/ 3676279 h 4879437"/>
              <a:gd name="connsiteX21" fmla="*/ 3729789 w 4719663"/>
              <a:gd name="connsiteY21" fmla="*/ 3435647 h 4879437"/>
              <a:gd name="connsiteX22" fmla="*/ 3777915 w 4719663"/>
              <a:gd name="connsiteY22" fmla="*/ 3363458 h 4879437"/>
              <a:gd name="connsiteX23" fmla="*/ 3910262 w 4719663"/>
              <a:gd name="connsiteY23" fmla="*/ 3074700 h 4879437"/>
              <a:gd name="connsiteX24" fmla="*/ 3886199 w 4719663"/>
              <a:gd name="connsiteY24" fmla="*/ 3158921 h 4879437"/>
              <a:gd name="connsiteX25" fmla="*/ 3934325 w 4719663"/>
              <a:gd name="connsiteY25" fmla="*/ 2858131 h 4879437"/>
              <a:gd name="connsiteX26" fmla="*/ 4018547 w 4719663"/>
              <a:gd name="connsiteY26" fmla="*/ 2713753 h 4879437"/>
              <a:gd name="connsiteX27" fmla="*/ 4138863 w 4719663"/>
              <a:gd name="connsiteY27" fmla="*/ 2485153 h 4879437"/>
              <a:gd name="connsiteX28" fmla="*/ 4138862 w 4719663"/>
              <a:gd name="connsiteY28" fmla="*/ 2521247 h 4879437"/>
              <a:gd name="connsiteX29" fmla="*/ 4150894 w 4719663"/>
              <a:gd name="connsiteY29" fmla="*/ 2485152 h 4879437"/>
              <a:gd name="connsiteX30" fmla="*/ 4235115 w 4719663"/>
              <a:gd name="connsiteY30" fmla="*/ 2304679 h 4879437"/>
              <a:gd name="connsiteX31" fmla="*/ 4247147 w 4719663"/>
              <a:gd name="connsiteY31" fmla="*/ 2268584 h 4879437"/>
              <a:gd name="connsiteX32" fmla="*/ 4307304 w 4719663"/>
              <a:gd name="connsiteY32" fmla="*/ 2124205 h 4879437"/>
              <a:gd name="connsiteX33" fmla="*/ 4319336 w 4719663"/>
              <a:gd name="connsiteY33" fmla="*/ 2088110 h 4879437"/>
              <a:gd name="connsiteX34" fmla="*/ 4355431 w 4719663"/>
              <a:gd name="connsiteY34" fmla="*/ 1859510 h 4879437"/>
              <a:gd name="connsiteX35" fmla="*/ 4379494 w 4719663"/>
              <a:gd name="connsiteY35" fmla="*/ 1462468 h 4879437"/>
              <a:gd name="connsiteX36" fmla="*/ 4391525 w 4719663"/>
              <a:gd name="connsiteY36" fmla="*/ 1005268 h 4879437"/>
              <a:gd name="connsiteX37" fmla="*/ 4415589 w 4719663"/>
              <a:gd name="connsiteY37" fmla="*/ 981205 h 4879437"/>
              <a:gd name="connsiteX38" fmla="*/ 4511841 w 4719663"/>
              <a:gd name="connsiteY38" fmla="*/ 740573 h 4879437"/>
              <a:gd name="connsiteX39" fmla="*/ 4698158 w 4719663"/>
              <a:gd name="connsiteY39" fmla="*/ 433138 h 4879437"/>
              <a:gd name="connsiteX40" fmla="*/ 4101966 w 4719663"/>
              <a:gd name="connsiteY40" fmla="*/ 0 h 4879437"/>
              <a:gd name="connsiteX41" fmla="*/ 3934324 w 4719663"/>
              <a:gd name="connsiteY41" fmla="*/ 187122 h 4879437"/>
              <a:gd name="connsiteX42" fmla="*/ 3645568 w 4719663"/>
              <a:gd name="connsiteY42" fmla="*/ 824794 h 4879437"/>
              <a:gd name="connsiteX43" fmla="*/ 3814010 w 4719663"/>
              <a:gd name="connsiteY43" fmla="*/ 1775289 h 4879437"/>
              <a:gd name="connsiteX44" fmla="*/ 3092115 w 4719663"/>
              <a:gd name="connsiteY44" fmla="*/ 2834068 h 4879437"/>
              <a:gd name="connsiteX45" fmla="*/ 2273968 w 4719663"/>
              <a:gd name="connsiteY45" fmla="*/ 3303300 h 4879437"/>
              <a:gd name="connsiteX46" fmla="*/ 637673 w 4719663"/>
              <a:gd name="connsiteY46" fmla="*/ 3664247 h 4879437"/>
              <a:gd name="connsiteX47" fmla="*/ 348914 w 4719663"/>
              <a:gd name="connsiteY47" fmla="*/ 3868785 h 4879437"/>
              <a:gd name="connsiteX48" fmla="*/ 96251 w 4719663"/>
              <a:gd name="connsiteY48" fmla="*/ 4169574 h 4879437"/>
              <a:gd name="connsiteX49" fmla="*/ 0 w 4719663"/>
              <a:gd name="connsiteY49" fmla="*/ 4434268 h 4879437"/>
              <a:gd name="connsiteX50" fmla="*/ 613610 w 4719663"/>
              <a:gd name="connsiteY50" fmla="*/ 4879437 h 4879437"/>
              <a:gd name="connsiteX0" fmla="*/ 613610 w 4719663"/>
              <a:gd name="connsiteY0" fmla="*/ 4827186 h 4827186"/>
              <a:gd name="connsiteX1" fmla="*/ 577515 w 4719663"/>
              <a:gd name="connsiteY1" fmla="*/ 4754996 h 4827186"/>
              <a:gd name="connsiteX2" fmla="*/ 661736 w 4719663"/>
              <a:gd name="connsiteY2" fmla="*/ 4670775 h 4827186"/>
              <a:gd name="connsiteX3" fmla="*/ 745957 w 4719663"/>
              <a:gd name="connsiteY3" fmla="*/ 4538428 h 4827186"/>
              <a:gd name="connsiteX4" fmla="*/ 902368 w 4719663"/>
              <a:gd name="connsiteY4" fmla="*/ 4394049 h 4827186"/>
              <a:gd name="connsiteX5" fmla="*/ 1022683 w 4719663"/>
              <a:gd name="connsiteY5" fmla="*/ 4309828 h 4827186"/>
              <a:gd name="connsiteX6" fmla="*/ 1118936 w 4719663"/>
              <a:gd name="connsiteY6" fmla="*/ 4261701 h 4827186"/>
              <a:gd name="connsiteX7" fmla="*/ 1359568 w 4719663"/>
              <a:gd name="connsiteY7" fmla="*/ 4189512 h 4827186"/>
              <a:gd name="connsiteX8" fmla="*/ 1395662 w 4719663"/>
              <a:gd name="connsiteY8" fmla="*/ 4177480 h 4827186"/>
              <a:gd name="connsiteX9" fmla="*/ 1419725 w 4719663"/>
              <a:gd name="connsiteY9" fmla="*/ 4141386 h 4827186"/>
              <a:gd name="connsiteX10" fmla="*/ 1600199 w 4719663"/>
              <a:gd name="connsiteY10" fmla="*/ 4045133 h 4827186"/>
              <a:gd name="connsiteX11" fmla="*/ 1852862 w 4719663"/>
              <a:gd name="connsiteY11" fmla="*/ 4009038 h 4827186"/>
              <a:gd name="connsiteX12" fmla="*/ 2165683 w 4719663"/>
              <a:gd name="connsiteY12" fmla="*/ 3997007 h 4827186"/>
              <a:gd name="connsiteX13" fmla="*/ 2370220 w 4719663"/>
              <a:gd name="connsiteY13" fmla="*/ 3972943 h 4827186"/>
              <a:gd name="connsiteX14" fmla="*/ 2538662 w 4719663"/>
              <a:gd name="connsiteY14" fmla="*/ 3936849 h 4827186"/>
              <a:gd name="connsiteX15" fmla="*/ 2707104 w 4719663"/>
              <a:gd name="connsiteY15" fmla="*/ 3900754 h 4827186"/>
              <a:gd name="connsiteX16" fmla="*/ 2803357 w 4719663"/>
              <a:gd name="connsiteY16" fmla="*/ 3876691 h 4827186"/>
              <a:gd name="connsiteX17" fmla="*/ 3007894 w 4719663"/>
              <a:gd name="connsiteY17" fmla="*/ 3816533 h 4827186"/>
              <a:gd name="connsiteX18" fmla="*/ 3152273 w 4719663"/>
              <a:gd name="connsiteY18" fmla="*/ 3780438 h 4827186"/>
              <a:gd name="connsiteX19" fmla="*/ 3332747 w 4719663"/>
              <a:gd name="connsiteY19" fmla="*/ 3708249 h 4827186"/>
              <a:gd name="connsiteX20" fmla="*/ 3441031 w 4719663"/>
              <a:gd name="connsiteY20" fmla="*/ 3624028 h 4827186"/>
              <a:gd name="connsiteX21" fmla="*/ 3729789 w 4719663"/>
              <a:gd name="connsiteY21" fmla="*/ 3383396 h 4827186"/>
              <a:gd name="connsiteX22" fmla="*/ 3777915 w 4719663"/>
              <a:gd name="connsiteY22" fmla="*/ 3311207 h 4827186"/>
              <a:gd name="connsiteX23" fmla="*/ 3910262 w 4719663"/>
              <a:gd name="connsiteY23" fmla="*/ 3022449 h 4827186"/>
              <a:gd name="connsiteX24" fmla="*/ 3886199 w 4719663"/>
              <a:gd name="connsiteY24" fmla="*/ 3106670 h 4827186"/>
              <a:gd name="connsiteX25" fmla="*/ 3934325 w 4719663"/>
              <a:gd name="connsiteY25" fmla="*/ 2805880 h 4827186"/>
              <a:gd name="connsiteX26" fmla="*/ 4018547 w 4719663"/>
              <a:gd name="connsiteY26" fmla="*/ 2661502 h 4827186"/>
              <a:gd name="connsiteX27" fmla="*/ 4138863 w 4719663"/>
              <a:gd name="connsiteY27" fmla="*/ 2432902 h 4827186"/>
              <a:gd name="connsiteX28" fmla="*/ 4138862 w 4719663"/>
              <a:gd name="connsiteY28" fmla="*/ 2468996 h 4827186"/>
              <a:gd name="connsiteX29" fmla="*/ 4150894 w 4719663"/>
              <a:gd name="connsiteY29" fmla="*/ 2432901 h 4827186"/>
              <a:gd name="connsiteX30" fmla="*/ 4235115 w 4719663"/>
              <a:gd name="connsiteY30" fmla="*/ 2252428 h 4827186"/>
              <a:gd name="connsiteX31" fmla="*/ 4247147 w 4719663"/>
              <a:gd name="connsiteY31" fmla="*/ 2216333 h 4827186"/>
              <a:gd name="connsiteX32" fmla="*/ 4307304 w 4719663"/>
              <a:gd name="connsiteY32" fmla="*/ 2071954 h 4827186"/>
              <a:gd name="connsiteX33" fmla="*/ 4319336 w 4719663"/>
              <a:gd name="connsiteY33" fmla="*/ 2035859 h 4827186"/>
              <a:gd name="connsiteX34" fmla="*/ 4355431 w 4719663"/>
              <a:gd name="connsiteY34" fmla="*/ 1807259 h 4827186"/>
              <a:gd name="connsiteX35" fmla="*/ 4379494 w 4719663"/>
              <a:gd name="connsiteY35" fmla="*/ 1410217 h 4827186"/>
              <a:gd name="connsiteX36" fmla="*/ 4391525 w 4719663"/>
              <a:gd name="connsiteY36" fmla="*/ 953017 h 4827186"/>
              <a:gd name="connsiteX37" fmla="*/ 4415589 w 4719663"/>
              <a:gd name="connsiteY37" fmla="*/ 928954 h 4827186"/>
              <a:gd name="connsiteX38" fmla="*/ 4511841 w 4719663"/>
              <a:gd name="connsiteY38" fmla="*/ 688322 h 4827186"/>
              <a:gd name="connsiteX39" fmla="*/ 4698158 w 4719663"/>
              <a:gd name="connsiteY39" fmla="*/ 380887 h 4827186"/>
              <a:gd name="connsiteX40" fmla="*/ 4093258 w 4719663"/>
              <a:gd name="connsiteY40" fmla="*/ 0 h 4827186"/>
              <a:gd name="connsiteX41" fmla="*/ 3934324 w 4719663"/>
              <a:gd name="connsiteY41" fmla="*/ 134871 h 4827186"/>
              <a:gd name="connsiteX42" fmla="*/ 3645568 w 4719663"/>
              <a:gd name="connsiteY42" fmla="*/ 772543 h 4827186"/>
              <a:gd name="connsiteX43" fmla="*/ 3814010 w 4719663"/>
              <a:gd name="connsiteY43" fmla="*/ 1723038 h 4827186"/>
              <a:gd name="connsiteX44" fmla="*/ 3092115 w 4719663"/>
              <a:gd name="connsiteY44" fmla="*/ 2781817 h 4827186"/>
              <a:gd name="connsiteX45" fmla="*/ 2273968 w 4719663"/>
              <a:gd name="connsiteY45" fmla="*/ 3251049 h 4827186"/>
              <a:gd name="connsiteX46" fmla="*/ 637673 w 4719663"/>
              <a:gd name="connsiteY46" fmla="*/ 3611996 h 4827186"/>
              <a:gd name="connsiteX47" fmla="*/ 348914 w 4719663"/>
              <a:gd name="connsiteY47" fmla="*/ 3816534 h 4827186"/>
              <a:gd name="connsiteX48" fmla="*/ 96251 w 4719663"/>
              <a:gd name="connsiteY48" fmla="*/ 4117323 h 4827186"/>
              <a:gd name="connsiteX49" fmla="*/ 0 w 4719663"/>
              <a:gd name="connsiteY49" fmla="*/ 4382017 h 4827186"/>
              <a:gd name="connsiteX50" fmla="*/ 613610 w 4719663"/>
              <a:gd name="connsiteY50" fmla="*/ 4827186 h 4827186"/>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093258 w 4719663"/>
              <a:gd name="connsiteY40" fmla="*/ 0 h 4905563"/>
              <a:gd name="connsiteX41" fmla="*/ 3934324 w 4719663"/>
              <a:gd name="connsiteY41" fmla="*/ 213248 h 4905563"/>
              <a:gd name="connsiteX42" fmla="*/ 3645568 w 4719663"/>
              <a:gd name="connsiteY42" fmla="*/ 850920 h 4905563"/>
              <a:gd name="connsiteX43" fmla="*/ 3814010 w 4719663"/>
              <a:gd name="connsiteY43" fmla="*/ 1801415 h 4905563"/>
              <a:gd name="connsiteX44" fmla="*/ 3092115 w 4719663"/>
              <a:gd name="connsiteY44" fmla="*/ 2860194 h 4905563"/>
              <a:gd name="connsiteX45" fmla="*/ 2273968 w 4719663"/>
              <a:gd name="connsiteY45" fmla="*/ 3329426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4324 w 4719663"/>
              <a:gd name="connsiteY41" fmla="*/ 213248 h 4905563"/>
              <a:gd name="connsiteX42" fmla="*/ 3645568 w 4719663"/>
              <a:gd name="connsiteY42" fmla="*/ 850920 h 4905563"/>
              <a:gd name="connsiteX43" fmla="*/ 3814010 w 4719663"/>
              <a:gd name="connsiteY43" fmla="*/ 1801415 h 4905563"/>
              <a:gd name="connsiteX44" fmla="*/ 3092115 w 4719663"/>
              <a:gd name="connsiteY44" fmla="*/ 2860194 h 4905563"/>
              <a:gd name="connsiteX45" fmla="*/ 2273968 w 4719663"/>
              <a:gd name="connsiteY45" fmla="*/ 3329426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4324 w 4719663"/>
              <a:gd name="connsiteY41" fmla="*/ 213248 h 4905563"/>
              <a:gd name="connsiteX42" fmla="*/ 3645568 w 4719663"/>
              <a:gd name="connsiteY42" fmla="*/ 850920 h 4905563"/>
              <a:gd name="connsiteX43" fmla="*/ 3814010 w 4719663"/>
              <a:gd name="connsiteY43" fmla="*/ 1801415 h 4905563"/>
              <a:gd name="connsiteX44" fmla="*/ 3092115 w 4719663"/>
              <a:gd name="connsiteY44" fmla="*/ 2860194 h 4905563"/>
              <a:gd name="connsiteX45" fmla="*/ 2273968 w 4719663"/>
              <a:gd name="connsiteY45" fmla="*/ 3329426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86576 w 4719663"/>
              <a:gd name="connsiteY41" fmla="*/ 239374 h 4905563"/>
              <a:gd name="connsiteX42" fmla="*/ 3645568 w 4719663"/>
              <a:gd name="connsiteY42" fmla="*/ 850920 h 4905563"/>
              <a:gd name="connsiteX43" fmla="*/ 3814010 w 4719663"/>
              <a:gd name="connsiteY43" fmla="*/ 1801415 h 4905563"/>
              <a:gd name="connsiteX44" fmla="*/ 3092115 w 4719663"/>
              <a:gd name="connsiteY44" fmla="*/ 2860194 h 4905563"/>
              <a:gd name="connsiteX45" fmla="*/ 2273968 w 4719663"/>
              <a:gd name="connsiteY45" fmla="*/ 3329426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86576 w 4719663"/>
              <a:gd name="connsiteY41" fmla="*/ 239374 h 4905563"/>
              <a:gd name="connsiteX42" fmla="*/ 3645568 w 4719663"/>
              <a:gd name="connsiteY42" fmla="*/ 850920 h 4905563"/>
              <a:gd name="connsiteX43" fmla="*/ 3814010 w 4719663"/>
              <a:gd name="connsiteY43" fmla="*/ 1801415 h 4905563"/>
              <a:gd name="connsiteX44" fmla="*/ 3092115 w 4719663"/>
              <a:gd name="connsiteY44" fmla="*/ 2860194 h 4905563"/>
              <a:gd name="connsiteX45" fmla="*/ 2273968 w 4719663"/>
              <a:gd name="connsiteY45" fmla="*/ 3329426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4324 w 4719663"/>
              <a:gd name="connsiteY41" fmla="*/ 221957 h 4905563"/>
              <a:gd name="connsiteX42" fmla="*/ 3645568 w 4719663"/>
              <a:gd name="connsiteY42" fmla="*/ 850920 h 4905563"/>
              <a:gd name="connsiteX43" fmla="*/ 3814010 w 4719663"/>
              <a:gd name="connsiteY43" fmla="*/ 1801415 h 4905563"/>
              <a:gd name="connsiteX44" fmla="*/ 3092115 w 4719663"/>
              <a:gd name="connsiteY44" fmla="*/ 2860194 h 4905563"/>
              <a:gd name="connsiteX45" fmla="*/ 2273968 w 4719663"/>
              <a:gd name="connsiteY45" fmla="*/ 3329426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4324 w 4719663"/>
              <a:gd name="connsiteY41" fmla="*/ 221957 h 4905563"/>
              <a:gd name="connsiteX42" fmla="*/ 3645568 w 4719663"/>
              <a:gd name="connsiteY42" fmla="*/ 850920 h 4905563"/>
              <a:gd name="connsiteX43" fmla="*/ 3814010 w 4719663"/>
              <a:gd name="connsiteY43" fmla="*/ 1801415 h 4905563"/>
              <a:gd name="connsiteX44" fmla="*/ 3092115 w 4719663"/>
              <a:gd name="connsiteY44" fmla="*/ 2860194 h 4905563"/>
              <a:gd name="connsiteX45" fmla="*/ 2273968 w 4719663"/>
              <a:gd name="connsiteY45" fmla="*/ 3329426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890781 w 4719663"/>
              <a:gd name="connsiteY41" fmla="*/ 213249 h 4905563"/>
              <a:gd name="connsiteX42" fmla="*/ 3645568 w 4719663"/>
              <a:gd name="connsiteY42" fmla="*/ 850920 h 4905563"/>
              <a:gd name="connsiteX43" fmla="*/ 3814010 w 4719663"/>
              <a:gd name="connsiteY43" fmla="*/ 1801415 h 4905563"/>
              <a:gd name="connsiteX44" fmla="*/ 3092115 w 4719663"/>
              <a:gd name="connsiteY44" fmla="*/ 2860194 h 4905563"/>
              <a:gd name="connsiteX45" fmla="*/ 2273968 w 4719663"/>
              <a:gd name="connsiteY45" fmla="*/ 3329426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890781 w 4719663"/>
              <a:gd name="connsiteY41" fmla="*/ 213249 h 4905563"/>
              <a:gd name="connsiteX42" fmla="*/ 3645568 w 4719663"/>
              <a:gd name="connsiteY42" fmla="*/ 850920 h 4905563"/>
              <a:gd name="connsiteX43" fmla="*/ 3814010 w 4719663"/>
              <a:gd name="connsiteY43" fmla="*/ 1801415 h 4905563"/>
              <a:gd name="connsiteX44" fmla="*/ 3092115 w 4719663"/>
              <a:gd name="connsiteY44" fmla="*/ 2860194 h 4905563"/>
              <a:gd name="connsiteX45" fmla="*/ 2273968 w 4719663"/>
              <a:gd name="connsiteY45" fmla="*/ 3329426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890781 w 4719663"/>
              <a:gd name="connsiteY41" fmla="*/ 213249 h 4905563"/>
              <a:gd name="connsiteX42" fmla="*/ 3824604 w 4719663"/>
              <a:gd name="connsiteY42" fmla="*/ 426225 h 4905563"/>
              <a:gd name="connsiteX43" fmla="*/ 3645568 w 4719663"/>
              <a:gd name="connsiteY43" fmla="*/ 850920 h 4905563"/>
              <a:gd name="connsiteX44" fmla="*/ 3814010 w 4719663"/>
              <a:gd name="connsiteY44" fmla="*/ 1801415 h 4905563"/>
              <a:gd name="connsiteX45" fmla="*/ 3092115 w 4719663"/>
              <a:gd name="connsiteY45" fmla="*/ 2860194 h 4905563"/>
              <a:gd name="connsiteX46" fmla="*/ 2273968 w 4719663"/>
              <a:gd name="connsiteY46" fmla="*/ 3329426 h 4905563"/>
              <a:gd name="connsiteX47" fmla="*/ 637673 w 4719663"/>
              <a:gd name="connsiteY47" fmla="*/ 3690373 h 4905563"/>
              <a:gd name="connsiteX48" fmla="*/ 348914 w 4719663"/>
              <a:gd name="connsiteY48" fmla="*/ 3894911 h 4905563"/>
              <a:gd name="connsiteX49" fmla="*/ 96251 w 4719663"/>
              <a:gd name="connsiteY49" fmla="*/ 4195700 h 4905563"/>
              <a:gd name="connsiteX50" fmla="*/ 0 w 4719663"/>
              <a:gd name="connsiteY50" fmla="*/ 4460394 h 4905563"/>
              <a:gd name="connsiteX51" fmla="*/ 613610 w 4719663"/>
              <a:gd name="connsiteY51"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890781 w 4719663"/>
              <a:gd name="connsiteY41" fmla="*/ 213249 h 4905563"/>
              <a:gd name="connsiteX42" fmla="*/ 3865547 w 4719663"/>
              <a:gd name="connsiteY42" fmla="*/ 426225 h 4905563"/>
              <a:gd name="connsiteX43" fmla="*/ 3645568 w 4719663"/>
              <a:gd name="connsiteY43" fmla="*/ 850920 h 4905563"/>
              <a:gd name="connsiteX44" fmla="*/ 3814010 w 4719663"/>
              <a:gd name="connsiteY44" fmla="*/ 1801415 h 4905563"/>
              <a:gd name="connsiteX45" fmla="*/ 3092115 w 4719663"/>
              <a:gd name="connsiteY45" fmla="*/ 2860194 h 4905563"/>
              <a:gd name="connsiteX46" fmla="*/ 2273968 w 4719663"/>
              <a:gd name="connsiteY46" fmla="*/ 3329426 h 4905563"/>
              <a:gd name="connsiteX47" fmla="*/ 637673 w 4719663"/>
              <a:gd name="connsiteY47" fmla="*/ 3690373 h 4905563"/>
              <a:gd name="connsiteX48" fmla="*/ 348914 w 4719663"/>
              <a:gd name="connsiteY48" fmla="*/ 3894911 h 4905563"/>
              <a:gd name="connsiteX49" fmla="*/ 96251 w 4719663"/>
              <a:gd name="connsiteY49" fmla="*/ 4195700 h 4905563"/>
              <a:gd name="connsiteX50" fmla="*/ 0 w 4719663"/>
              <a:gd name="connsiteY50" fmla="*/ 4460394 h 4905563"/>
              <a:gd name="connsiteX51" fmla="*/ 613610 w 4719663"/>
              <a:gd name="connsiteY51"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890781 w 4719663"/>
              <a:gd name="connsiteY41" fmla="*/ 213249 h 4905563"/>
              <a:gd name="connsiteX42" fmla="*/ 3865547 w 4719663"/>
              <a:gd name="connsiteY42" fmla="*/ 426225 h 4905563"/>
              <a:gd name="connsiteX43" fmla="*/ 3645568 w 4719663"/>
              <a:gd name="connsiteY43" fmla="*/ 850920 h 4905563"/>
              <a:gd name="connsiteX44" fmla="*/ 3814010 w 4719663"/>
              <a:gd name="connsiteY44" fmla="*/ 1801415 h 4905563"/>
              <a:gd name="connsiteX45" fmla="*/ 3092115 w 4719663"/>
              <a:gd name="connsiteY45" fmla="*/ 2860194 h 4905563"/>
              <a:gd name="connsiteX46" fmla="*/ 2273968 w 4719663"/>
              <a:gd name="connsiteY46" fmla="*/ 3329426 h 4905563"/>
              <a:gd name="connsiteX47" fmla="*/ 637673 w 4719663"/>
              <a:gd name="connsiteY47" fmla="*/ 3690373 h 4905563"/>
              <a:gd name="connsiteX48" fmla="*/ 348914 w 4719663"/>
              <a:gd name="connsiteY48" fmla="*/ 3894911 h 4905563"/>
              <a:gd name="connsiteX49" fmla="*/ 96251 w 4719663"/>
              <a:gd name="connsiteY49" fmla="*/ 4195700 h 4905563"/>
              <a:gd name="connsiteX50" fmla="*/ 0 w 4719663"/>
              <a:gd name="connsiteY50" fmla="*/ 4460394 h 4905563"/>
              <a:gd name="connsiteX51" fmla="*/ 613610 w 4719663"/>
              <a:gd name="connsiteY51"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890781 w 4719663"/>
              <a:gd name="connsiteY41" fmla="*/ 213249 h 4905563"/>
              <a:gd name="connsiteX42" fmla="*/ 3892842 w 4719663"/>
              <a:gd name="connsiteY42" fmla="*/ 371634 h 4905563"/>
              <a:gd name="connsiteX43" fmla="*/ 3645568 w 4719663"/>
              <a:gd name="connsiteY43" fmla="*/ 850920 h 4905563"/>
              <a:gd name="connsiteX44" fmla="*/ 3814010 w 4719663"/>
              <a:gd name="connsiteY44" fmla="*/ 1801415 h 4905563"/>
              <a:gd name="connsiteX45" fmla="*/ 3092115 w 4719663"/>
              <a:gd name="connsiteY45" fmla="*/ 2860194 h 4905563"/>
              <a:gd name="connsiteX46" fmla="*/ 2273968 w 4719663"/>
              <a:gd name="connsiteY46" fmla="*/ 3329426 h 4905563"/>
              <a:gd name="connsiteX47" fmla="*/ 637673 w 4719663"/>
              <a:gd name="connsiteY47" fmla="*/ 3690373 h 4905563"/>
              <a:gd name="connsiteX48" fmla="*/ 348914 w 4719663"/>
              <a:gd name="connsiteY48" fmla="*/ 3894911 h 4905563"/>
              <a:gd name="connsiteX49" fmla="*/ 96251 w 4719663"/>
              <a:gd name="connsiteY49" fmla="*/ 4195700 h 4905563"/>
              <a:gd name="connsiteX50" fmla="*/ 0 w 4719663"/>
              <a:gd name="connsiteY50" fmla="*/ 4460394 h 4905563"/>
              <a:gd name="connsiteX51" fmla="*/ 613610 w 4719663"/>
              <a:gd name="connsiteY51"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1724 w 4719663"/>
              <a:gd name="connsiteY41" fmla="*/ 213249 h 4905563"/>
              <a:gd name="connsiteX42" fmla="*/ 3892842 w 4719663"/>
              <a:gd name="connsiteY42" fmla="*/ 371634 h 4905563"/>
              <a:gd name="connsiteX43" fmla="*/ 3645568 w 4719663"/>
              <a:gd name="connsiteY43" fmla="*/ 850920 h 4905563"/>
              <a:gd name="connsiteX44" fmla="*/ 3814010 w 4719663"/>
              <a:gd name="connsiteY44" fmla="*/ 1801415 h 4905563"/>
              <a:gd name="connsiteX45" fmla="*/ 3092115 w 4719663"/>
              <a:gd name="connsiteY45" fmla="*/ 2860194 h 4905563"/>
              <a:gd name="connsiteX46" fmla="*/ 2273968 w 4719663"/>
              <a:gd name="connsiteY46" fmla="*/ 3329426 h 4905563"/>
              <a:gd name="connsiteX47" fmla="*/ 637673 w 4719663"/>
              <a:gd name="connsiteY47" fmla="*/ 3690373 h 4905563"/>
              <a:gd name="connsiteX48" fmla="*/ 348914 w 4719663"/>
              <a:gd name="connsiteY48" fmla="*/ 3894911 h 4905563"/>
              <a:gd name="connsiteX49" fmla="*/ 96251 w 4719663"/>
              <a:gd name="connsiteY49" fmla="*/ 4195700 h 4905563"/>
              <a:gd name="connsiteX50" fmla="*/ 0 w 4719663"/>
              <a:gd name="connsiteY50" fmla="*/ 4460394 h 4905563"/>
              <a:gd name="connsiteX51" fmla="*/ 613610 w 4719663"/>
              <a:gd name="connsiteY51"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1724 w 4719663"/>
              <a:gd name="connsiteY41" fmla="*/ 213249 h 4905563"/>
              <a:gd name="connsiteX42" fmla="*/ 3892842 w 4719663"/>
              <a:gd name="connsiteY42" fmla="*/ 371634 h 4905563"/>
              <a:gd name="connsiteX43" fmla="*/ 3645568 w 4719663"/>
              <a:gd name="connsiteY43" fmla="*/ 850920 h 4905563"/>
              <a:gd name="connsiteX44" fmla="*/ 3728785 w 4719663"/>
              <a:gd name="connsiteY44" fmla="*/ 1329678 h 4905563"/>
              <a:gd name="connsiteX45" fmla="*/ 3814010 w 4719663"/>
              <a:gd name="connsiteY45" fmla="*/ 1801415 h 4905563"/>
              <a:gd name="connsiteX46" fmla="*/ 3092115 w 4719663"/>
              <a:gd name="connsiteY46" fmla="*/ 2860194 h 4905563"/>
              <a:gd name="connsiteX47" fmla="*/ 2273968 w 4719663"/>
              <a:gd name="connsiteY47" fmla="*/ 3329426 h 4905563"/>
              <a:gd name="connsiteX48" fmla="*/ 637673 w 4719663"/>
              <a:gd name="connsiteY48" fmla="*/ 3690373 h 4905563"/>
              <a:gd name="connsiteX49" fmla="*/ 348914 w 4719663"/>
              <a:gd name="connsiteY49" fmla="*/ 3894911 h 4905563"/>
              <a:gd name="connsiteX50" fmla="*/ 96251 w 4719663"/>
              <a:gd name="connsiteY50" fmla="*/ 4195700 h 4905563"/>
              <a:gd name="connsiteX51" fmla="*/ 0 w 4719663"/>
              <a:gd name="connsiteY51" fmla="*/ 4460394 h 4905563"/>
              <a:gd name="connsiteX52" fmla="*/ 613610 w 4719663"/>
              <a:gd name="connsiteY52"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1724 w 4719663"/>
              <a:gd name="connsiteY41" fmla="*/ 213249 h 4905563"/>
              <a:gd name="connsiteX42" fmla="*/ 3892842 w 4719663"/>
              <a:gd name="connsiteY42" fmla="*/ 371634 h 4905563"/>
              <a:gd name="connsiteX43" fmla="*/ 3795460 w 4719663"/>
              <a:gd name="connsiteY43" fmla="*/ 615303 h 4905563"/>
              <a:gd name="connsiteX44" fmla="*/ 3645568 w 4719663"/>
              <a:gd name="connsiteY44" fmla="*/ 850920 h 4905563"/>
              <a:gd name="connsiteX45" fmla="*/ 3728785 w 4719663"/>
              <a:gd name="connsiteY45" fmla="*/ 1329678 h 4905563"/>
              <a:gd name="connsiteX46" fmla="*/ 3814010 w 4719663"/>
              <a:gd name="connsiteY46" fmla="*/ 180141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1724 w 4719663"/>
              <a:gd name="connsiteY41" fmla="*/ 213249 h 4905563"/>
              <a:gd name="connsiteX42" fmla="*/ 3892842 w 4719663"/>
              <a:gd name="connsiteY42" fmla="*/ 371634 h 4905563"/>
              <a:gd name="connsiteX43" fmla="*/ 3728785 w 4719663"/>
              <a:gd name="connsiteY43" fmla="*/ 605778 h 4905563"/>
              <a:gd name="connsiteX44" fmla="*/ 3645568 w 4719663"/>
              <a:gd name="connsiteY44" fmla="*/ 850920 h 4905563"/>
              <a:gd name="connsiteX45" fmla="*/ 3728785 w 4719663"/>
              <a:gd name="connsiteY45" fmla="*/ 1329678 h 4905563"/>
              <a:gd name="connsiteX46" fmla="*/ 3814010 w 4719663"/>
              <a:gd name="connsiteY46" fmla="*/ 180141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1724 w 4719663"/>
              <a:gd name="connsiteY41" fmla="*/ 213249 h 4905563"/>
              <a:gd name="connsiteX42" fmla="*/ 3797592 w 4719663"/>
              <a:gd name="connsiteY42" fmla="*/ 333534 h 4905563"/>
              <a:gd name="connsiteX43" fmla="*/ 3728785 w 4719663"/>
              <a:gd name="connsiteY43" fmla="*/ 605778 h 4905563"/>
              <a:gd name="connsiteX44" fmla="*/ 3645568 w 4719663"/>
              <a:gd name="connsiteY44" fmla="*/ 850920 h 4905563"/>
              <a:gd name="connsiteX45" fmla="*/ 3728785 w 4719663"/>
              <a:gd name="connsiteY45" fmla="*/ 1329678 h 4905563"/>
              <a:gd name="connsiteX46" fmla="*/ 3814010 w 4719663"/>
              <a:gd name="connsiteY46" fmla="*/ 180141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1724 w 4719663"/>
              <a:gd name="connsiteY41" fmla="*/ 213249 h 4905563"/>
              <a:gd name="connsiteX42" fmla="*/ 3797592 w 4719663"/>
              <a:gd name="connsiteY42" fmla="*/ 333534 h 4905563"/>
              <a:gd name="connsiteX43" fmla="*/ 3728785 w 4719663"/>
              <a:gd name="connsiteY43" fmla="*/ 605778 h 4905563"/>
              <a:gd name="connsiteX44" fmla="*/ 3645568 w 4719663"/>
              <a:gd name="connsiteY44" fmla="*/ 850920 h 4905563"/>
              <a:gd name="connsiteX45" fmla="*/ 3728785 w 4719663"/>
              <a:gd name="connsiteY45" fmla="*/ 1329678 h 4905563"/>
              <a:gd name="connsiteX46" fmla="*/ 3814010 w 4719663"/>
              <a:gd name="connsiteY46" fmla="*/ 180141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31724 w 4719663"/>
              <a:gd name="connsiteY41" fmla="*/ 213249 h 4905563"/>
              <a:gd name="connsiteX42" fmla="*/ 3797592 w 4719663"/>
              <a:gd name="connsiteY42" fmla="*/ 333534 h 4905563"/>
              <a:gd name="connsiteX43" fmla="*/ 3643060 w 4719663"/>
              <a:gd name="connsiteY43" fmla="*/ 615303 h 4905563"/>
              <a:gd name="connsiteX44" fmla="*/ 3645568 w 4719663"/>
              <a:gd name="connsiteY44" fmla="*/ 850920 h 4905563"/>
              <a:gd name="connsiteX45" fmla="*/ 3728785 w 4719663"/>
              <a:gd name="connsiteY45" fmla="*/ 1329678 h 4905563"/>
              <a:gd name="connsiteX46" fmla="*/ 3814010 w 4719663"/>
              <a:gd name="connsiteY46" fmla="*/ 180141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97592 w 4719663"/>
              <a:gd name="connsiteY42" fmla="*/ 333534 h 4905563"/>
              <a:gd name="connsiteX43" fmla="*/ 3643060 w 4719663"/>
              <a:gd name="connsiteY43" fmla="*/ 615303 h 4905563"/>
              <a:gd name="connsiteX44" fmla="*/ 3645568 w 4719663"/>
              <a:gd name="connsiteY44" fmla="*/ 850920 h 4905563"/>
              <a:gd name="connsiteX45" fmla="*/ 3728785 w 4719663"/>
              <a:gd name="connsiteY45" fmla="*/ 1329678 h 4905563"/>
              <a:gd name="connsiteX46" fmla="*/ 3814010 w 4719663"/>
              <a:gd name="connsiteY46" fmla="*/ 180141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97592 w 4719663"/>
              <a:gd name="connsiteY42" fmla="*/ 333534 h 4905563"/>
              <a:gd name="connsiteX43" fmla="*/ 3643060 w 4719663"/>
              <a:gd name="connsiteY43" fmla="*/ 615303 h 4905563"/>
              <a:gd name="connsiteX44" fmla="*/ 3645568 w 4719663"/>
              <a:gd name="connsiteY44" fmla="*/ 850920 h 4905563"/>
              <a:gd name="connsiteX45" fmla="*/ 3728785 w 4719663"/>
              <a:gd name="connsiteY45" fmla="*/ 1329678 h 4905563"/>
              <a:gd name="connsiteX46" fmla="*/ 3804485 w 4719663"/>
              <a:gd name="connsiteY46" fmla="*/ 1810940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97592 w 4719663"/>
              <a:gd name="connsiteY42" fmla="*/ 333534 h 4905563"/>
              <a:gd name="connsiteX43" fmla="*/ 3643060 w 4719663"/>
              <a:gd name="connsiteY43" fmla="*/ 615303 h 4905563"/>
              <a:gd name="connsiteX44" fmla="*/ 3645568 w 4719663"/>
              <a:gd name="connsiteY44" fmla="*/ 850920 h 4905563"/>
              <a:gd name="connsiteX45" fmla="*/ 3728785 w 4719663"/>
              <a:gd name="connsiteY45" fmla="*/ 1329678 h 4905563"/>
              <a:gd name="connsiteX46" fmla="*/ 3804485 w 4719663"/>
              <a:gd name="connsiteY46" fmla="*/ 1810940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97592 w 4719663"/>
              <a:gd name="connsiteY42" fmla="*/ 333534 h 4905563"/>
              <a:gd name="connsiteX43" fmla="*/ 3643060 w 4719663"/>
              <a:gd name="connsiteY43" fmla="*/ 615303 h 4905563"/>
              <a:gd name="connsiteX44" fmla="*/ 3645568 w 4719663"/>
              <a:gd name="connsiteY44" fmla="*/ 850920 h 4905563"/>
              <a:gd name="connsiteX45" fmla="*/ 3728785 w 4719663"/>
              <a:gd name="connsiteY45" fmla="*/ 1329678 h 4905563"/>
              <a:gd name="connsiteX46" fmla="*/ 3804485 w 4719663"/>
              <a:gd name="connsiteY46" fmla="*/ 1810940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97592 w 4719663"/>
              <a:gd name="connsiteY42" fmla="*/ 333534 h 4905563"/>
              <a:gd name="connsiteX43" fmla="*/ 3643060 w 4719663"/>
              <a:gd name="connsiteY43" fmla="*/ 615303 h 4905563"/>
              <a:gd name="connsiteX44" fmla="*/ 3645568 w 4719663"/>
              <a:gd name="connsiteY44" fmla="*/ 850920 h 4905563"/>
              <a:gd name="connsiteX45" fmla="*/ 3728785 w 4719663"/>
              <a:gd name="connsiteY45" fmla="*/ 1329678 h 4905563"/>
              <a:gd name="connsiteX46" fmla="*/ 3785435 w 4719663"/>
              <a:gd name="connsiteY46" fmla="*/ 1810940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97592 w 4719663"/>
              <a:gd name="connsiteY42" fmla="*/ 333534 h 4905563"/>
              <a:gd name="connsiteX43" fmla="*/ 3643060 w 4719663"/>
              <a:gd name="connsiteY43" fmla="*/ 615303 h 4905563"/>
              <a:gd name="connsiteX44" fmla="*/ 3645568 w 4719663"/>
              <a:gd name="connsiteY44" fmla="*/ 850920 h 4905563"/>
              <a:gd name="connsiteX45" fmla="*/ 3728785 w 4719663"/>
              <a:gd name="connsiteY45" fmla="*/ 1329678 h 4905563"/>
              <a:gd name="connsiteX46" fmla="*/ 3785435 w 4719663"/>
              <a:gd name="connsiteY46" fmla="*/ 1810940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97592 w 4719663"/>
              <a:gd name="connsiteY42" fmla="*/ 333534 h 4905563"/>
              <a:gd name="connsiteX43" fmla="*/ 3643060 w 4719663"/>
              <a:gd name="connsiteY43" fmla="*/ 615303 h 4905563"/>
              <a:gd name="connsiteX44" fmla="*/ 3645568 w 4719663"/>
              <a:gd name="connsiteY44" fmla="*/ 850920 h 4905563"/>
              <a:gd name="connsiteX45" fmla="*/ 3728785 w 4719663"/>
              <a:gd name="connsiteY45" fmla="*/ 132967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97592 w 4719663"/>
              <a:gd name="connsiteY42" fmla="*/ 333534 h 4905563"/>
              <a:gd name="connsiteX43" fmla="*/ 3643060 w 4719663"/>
              <a:gd name="connsiteY43" fmla="*/ 615303 h 4905563"/>
              <a:gd name="connsiteX44" fmla="*/ 3645568 w 4719663"/>
              <a:gd name="connsiteY44" fmla="*/ 850920 h 4905563"/>
              <a:gd name="connsiteX45" fmla="*/ 3728785 w 4719663"/>
              <a:gd name="connsiteY45" fmla="*/ 132967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97592 w 4719663"/>
              <a:gd name="connsiteY42" fmla="*/ 333534 h 4905563"/>
              <a:gd name="connsiteX43" fmla="*/ 3624010 w 4719663"/>
              <a:gd name="connsiteY43" fmla="*/ 596253 h 4905563"/>
              <a:gd name="connsiteX44" fmla="*/ 3645568 w 4719663"/>
              <a:gd name="connsiteY44" fmla="*/ 850920 h 4905563"/>
              <a:gd name="connsiteX45" fmla="*/ 3728785 w 4719663"/>
              <a:gd name="connsiteY45" fmla="*/ 132967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28785 w 4719663"/>
              <a:gd name="connsiteY45" fmla="*/ 132967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28785 w 4719663"/>
              <a:gd name="connsiteY45" fmla="*/ 132967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28785 w 4719663"/>
              <a:gd name="connsiteY45" fmla="*/ 132967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19260 w 4719663"/>
              <a:gd name="connsiteY45" fmla="*/ 134872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19260 w 4719663"/>
              <a:gd name="connsiteY45" fmla="*/ 134872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19260 w 4719663"/>
              <a:gd name="connsiteY45" fmla="*/ 132967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19260 w 4719663"/>
              <a:gd name="connsiteY45" fmla="*/ 1329678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19260 w 4719663"/>
              <a:gd name="connsiteY45" fmla="*/ 1329678 h 4905563"/>
              <a:gd name="connsiteX46" fmla="*/ 3738310 w 4719663"/>
              <a:gd name="connsiteY46" fmla="*/ 1682103 h 4905563"/>
              <a:gd name="connsiteX47" fmla="*/ 3737810 w 4719663"/>
              <a:gd name="connsiteY47" fmla="*/ 1820465 h 4905563"/>
              <a:gd name="connsiteX48" fmla="*/ 3092115 w 4719663"/>
              <a:gd name="connsiteY48" fmla="*/ 2860194 h 4905563"/>
              <a:gd name="connsiteX49" fmla="*/ 2273968 w 4719663"/>
              <a:gd name="connsiteY49" fmla="*/ 3329426 h 4905563"/>
              <a:gd name="connsiteX50" fmla="*/ 637673 w 4719663"/>
              <a:gd name="connsiteY50" fmla="*/ 3690373 h 4905563"/>
              <a:gd name="connsiteX51" fmla="*/ 348914 w 4719663"/>
              <a:gd name="connsiteY51" fmla="*/ 3894911 h 4905563"/>
              <a:gd name="connsiteX52" fmla="*/ 96251 w 4719663"/>
              <a:gd name="connsiteY52" fmla="*/ 4195700 h 4905563"/>
              <a:gd name="connsiteX53" fmla="*/ 0 w 4719663"/>
              <a:gd name="connsiteY53" fmla="*/ 4460394 h 4905563"/>
              <a:gd name="connsiteX54" fmla="*/ 613610 w 4719663"/>
              <a:gd name="connsiteY54"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19260 w 4719663"/>
              <a:gd name="connsiteY45" fmla="*/ 1329678 h 4905563"/>
              <a:gd name="connsiteX46" fmla="*/ 3738310 w 4719663"/>
              <a:gd name="connsiteY46" fmla="*/ 1682103 h 4905563"/>
              <a:gd name="connsiteX47" fmla="*/ 3737810 w 4719663"/>
              <a:gd name="connsiteY47" fmla="*/ 1820465 h 4905563"/>
              <a:gd name="connsiteX48" fmla="*/ 3092115 w 4719663"/>
              <a:gd name="connsiteY48" fmla="*/ 2860194 h 4905563"/>
              <a:gd name="connsiteX49" fmla="*/ 2273968 w 4719663"/>
              <a:gd name="connsiteY49" fmla="*/ 3329426 h 4905563"/>
              <a:gd name="connsiteX50" fmla="*/ 637673 w 4719663"/>
              <a:gd name="connsiteY50" fmla="*/ 3690373 h 4905563"/>
              <a:gd name="connsiteX51" fmla="*/ 348914 w 4719663"/>
              <a:gd name="connsiteY51" fmla="*/ 3894911 h 4905563"/>
              <a:gd name="connsiteX52" fmla="*/ 96251 w 4719663"/>
              <a:gd name="connsiteY52" fmla="*/ 4195700 h 4905563"/>
              <a:gd name="connsiteX53" fmla="*/ 0 w 4719663"/>
              <a:gd name="connsiteY53" fmla="*/ 4460394 h 4905563"/>
              <a:gd name="connsiteX54" fmla="*/ 613610 w 4719663"/>
              <a:gd name="connsiteY54"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19260 w 4719663"/>
              <a:gd name="connsiteY45" fmla="*/ 1329678 h 4905563"/>
              <a:gd name="connsiteX46" fmla="*/ 3738310 w 4719663"/>
              <a:gd name="connsiteY46" fmla="*/ 1682103 h 4905563"/>
              <a:gd name="connsiteX47" fmla="*/ 3737810 w 4719663"/>
              <a:gd name="connsiteY47" fmla="*/ 1820465 h 4905563"/>
              <a:gd name="connsiteX48" fmla="*/ 3092115 w 4719663"/>
              <a:gd name="connsiteY48" fmla="*/ 2860194 h 4905563"/>
              <a:gd name="connsiteX49" fmla="*/ 2273968 w 4719663"/>
              <a:gd name="connsiteY49" fmla="*/ 3329426 h 4905563"/>
              <a:gd name="connsiteX50" fmla="*/ 637673 w 4719663"/>
              <a:gd name="connsiteY50" fmla="*/ 3690373 h 4905563"/>
              <a:gd name="connsiteX51" fmla="*/ 348914 w 4719663"/>
              <a:gd name="connsiteY51" fmla="*/ 3894911 h 4905563"/>
              <a:gd name="connsiteX52" fmla="*/ 96251 w 4719663"/>
              <a:gd name="connsiteY52" fmla="*/ 4195700 h 4905563"/>
              <a:gd name="connsiteX53" fmla="*/ 0 w 4719663"/>
              <a:gd name="connsiteY53" fmla="*/ 4460394 h 4905563"/>
              <a:gd name="connsiteX54" fmla="*/ 613610 w 4719663"/>
              <a:gd name="connsiteY54"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419725 w 4719663"/>
              <a:gd name="connsiteY9" fmla="*/ 4219763 h 4905563"/>
              <a:gd name="connsiteX10" fmla="*/ 1600199 w 4719663"/>
              <a:gd name="connsiteY10" fmla="*/ 4123510 h 4905563"/>
              <a:gd name="connsiteX11" fmla="*/ 1852862 w 4719663"/>
              <a:gd name="connsiteY11" fmla="*/ 4087415 h 4905563"/>
              <a:gd name="connsiteX12" fmla="*/ 2165683 w 4719663"/>
              <a:gd name="connsiteY12" fmla="*/ 4075384 h 4905563"/>
              <a:gd name="connsiteX13" fmla="*/ 2370220 w 4719663"/>
              <a:gd name="connsiteY13" fmla="*/ 4051320 h 4905563"/>
              <a:gd name="connsiteX14" fmla="*/ 2538662 w 4719663"/>
              <a:gd name="connsiteY14" fmla="*/ 4015226 h 4905563"/>
              <a:gd name="connsiteX15" fmla="*/ 2707104 w 4719663"/>
              <a:gd name="connsiteY15" fmla="*/ 3979131 h 4905563"/>
              <a:gd name="connsiteX16" fmla="*/ 2803357 w 4719663"/>
              <a:gd name="connsiteY16" fmla="*/ 3955068 h 4905563"/>
              <a:gd name="connsiteX17" fmla="*/ 3007894 w 4719663"/>
              <a:gd name="connsiteY17" fmla="*/ 3894910 h 4905563"/>
              <a:gd name="connsiteX18" fmla="*/ 3152273 w 4719663"/>
              <a:gd name="connsiteY18" fmla="*/ 3858815 h 4905563"/>
              <a:gd name="connsiteX19" fmla="*/ 3332747 w 4719663"/>
              <a:gd name="connsiteY19" fmla="*/ 3786626 h 4905563"/>
              <a:gd name="connsiteX20" fmla="*/ 3441031 w 4719663"/>
              <a:gd name="connsiteY20" fmla="*/ 3702405 h 4905563"/>
              <a:gd name="connsiteX21" fmla="*/ 3729789 w 4719663"/>
              <a:gd name="connsiteY21" fmla="*/ 3461773 h 4905563"/>
              <a:gd name="connsiteX22" fmla="*/ 3777915 w 4719663"/>
              <a:gd name="connsiteY22" fmla="*/ 3389584 h 4905563"/>
              <a:gd name="connsiteX23" fmla="*/ 3910262 w 4719663"/>
              <a:gd name="connsiteY23" fmla="*/ 3100826 h 4905563"/>
              <a:gd name="connsiteX24" fmla="*/ 3886199 w 4719663"/>
              <a:gd name="connsiteY24" fmla="*/ 3185047 h 4905563"/>
              <a:gd name="connsiteX25" fmla="*/ 3934325 w 4719663"/>
              <a:gd name="connsiteY25" fmla="*/ 2884257 h 4905563"/>
              <a:gd name="connsiteX26" fmla="*/ 4018547 w 4719663"/>
              <a:gd name="connsiteY26" fmla="*/ 2739879 h 4905563"/>
              <a:gd name="connsiteX27" fmla="*/ 4138863 w 4719663"/>
              <a:gd name="connsiteY27" fmla="*/ 2511279 h 4905563"/>
              <a:gd name="connsiteX28" fmla="*/ 4138862 w 4719663"/>
              <a:gd name="connsiteY28" fmla="*/ 2547373 h 4905563"/>
              <a:gd name="connsiteX29" fmla="*/ 4150894 w 4719663"/>
              <a:gd name="connsiteY29" fmla="*/ 2511278 h 4905563"/>
              <a:gd name="connsiteX30" fmla="*/ 4235115 w 4719663"/>
              <a:gd name="connsiteY30" fmla="*/ 2330805 h 4905563"/>
              <a:gd name="connsiteX31" fmla="*/ 4247147 w 4719663"/>
              <a:gd name="connsiteY31" fmla="*/ 2294710 h 4905563"/>
              <a:gd name="connsiteX32" fmla="*/ 4307304 w 4719663"/>
              <a:gd name="connsiteY32" fmla="*/ 2150331 h 4905563"/>
              <a:gd name="connsiteX33" fmla="*/ 4319336 w 4719663"/>
              <a:gd name="connsiteY33" fmla="*/ 2114236 h 4905563"/>
              <a:gd name="connsiteX34" fmla="*/ 4355431 w 4719663"/>
              <a:gd name="connsiteY34" fmla="*/ 1885636 h 4905563"/>
              <a:gd name="connsiteX35" fmla="*/ 4379494 w 4719663"/>
              <a:gd name="connsiteY35" fmla="*/ 1488594 h 4905563"/>
              <a:gd name="connsiteX36" fmla="*/ 4391525 w 4719663"/>
              <a:gd name="connsiteY36" fmla="*/ 1031394 h 4905563"/>
              <a:gd name="connsiteX37" fmla="*/ 4415589 w 4719663"/>
              <a:gd name="connsiteY37" fmla="*/ 1007331 h 4905563"/>
              <a:gd name="connsiteX38" fmla="*/ 4511841 w 4719663"/>
              <a:gd name="connsiteY38" fmla="*/ 766699 h 4905563"/>
              <a:gd name="connsiteX39" fmla="*/ 4698158 w 4719663"/>
              <a:gd name="connsiteY39" fmla="*/ 459264 h 4905563"/>
              <a:gd name="connsiteX40" fmla="*/ 4162927 w 4719663"/>
              <a:gd name="connsiteY40" fmla="*/ 0 h 4905563"/>
              <a:gd name="connsiteX41" fmla="*/ 3903149 w 4719663"/>
              <a:gd name="connsiteY41" fmla="*/ 213249 h 4905563"/>
              <a:gd name="connsiteX42" fmla="*/ 3778542 w 4719663"/>
              <a:gd name="connsiteY42" fmla="*/ 314484 h 4905563"/>
              <a:gd name="connsiteX43" fmla="*/ 3624010 w 4719663"/>
              <a:gd name="connsiteY43" fmla="*/ 596253 h 4905563"/>
              <a:gd name="connsiteX44" fmla="*/ 3645568 w 4719663"/>
              <a:gd name="connsiteY44" fmla="*/ 850920 h 4905563"/>
              <a:gd name="connsiteX45" fmla="*/ 3719260 w 4719663"/>
              <a:gd name="connsiteY45" fmla="*/ 1329678 h 4905563"/>
              <a:gd name="connsiteX46" fmla="*/ 3719260 w 4719663"/>
              <a:gd name="connsiteY46" fmla="*/ 1682103 h 4905563"/>
              <a:gd name="connsiteX47" fmla="*/ 3737810 w 4719663"/>
              <a:gd name="connsiteY47" fmla="*/ 1820465 h 4905563"/>
              <a:gd name="connsiteX48" fmla="*/ 3092115 w 4719663"/>
              <a:gd name="connsiteY48" fmla="*/ 2860194 h 4905563"/>
              <a:gd name="connsiteX49" fmla="*/ 2273968 w 4719663"/>
              <a:gd name="connsiteY49" fmla="*/ 3329426 h 4905563"/>
              <a:gd name="connsiteX50" fmla="*/ 637673 w 4719663"/>
              <a:gd name="connsiteY50" fmla="*/ 3690373 h 4905563"/>
              <a:gd name="connsiteX51" fmla="*/ 348914 w 4719663"/>
              <a:gd name="connsiteY51" fmla="*/ 3894911 h 4905563"/>
              <a:gd name="connsiteX52" fmla="*/ 96251 w 4719663"/>
              <a:gd name="connsiteY52" fmla="*/ 4195700 h 4905563"/>
              <a:gd name="connsiteX53" fmla="*/ 0 w 4719663"/>
              <a:gd name="connsiteY53" fmla="*/ 4460394 h 4905563"/>
              <a:gd name="connsiteX54" fmla="*/ 613610 w 4719663"/>
              <a:gd name="connsiteY54"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118936 w 4719663"/>
              <a:gd name="connsiteY6" fmla="*/ 4340078 h 4905563"/>
              <a:gd name="connsiteX7" fmla="*/ 1359568 w 4719663"/>
              <a:gd name="connsiteY7" fmla="*/ 4267889 h 4905563"/>
              <a:gd name="connsiteX8" fmla="*/ 1395662 w 4719663"/>
              <a:gd name="connsiteY8" fmla="*/ 4255857 h 4905563"/>
              <a:gd name="connsiteX9" fmla="*/ 1600199 w 4719663"/>
              <a:gd name="connsiteY9" fmla="*/ 4123510 h 4905563"/>
              <a:gd name="connsiteX10" fmla="*/ 1852862 w 4719663"/>
              <a:gd name="connsiteY10" fmla="*/ 4087415 h 4905563"/>
              <a:gd name="connsiteX11" fmla="*/ 2165683 w 4719663"/>
              <a:gd name="connsiteY11" fmla="*/ 4075384 h 4905563"/>
              <a:gd name="connsiteX12" fmla="*/ 2370220 w 4719663"/>
              <a:gd name="connsiteY12" fmla="*/ 4051320 h 4905563"/>
              <a:gd name="connsiteX13" fmla="*/ 2538662 w 4719663"/>
              <a:gd name="connsiteY13" fmla="*/ 4015226 h 4905563"/>
              <a:gd name="connsiteX14" fmla="*/ 2707104 w 4719663"/>
              <a:gd name="connsiteY14" fmla="*/ 3979131 h 4905563"/>
              <a:gd name="connsiteX15" fmla="*/ 2803357 w 4719663"/>
              <a:gd name="connsiteY15" fmla="*/ 3955068 h 4905563"/>
              <a:gd name="connsiteX16" fmla="*/ 3007894 w 4719663"/>
              <a:gd name="connsiteY16" fmla="*/ 3894910 h 4905563"/>
              <a:gd name="connsiteX17" fmla="*/ 3152273 w 4719663"/>
              <a:gd name="connsiteY17" fmla="*/ 3858815 h 4905563"/>
              <a:gd name="connsiteX18" fmla="*/ 3332747 w 4719663"/>
              <a:gd name="connsiteY18" fmla="*/ 3786626 h 4905563"/>
              <a:gd name="connsiteX19" fmla="*/ 3441031 w 4719663"/>
              <a:gd name="connsiteY19" fmla="*/ 3702405 h 4905563"/>
              <a:gd name="connsiteX20" fmla="*/ 3729789 w 4719663"/>
              <a:gd name="connsiteY20" fmla="*/ 3461773 h 4905563"/>
              <a:gd name="connsiteX21" fmla="*/ 3777915 w 4719663"/>
              <a:gd name="connsiteY21" fmla="*/ 3389584 h 4905563"/>
              <a:gd name="connsiteX22" fmla="*/ 3910262 w 4719663"/>
              <a:gd name="connsiteY22" fmla="*/ 3100826 h 4905563"/>
              <a:gd name="connsiteX23" fmla="*/ 3886199 w 4719663"/>
              <a:gd name="connsiteY23" fmla="*/ 3185047 h 4905563"/>
              <a:gd name="connsiteX24" fmla="*/ 3934325 w 4719663"/>
              <a:gd name="connsiteY24" fmla="*/ 2884257 h 4905563"/>
              <a:gd name="connsiteX25" fmla="*/ 4018547 w 4719663"/>
              <a:gd name="connsiteY25" fmla="*/ 2739879 h 4905563"/>
              <a:gd name="connsiteX26" fmla="*/ 4138863 w 4719663"/>
              <a:gd name="connsiteY26" fmla="*/ 2511279 h 4905563"/>
              <a:gd name="connsiteX27" fmla="*/ 4138862 w 4719663"/>
              <a:gd name="connsiteY27" fmla="*/ 2547373 h 4905563"/>
              <a:gd name="connsiteX28" fmla="*/ 4150894 w 4719663"/>
              <a:gd name="connsiteY28" fmla="*/ 2511278 h 4905563"/>
              <a:gd name="connsiteX29" fmla="*/ 4235115 w 4719663"/>
              <a:gd name="connsiteY29" fmla="*/ 2330805 h 4905563"/>
              <a:gd name="connsiteX30" fmla="*/ 4247147 w 4719663"/>
              <a:gd name="connsiteY30" fmla="*/ 2294710 h 4905563"/>
              <a:gd name="connsiteX31" fmla="*/ 4307304 w 4719663"/>
              <a:gd name="connsiteY31" fmla="*/ 2150331 h 4905563"/>
              <a:gd name="connsiteX32" fmla="*/ 4319336 w 4719663"/>
              <a:gd name="connsiteY32" fmla="*/ 2114236 h 4905563"/>
              <a:gd name="connsiteX33" fmla="*/ 4355431 w 4719663"/>
              <a:gd name="connsiteY33" fmla="*/ 1885636 h 4905563"/>
              <a:gd name="connsiteX34" fmla="*/ 4379494 w 4719663"/>
              <a:gd name="connsiteY34" fmla="*/ 1488594 h 4905563"/>
              <a:gd name="connsiteX35" fmla="*/ 4391525 w 4719663"/>
              <a:gd name="connsiteY35" fmla="*/ 1031394 h 4905563"/>
              <a:gd name="connsiteX36" fmla="*/ 4415589 w 4719663"/>
              <a:gd name="connsiteY36" fmla="*/ 1007331 h 4905563"/>
              <a:gd name="connsiteX37" fmla="*/ 4511841 w 4719663"/>
              <a:gd name="connsiteY37" fmla="*/ 766699 h 4905563"/>
              <a:gd name="connsiteX38" fmla="*/ 4698158 w 4719663"/>
              <a:gd name="connsiteY38" fmla="*/ 459264 h 4905563"/>
              <a:gd name="connsiteX39" fmla="*/ 4162927 w 4719663"/>
              <a:gd name="connsiteY39" fmla="*/ 0 h 4905563"/>
              <a:gd name="connsiteX40" fmla="*/ 3903149 w 4719663"/>
              <a:gd name="connsiteY40" fmla="*/ 213249 h 4905563"/>
              <a:gd name="connsiteX41" fmla="*/ 3778542 w 4719663"/>
              <a:gd name="connsiteY41" fmla="*/ 314484 h 4905563"/>
              <a:gd name="connsiteX42" fmla="*/ 3624010 w 4719663"/>
              <a:gd name="connsiteY42" fmla="*/ 596253 h 4905563"/>
              <a:gd name="connsiteX43" fmla="*/ 3645568 w 4719663"/>
              <a:gd name="connsiteY43" fmla="*/ 850920 h 4905563"/>
              <a:gd name="connsiteX44" fmla="*/ 3719260 w 4719663"/>
              <a:gd name="connsiteY44" fmla="*/ 1329678 h 4905563"/>
              <a:gd name="connsiteX45" fmla="*/ 3719260 w 4719663"/>
              <a:gd name="connsiteY45" fmla="*/ 1682103 h 4905563"/>
              <a:gd name="connsiteX46" fmla="*/ 3737810 w 4719663"/>
              <a:gd name="connsiteY46" fmla="*/ 1820465 h 4905563"/>
              <a:gd name="connsiteX47" fmla="*/ 3092115 w 4719663"/>
              <a:gd name="connsiteY47" fmla="*/ 2860194 h 4905563"/>
              <a:gd name="connsiteX48" fmla="*/ 2273968 w 4719663"/>
              <a:gd name="connsiteY48" fmla="*/ 3329426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19336 w 4719663"/>
              <a:gd name="connsiteY31" fmla="*/ 2114236 h 4905563"/>
              <a:gd name="connsiteX32" fmla="*/ 4355431 w 4719663"/>
              <a:gd name="connsiteY32" fmla="*/ 1885636 h 4905563"/>
              <a:gd name="connsiteX33" fmla="*/ 4379494 w 4719663"/>
              <a:gd name="connsiteY33" fmla="*/ 1488594 h 4905563"/>
              <a:gd name="connsiteX34" fmla="*/ 4391525 w 4719663"/>
              <a:gd name="connsiteY34" fmla="*/ 1031394 h 4905563"/>
              <a:gd name="connsiteX35" fmla="*/ 4415589 w 4719663"/>
              <a:gd name="connsiteY35" fmla="*/ 1007331 h 4905563"/>
              <a:gd name="connsiteX36" fmla="*/ 4511841 w 4719663"/>
              <a:gd name="connsiteY36" fmla="*/ 766699 h 4905563"/>
              <a:gd name="connsiteX37" fmla="*/ 4698158 w 4719663"/>
              <a:gd name="connsiteY37" fmla="*/ 459264 h 4905563"/>
              <a:gd name="connsiteX38" fmla="*/ 4162927 w 4719663"/>
              <a:gd name="connsiteY38" fmla="*/ 0 h 4905563"/>
              <a:gd name="connsiteX39" fmla="*/ 3903149 w 4719663"/>
              <a:gd name="connsiteY39" fmla="*/ 213249 h 4905563"/>
              <a:gd name="connsiteX40" fmla="*/ 3778542 w 4719663"/>
              <a:gd name="connsiteY40" fmla="*/ 314484 h 4905563"/>
              <a:gd name="connsiteX41" fmla="*/ 3624010 w 4719663"/>
              <a:gd name="connsiteY41" fmla="*/ 596253 h 4905563"/>
              <a:gd name="connsiteX42" fmla="*/ 3645568 w 4719663"/>
              <a:gd name="connsiteY42" fmla="*/ 850920 h 4905563"/>
              <a:gd name="connsiteX43" fmla="*/ 3719260 w 4719663"/>
              <a:gd name="connsiteY43" fmla="*/ 1329678 h 4905563"/>
              <a:gd name="connsiteX44" fmla="*/ 3719260 w 4719663"/>
              <a:gd name="connsiteY44" fmla="*/ 1682103 h 4905563"/>
              <a:gd name="connsiteX45" fmla="*/ 3737810 w 4719663"/>
              <a:gd name="connsiteY45" fmla="*/ 1820465 h 4905563"/>
              <a:gd name="connsiteX46" fmla="*/ 3092115 w 4719663"/>
              <a:gd name="connsiteY46" fmla="*/ 2860194 h 4905563"/>
              <a:gd name="connsiteX47" fmla="*/ 2273968 w 4719663"/>
              <a:gd name="connsiteY47" fmla="*/ 3329426 h 4905563"/>
              <a:gd name="connsiteX48" fmla="*/ 637673 w 4719663"/>
              <a:gd name="connsiteY48" fmla="*/ 3690373 h 4905563"/>
              <a:gd name="connsiteX49" fmla="*/ 348914 w 4719663"/>
              <a:gd name="connsiteY49" fmla="*/ 3894911 h 4905563"/>
              <a:gd name="connsiteX50" fmla="*/ 96251 w 4719663"/>
              <a:gd name="connsiteY50" fmla="*/ 4195700 h 4905563"/>
              <a:gd name="connsiteX51" fmla="*/ 0 w 4719663"/>
              <a:gd name="connsiteY51" fmla="*/ 4460394 h 4905563"/>
              <a:gd name="connsiteX52" fmla="*/ 613610 w 4719663"/>
              <a:gd name="connsiteY52"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78542 w 4719663"/>
              <a:gd name="connsiteY39" fmla="*/ 31448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37810 w 4719663"/>
              <a:gd name="connsiteY44" fmla="*/ 1820465 h 4905563"/>
              <a:gd name="connsiteX45" fmla="*/ 3092115 w 4719663"/>
              <a:gd name="connsiteY45" fmla="*/ 2860194 h 4905563"/>
              <a:gd name="connsiteX46" fmla="*/ 2273968 w 4719663"/>
              <a:gd name="connsiteY46" fmla="*/ 3329426 h 4905563"/>
              <a:gd name="connsiteX47" fmla="*/ 637673 w 4719663"/>
              <a:gd name="connsiteY47" fmla="*/ 3690373 h 4905563"/>
              <a:gd name="connsiteX48" fmla="*/ 348914 w 4719663"/>
              <a:gd name="connsiteY48" fmla="*/ 3894911 h 4905563"/>
              <a:gd name="connsiteX49" fmla="*/ 96251 w 4719663"/>
              <a:gd name="connsiteY49" fmla="*/ 4195700 h 4905563"/>
              <a:gd name="connsiteX50" fmla="*/ 0 w 4719663"/>
              <a:gd name="connsiteY50" fmla="*/ 4460394 h 4905563"/>
              <a:gd name="connsiteX51" fmla="*/ 613610 w 4719663"/>
              <a:gd name="connsiteY51"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78542 w 4719663"/>
              <a:gd name="connsiteY39" fmla="*/ 31448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37810 w 4719663"/>
              <a:gd name="connsiteY44" fmla="*/ 1820465 h 4905563"/>
              <a:gd name="connsiteX45" fmla="*/ 3092115 w 4719663"/>
              <a:gd name="connsiteY45" fmla="*/ 2860194 h 4905563"/>
              <a:gd name="connsiteX46" fmla="*/ 2273968 w 4719663"/>
              <a:gd name="connsiteY46" fmla="*/ 3329426 h 4905563"/>
              <a:gd name="connsiteX47" fmla="*/ 1338010 w 4719663"/>
              <a:gd name="connsiteY47" fmla="*/ 3529953 h 4905563"/>
              <a:gd name="connsiteX48" fmla="*/ 637673 w 4719663"/>
              <a:gd name="connsiteY48" fmla="*/ 3690373 h 4905563"/>
              <a:gd name="connsiteX49" fmla="*/ 348914 w 4719663"/>
              <a:gd name="connsiteY49" fmla="*/ 3894911 h 4905563"/>
              <a:gd name="connsiteX50" fmla="*/ 96251 w 4719663"/>
              <a:gd name="connsiteY50" fmla="*/ 4195700 h 4905563"/>
              <a:gd name="connsiteX51" fmla="*/ 0 w 4719663"/>
              <a:gd name="connsiteY51" fmla="*/ 4460394 h 4905563"/>
              <a:gd name="connsiteX52" fmla="*/ 613610 w 4719663"/>
              <a:gd name="connsiteY52"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78542 w 4719663"/>
              <a:gd name="connsiteY39" fmla="*/ 31448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37810 w 4719663"/>
              <a:gd name="connsiteY44" fmla="*/ 1820465 h 4905563"/>
              <a:gd name="connsiteX45" fmla="*/ 3092115 w 4719663"/>
              <a:gd name="connsiteY45" fmla="*/ 2860194 h 4905563"/>
              <a:gd name="connsiteX46" fmla="*/ 2273968 w 4719663"/>
              <a:gd name="connsiteY46" fmla="*/ 3329426 h 4905563"/>
              <a:gd name="connsiteX47" fmla="*/ 1318960 w 4719663"/>
              <a:gd name="connsiteY47" fmla="*/ 3463278 h 4905563"/>
              <a:gd name="connsiteX48" fmla="*/ 637673 w 4719663"/>
              <a:gd name="connsiteY48" fmla="*/ 3690373 h 4905563"/>
              <a:gd name="connsiteX49" fmla="*/ 348914 w 4719663"/>
              <a:gd name="connsiteY49" fmla="*/ 3894911 h 4905563"/>
              <a:gd name="connsiteX50" fmla="*/ 96251 w 4719663"/>
              <a:gd name="connsiteY50" fmla="*/ 4195700 h 4905563"/>
              <a:gd name="connsiteX51" fmla="*/ 0 w 4719663"/>
              <a:gd name="connsiteY51" fmla="*/ 4460394 h 4905563"/>
              <a:gd name="connsiteX52" fmla="*/ 613610 w 4719663"/>
              <a:gd name="connsiteY52"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78542 w 4719663"/>
              <a:gd name="connsiteY39" fmla="*/ 31448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37810 w 4719663"/>
              <a:gd name="connsiteY44" fmla="*/ 1820465 h 4905563"/>
              <a:gd name="connsiteX45" fmla="*/ 3092115 w 4719663"/>
              <a:gd name="connsiteY45" fmla="*/ 2860194 h 4905563"/>
              <a:gd name="connsiteX46" fmla="*/ 2652460 w 4719663"/>
              <a:gd name="connsiteY46" fmla="*/ 3129903 h 4905563"/>
              <a:gd name="connsiteX47" fmla="*/ 2273968 w 4719663"/>
              <a:gd name="connsiteY47" fmla="*/ 3329426 h 4905563"/>
              <a:gd name="connsiteX48" fmla="*/ 1318960 w 4719663"/>
              <a:gd name="connsiteY48" fmla="*/ 3463278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78542 w 4719663"/>
              <a:gd name="connsiteY39" fmla="*/ 31448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37810 w 4719663"/>
              <a:gd name="connsiteY44" fmla="*/ 1820465 h 4905563"/>
              <a:gd name="connsiteX45" fmla="*/ 3092115 w 4719663"/>
              <a:gd name="connsiteY45" fmla="*/ 2860194 h 4905563"/>
              <a:gd name="connsiteX46" fmla="*/ 2642935 w 4719663"/>
              <a:gd name="connsiteY46" fmla="*/ 3110853 h 4905563"/>
              <a:gd name="connsiteX47" fmla="*/ 2273968 w 4719663"/>
              <a:gd name="connsiteY47" fmla="*/ 3329426 h 4905563"/>
              <a:gd name="connsiteX48" fmla="*/ 1318960 w 4719663"/>
              <a:gd name="connsiteY48" fmla="*/ 3463278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78542 w 4719663"/>
              <a:gd name="connsiteY39" fmla="*/ 31448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37810 w 4719663"/>
              <a:gd name="connsiteY44" fmla="*/ 1820465 h 4905563"/>
              <a:gd name="connsiteX45" fmla="*/ 3092115 w 4719663"/>
              <a:gd name="connsiteY45" fmla="*/ 2860194 h 4905563"/>
              <a:gd name="connsiteX46" fmla="*/ 2642935 w 4719663"/>
              <a:gd name="connsiteY46" fmla="*/ 3110853 h 4905563"/>
              <a:gd name="connsiteX47" fmla="*/ 2264443 w 4719663"/>
              <a:gd name="connsiteY47" fmla="*/ 3281801 h 4905563"/>
              <a:gd name="connsiteX48" fmla="*/ 1318960 w 4719663"/>
              <a:gd name="connsiteY48" fmla="*/ 3463278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78542 w 4719663"/>
              <a:gd name="connsiteY39" fmla="*/ 31448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37810 w 4719663"/>
              <a:gd name="connsiteY44" fmla="*/ 1820465 h 4905563"/>
              <a:gd name="connsiteX45" fmla="*/ 3063540 w 4719663"/>
              <a:gd name="connsiteY45" fmla="*/ 2860194 h 4905563"/>
              <a:gd name="connsiteX46" fmla="*/ 2642935 w 4719663"/>
              <a:gd name="connsiteY46" fmla="*/ 3110853 h 4905563"/>
              <a:gd name="connsiteX47" fmla="*/ 2264443 w 4719663"/>
              <a:gd name="connsiteY47" fmla="*/ 3281801 h 4905563"/>
              <a:gd name="connsiteX48" fmla="*/ 1318960 w 4719663"/>
              <a:gd name="connsiteY48" fmla="*/ 3463278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78542 w 4719663"/>
              <a:gd name="connsiteY39" fmla="*/ 31448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28285 w 4719663"/>
              <a:gd name="connsiteY44" fmla="*/ 1849040 h 4905563"/>
              <a:gd name="connsiteX45" fmla="*/ 3063540 w 4719663"/>
              <a:gd name="connsiteY45" fmla="*/ 2860194 h 4905563"/>
              <a:gd name="connsiteX46" fmla="*/ 2642935 w 4719663"/>
              <a:gd name="connsiteY46" fmla="*/ 3110853 h 4905563"/>
              <a:gd name="connsiteX47" fmla="*/ 2264443 w 4719663"/>
              <a:gd name="connsiteY47" fmla="*/ 3281801 h 4905563"/>
              <a:gd name="connsiteX48" fmla="*/ 1318960 w 4719663"/>
              <a:gd name="connsiteY48" fmla="*/ 3463278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78542 w 4719663"/>
              <a:gd name="connsiteY39" fmla="*/ 31448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28285 w 4719663"/>
              <a:gd name="connsiteY44" fmla="*/ 1849040 h 4905563"/>
              <a:gd name="connsiteX45" fmla="*/ 3063540 w 4719663"/>
              <a:gd name="connsiteY45" fmla="*/ 2860194 h 4905563"/>
              <a:gd name="connsiteX46" fmla="*/ 2642935 w 4719663"/>
              <a:gd name="connsiteY46" fmla="*/ 3110853 h 4905563"/>
              <a:gd name="connsiteX47" fmla="*/ 2264443 w 4719663"/>
              <a:gd name="connsiteY47" fmla="*/ 3281801 h 4905563"/>
              <a:gd name="connsiteX48" fmla="*/ 1318960 w 4719663"/>
              <a:gd name="connsiteY48" fmla="*/ 3463278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07304 w 4719663"/>
              <a:gd name="connsiteY30" fmla="*/ 2150331 h 4905563"/>
              <a:gd name="connsiteX31" fmla="*/ 4355431 w 4719663"/>
              <a:gd name="connsiteY31" fmla="*/ 1885636 h 4905563"/>
              <a:gd name="connsiteX32" fmla="*/ 4379494 w 4719663"/>
              <a:gd name="connsiteY32" fmla="*/ 1488594 h 4905563"/>
              <a:gd name="connsiteX33" fmla="*/ 4391525 w 4719663"/>
              <a:gd name="connsiteY33" fmla="*/ 1031394 h 4905563"/>
              <a:gd name="connsiteX34" fmla="*/ 4415589 w 4719663"/>
              <a:gd name="connsiteY34" fmla="*/ 1007331 h 4905563"/>
              <a:gd name="connsiteX35" fmla="*/ 4511841 w 4719663"/>
              <a:gd name="connsiteY35" fmla="*/ 766699 h 4905563"/>
              <a:gd name="connsiteX36" fmla="*/ 4698158 w 4719663"/>
              <a:gd name="connsiteY36" fmla="*/ 459264 h 4905563"/>
              <a:gd name="connsiteX37" fmla="*/ 4162927 w 4719663"/>
              <a:gd name="connsiteY37" fmla="*/ 0 h 4905563"/>
              <a:gd name="connsiteX38" fmla="*/ 3903149 w 4719663"/>
              <a:gd name="connsiteY38" fmla="*/ 213249 h 4905563"/>
              <a:gd name="connsiteX39" fmla="*/ 3788067 w 4719663"/>
              <a:gd name="connsiteY39" fmla="*/ 333534 h 4905563"/>
              <a:gd name="connsiteX40" fmla="*/ 3624010 w 4719663"/>
              <a:gd name="connsiteY40" fmla="*/ 596253 h 4905563"/>
              <a:gd name="connsiteX41" fmla="*/ 3645568 w 4719663"/>
              <a:gd name="connsiteY41" fmla="*/ 850920 h 4905563"/>
              <a:gd name="connsiteX42" fmla="*/ 3719260 w 4719663"/>
              <a:gd name="connsiteY42" fmla="*/ 1329678 h 4905563"/>
              <a:gd name="connsiteX43" fmla="*/ 3719260 w 4719663"/>
              <a:gd name="connsiteY43" fmla="*/ 1682103 h 4905563"/>
              <a:gd name="connsiteX44" fmla="*/ 3728285 w 4719663"/>
              <a:gd name="connsiteY44" fmla="*/ 1849040 h 4905563"/>
              <a:gd name="connsiteX45" fmla="*/ 3063540 w 4719663"/>
              <a:gd name="connsiteY45" fmla="*/ 2860194 h 4905563"/>
              <a:gd name="connsiteX46" fmla="*/ 2642935 w 4719663"/>
              <a:gd name="connsiteY46" fmla="*/ 3110853 h 4905563"/>
              <a:gd name="connsiteX47" fmla="*/ 2264443 w 4719663"/>
              <a:gd name="connsiteY47" fmla="*/ 3281801 h 4905563"/>
              <a:gd name="connsiteX48" fmla="*/ 1318960 w 4719663"/>
              <a:gd name="connsiteY48" fmla="*/ 3463278 h 4905563"/>
              <a:gd name="connsiteX49" fmla="*/ 637673 w 4719663"/>
              <a:gd name="connsiteY49" fmla="*/ 3690373 h 4905563"/>
              <a:gd name="connsiteX50" fmla="*/ 348914 w 4719663"/>
              <a:gd name="connsiteY50" fmla="*/ 3894911 h 4905563"/>
              <a:gd name="connsiteX51" fmla="*/ 96251 w 4719663"/>
              <a:gd name="connsiteY51" fmla="*/ 4195700 h 4905563"/>
              <a:gd name="connsiteX52" fmla="*/ 0 w 4719663"/>
              <a:gd name="connsiteY52" fmla="*/ 4460394 h 4905563"/>
              <a:gd name="connsiteX53" fmla="*/ 613610 w 4719663"/>
              <a:gd name="connsiteY53"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150894 w 4719663"/>
              <a:gd name="connsiteY27" fmla="*/ 2511278 h 4905563"/>
              <a:gd name="connsiteX28" fmla="*/ 4235115 w 4719663"/>
              <a:gd name="connsiteY28" fmla="*/ 2330805 h 4905563"/>
              <a:gd name="connsiteX29" fmla="*/ 4247147 w 4719663"/>
              <a:gd name="connsiteY29" fmla="*/ 2294710 h 4905563"/>
              <a:gd name="connsiteX30" fmla="*/ 4355431 w 4719663"/>
              <a:gd name="connsiteY30" fmla="*/ 1885636 h 4905563"/>
              <a:gd name="connsiteX31" fmla="*/ 4379494 w 4719663"/>
              <a:gd name="connsiteY31" fmla="*/ 1488594 h 4905563"/>
              <a:gd name="connsiteX32" fmla="*/ 4391525 w 4719663"/>
              <a:gd name="connsiteY32" fmla="*/ 1031394 h 4905563"/>
              <a:gd name="connsiteX33" fmla="*/ 4415589 w 4719663"/>
              <a:gd name="connsiteY33" fmla="*/ 1007331 h 4905563"/>
              <a:gd name="connsiteX34" fmla="*/ 4511841 w 4719663"/>
              <a:gd name="connsiteY34" fmla="*/ 766699 h 4905563"/>
              <a:gd name="connsiteX35" fmla="*/ 4698158 w 4719663"/>
              <a:gd name="connsiteY35" fmla="*/ 459264 h 4905563"/>
              <a:gd name="connsiteX36" fmla="*/ 4162927 w 4719663"/>
              <a:gd name="connsiteY36" fmla="*/ 0 h 4905563"/>
              <a:gd name="connsiteX37" fmla="*/ 3903149 w 4719663"/>
              <a:gd name="connsiteY37" fmla="*/ 213249 h 4905563"/>
              <a:gd name="connsiteX38" fmla="*/ 3788067 w 4719663"/>
              <a:gd name="connsiteY38" fmla="*/ 333534 h 4905563"/>
              <a:gd name="connsiteX39" fmla="*/ 3624010 w 4719663"/>
              <a:gd name="connsiteY39" fmla="*/ 596253 h 4905563"/>
              <a:gd name="connsiteX40" fmla="*/ 3645568 w 4719663"/>
              <a:gd name="connsiteY40" fmla="*/ 850920 h 4905563"/>
              <a:gd name="connsiteX41" fmla="*/ 3719260 w 4719663"/>
              <a:gd name="connsiteY41" fmla="*/ 1329678 h 4905563"/>
              <a:gd name="connsiteX42" fmla="*/ 3719260 w 4719663"/>
              <a:gd name="connsiteY42" fmla="*/ 1682103 h 4905563"/>
              <a:gd name="connsiteX43" fmla="*/ 3728285 w 4719663"/>
              <a:gd name="connsiteY43" fmla="*/ 1849040 h 4905563"/>
              <a:gd name="connsiteX44" fmla="*/ 3063540 w 4719663"/>
              <a:gd name="connsiteY44" fmla="*/ 2860194 h 4905563"/>
              <a:gd name="connsiteX45" fmla="*/ 2642935 w 4719663"/>
              <a:gd name="connsiteY45" fmla="*/ 3110853 h 4905563"/>
              <a:gd name="connsiteX46" fmla="*/ 2264443 w 4719663"/>
              <a:gd name="connsiteY46" fmla="*/ 3281801 h 4905563"/>
              <a:gd name="connsiteX47" fmla="*/ 1318960 w 4719663"/>
              <a:gd name="connsiteY47" fmla="*/ 3463278 h 4905563"/>
              <a:gd name="connsiteX48" fmla="*/ 637673 w 4719663"/>
              <a:gd name="connsiteY48" fmla="*/ 3690373 h 4905563"/>
              <a:gd name="connsiteX49" fmla="*/ 348914 w 4719663"/>
              <a:gd name="connsiteY49" fmla="*/ 3894911 h 4905563"/>
              <a:gd name="connsiteX50" fmla="*/ 96251 w 4719663"/>
              <a:gd name="connsiteY50" fmla="*/ 4195700 h 4905563"/>
              <a:gd name="connsiteX51" fmla="*/ 0 w 4719663"/>
              <a:gd name="connsiteY51" fmla="*/ 4460394 h 4905563"/>
              <a:gd name="connsiteX52" fmla="*/ 613610 w 4719663"/>
              <a:gd name="connsiteY52"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910262 w 4719663"/>
              <a:gd name="connsiteY21" fmla="*/ 3100826 h 4905563"/>
              <a:gd name="connsiteX22" fmla="*/ 3886199 w 4719663"/>
              <a:gd name="connsiteY22" fmla="*/ 3185047 h 4905563"/>
              <a:gd name="connsiteX23" fmla="*/ 3934325 w 4719663"/>
              <a:gd name="connsiteY23" fmla="*/ 2884257 h 4905563"/>
              <a:gd name="connsiteX24" fmla="*/ 4018547 w 4719663"/>
              <a:gd name="connsiteY24" fmla="*/ 2739879 h 4905563"/>
              <a:gd name="connsiteX25" fmla="*/ 4138863 w 4719663"/>
              <a:gd name="connsiteY25" fmla="*/ 2511279 h 4905563"/>
              <a:gd name="connsiteX26" fmla="*/ 4138862 w 4719663"/>
              <a:gd name="connsiteY26" fmla="*/ 2547373 h 4905563"/>
              <a:gd name="connsiteX27" fmla="*/ 4235115 w 4719663"/>
              <a:gd name="connsiteY27" fmla="*/ 2330805 h 4905563"/>
              <a:gd name="connsiteX28" fmla="*/ 4247147 w 4719663"/>
              <a:gd name="connsiteY28" fmla="*/ 2294710 h 4905563"/>
              <a:gd name="connsiteX29" fmla="*/ 4355431 w 4719663"/>
              <a:gd name="connsiteY29" fmla="*/ 1885636 h 4905563"/>
              <a:gd name="connsiteX30" fmla="*/ 4379494 w 4719663"/>
              <a:gd name="connsiteY30" fmla="*/ 1488594 h 4905563"/>
              <a:gd name="connsiteX31" fmla="*/ 4391525 w 4719663"/>
              <a:gd name="connsiteY31" fmla="*/ 1031394 h 4905563"/>
              <a:gd name="connsiteX32" fmla="*/ 4415589 w 4719663"/>
              <a:gd name="connsiteY32" fmla="*/ 1007331 h 4905563"/>
              <a:gd name="connsiteX33" fmla="*/ 4511841 w 4719663"/>
              <a:gd name="connsiteY33" fmla="*/ 766699 h 4905563"/>
              <a:gd name="connsiteX34" fmla="*/ 4698158 w 4719663"/>
              <a:gd name="connsiteY34" fmla="*/ 459264 h 4905563"/>
              <a:gd name="connsiteX35" fmla="*/ 4162927 w 4719663"/>
              <a:gd name="connsiteY35" fmla="*/ 0 h 4905563"/>
              <a:gd name="connsiteX36" fmla="*/ 3903149 w 4719663"/>
              <a:gd name="connsiteY36" fmla="*/ 213249 h 4905563"/>
              <a:gd name="connsiteX37" fmla="*/ 3788067 w 4719663"/>
              <a:gd name="connsiteY37" fmla="*/ 333534 h 4905563"/>
              <a:gd name="connsiteX38" fmla="*/ 3624010 w 4719663"/>
              <a:gd name="connsiteY38" fmla="*/ 596253 h 4905563"/>
              <a:gd name="connsiteX39" fmla="*/ 3645568 w 4719663"/>
              <a:gd name="connsiteY39" fmla="*/ 850920 h 4905563"/>
              <a:gd name="connsiteX40" fmla="*/ 3719260 w 4719663"/>
              <a:gd name="connsiteY40" fmla="*/ 1329678 h 4905563"/>
              <a:gd name="connsiteX41" fmla="*/ 3719260 w 4719663"/>
              <a:gd name="connsiteY41" fmla="*/ 1682103 h 4905563"/>
              <a:gd name="connsiteX42" fmla="*/ 3728285 w 4719663"/>
              <a:gd name="connsiteY42" fmla="*/ 1849040 h 4905563"/>
              <a:gd name="connsiteX43" fmla="*/ 3063540 w 4719663"/>
              <a:gd name="connsiteY43" fmla="*/ 2860194 h 4905563"/>
              <a:gd name="connsiteX44" fmla="*/ 2642935 w 4719663"/>
              <a:gd name="connsiteY44" fmla="*/ 3110853 h 4905563"/>
              <a:gd name="connsiteX45" fmla="*/ 2264443 w 4719663"/>
              <a:gd name="connsiteY45" fmla="*/ 3281801 h 4905563"/>
              <a:gd name="connsiteX46" fmla="*/ 1318960 w 4719663"/>
              <a:gd name="connsiteY46" fmla="*/ 3463278 h 4905563"/>
              <a:gd name="connsiteX47" fmla="*/ 637673 w 4719663"/>
              <a:gd name="connsiteY47" fmla="*/ 3690373 h 4905563"/>
              <a:gd name="connsiteX48" fmla="*/ 348914 w 4719663"/>
              <a:gd name="connsiteY48" fmla="*/ 3894911 h 4905563"/>
              <a:gd name="connsiteX49" fmla="*/ 96251 w 4719663"/>
              <a:gd name="connsiteY49" fmla="*/ 4195700 h 4905563"/>
              <a:gd name="connsiteX50" fmla="*/ 0 w 4719663"/>
              <a:gd name="connsiteY50" fmla="*/ 4460394 h 4905563"/>
              <a:gd name="connsiteX51" fmla="*/ 613610 w 4719663"/>
              <a:gd name="connsiteY51"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777915 w 4719663"/>
              <a:gd name="connsiteY20" fmla="*/ 3389584 h 4905563"/>
              <a:gd name="connsiteX21" fmla="*/ 3886199 w 4719663"/>
              <a:gd name="connsiteY21" fmla="*/ 3185047 h 4905563"/>
              <a:gd name="connsiteX22" fmla="*/ 3934325 w 4719663"/>
              <a:gd name="connsiteY22" fmla="*/ 2884257 h 4905563"/>
              <a:gd name="connsiteX23" fmla="*/ 4018547 w 4719663"/>
              <a:gd name="connsiteY23" fmla="*/ 2739879 h 4905563"/>
              <a:gd name="connsiteX24" fmla="*/ 4138863 w 4719663"/>
              <a:gd name="connsiteY24" fmla="*/ 2511279 h 4905563"/>
              <a:gd name="connsiteX25" fmla="*/ 4138862 w 4719663"/>
              <a:gd name="connsiteY25" fmla="*/ 2547373 h 4905563"/>
              <a:gd name="connsiteX26" fmla="*/ 4235115 w 4719663"/>
              <a:gd name="connsiteY26" fmla="*/ 2330805 h 4905563"/>
              <a:gd name="connsiteX27" fmla="*/ 4247147 w 4719663"/>
              <a:gd name="connsiteY27" fmla="*/ 2294710 h 4905563"/>
              <a:gd name="connsiteX28" fmla="*/ 4355431 w 4719663"/>
              <a:gd name="connsiteY28" fmla="*/ 1885636 h 4905563"/>
              <a:gd name="connsiteX29" fmla="*/ 4379494 w 4719663"/>
              <a:gd name="connsiteY29" fmla="*/ 1488594 h 4905563"/>
              <a:gd name="connsiteX30" fmla="*/ 4391525 w 4719663"/>
              <a:gd name="connsiteY30" fmla="*/ 1031394 h 4905563"/>
              <a:gd name="connsiteX31" fmla="*/ 4415589 w 4719663"/>
              <a:gd name="connsiteY31" fmla="*/ 1007331 h 4905563"/>
              <a:gd name="connsiteX32" fmla="*/ 4511841 w 4719663"/>
              <a:gd name="connsiteY32" fmla="*/ 766699 h 4905563"/>
              <a:gd name="connsiteX33" fmla="*/ 4698158 w 4719663"/>
              <a:gd name="connsiteY33" fmla="*/ 459264 h 4905563"/>
              <a:gd name="connsiteX34" fmla="*/ 4162927 w 4719663"/>
              <a:gd name="connsiteY34" fmla="*/ 0 h 4905563"/>
              <a:gd name="connsiteX35" fmla="*/ 3903149 w 4719663"/>
              <a:gd name="connsiteY35" fmla="*/ 213249 h 4905563"/>
              <a:gd name="connsiteX36" fmla="*/ 3788067 w 4719663"/>
              <a:gd name="connsiteY36" fmla="*/ 333534 h 4905563"/>
              <a:gd name="connsiteX37" fmla="*/ 3624010 w 4719663"/>
              <a:gd name="connsiteY37" fmla="*/ 596253 h 4905563"/>
              <a:gd name="connsiteX38" fmla="*/ 3645568 w 4719663"/>
              <a:gd name="connsiteY38" fmla="*/ 850920 h 4905563"/>
              <a:gd name="connsiteX39" fmla="*/ 3719260 w 4719663"/>
              <a:gd name="connsiteY39" fmla="*/ 1329678 h 4905563"/>
              <a:gd name="connsiteX40" fmla="*/ 3719260 w 4719663"/>
              <a:gd name="connsiteY40" fmla="*/ 1682103 h 4905563"/>
              <a:gd name="connsiteX41" fmla="*/ 3728285 w 4719663"/>
              <a:gd name="connsiteY41" fmla="*/ 1849040 h 4905563"/>
              <a:gd name="connsiteX42" fmla="*/ 3063540 w 4719663"/>
              <a:gd name="connsiteY42" fmla="*/ 2860194 h 4905563"/>
              <a:gd name="connsiteX43" fmla="*/ 2642935 w 4719663"/>
              <a:gd name="connsiteY43" fmla="*/ 3110853 h 4905563"/>
              <a:gd name="connsiteX44" fmla="*/ 2264443 w 4719663"/>
              <a:gd name="connsiteY44" fmla="*/ 3281801 h 4905563"/>
              <a:gd name="connsiteX45" fmla="*/ 1318960 w 4719663"/>
              <a:gd name="connsiteY45" fmla="*/ 3463278 h 4905563"/>
              <a:gd name="connsiteX46" fmla="*/ 637673 w 4719663"/>
              <a:gd name="connsiteY46" fmla="*/ 3690373 h 4905563"/>
              <a:gd name="connsiteX47" fmla="*/ 348914 w 4719663"/>
              <a:gd name="connsiteY47" fmla="*/ 3894911 h 4905563"/>
              <a:gd name="connsiteX48" fmla="*/ 96251 w 4719663"/>
              <a:gd name="connsiteY48" fmla="*/ 4195700 h 4905563"/>
              <a:gd name="connsiteX49" fmla="*/ 0 w 4719663"/>
              <a:gd name="connsiteY49" fmla="*/ 4460394 h 4905563"/>
              <a:gd name="connsiteX50" fmla="*/ 613610 w 4719663"/>
              <a:gd name="connsiteY50"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332747 w 4719663"/>
              <a:gd name="connsiteY17" fmla="*/ 3786626 h 4905563"/>
              <a:gd name="connsiteX18" fmla="*/ 3441031 w 4719663"/>
              <a:gd name="connsiteY18" fmla="*/ 3702405 h 4905563"/>
              <a:gd name="connsiteX19" fmla="*/ 3729789 w 4719663"/>
              <a:gd name="connsiteY19" fmla="*/ 3461773 h 4905563"/>
              <a:gd name="connsiteX20" fmla="*/ 3886199 w 4719663"/>
              <a:gd name="connsiteY20" fmla="*/ 3185047 h 4905563"/>
              <a:gd name="connsiteX21" fmla="*/ 3934325 w 4719663"/>
              <a:gd name="connsiteY21" fmla="*/ 2884257 h 4905563"/>
              <a:gd name="connsiteX22" fmla="*/ 4018547 w 4719663"/>
              <a:gd name="connsiteY22" fmla="*/ 2739879 h 4905563"/>
              <a:gd name="connsiteX23" fmla="*/ 4138863 w 4719663"/>
              <a:gd name="connsiteY23" fmla="*/ 2511279 h 4905563"/>
              <a:gd name="connsiteX24" fmla="*/ 4138862 w 4719663"/>
              <a:gd name="connsiteY24" fmla="*/ 2547373 h 4905563"/>
              <a:gd name="connsiteX25" fmla="*/ 4235115 w 4719663"/>
              <a:gd name="connsiteY25" fmla="*/ 2330805 h 4905563"/>
              <a:gd name="connsiteX26" fmla="*/ 4247147 w 4719663"/>
              <a:gd name="connsiteY26" fmla="*/ 2294710 h 4905563"/>
              <a:gd name="connsiteX27" fmla="*/ 4355431 w 4719663"/>
              <a:gd name="connsiteY27" fmla="*/ 1885636 h 4905563"/>
              <a:gd name="connsiteX28" fmla="*/ 4379494 w 4719663"/>
              <a:gd name="connsiteY28" fmla="*/ 1488594 h 4905563"/>
              <a:gd name="connsiteX29" fmla="*/ 4391525 w 4719663"/>
              <a:gd name="connsiteY29" fmla="*/ 1031394 h 4905563"/>
              <a:gd name="connsiteX30" fmla="*/ 4415589 w 4719663"/>
              <a:gd name="connsiteY30" fmla="*/ 1007331 h 4905563"/>
              <a:gd name="connsiteX31" fmla="*/ 4511841 w 4719663"/>
              <a:gd name="connsiteY31" fmla="*/ 766699 h 4905563"/>
              <a:gd name="connsiteX32" fmla="*/ 4698158 w 4719663"/>
              <a:gd name="connsiteY32" fmla="*/ 459264 h 4905563"/>
              <a:gd name="connsiteX33" fmla="*/ 4162927 w 4719663"/>
              <a:gd name="connsiteY33" fmla="*/ 0 h 4905563"/>
              <a:gd name="connsiteX34" fmla="*/ 3903149 w 4719663"/>
              <a:gd name="connsiteY34" fmla="*/ 213249 h 4905563"/>
              <a:gd name="connsiteX35" fmla="*/ 3788067 w 4719663"/>
              <a:gd name="connsiteY35" fmla="*/ 333534 h 4905563"/>
              <a:gd name="connsiteX36" fmla="*/ 3624010 w 4719663"/>
              <a:gd name="connsiteY36" fmla="*/ 596253 h 4905563"/>
              <a:gd name="connsiteX37" fmla="*/ 3645568 w 4719663"/>
              <a:gd name="connsiteY37" fmla="*/ 850920 h 4905563"/>
              <a:gd name="connsiteX38" fmla="*/ 3719260 w 4719663"/>
              <a:gd name="connsiteY38" fmla="*/ 1329678 h 4905563"/>
              <a:gd name="connsiteX39" fmla="*/ 3719260 w 4719663"/>
              <a:gd name="connsiteY39" fmla="*/ 1682103 h 4905563"/>
              <a:gd name="connsiteX40" fmla="*/ 3728285 w 4719663"/>
              <a:gd name="connsiteY40" fmla="*/ 1849040 h 4905563"/>
              <a:gd name="connsiteX41" fmla="*/ 3063540 w 4719663"/>
              <a:gd name="connsiteY41" fmla="*/ 2860194 h 4905563"/>
              <a:gd name="connsiteX42" fmla="*/ 2642935 w 4719663"/>
              <a:gd name="connsiteY42" fmla="*/ 3110853 h 4905563"/>
              <a:gd name="connsiteX43" fmla="*/ 2264443 w 4719663"/>
              <a:gd name="connsiteY43" fmla="*/ 3281801 h 4905563"/>
              <a:gd name="connsiteX44" fmla="*/ 1318960 w 4719663"/>
              <a:gd name="connsiteY44" fmla="*/ 3463278 h 4905563"/>
              <a:gd name="connsiteX45" fmla="*/ 637673 w 4719663"/>
              <a:gd name="connsiteY45" fmla="*/ 3690373 h 4905563"/>
              <a:gd name="connsiteX46" fmla="*/ 348914 w 4719663"/>
              <a:gd name="connsiteY46" fmla="*/ 3894911 h 4905563"/>
              <a:gd name="connsiteX47" fmla="*/ 96251 w 4719663"/>
              <a:gd name="connsiteY47" fmla="*/ 4195700 h 4905563"/>
              <a:gd name="connsiteX48" fmla="*/ 0 w 4719663"/>
              <a:gd name="connsiteY48" fmla="*/ 4460394 h 4905563"/>
              <a:gd name="connsiteX49" fmla="*/ 613610 w 4719663"/>
              <a:gd name="connsiteY49"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152273 w 4719663"/>
              <a:gd name="connsiteY16" fmla="*/ 3858815 h 4905563"/>
              <a:gd name="connsiteX17" fmla="*/ 3441031 w 4719663"/>
              <a:gd name="connsiteY17" fmla="*/ 3702405 h 4905563"/>
              <a:gd name="connsiteX18" fmla="*/ 3729789 w 4719663"/>
              <a:gd name="connsiteY18" fmla="*/ 3461773 h 4905563"/>
              <a:gd name="connsiteX19" fmla="*/ 3886199 w 4719663"/>
              <a:gd name="connsiteY19" fmla="*/ 3185047 h 4905563"/>
              <a:gd name="connsiteX20" fmla="*/ 3934325 w 4719663"/>
              <a:gd name="connsiteY20" fmla="*/ 2884257 h 4905563"/>
              <a:gd name="connsiteX21" fmla="*/ 4018547 w 4719663"/>
              <a:gd name="connsiteY21" fmla="*/ 2739879 h 4905563"/>
              <a:gd name="connsiteX22" fmla="*/ 4138863 w 4719663"/>
              <a:gd name="connsiteY22" fmla="*/ 2511279 h 4905563"/>
              <a:gd name="connsiteX23" fmla="*/ 4138862 w 4719663"/>
              <a:gd name="connsiteY23" fmla="*/ 2547373 h 4905563"/>
              <a:gd name="connsiteX24" fmla="*/ 4235115 w 4719663"/>
              <a:gd name="connsiteY24" fmla="*/ 2330805 h 4905563"/>
              <a:gd name="connsiteX25" fmla="*/ 4247147 w 4719663"/>
              <a:gd name="connsiteY25" fmla="*/ 2294710 h 4905563"/>
              <a:gd name="connsiteX26" fmla="*/ 4355431 w 4719663"/>
              <a:gd name="connsiteY26" fmla="*/ 1885636 h 4905563"/>
              <a:gd name="connsiteX27" fmla="*/ 4379494 w 4719663"/>
              <a:gd name="connsiteY27" fmla="*/ 1488594 h 4905563"/>
              <a:gd name="connsiteX28" fmla="*/ 4391525 w 4719663"/>
              <a:gd name="connsiteY28" fmla="*/ 1031394 h 4905563"/>
              <a:gd name="connsiteX29" fmla="*/ 4415589 w 4719663"/>
              <a:gd name="connsiteY29" fmla="*/ 1007331 h 4905563"/>
              <a:gd name="connsiteX30" fmla="*/ 4511841 w 4719663"/>
              <a:gd name="connsiteY30" fmla="*/ 766699 h 4905563"/>
              <a:gd name="connsiteX31" fmla="*/ 4698158 w 4719663"/>
              <a:gd name="connsiteY31" fmla="*/ 459264 h 4905563"/>
              <a:gd name="connsiteX32" fmla="*/ 4162927 w 4719663"/>
              <a:gd name="connsiteY32" fmla="*/ 0 h 4905563"/>
              <a:gd name="connsiteX33" fmla="*/ 3903149 w 4719663"/>
              <a:gd name="connsiteY33" fmla="*/ 213249 h 4905563"/>
              <a:gd name="connsiteX34" fmla="*/ 3788067 w 4719663"/>
              <a:gd name="connsiteY34" fmla="*/ 333534 h 4905563"/>
              <a:gd name="connsiteX35" fmla="*/ 3624010 w 4719663"/>
              <a:gd name="connsiteY35" fmla="*/ 596253 h 4905563"/>
              <a:gd name="connsiteX36" fmla="*/ 3645568 w 4719663"/>
              <a:gd name="connsiteY36" fmla="*/ 850920 h 4905563"/>
              <a:gd name="connsiteX37" fmla="*/ 3719260 w 4719663"/>
              <a:gd name="connsiteY37" fmla="*/ 1329678 h 4905563"/>
              <a:gd name="connsiteX38" fmla="*/ 3719260 w 4719663"/>
              <a:gd name="connsiteY38" fmla="*/ 1682103 h 4905563"/>
              <a:gd name="connsiteX39" fmla="*/ 3728285 w 4719663"/>
              <a:gd name="connsiteY39" fmla="*/ 1849040 h 4905563"/>
              <a:gd name="connsiteX40" fmla="*/ 3063540 w 4719663"/>
              <a:gd name="connsiteY40" fmla="*/ 2860194 h 4905563"/>
              <a:gd name="connsiteX41" fmla="*/ 2642935 w 4719663"/>
              <a:gd name="connsiteY41" fmla="*/ 3110853 h 4905563"/>
              <a:gd name="connsiteX42" fmla="*/ 2264443 w 4719663"/>
              <a:gd name="connsiteY42" fmla="*/ 3281801 h 4905563"/>
              <a:gd name="connsiteX43" fmla="*/ 1318960 w 4719663"/>
              <a:gd name="connsiteY43" fmla="*/ 3463278 h 4905563"/>
              <a:gd name="connsiteX44" fmla="*/ 637673 w 4719663"/>
              <a:gd name="connsiteY44" fmla="*/ 3690373 h 4905563"/>
              <a:gd name="connsiteX45" fmla="*/ 348914 w 4719663"/>
              <a:gd name="connsiteY45" fmla="*/ 3894911 h 4905563"/>
              <a:gd name="connsiteX46" fmla="*/ 96251 w 4719663"/>
              <a:gd name="connsiteY46" fmla="*/ 4195700 h 4905563"/>
              <a:gd name="connsiteX47" fmla="*/ 0 w 4719663"/>
              <a:gd name="connsiteY47" fmla="*/ 4460394 h 4905563"/>
              <a:gd name="connsiteX48" fmla="*/ 613610 w 4719663"/>
              <a:gd name="connsiteY48"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2803357 w 4719663"/>
              <a:gd name="connsiteY14" fmla="*/ 3955068 h 4905563"/>
              <a:gd name="connsiteX15" fmla="*/ 3007894 w 4719663"/>
              <a:gd name="connsiteY15" fmla="*/ 3894910 h 4905563"/>
              <a:gd name="connsiteX16" fmla="*/ 3441031 w 4719663"/>
              <a:gd name="connsiteY16" fmla="*/ 3702405 h 4905563"/>
              <a:gd name="connsiteX17" fmla="*/ 3729789 w 4719663"/>
              <a:gd name="connsiteY17" fmla="*/ 3461773 h 4905563"/>
              <a:gd name="connsiteX18" fmla="*/ 3886199 w 4719663"/>
              <a:gd name="connsiteY18" fmla="*/ 3185047 h 4905563"/>
              <a:gd name="connsiteX19" fmla="*/ 3934325 w 4719663"/>
              <a:gd name="connsiteY19" fmla="*/ 2884257 h 4905563"/>
              <a:gd name="connsiteX20" fmla="*/ 4018547 w 4719663"/>
              <a:gd name="connsiteY20" fmla="*/ 2739879 h 4905563"/>
              <a:gd name="connsiteX21" fmla="*/ 4138863 w 4719663"/>
              <a:gd name="connsiteY21" fmla="*/ 2511279 h 4905563"/>
              <a:gd name="connsiteX22" fmla="*/ 4138862 w 4719663"/>
              <a:gd name="connsiteY22" fmla="*/ 2547373 h 4905563"/>
              <a:gd name="connsiteX23" fmla="*/ 4235115 w 4719663"/>
              <a:gd name="connsiteY23" fmla="*/ 2330805 h 4905563"/>
              <a:gd name="connsiteX24" fmla="*/ 4247147 w 4719663"/>
              <a:gd name="connsiteY24" fmla="*/ 2294710 h 4905563"/>
              <a:gd name="connsiteX25" fmla="*/ 4355431 w 4719663"/>
              <a:gd name="connsiteY25" fmla="*/ 1885636 h 4905563"/>
              <a:gd name="connsiteX26" fmla="*/ 4379494 w 4719663"/>
              <a:gd name="connsiteY26" fmla="*/ 1488594 h 4905563"/>
              <a:gd name="connsiteX27" fmla="*/ 4391525 w 4719663"/>
              <a:gd name="connsiteY27" fmla="*/ 1031394 h 4905563"/>
              <a:gd name="connsiteX28" fmla="*/ 4415589 w 4719663"/>
              <a:gd name="connsiteY28" fmla="*/ 1007331 h 4905563"/>
              <a:gd name="connsiteX29" fmla="*/ 4511841 w 4719663"/>
              <a:gd name="connsiteY29" fmla="*/ 766699 h 4905563"/>
              <a:gd name="connsiteX30" fmla="*/ 4698158 w 4719663"/>
              <a:gd name="connsiteY30" fmla="*/ 459264 h 4905563"/>
              <a:gd name="connsiteX31" fmla="*/ 4162927 w 4719663"/>
              <a:gd name="connsiteY31" fmla="*/ 0 h 4905563"/>
              <a:gd name="connsiteX32" fmla="*/ 3903149 w 4719663"/>
              <a:gd name="connsiteY32" fmla="*/ 213249 h 4905563"/>
              <a:gd name="connsiteX33" fmla="*/ 3788067 w 4719663"/>
              <a:gd name="connsiteY33" fmla="*/ 333534 h 4905563"/>
              <a:gd name="connsiteX34" fmla="*/ 3624010 w 4719663"/>
              <a:gd name="connsiteY34" fmla="*/ 596253 h 4905563"/>
              <a:gd name="connsiteX35" fmla="*/ 3645568 w 4719663"/>
              <a:gd name="connsiteY35" fmla="*/ 850920 h 4905563"/>
              <a:gd name="connsiteX36" fmla="*/ 3719260 w 4719663"/>
              <a:gd name="connsiteY36" fmla="*/ 1329678 h 4905563"/>
              <a:gd name="connsiteX37" fmla="*/ 3719260 w 4719663"/>
              <a:gd name="connsiteY37" fmla="*/ 1682103 h 4905563"/>
              <a:gd name="connsiteX38" fmla="*/ 3728285 w 4719663"/>
              <a:gd name="connsiteY38" fmla="*/ 1849040 h 4905563"/>
              <a:gd name="connsiteX39" fmla="*/ 3063540 w 4719663"/>
              <a:gd name="connsiteY39" fmla="*/ 2860194 h 4905563"/>
              <a:gd name="connsiteX40" fmla="*/ 2642935 w 4719663"/>
              <a:gd name="connsiteY40" fmla="*/ 3110853 h 4905563"/>
              <a:gd name="connsiteX41" fmla="*/ 2264443 w 4719663"/>
              <a:gd name="connsiteY41" fmla="*/ 3281801 h 4905563"/>
              <a:gd name="connsiteX42" fmla="*/ 1318960 w 4719663"/>
              <a:gd name="connsiteY42" fmla="*/ 3463278 h 4905563"/>
              <a:gd name="connsiteX43" fmla="*/ 637673 w 4719663"/>
              <a:gd name="connsiteY43" fmla="*/ 3690373 h 4905563"/>
              <a:gd name="connsiteX44" fmla="*/ 348914 w 4719663"/>
              <a:gd name="connsiteY44" fmla="*/ 3894911 h 4905563"/>
              <a:gd name="connsiteX45" fmla="*/ 96251 w 4719663"/>
              <a:gd name="connsiteY45" fmla="*/ 4195700 h 4905563"/>
              <a:gd name="connsiteX46" fmla="*/ 0 w 4719663"/>
              <a:gd name="connsiteY46" fmla="*/ 4460394 h 4905563"/>
              <a:gd name="connsiteX47" fmla="*/ 613610 w 4719663"/>
              <a:gd name="connsiteY47"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2707104 w 4719663"/>
              <a:gd name="connsiteY13" fmla="*/ 3979131 h 4905563"/>
              <a:gd name="connsiteX14" fmla="*/ 3007894 w 4719663"/>
              <a:gd name="connsiteY14" fmla="*/ 3894910 h 4905563"/>
              <a:gd name="connsiteX15" fmla="*/ 3441031 w 4719663"/>
              <a:gd name="connsiteY15" fmla="*/ 3702405 h 4905563"/>
              <a:gd name="connsiteX16" fmla="*/ 3729789 w 4719663"/>
              <a:gd name="connsiteY16" fmla="*/ 3461773 h 4905563"/>
              <a:gd name="connsiteX17" fmla="*/ 3886199 w 4719663"/>
              <a:gd name="connsiteY17" fmla="*/ 3185047 h 4905563"/>
              <a:gd name="connsiteX18" fmla="*/ 3934325 w 4719663"/>
              <a:gd name="connsiteY18" fmla="*/ 2884257 h 4905563"/>
              <a:gd name="connsiteX19" fmla="*/ 4018547 w 4719663"/>
              <a:gd name="connsiteY19" fmla="*/ 2739879 h 4905563"/>
              <a:gd name="connsiteX20" fmla="*/ 4138863 w 4719663"/>
              <a:gd name="connsiteY20" fmla="*/ 2511279 h 4905563"/>
              <a:gd name="connsiteX21" fmla="*/ 4138862 w 4719663"/>
              <a:gd name="connsiteY21" fmla="*/ 2547373 h 4905563"/>
              <a:gd name="connsiteX22" fmla="*/ 4235115 w 4719663"/>
              <a:gd name="connsiteY22" fmla="*/ 2330805 h 4905563"/>
              <a:gd name="connsiteX23" fmla="*/ 4247147 w 4719663"/>
              <a:gd name="connsiteY23" fmla="*/ 2294710 h 4905563"/>
              <a:gd name="connsiteX24" fmla="*/ 4355431 w 4719663"/>
              <a:gd name="connsiteY24" fmla="*/ 1885636 h 4905563"/>
              <a:gd name="connsiteX25" fmla="*/ 4379494 w 4719663"/>
              <a:gd name="connsiteY25" fmla="*/ 1488594 h 4905563"/>
              <a:gd name="connsiteX26" fmla="*/ 4391525 w 4719663"/>
              <a:gd name="connsiteY26" fmla="*/ 1031394 h 4905563"/>
              <a:gd name="connsiteX27" fmla="*/ 4415589 w 4719663"/>
              <a:gd name="connsiteY27" fmla="*/ 1007331 h 4905563"/>
              <a:gd name="connsiteX28" fmla="*/ 4511841 w 4719663"/>
              <a:gd name="connsiteY28" fmla="*/ 766699 h 4905563"/>
              <a:gd name="connsiteX29" fmla="*/ 4698158 w 4719663"/>
              <a:gd name="connsiteY29" fmla="*/ 459264 h 4905563"/>
              <a:gd name="connsiteX30" fmla="*/ 4162927 w 4719663"/>
              <a:gd name="connsiteY30" fmla="*/ 0 h 4905563"/>
              <a:gd name="connsiteX31" fmla="*/ 3903149 w 4719663"/>
              <a:gd name="connsiteY31" fmla="*/ 213249 h 4905563"/>
              <a:gd name="connsiteX32" fmla="*/ 3788067 w 4719663"/>
              <a:gd name="connsiteY32" fmla="*/ 333534 h 4905563"/>
              <a:gd name="connsiteX33" fmla="*/ 3624010 w 4719663"/>
              <a:gd name="connsiteY33" fmla="*/ 596253 h 4905563"/>
              <a:gd name="connsiteX34" fmla="*/ 3645568 w 4719663"/>
              <a:gd name="connsiteY34" fmla="*/ 850920 h 4905563"/>
              <a:gd name="connsiteX35" fmla="*/ 3719260 w 4719663"/>
              <a:gd name="connsiteY35" fmla="*/ 1329678 h 4905563"/>
              <a:gd name="connsiteX36" fmla="*/ 3719260 w 4719663"/>
              <a:gd name="connsiteY36" fmla="*/ 1682103 h 4905563"/>
              <a:gd name="connsiteX37" fmla="*/ 3728285 w 4719663"/>
              <a:gd name="connsiteY37" fmla="*/ 1849040 h 4905563"/>
              <a:gd name="connsiteX38" fmla="*/ 3063540 w 4719663"/>
              <a:gd name="connsiteY38" fmla="*/ 2860194 h 4905563"/>
              <a:gd name="connsiteX39" fmla="*/ 2642935 w 4719663"/>
              <a:gd name="connsiteY39" fmla="*/ 3110853 h 4905563"/>
              <a:gd name="connsiteX40" fmla="*/ 2264443 w 4719663"/>
              <a:gd name="connsiteY40" fmla="*/ 3281801 h 4905563"/>
              <a:gd name="connsiteX41" fmla="*/ 1318960 w 4719663"/>
              <a:gd name="connsiteY41" fmla="*/ 3463278 h 4905563"/>
              <a:gd name="connsiteX42" fmla="*/ 637673 w 4719663"/>
              <a:gd name="connsiteY42" fmla="*/ 3690373 h 4905563"/>
              <a:gd name="connsiteX43" fmla="*/ 348914 w 4719663"/>
              <a:gd name="connsiteY43" fmla="*/ 3894911 h 4905563"/>
              <a:gd name="connsiteX44" fmla="*/ 96251 w 4719663"/>
              <a:gd name="connsiteY44" fmla="*/ 4195700 h 4905563"/>
              <a:gd name="connsiteX45" fmla="*/ 0 w 4719663"/>
              <a:gd name="connsiteY45" fmla="*/ 4460394 h 4905563"/>
              <a:gd name="connsiteX46" fmla="*/ 613610 w 4719663"/>
              <a:gd name="connsiteY46"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3007894 w 4719663"/>
              <a:gd name="connsiteY13" fmla="*/ 3894910 h 4905563"/>
              <a:gd name="connsiteX14" fmla="*/ 3441031 w 4719663"/>
              <a:gd name="connsiteY14" fmla="*/ 3702405 h 4905563"/>
              <a:gd name="connsiteX15" fmla="*/ 3729789 w 4719663"/>
              <a:gd name="connsiteY15" fmla="*/ 3461773 h 4905563"/>
              <a:gd name="connsiteX16" fmla="*/ 3886199 w 4719663"/>
              <a:gd name="connsiteY16" fmla="*/ 3185047 h 4905563"/>
              <a:gd name="connsiteX17" fmla="*/ 3934325 w 4719663"/>
              <a:gd name="connsiteY17" fmla="*/ 2884257 h 4905563"/>
              <a:gd name="connsiteX18" fmla="*/ 4018547 w 4719663"/>
              <a:gd name="connsiteY18" fmla="*/ 2739879 h 4905563"/>
              <a:gd name="connsiteX19" fmla="*/ 4138863 w 4719663"/>
              <a:gd name="connsiteY19" fmla="*/ 2511279 h 4905563"/>
              <a:gd name="connsiteX20" fmla="*/ 4138862 w 4719663"/>
              <a:gd name="connsiteY20" fmla="*/ 2547373 h 4905563"/>
              <a:gd name="connsiteX21" fmla="*/ 4235115 w 4719663"/>
              <a:gd name="connsiteY21" fmla="*/ 2330805 h 4905563"/>
              <a:gd name="connsiteX22" fmla="*/ 4247147 w 4719663"/>
              <a:gd name="connsiteY22" fmla="*/ 2294710 h 4905563"/>
              <a:gd name="connsiteX23" fmla="*/ 4355431 w 4719663"/>
              <a:gd name="connsiteY23" fmla="*/ 1885636 h 4905563"/>
              <a:gd name="connsiteX24" fmla="*/ 4379494 w 4719663"/>
              <a:gd name="connsiteY24" fmla="*/ 1488594 h 4905563"/>
              <a:gd name="connsiteX25" fmla="*/ 4391525 w 4719663"/>
              <a:gd name="connsiteY25" fmla="*/ 1031394 h 4905563"/>
              <a:gd name="connsiteX26" fmla="*/ 4415589 w 4719663"/>
              <a:gd name="connsiteY26" fmla="*/ 1007331 h 4905563"/>
              <a:gd name="connsiteX27" fmla="*/ 4511841 w 4719663"/>
              <a:gd name="connsiteY27" fmla="*/ 766699 h 4905563"/>
              <a:gd name="connsiteX28" fmla="*/ 4698158 w 4719663"/>
              <a:gd name="connsiteY28" fmla="*/ 459264 h 4905563"/>
              <a:gd name="connsiteX29" fmla="*/ 4162927 w 4719663"/>
              <a:gd name="connsiteY29" fmla="*/ 0 h 4905563"/>
              <a:gd name="connsiteX30" fmla="*/ 3903149 w 4719663"/>
              <a:gd name="connsiteY30" fmla="*/ 213249 h 4905563"/>
              <a:gd name="connsiteX31" fmla="*/ 3788067 w 4719663"/>
              <a:gd name="connsiteY31" fmla="*/ 333534 h 4905563"/>
              <a:gd name="connsiteX32" fmla="*/ 3624010 w 4719663"/>
              <a:gd name="connsiteY32" fmla="*/ 596253 h 4905563"/>
              <a:gd name="connsiteX33" fmla="*/ 3645568 w 4719663"/>
              <a:gd name="connsiteY33" fmla="*/ 850920 h 4905563"/>
              <a:gd name="connsiteX34" fmla="*/ 3719260 w 4719663"/>
              <a:gd name="connsiteY34" fmla="*/ 1329678 h 4905563"/>
              <a:gd name="connsiteX35" fmla="*/ 3719260 w 4719663"/>
              <a:gd name="connsiteY35" fmla="*/ 1682103 h 4905563"/>
              <a:gd name="connsiteX36" fmla="*/ 3728285 w 4719663"/>
              <a:gd name="connsiteY36" fmla="*/ 1849040 h 4905563"/>
              <a:gd name="connsiteX37" fmla="*/ 3063540 w 4719663"/>
              <a:gd name="connsiteY37" fmla="*/ 2860194 h 4905563"/>
              <a:gd name="connsiteX38" fmla="*/ 2642935 w 4719663"/>
              <a:gd name="connsiteY38" fmla="*/ 3110853 h 4905563"/>
              <a:gd name="connsiteX39" fmla="*/ 2264443 w 4719663"/>
              <a:gd name="connsiteY39" fmla="*/ 3281801 h 4905563"/>
              <a:gd name="connsiteX40" fmla="*/ 1318960 w 4719663"/>
              <a:gd name="connsiteY40" fmla="*/ 3463278 h 4905563"/>
              <a:gd name="connsiteX41" fmla="*/ 637673 w 4719663"/>
              <a:gd name="connsiteY41" fmla="*/ 3690373 h 4905563"/>
              <a:gd name="connsiteX42" fmla="*/ 348914 w 4719663"/>
              <a:gd name="connsiteY42" fmla="*/ 3894911 h 4905563"/>
              <a:gd name="connsiteX43" fmla="*/ 96251 w 4719663"/>
              <a:gd name="connsiteY43" fmla="*/ 4195700 h 4905563"/>
              <a:gd name="connsiteX44" fmla="*/ 0 w 4719663"/>
              <a:gd name="connsiteY44" fmla="*/ 4460394 h 4905563"/>
              <a:gd name="connsiteX45" fmla="*/ 613610 w 4719663"/>
              <a:gd name="connsiteY45" fmla="*/ 4905563 h 4905563"/>
              <a:gd name="connsiteX0" fmla="*/ 613610 w 4719663"/>
              <a:gd name="connsiteY0" fmla="*/ 4905563 h 4905563"/>
              <a:gd name="connsiteX1" fmla="*/ 577515 w 4719663"/>
              <a:gd name="connsiteY1" fmla="*/ 4833373 h 4905563"/>
              <a:gd name="connsiteX2" fmla="*/ 661736 w 4719663"/>
              <a:gd name="connsiteY2" fmla="*/ 4749152 h 4905563"/>
              <a:gd name="connsiteX3" fmla="*/ 745957 w 4719663"/>
              <a:gd name="connsiteY3" fmla="*/ 4616805 h 4905563"/>
              <a:gd name="connsiteX4" fmla="*/ 902368 w 4719663"/>
              <a:gd name="connsiteY4" fmla="*/ 4472426 h 4905563"/>
              <a:gd name="connsiteX5" fmla="*/ 1022683 w 4719663"/>
              <a:gd name="connsiteY5" fmla="*/ 4388205 h 4905563"/>
              <a:gd name="connsiteX6" fmla="*/ 1359568 w 4719663"/>
              <a:gd name="connsiteY6" fmla="*/ 4267889 h 4905563"/>
              <a:gd name="connsiteX7" fmla="*/ 1395662 w 4719663"/>
              <a:gd name="connsiteY7" fmla="*/ 4255857 h 4905563"/>
              <a:gd name="connsiteX8" fmla="*/ 1600199 w 4719663"/>
              <a:gd name="connsiteY8" fmla="*/ 4123510 h 4905563"/>
              <a:gd name="connsiteX9" fmla="*/ 1852862 w 4719663"/>
              <a:gd name="connsiteY9" fmla="*/ 4087415 h 4905563"/>
              <a:gd name="connsiteX10" fmla="*/ 2165683 w 4719663"/>
              <a:gd name="connsiteY10" fmla="*/ 4075384 h 4905563"/>
              <a:gd name="connsiteX11" fmla="*/ 2370220 w 4719663"/>
              <a:gd name="connsiteY11" fmla="*/ 4051320 h 4905563"/>
              <a:gd name="connsiteX12" fmla="*/ 2538662 w 4719663"/>
              <a:gd name="connsiteY12" fmla="*/ 4015226 h 4905563"/>
              <a:gd name="connsiteX13" fmla="*/ 3007894 w 4719663"/>
              <a:gd name="connsiteY13" fmla="*/ 3894910 h 4905563"/>
              <a:gd name="connsiteX14" fmla="*/ 3441031 w 4719663"/>
              <a:gd name="connsiteY14" fmla="*/ 3702405 h 4905563"/>
              <a:gd name="connsiteX15" fmla="*/ 3729789 w 4719663"/>
              <a:gd name="connsiteY15" fmla="*/ 3461773 h 4905563"/>
              <a:gd name="connsiteX16" fmla="*/ 3886199 w 4719663"/>
              <a:gd name="connsiteY16" fmla="*/ 3185047 h 4905563"/>
              <a:gd name="connsiteX17" fmla="*/ 3934325 w 4719663"/>
              <a:gd name="connsiteY17" fmla="*/ 2884257 h 4905563"/>
              <a:gd name="connsiteX18" fmla="*/ 4018547 w 4719663"/>
              <a:gd name="connsiteY18" fmla="*/ 2739879 h 4905563"/>
              <a:gd name="connsiteX19" fmla="*/ 4138863 w 4719663"/>
              <a:gd name="connsiteY19" fmla="*/ 2511279 h 4905563"/>
              <a:gd name="connsiteX20" fmla="*/ 4138862 w 4719663"/>
              <a:gd name="connsiteY20" fmla="*/ 2547373 h 4905563"/>
              <a:gd name="connsiteX21" fmla="*/ 4235115 w 4719663"/>
              <a:gd name="connsiteY21" fmla="*/ 2330805 h 4905563"/>
              <a:gd name="connsiteX22" fmla="*/ 4247147 w 4719663"/>
              <a:gd name="connsiteY22" fmla="*/ 2294710 h 4905563"/>
              <a:gd name="connsiteX23" fmla="*/ 4379494 w 4719663"/>
              <a:gd name="connsiteY23" fmla="*/ 1488594 h 4905563"/>
              <a:gd name="connsiteX24" fmla="*/ 4391525 w 4719663"/>
              <a:gd name="connsiteY24" fmla="*/ 1031394 h 4905563"/>
              <a:gd name="connsiteX25" fmla="*/ 4415589 w 4719663"/>
              <a:gd name="connsiteY25" fmla="*/ 1007331 h 4905563"/>
              <a:gd name="connsiteX26" fmla="*/ 4511841 w 4719663"/>
              <a:gd name="connsiteY26" fmla="*/ 766699 h 4905563"/>
              <a:gd name="connsiteX27" fmla="*/ 4698158 w 4719663"/>
              <a:gd name="connsiteY27" fmla="*/ 459264 h 4905563"/>
              <a:gd name="connsiteX28" fmla="*/ 4162927 w 4719663"/>
              <a:gd name="connsiteY28" fmla="*/ 0 h 4905563"/>
              <a:gd name="connsiteX29" fmla="*/ 3903149 w 4719663"/>
              <a:gd name="connsiteY29" fmla="*/ 213249 h 4905563"/>
              <a:gd name="connsiteX30" fmla="*/ 3788067 w 4719663"/>
              <a:gd name="connsiteY30" fmla="*/ 333534 h 4905563"/>
              <a:gd name="connsiteX31" fmla="*/ 3624010 w 4719663"/>
              <a:gd name="connsiteY31" fmla="*/ 596253 h 4905563"/>
              <a:gd name="connsiteX32" fmla="*/ 3645568 w 4719663"/>
              <a:gd name="connsiteY32" fmla="*/ 850920 h 4905563"/>
              <a:gd name="connsiteX33" fmla="*/ 3719260 w 4719663"/>
              <a:gd name="connsiteY33" fmla="*/ 1329678 h 4905563"/>
              <a:gd name="connsiteX34" fmla="*/ 3719260 w 4719663"/>
              <a:gd name="connsiteY34" fmla="*/ 1682103 h 4905563"/>
              <a:gd name="connsiteX35" fmla="*/ 3728285 w 4719663"/>
              <a:gd name="connsiteY35" fmla="*/ 1849040 h 4905563"/>
              <a:gd name="connsiteX36" fmla="*/ 3063540 w 4719663"/>
              <a:gd name="connsiteY36" fmla="*/ 2860194 h 4905563"/>
              <a:gd name="connsiteX37" fmla="*/ 2642935 w 4719663"/>
              <a:gd name="connsiteY37" fmla="*/ 3110853 h 4905563"/>
              <a:gd name="connsiteX38" fmla="*/ 2264443 w 4719663"/>
              <a:gd name="connsiteY38" fmla="*/ 3281801 h 4905563"/>
              <a:gd name="connsiteX39" fmla="*/ 1318960 w 4719663"/>
              <a:gd name="connsiteY39" fmla="*/ 3463278 h 4905563"/>
              <a:gd name="connsiteX40" fmla="*/ 637673 w 4719663"/>
              <a:gd name="connsiteY40" fmla="*/ 3690373 h 4905563"/>
              <a:gd name="connsiteX41" fmla="*/ 348914 w 4719663"/>
              <a:gd name="connsiteY41" fmla="*/ 3894911 h 4905563"/>
              <a:gd name="connsiteX42" fmla="*/ 96251 w 4719663"/>
              <a:gd name="connsiteY42" fmla="*/ 4195700 h 4905563"/>
              <a:gd name="connsiteX43" fmla="*/ 0 w 4719663"/>
              <a:gd name="connsiteY43" fmla="*/ 4460394 h 4905563"/>
              <a:gd name="connsiteX44" fmla="*/ 613610 w 4719663"/>
              <a:gd name="connsiteY44" fmla="*/ 4905563 h 4905563"/>
              <a:gd name="connsiteX0" fmla="*/ 613610 w 4719935"/>
              <a:gd name="connsiteY0" fmla="*/ 4905563 h 4905563"/>
              <a:gd name="connsiteX1" fmla="*/ 577515 w 4719935"/>
              <a:gd name="connsiteY1" fmla="*/ 4833373 h 4905563"/>
              <a:gd name="connsiteX2" fmla="*/ 661736 w 4719935"/>
              <a:gd name="connsiteY2" fmla="*/ 4749152 h 4905563"/>
              <a:gd name="connsiteX3" fmla="*/ 745957 w 4719935"/>
              <a:gd name="connsiteY3" fmla="*/ 4616805 h 4905563"/>
              <a:gd name="connsiteX4" fmla="*/ 902368 w 4719935"/>
              <a:gd name="connsiteY4" fmla="*/ 4472426 h 4905563"/>
              <a:gd name="connsiteX5" fmla="*/ 1022683 w 4719935"/>
              <a:gd name="connsiteY5" fmla="*/ 4388205 h 4905563"/>
              <a:gd name="connsiteX6" fmla="*/ 1359568 w 4719935"/>
              <a:gd name="connsiteY6" fmla="*/ 4267889 h 4905563"/>
              <a:gd name="connsiteX7" fmla="*/ 1395662 w 4719935"/>
              <a:gd name="connsiteY7" fmla="*/ 4255857 h 4905563"/>
              <a:gd name="connsiteX8" fmla="*/ 1600199 w 4719935"/>
              <a:gd name="connsiteY8" fmla="*/ 4123510 h 4905563"/>
              <a:gd name="connsiteX9" fmla="*/ 1852862 w 4719935"/>
              <a:gd name="connsiteY9" fmla="*/ 4087415 h 4905563"/>
              <a:gd name="connsiteX10" fmla="*/ 2165683 w 4719935"/>
              <a:gd name="connsiteY10" fmla="*/ 4075384 h 4905563"/>
              <a:gd name="connsiteX11" fmla="*/ 2370220 w 4719935"/>
              <a:gd name="connsiteY11" fmla="*/ 4051320 h 4905563"/>
              <a:gd name="connsiteX12" fmla="*/ 2538662 w 4719935"/>
              <a:gd name="connsiteY12" fmla="*/ 4015226 h 4905563"/>
              <a:gd name="connsiteX13" fmla="*/ 3007894 w 4719935"/>
              <a:gd name="connsiteY13" fmla="*/ 3894910 h 4905563"/>
              <a:gd name="connsiteX14" fmla="*/ 3441031 w 4719935"/>
              <a:gd name="connsiteY14" fmla="*/ 3702405 h 4905563"/>
              <a:gd name="connsiteX15" fmla="*/ 3729789 w 4719935"/>
              <a:gd name="connsiteY15" fmla="*/ 3461773 h 4905563"/>
              <a:gd name="connsiteX16" fmla="*/ 3886199 w 4719935"/>
              <a:gd name="connsiteY16" fmla="*/ 3185047 h 4905563"/>
              <a:gd name="connsiteX17" fmla="*/ 3934325 w 4719935"/>
              <a:gd name="connsiteY17" fmla="*/ 2884257 h 4905563"/>
              <a:gd name="connsiteX18" fmla="*/ 4018547 w 4719935"/>
              <a:gd name="connsiteY18" fmla="*/ 2739879 h 4905563"/>
              <a:gd name="connsiteX19" fmla="*/ 4138863 w 4719935"/>
              <a:gd name="connsiteY19" fmla="*/ 2511279 h 4905563"/>
              <a:gd name="connsiteX20" fmla="*/ 4138862 w 4719935"/>
              <a:gd name="connsiteY20" fmla="*/ 2547373 h 4905563"/>
              <a:gd name="connsiteX21" fmla="*/ 4235115 w 4719935"/>
              <a:gd name="connsiteY21" fmla="*/ 2330805 h 4905563"/>
              <a:gd name="connsiteX22" fmla="*/ 4247147 w 4719935"/>
              <a:gd name="connsiteY22" fmla="*/ 2294710 h 4905563"/>
              <a:gd name="connsiteX23" fmla="*/ 4379494 w 4719935"/>
              <a:gd name="connsiteY23" fmla="*/ 1488594 h 4905563"/>
              <a:gd name="connsiteX24" fmla="*/ 4391525 w 4719935"/>
              <a:gd name="connsiteY24" fmla="*/ 1031394 h 4905563"/>
              <a:gd name="connsiteX25" fmla="*/ 4511841 w 4719935"/>
              <a:gd name="connsiteY25" fmla="*/ 766699 h 4905563"/>
              <a:gd name="connsiteX26" fmla="*/ 4698158 w 4719935"/>
              <a:gd name="connsiteY26" fmla="*/ 459264 h 4905563"/>
              <a:gd name="connsiteX27" fmla="*/ 4162927 w 4719935"/>
              <a:gd name="connsiteY27" fmla="*/ 0 h 4905563"/>
              <a:gd name="connsiteX28" fmla="*/ 3903149 w 4719935"/>
              <a:gd name="connsiteY28" fmla="*/ 213249 h 4905563"/>
              <a:gd name="connsiteX29" fmla="*/ 3788067 w 4719935"/>
              <a:gd name="connsiteY29" fmla="*/ 333534 h 4905563"/>
              <a:gd name="connsiteX30" fmla="*/ 3624010 w 4719935"/>
              <a:gd name="connsiteY30" fmla="*/ 596253 h 4905563"/>
              <a:gd name="connsiteX31" fmla="*/ 3645568 w 4719935"/>
              <a:gd name="connsiteY31" fmla="*/ 850920 h 4905563"/>
              <a:gd name="connsiteX32" fmla="*/ 3719260 w 4719935"/>
              <a:gd name="connsiteY32" fmla="*/ 1329678 h 4905563"/>
              <a:gd name="connsiteX33" fmla="*/ 3719260 w 4719935"/>
              <a:gd name="connsiteY33" fmla="*/ 1682103 h 4905563"/>
              <a:gd name="connsiteX34" fmla="*/ 3728285 w 4719935"/>
              <a:gd name="connsiteY34" fmla="*/ 1849040 h 4905563"/>
              <a:gd name="connsiteX35" fmla="*/ 3063540 w 4719935"/>
              <a:gd name="connsiteY35" fmla="*/ 2860194 h 4905563"/>
              <a:gd name="connsiteX36" fmla="*/ 2642935 w 4719935"/>
              <a:gd name="connsiteY36" fmla="*/ 3110853 h 4905563"/>
              <a:gd name="connsiteX37" fmla="*/ 2264443 w 4719935"/>
              <a:gd name="connsiteY37" fmla="*/ 3281801 h 4905563"/>
              <a:gd name="connsiteX38" fmla="*/ 1318960 w 4719935"/>
              <a:gd name="connsiteY38" fmla="*/ 3463278 h 4905563"/>
              <a:gd name="connsiteX39" fmla="*/ 637673 w 4719935"/>
              <a:gd name="connsiteY39" fmla="*/ 3690373 h 4905563"/>
              <a:gd name="connsiteX40" fmla="*/ 348914 w 4719935"/>
              <a:gd name="connsiteY40" fmla="*/ 3894911 h 4905563"/>
              <a:gd name="connsiteX41" fmla="*/ 96251 w 4719935"/>
              <a:gd name="connsiteY41" fmla="*/ 4195700 h 4905563"/>
              <a:gd name="connsiteX42" fmla="*/ 0 w 4719935"/>
              <a:gd name="connsiteY42" fmla="*/ 4460394 h 4905563"/>
              <a:gd name="connsiteX43" fmla="*/ 613610 w 4719935"/>
              <a:gd name="connsiteY43" fmla="*/ 4905563 h 4905563"/>
              <a:gd name="connsiteX0" fmla="*/ 613610 w 4701578"/>
              <a:gd name="connsiteY0" fmla="*/ 4905563 h 4905563"/>
              <a:gd name="connsiteX1" fmla="*/ 577515 w 4701578"/>
              <a:gd name="connsiteY1" fmla="*/ 4833373 h 4905563"/>
              <a:gd name="connsiteX2" fmla="*/ 661736 w 4701578"/>
              <a:gd name="connsiteY2" fmla="*/ 4749152 h 4905563"/>
              <a:gd name="connsiteX3" fmla="*/ 745957 w 4701578"/>
              <a:gd name="connsiteY3" fmla="*/ 4616805 h 4905563"/>
              <a:gd name="connsiteX4" fmla="*/ 902368 w 4701578"/>
              <a:gd name="connsiteY4" fmla="*/ 4472426 h 4905563"/>
              <a:gd name="connsiteX5" fmla="*/ 1022683 w 4701578"/>
              <a:gd name="connsiteY5" fmla="*/ 4388205 h 4905563"/>
              <a:gd name="connsiteX6" fmla="*/ 1359568 w 4701578"/>
              <a:gd name="connsiteY6" fmla="*/ 4267889 h 4905563"/>
              <a:gd name="connsiteX7" fmla="*/ 1395662 w 4701578"/>
              <a:gd name="connsiteY7" fmla="*/ 4255857 h 4905563"/>
              <a:gd name="connsiteX8" fmla="*/ 1600199 w 4701578"/>
              <a:gd name="connsiteY8" fmla="*/ 4123510 h 4905563"/>
              <a:gd name="connsiteX9" fmla="*/ 1852862 w 4701578"/>
              <a:gd name="connsiteY9" fmla="*/ 4087415 h 4905563"/>
              <a:gd name="connsiteX10" fmla="*/ 2165683 w 4701578"/>
              <a:gd name="connsiteY10" fmla="*/ 4075384 h 4905563"/>
              <a:gd name="connsiteX11" fmla="*/ 2370220 w 4701578"/>
              <a:gd name="connsiteY11" fmla="*/ 4051320 h 4905563"/>
              <a:gd name="connsiteX12" fmla="*/ 2538662 w 4701578"/>
              <a:gd name="connsiteY12" fmla="*/ 4015226 h 4905563"/>
              <a:gd name="connsiteX13" fmla="*/ 3007894 w 4701578"/>
              <a:gd name="connsiteY13" fmla="*/ 3894910 h 4905563"/>
              <a:gd name="connsiteX14" fmla="*/ 3441031 w 4701578"/>
              <a:gd name="connsiteY14" fmla="*/ 3702405 h 4905563"/>
              <a:gd name="connsiteX15" fmla="*/ 3729789 w 4701578"/>
              <a:gd name="connsiteY15" fmla="*/ 3461773 h 4905563"/>
              <a:gd name="connsiteX16" fmla="*/ 3886199 w 4701578"/>
              <a:gd name="connsiteY16" fmla="*/ 3185047 h 4905563"/>
              <a:gd name="connsiteX17" fmla="*/ 3934325 w 4701578"/>
              <a:gd name="connsiteY17" fmla="*/ 2884257 h 4905563"/>
              <a:gd name="connsiteX18" fmla="*/ 4018547 w 4701578"/>
              <a:gd name="connsiteY18" fmla="*/ 2739879 h 4905563"/>
              <a:gd name="connsiteX19" fmla="*/ 4138863 w 4701578"/>
              <a:gd name="connsiteY19" fmla="*/ 2511279 h 4905563"/>
              <a:gd name="connsiteX20" fmla="*/ 4138862 w 4701578"/>
              <a:gd name="connsiteY20" fmla="*/ 2547373 h 4905563"/>
              <a:gd name="connsiteX21" fmla="*/ 4235115 w 4701578"/>
              <a:gd name="connsiteY21" fmla="*/ 2330805 h 4905563"/>
              <a:gd name="connsiteX22" fmla="*/ 4247147 w 4701578"/>
              <a:gd name="connsiteY22" fmla="*/ 2294710 h 4905563"/>
              <a:gd name="connsiteX23" fmla="*/ 4379494 w 4701578"/>
              <a:gd name="connsiteY23" fmla="*/ 1488594 h 4905563"/>
              <a:gd name="connsiteX24" fmla="*/ 4391525 w 4701578"/>
              <a:gd name="connsiteY24" fmla="*/ 1031394 h 4905563"/>
              <a:gd name="connsiteX25" fmla="*/ 4698158 w 4701578"/>
              <a:gd name="connsiteY25" fmla="*/ 459264 h 4905563"/>
              <a:gd name="connsiteX26" fmla="*/ 4162927 w 4701578"/>
              <a:gd name="connsiteY26" fmla="*/ 0 h 4905563"/>
              <a:gd name="connsiteX27" fmla="*/ 3903149 w 4701578"/>
              <a:gd name="connsiteY27" fmla="*/ 213249 h 4905563"/>
              <a:gd name="connsiteX28" fmla="*/ 3788067 w 4701578"/>
              <a:gd name="connsiteY28" fmla="*/ 333534 h 4905563"/>
              <a:gd name="connsiteX29" fmla="*/ 3624010 w 4701578"/>
              <a:gd name="connsiteY29" fmla="*/ 596253 h 4905563"/>
              <a:gd name="connsiteX30" fmla="*/ 3645568 w 4701578"/>
              <a:gd name="connsiteY30" fmla="*/ 850920 h 4905563"/>
              <a:gd name="connsiteX31" fmla="*/ 3719260 w 4701578"/>
              <a:gd name="connsiteY31" fmla="*/ 1329678 h 4905563"/>
              <a:gd name="connsiteX32" fmla="*/ 3719260 w 4701578"/>
              <a:gd name="connsiteY32" fmla="*/ 1682103 h 4905563"/>
              <a:gd name="connsiteX33" fmla="*/ 3728285 w 4701578"/>
              <a:gd name="connsiteY33" fmla="*/ 1849040 h 4905563"/>
              <a:gd name="connsiteX34" fmla="*/ 3063540 w 4701578"/>
              <a:gd name="connsiteY34" fmla="*/ 2860194 h 4905563"/>
              <a:gd name="connsiteX35" fmla="*/ 2642935 w 4701578"/>
              <a:gd name="connsiteY35" fmla="*/ 3110853 h 4905563"/>
              <a:gd name="connsiteX36" fmla="*/ 2264443 w 4701578"/>
              <a:gd name="connsiteY36" fmla="*/ 3281801 h 4905563"/>
              <a:gd name="connsiteX37" fmla="*/ 1318960 w 4701578"/>
              <a:gd name="connsiteY37" fmla="*/ 3463278 h 4905563"/>
              <a:gd name="connsiteX38" fmla="*/ 637673 w 4701578"/>
              <a:gd name="connsiteY38" fmla="*/ 3690373 h 4905563"/>
              <a:gd name="connsiteX39" fmla="*/ 348914 w 4701578"/>
              <a:gd name="connsiteY39" fmla="*/ 3894911 h 4905563"/>
              <a:gd name="connsiteX40" fmla="*/ 96251 w 4701578"/>
              <a:gd name="connsiteY40" fmla="*/ 4195700 h 4905563"/>
              <a:gd name="connsiteX41" fmla="*/ 0 w 4701578"/>
              <a:gd name="connsiteY41" fmla="*/ 4460394 h 4905563"/>
              <a:gd name="connsiteX42" fmla="*/ 613610 w 4701578"/>
              <a:gd name="connsiteY42" fmla="*/ 4905563 h 4905563"/>
              <a:gd name="connsiteX0" fmla="*/ 613610 w 4701578"/>
              <a:gd name="connsiteY0" fmla="*/ 4905563 h 4905563"/>
              <a:gd name="connsiteX1" fmla="*/ 577515 w 4701578"/>
              <a:gd name="connsiteY1" fmla="*/ 4833373 h 4905563"/>
              <a:gd name="connsiteX2" fmla="*/ 661736 w 4701578"/>
              <a:gd name="connsiteY2" fmla="*/ 4749152 h 4905563"/>
              <a:gd name="connsiteX3" fmla="*/ 745957 w 4701578"/>
              <a:gd name="connsiteY3" fmla="*/ 4616805 h 4905563"/>
              <a:gd name="connsiteX4" fmla="*/ 902368 w 4701578"/>
              <a:gd name="connsiteY4" fmla="*/ 4472426 h 4905563"/>
              <a:gd name="connsiteX5" fmla="*/ 1022683 w 4701578"/>
              <a:gd name="connsiteY5" fmla="*/ 4388205 h 4905563"/>
              <a:gd name="connsiteX6" fmla="*/ 1359568 w 4701578"/>
              <a:gd name="connsiteY6" fmla="*/ 4267889 h 4905563"/>
              <a:gd name="connsiteX7" fmla="*/ 1395662 w 4701578"/>
              <a:gd name="connsiteY7" fmla="*/ 4255857 h 4905563"/>
              <a:gd name="connsiteX8" fmla="*/ 1600199 w 4701578"/>
              <a:gd name="connsiteY8" fmla="*/ 4123510 h 4905563"/>
              <a:gd name="connsiteX9" fmla="*/ 1852862 w 4701578"/>
              <a:gd name="connsiteY9" fmla="*/ 4087415 h 4905563"/>
              <a:gd name="connsiteX10" fmla="*/ 2165683 w 4701578"/>
              <a:gd name="connsiteY10" fmla="*/ 4075384 h 4905563"/>
              <a:gd name="connsiteX11" fmla="*/ 2370220 w 4701578"/>
              <a:gd name="connsiteY11" fmla="*/ 4051320 h 4905563"/>
              <a:gd name="connsiteX12" fmla="*/ 2538662 w 4701578"/>
              <a:gd name="connsiteY12" fmla="*/ 4015226 h 4905563"/>
              <a:gd name="connsiteX13" fmla="*/ 3007894 w 4701578"/>
              <a:gd name="connsiteY13" fmla="*/ 3894910 h 4905563"/>
              <a:gd name="connsiteX14" fmla="*/ 3441031 w 4701578"/>
              <a:gd name="connsiteY14" fmla="*/ 3702405 h 4905563"/>
              <a:gd name="connsiteX15" fmla="*/ 3729789 w 4701578"/>
              <a:gd name="connsiteY15" fmla="*/ 3461773 h 4905563"/>
              <a:gd name="connsiteX16" fmla="*/ 3886199 w 4701578"/>
              <a:gd name="connsiteY16" fmla="*/ 3185047 h 4905563"/>
              <a:gd name="connsiteX17" fmla="*/ 3934325 w 4701578"/>
              <a:gd name="connsiteY17" fmla="*/ 2884257 h 4905563"/>
              <a:gd name="connsiteX18" fmla="*/ 4018547 w 4701578"/>
              <a:gd name="connsiteY18" fmla="*/ 2739879 h 4905563"/>
              <a:gd name="connsiteX19" fmla="*/ 4138863 w 4701578"/>
              <a:gd name="connsiteY19" fmla="*/ 2511279 h 4905563"/>
              <a:gd name="connsiteX20" fmla="*/ 4138862 w 4701578"/>
              <a:gd name="connsiteY20" fmla="*/ 2547373 h 4905563"/>
              <a:gd name="connsiteX21" fmla="*/ 4235115 w 4701578"/>
              <a:gd name="connsiteY21" fmla="*/ 2330805 h 4905563"/>
              <a:gd name="connsiteX22" fmla="*/ 4379494 w 4701578"/>
              <a:gd name="connsiteY22" fmla="*/ 1488594 h 4905563"/>
              <a:gd name="connsiteX23" fmla="*/ 4391525 w 4701578"/>
              <a:gd name="connsiteY23" fmla="*/ 1031394 h 4905563"/>
              <a:gd name="connsiteX24" fmla="*/ 4698158 w 4701578"/>
              <a:gd name="connsiteY24" fmla="*/ 459264 h 4905563"/>
              <a:gd name="connsiteX25" fmla="*/ 4162927 w 4701578"/>
              <a:gd name="connsiteY25" fmla="*/ 0 h 4905563"/>
              <a:gd name="connsiteX26" fmla="*/ 3903149 w 4701578"/>
              <a:gd name="connsiteY26" fmla="*/ 213249 h 4905563"/>
              <a:gd name="connsiteX27" fmla="*/ 3788067 w 4701578"/>
              <a:gd name="connsiteY27" fmla="*/ 333534 h 4905563"/>
              <a:gd name="connsiteX28" fmla="*/ 3624010 w 4701578"/>
              <a:gd name="connsiteY28" fmla="*/ 596253 h 4905563"/>
              <a:gd name="connsiteX29" fmla="*/ 3645568 w 4701578"/>
              <a:gd name="connsiteY29" fmla="*/ 850920 h 4905563"/>
              <a:gd name="connsiteX30" fmla="*/ 3719260 w 4701578"/>
              <a:gd name="connsiteY30" fmla="*/ 1329678 h 4905563"/>
              <a:gd name="connsiteX31" fmla="*/ 3719260 w 4701578"/>
              <a:gd name="connsiteY31" fmla="*/ 1682103 h 4905563"/>
              <a:gd name="connsiteX32" fmla="*/ 3728285 w 4701578"/>
              <a:gd name="connsiteY32" fmla="*/ 1849040 h 4905563"/>
              <a:gd name="connsiteX33" fmla="*/ 3063540 w 4701578"/>
              <a:gd name="connsiteY33" fmla="*/ 2860194 h 4905563"/>
              <a:gd name="connsiteX34" fmla="*/ 2642935 w 4701578"/>
              <a:gd name="connsiteY34" fmla="*/ 3110853 h 4905563"/>
              <a:gd name="connsiteX35" fmla="*/ 2264443 w 4701578"/>
              <a:gd name="connsiteY35" fmla="*/ 3281801 h 4905563"/>
              <a:gd name="connsiteX36" fmla="*/ 1318960 w 4701578"/>
              <a:gd name="connsiteY36" fmla="*/ 3463278 h 4905563"/>
              <a:gd name="connsiteX37" fmla="*/ 637673 w 4701578"/>
              <a:gd name="connsiteY37" fmla="*/ 3690373 h 4905563"/>
              <a:gd name="connsiteX38" fmla="*/ 348914 w 4701578"/>
              <a:gd name="connsiteY38" fmla="*/ 3894911 h 4905563"/>
              <a:gd name="connsiteX39" fmla="*/ 96251 w 4701578"/>
              <a:gd name="connsiteY39" fmla="*/ 4195700 h 4905563"/>
              <a:gd name="connsiteX40" fmla="*/ 0 w 4701578"/>
              <a:gd name="connsiteY40" fmla="*/ 4460394 h 4905563"/>
              <a:gd name="connsiteX41" fmla="*/ 613610 w 4701578"/>
              <a:gd name="connsiteY41" fmla="*/ 4905563 h 4905563"/>
              <a:gd name="connsiteX0" fmla="*/ 613610 w 4701578"/>
              <a:gd name="connsiteY0" fmla="*/ 4905563 h 4905563"/>
              <a:gd name="connsiteX1" fmla="*/ 577515 w 4701578"/>
              <a:gd name="connsiteY1" fmla="*/ 4833373 h 4905563"/>
              <a:gd name="connsiteX2" fmla="*/ 661736 w 4701578"/>
              <a:gd name="connsiteY2" fmla="*/ 4749152 h 4905563"/>
              <a:gd name="connsiteX3" fmla="*/ 745957 w 4701578"/>
              <a:gd name="connsiteY3" fmla="*/ 4616805 h 4905563"/>
              <a:gd name="connsiteX4" fmla="*/ 902368 w 4701578"/>
              <a:gd name="connsiteY4" fmla="*/ 4472426 h 4905563"/>
              <a:gd name="connsiteX5" fmla="*/ 1022683 w 4701578"/>
              <a:gd name="connsiteY5" fmla="*/ 4388205 h 4905563"/>
              <a:gd name="connsiteX6" fmla="*/ 1359568 w 4701578"/>
              <a:gd name="connsiteY6" fmla="*/ 4267889 h 4905563"/>
              <a:gd name="connsiteX7" fmla="*/ 1395662 w 4701578"/>
              <a:gd name="connsiteY7" fmla="*/ 4255857 h 4905563"/>
              <a:gd name="connsiteX8" fmla="*/ 1600199 w 4701578"/>
              <a:gd name="connsiteY8" fmla="*/ 4123510 h 4905563"/>
              <a:gd name="connsiteX9" fmla="*/ 1852862 w 4701578"/>
              <a:gd name="connsiteY9" fmla="*/ 4087415 h 4905563"/>
              <a:gd name="connsiteX10" fmla="*/ 2165683 w 4701578"/>
              <a:gd name="connsiteY10" fmla="*/ 4075384 h 4905563"/>
              <a:gd name="connsiteX11" fmla="*/ 2370220 w 4701578"/>
              <a:gd name="connsiteY11" fmla="*/ 4051320 h 4905563"/>
              <a:gd name="connsiteX12" fmla="*/ 2538662 w 4701578"/>
              <a:gd name="connsiteY12" fmla="*/ 4015226 h 4905563"/>
              <a:gd name="connsiteX13" fmla="*/ 3007894 w 4701578"/>
              <a:gd name="connsiteY13" fmla="*/ 3894910 h 4905563"/>
              <a:gd name="connsiteX14" fmla="*/ 3441031 w 4701578"/>
              <a:gd name="connsiteY14" fmla="*/ 3702405 h 4905563"/>
              <a:gd name="connsiteX15" fmla="*/ 3729789 w 4701578"/>
              <a:gd name="connsiteY15" fmla="*/ 3461773 h 4905563"/>
              <a:gd name="connsiteX16" fmla="*/ 3886199 w 4701578"/>
              <a:gd name="connsiteY16" fmla="*/ 3185047 h 4905563"/>
              <a:gd name="connsiteX17" fmla="*/ 3934325 w 4701578"/>
              <a:gd name="connsiteY17" fmla="*/ 2884257 h 4905563"/>
              <a:gd name="connsiteX18" fmla="*/ 4018547 w 4701578"/>
              <a:gd name="connsiteY18" fmla="*/ 2739879 h 4905563"/>
              <a:gd name="connsiteX19" fmla="*/ 4138863 w 4701578"/>
              <a:gd name="connsiteY19" fmla="*/ 2511279 h 4905563"/>
              <a:gd name="connsiteX20" fmla="*/ 4235115 w 4701578"/>
              <a:gd name="connsiteY20" fmla="*/ 2330805 h 4905563"/>
              <a:gd name="connsiteX21" fmla="*/ 4379494 w 4701578"/>
              <a:gd name="connsiteY21" fmla="*/ 1488594 h 4905563"/>
              <a:gd name="connsiteX22" fmla="*/ 4391525 w 4701578"/>
              <a:gd name="connsiteY22" fmla="*/ 1031394 h 4905563"/>
              <a:gd name="connsiteX23" fmla="*/ 4698158 w 4701578"/>
              <a:gd name="connsiteY23" fmla="*/ 459264 h 4905563"/>
              <a:gd name="connsiteX24" fmla="*/ 4162927 w 4701578"/>
              <a:gd name="connsiteY24" fmla="*/ 0 h 4905563"/>
              <a:gd name="connsiteX25" fmla="*/ 3903149 w 4701578"/>
              <a:gd name="connsiteY25" fmla="*/ 213249 h 4905563"/>
              <a:gd name="connsiteX26" fmla="*/ 3788067 w 4701578"/>
              <a:gd name="connsiteY26" fmla="*/ 333534 h 4905563"/>
              <a:gd name="connsiteX27" fmla="*/ 3624010 w 4701578"/>
              <a:gd name="connsiteY27" fmla="*/ 596253 h 4905563"/>
              <a:gd name="connsiteX28" fmla="*/ 3645568 w 4701578"/>
              <a:gd name="connsiteY28" fmla="*/ 850920 h 4905563"/>
              <a:gd name="connsiteX29" fmla="*/ 3719260 w 4701578"/>
              <a:gd name="connsiteY29" fmla="*/ 1329678 h 4905563"/>
              <a:gd name="connsiteX30" fmla="*/ 3719260 w 4701578"/>
              <a:gd name="connsiteY30" fmla="*/ 1682103 h 4905563"/>
              <a:gd name="connsiteX31" fmla="*/ 3728285 w 4701578"/>
              <a:gd name="connsiteY31" fmla="*/ 1849040 h 4905563"/>
              <a:gd name="connsiteX32" fmla="*/ 3063540 w 4701578"/>
              <a:gd name="connsiteY32" fmla="*/ 2860194 h 4905563"/>
              <a:gd name="connsiteX33" fmla="*/ 2642935 w 4701578"/>
              <a:gd name="connsiteY33" fmla="*/ 3110853 h 4905563"/>
              <a:gd name="connsiteX34" fmla="*/ 2264443 w 4701578"/>
              <a:gd name="connsiteY34" fmla="*/ 3281801 h 4905563"/>
              <a:gd name="connsiteX35" fmla="*/ 1318960 w 4701578"/>
              <a:gd name="connsiteY35" fmla="*/ 3463278 h 4905563"/>
              <a:gd name="connsiteX36" fmla="*/ 637673 w 4701578"/>
              <a:gd name="connsiteY36" fmla="*/ 3690373 h 4905563"/>
              <a:gd name="connsiteX37" fmla="*/ 348914 w 4701578"/>
              <a:gd name="connsiteY37" fmla="*/ 3894911 h 4905563"/>
              <a:gd name="connsiteX38" fmla="*/ 96251 w 4701578"/>
              <a:gd name="connsiteY38" fmla="*/ 4195700 h 4905563"/>
              <a:gd name="connsiteX39" fmla="*/ 0 w 4701578"/>
              <a:gd name="connsiteY39" fmla="*/ 4460394 h 4905563"/>
              <a:gd name="connsiteX40" fmla="*/ 613610 w 4701578"/>
              <a:gd name="connsiteY40" fmla="*/ 4905563 h 4905563"/>
              <a:gd name="connsiteX0" fmla="*/ 613610 w 4701578"/>
              <a:gd name="connsiteY0" fmla="*/ 4905563 h 4905563"/>
              <a:gd name="connsiteX1" fmla="*/ 577515 w 4701578"/>
              <a:gd name="connsiteY1" fmla="*/ 4833373 h 4905563"/>
              <a:gd name="connsiteX2" fmla="*/ 661736 w 4701578"/>
              <a:gd name="connsiteY2" fmla="*/ 4749152 h 4905563"/>
              <a:gd name="connsiteX3" fmla="*/ 745957 w 4701578"/>
              <a:gd name="connsiteY3" fmla="*/ 4616805 h 4905563"/>
              <a:gd name="connsiteX4" fmla="*/ 902368 w 4701578"/>
              <a:gd name="connsiteY4" fmla="*/ 4472426 h 4905563"/>
              <a:gd name="connsiteX5" fmla="*/ 1022683 w 4701578"/>
              <a:gd name="connsiteY5" fmla="*/ 4388205 h 4905563"/>
              <a:gd name="connsiteX6" fmla="*/ 1359568 w 4701578"/>
              <a:gd name="connsiteY6" fmla="*/ 4267889 h 4905563"/>
              <a:gd name="connsiteX7" fmla="*/ 1395662 w 4701578"/>
              <a:gd name="connsiteY7" fmla="*/ 4255857 h 4905563"/>
              <a:gd name="connsiteX8" fmla="*/ 1600199 w 4701578"/>
              <a:gd name="connsiteY8" fmla="*/ 4123510 h 4905563"/>
              <a:gd name="connsiteX9" fmla="*/ 1852862 w 4701578"/>
              <a:gd name="connsiteY9" fmla="*/ 4087415 h 4905563"/>
              <a:gd name="connsiteX10" fmla="*/ 2165683 w 4701578"/>
              <a:gd name="connsiteY10" fmla="*/ 4075384 h 4905563"/>
              <a:gd name="connsiteX11" fmla="*/ 2370220 w 4701578"/>
              <a:gd name="connsiteY11" fmla="*/ 4051320 h 4905563"/>
              <a:gd name="connsiteX12" fmla="*/ 2538662 w 4701578"/>
              <a:gd name="connsiteY12" fmla="*/ 4015226 h 4905563"/>
              <a:gd name="connsiteX13" fmla="*/ 3007894 w 4701578"/>
              <a:gd name="connsiteY13" fmla="*/ 3894910 h 4905563"/>
              <a:gd name="connsiteX14" fmla="*/ 3441031 w 4701578"/>
              <a:gd name="connsiteY14" fmla="*/ 3702405 h 4905563"/>
              <a:gd name="connsiteX15" fmla="*/ 3729789 w 4701578"/>
              <a:gd name="connsiteY15" fmla="*/ 3461773 h 4905563"/>
              <a:gd name="connsiteX16" fmla="*/ 3886199 w 4701578"/>
              <a:gd name="connsiteY16" fmla="*/ 3185047 h 4905563"/>
              <a:gd name="connsiteX17" fmla="*/ 3934325 w 4701578"/>
              <a:gd name="connsiteY17" fmla="*/ 2884257 h 4905563"/>
              <a:gd name="connsiteX18" fmla="*/ 4138863 w 4701578"/>
              <a:gd name="connsiteY18" fmla="*/ 2511279 h 4905563"/>
              <a:gd name="connsiteX19" fmla="*/ 4235115 w 4701578"/>
              <a:gd name="connsiteY19" fmla="*/ 2330805 h 4905563"/>
              <a:gd name="connsiteX20" fmla="*/ 4379494 w 4701578"/>
              <a:gd name="connsiteY20" fmla="*/ 1488594 h 4905563"/>
              <a:gd name="connsiteX21" fmla="*/ 4391525 w 4701578"/>
              <a:gd name="connsiteY21" fmla="*/ 1031394 h 4905563"/>
              <a:gd name="connsiteX22" fmla="*/ 4698158 w 4701578"/>
              <a:gd name="connsiteY22" fmla="*/ 459264 h 4905563"/>
              <a:gd name="connsiteX23" fmla="*/ 4162927 w 4701578"/>
              <a:gd name="connsiteY23" fmla="*/ 0 h 4905563"/>
              <a:gd name="connsiteX24" fmla="*/ 3903149 w 4701578"/>
              <a:gd name="connsiteY24" fmla="*/ 213249 h 4905563"/>
              <a:gd name="connsiteX25" fmla="*/ 3788067 w 4701578"/>
              <a:gd name="connsiteY25" fmla="*/ 333534 h 4905563"/>
              <a:gd name="connsiteX26" fmla="*/ 3624010 w 4701578"/>
              <a:gd name="connsiteY26" fmla="*/ 596253 h 4905563"/>
              <a:gd name="connsiteX27" fmla="*/ 3645568 w 4701578"/>
              <a:gd name="connsiteY27" fmla="*/ 850920 h 4905563"/>
              <a:gd name="connsiteX28" fmla="*/ 3719260 w 4701578"/>
              <a:gd name="connsiteY28" fmla="*/ 1329678 h 4905563"/>
              <a:gd name="connsiteX29" fmla="*/ 3719260 w 4701578"/>
              <a:gd name="connsiteY29" fmla="*/ 1682103 h 4905563"/>
              <a:gd name="connsiteX30" fmla="*/ 3728285 w 4701578"/>
              <a:gd name="connsiteY30" fmla="*/ 1849040 h 4905563"/>
              <a:gd name="connsiteX31" fmla="*/ 3063540 w 4701578"/>
              <a:gd name="connsiteY31" fmla="*/ 2860194 h 4905563"/>
              <a:gd name="connsiteX32" fmla="*/ 2642935 w 4701578"/>
              <a:gd name="connsiteY32" fmla="*/ 3110853 h 4905563"/>
              <a:gd name="connsiteX33" fmla="*/ 2264443 w 4701578"/>
              <a:gd name="connsiteY33" fmla="*/ 3281801 h 4905563"/>
              <a:gd name="connsiteX34" fmla="*/ 1318960 w 4701578"/>
              <a:gd name="connsiteY34" fmla="*/ 3463278 h 4905563"/>
              <a:gd name="connsiteX35" fmla="*/ 637673 w 4701578"/>
              <a:gd name="connsiteY35" fmla="*/ 3690373 h 4905563"/>
              <a:gd name="connsiteX36" fmla="*/ 348914 w 4701578"/>
              <a:gd name="connsiteY36" fmla="*/ 3894911 h 4905563"/>
              <a:gd name="connsiteX37" fmla="*/ 96251 w 4701578"/>
              <a:gd name="connsiteY37" fmla="*/ 4195700 h 4905563"/>
              <a:gd name="connsiteX38" fmla="*/ 0 w 4701578"/>
              <a:gd name="connsiteY38" fmla="*/ 4460394 h 4905563"/>
              <a:gd name="connsiteX39" fmla="*/ 613610 w 4701578"/>
              <a:gd name="connsiteY39" fmla="*/ 4905563 h 4905563"/>
              <a:gd name="connsiteX0" fmla="*/ 613610 w 4701578"/>
              <a:gd name="connsiteY0" fmla="*/ 4905563 h 4905563"/>
              <a:gd name="connsiteX1" fmla="*/ 577515 w 4701578"/>
              <a:gd name="connsiteY1" fmla="*/ 4833373 h 4905563"/>
              <a:gd name="connsiteX2" fmla="*/ 661736 w 4701578"/>
              <a:gd name="connsiteY2" fmla="*/ 4749152 h 4905563"/>
              <a:gd name="connsiteX3" fmla="*/ 745957 w 4701578"/>
              <a:gd name="connsiteY3" fmla="*/ 4616805 h 4905563"/>
              <a:gd name="connsiteX4" fmla="*/ 902368 w 4701578"/>
              <a:gd name="connsiteY4" fmla="*/ 4472426 h 4905563"/>
              <a:gd name="connsiteX5" fmla="*/ 1022683 w 4701578"/>
              <a:gd name="connsiteY5" fmla="*/ 4388205 h 4905563"/>
              <a:gd name="connsiteX6" fmla="*/ 1359568 w 4701578"/>
              <a:gd name="connsiteY6" fmla="*/ 4267889 h 4905563"/>
              <a:gd name="connsiteX7" fmla="*/ 1600199 w 4701578"/>
              <a:gd name="connsiteY7" fmla="*/ 4123510 h 4905563"/>
              <a:gd name="connsiteX8" fmla="*/ 1852862 w 4701578"/>
              <a:gd name="connsiteY8" fmla="*/ 4087415 h 4905563"/>
              <a:gd name="connsiteX9" fmla="*/ 2165683 w 4701578"/>
              <a:gd name="connsiteY9" fmla="*/ 4075384 h 4905563"/>
              <a:gd name="connsiteX10" fmla="*/ 2370220 w 4701578"/>
              <a:gd name="connsiteY10" fmla="*/ 4051320 h 4905563"/>
              <a:gd name="connsiteX11" fmla="*/ 2538662 w 4701578"/>
              <a:gd name="connsiteY11" fmla="*/ 4015226 h 4905563"/>
              <a:gd name="connsiteX12" fmla="*/ 3007894 w 4701578"/>
              <a:gd name="connsiteY12" fmla="*/ 3894910 h 4905563"/>
              <a:gd name="connsiteX13" fmla="*/ 3441031 w 4701578"/>
              <a:gd name="connsiteY13" fmla="*/ 3702405 h 4905563"/>
              <a:gd name="connsiteX14" fmla="*/ 3729789 w 4701578"/>
              <a:gd name="connsiteY14" fmla="*/ 3461773 h 4905563"/>
              <a:gd name="connsiteX15" fmla="*/ 3886199 w 4701578"/>
              <a:gd name="connsiteY15" fmla="*/ 3185047 h 4905563"/>
              <a:gd name="connsiteX16" fmla="*/ 3934325 w 4701578"/>
              <a:gd name="connsiteY16" fmla="*/ 2884257 h 4905563"/>
              <a:gd name="connsiteX17" fmla="*/ 4138863 w 4701578"/>
              <a:gd name="connsiteY17" fmla="*/ 2511279 h 4905563"/>
              <a:gd name="connsiteX18" fmla="*/ 4235115 w 4701578"/>
              <a:gd name="connsiteY18" fmla="*/ 2330805 h 4905563"/>
              <a:gd name="connsiteX19" fmla="*/ 4379494 w 4701578"/>
              <a:gd name="connsiteY19" fmla="*/ 1488594 h 4905563"/>
              <a:gd name="connsiteX20" fmla="*/ 4391525 w 4701578"/>
              <a:gd name="connsiteY20" fmla="*/ 1031394 h 4905563"/>
              <a:gd name="connsiteX21" fmla="*/ 4698158 w 4701578"/>
              <a:gd name="connsiteY21" fmla="*/ 459264 h 4905563"/>
              <a:gd name="connsiteX22" fmla="*/ 4162927 w 4701578"/>
              <a:gd name="connsiteY22" fmla="*/ 0 h 4905563"/>
              <a:gd name="connsiteX23" fmla="*/ 3903149 w 4701578"/>
              <a:gd name="connsiteY23" fmla="*/ 213249 h 4905563"/>
              <a:gd name="connsiteX24" fmla="*/ 3788067 w 4701578"/>
              <a:gd name="connsiteY24" fmla="*/ 333534 h 4905563"/>
              <a:gd name="connsiteX25" fmla="*/ 3624010 w 4701578"/>
              <a:gd name="connsiteY25" fmla="*/ 596253 h 4905563"/>
              <a:gd name="connsiteX26" fmla="*/ 3645568 w 4701578"/>
              <a:gd name="connsiteY26" fmla="*/ 850920 h 4905563"/>
              <a:gd name="connsiteX27" fmla="*/ 3719260 w 4701578"/>
              <a:gd name="connsiteY27" fmla="*/ 1329678 h 4905563"/>
              <a:gd name="connsiteX28" fmla="*/ 3719260 w 4701578"/>
              <a:gd name="connsiteY28" fmla="*/ 1682103 h 4905563"/>
              <a:gd name="connsiteX29" fmla="*/ 3728285 w 4701578"/>
              <a:gd name="connsiteY29" fmla="*/ 1849040 h 4905563"/>
              <a:gd name="connsiteX30" fmla="*/ 3063540 w 4701578"/>
              <a:gd name="connsiteY30" fmla="*/ 2860194 h 4905563"/>
              <a:gd name="connsiteX31" fmla="*/ 2642935 w 4701578"/>
              <a:gd name="connsiteY31" fmla="*/ 3110853 h 4905563"/>
              <a:gd name="connsiteX32" fmla="*/ 2264443 w 4701578"/>
              <a:gd name="connsiteY32" fmla="*/ 3281801 h 4905563"/>
              <a:gd name="connsiteX33" fmla="*/ 1318960 w 4701578"/>
              <a:gd name="connsiteY33" fmla="*/ 3463278 h 4905563"/>
              <a:gd name="connsiteX34" fmla="*/ 637673 w 4701578"/>
              <a:gd name="connsiteY34" fmla="*/ 3690373 h 4905563"/>
              <a:gd name="connsiteX35" fmla="*/ 348914 w 4701578"/>
              <a:gd name="connsiteY35" fmla="*/ 3894911 h 4905563"/>
              <a:gd name="connsiteX36" fmla="*/ 96251 w 4701578"/>
              <a:gd name="connsiteY36" fmla="*/ 4195700 h 4905563"/>
              <a:gd name="connsiteX37" fmla="*/ 0 w 4701578"/>
              <a:gd name="connsiteY37" fmla="*/ 4460394 h 4905563"/>
              <a:gd name="connsiteX38" fmla="*/ 613610 w 4701578"/>
              <a:gd name="connsiteY38" fmla="*/ 4905563 h 4905563"/>
              <a:gd name="connsiteX0" fmla="*/ 613610 w 4701578"/>
              <a:gd name="connsiteY0" fmla="*/ 4905563 h 4905563"/>
              <a:gd name="connsiteX1" fmla="*/ 577515 w 4701578"/>
              <a:gd name="connsiteY1" fmla="*/ 4833373 h 4905563"/>
              <a:gd name="connsiteX2" fmla="*/ 661736 w 4701578"/>
              <a:gd name="connsiteY2" fmla="*/ 4749152 h 4905563"/>
              <a:gd name="connsiteX3" fmla="*/ 902368 w 4701578"/>
              <a:gd name="connsiteY3" fmla="*/ 4472426 h 4905563"/>
              <a:gd name="connsiteX4" fmla="*/ 1022683 w 4701578"/>
              <a:gd name="connsiteY4" fmla="*/ 4388205 h 4905563"/>
              <a:gd name="connsiteX5" fmla="*/ 1359568 w 4701578"/>
              <a:gd name="connsiteY5" fmla="*/ 4267889 h 4905563"/>
              <a:gd name="connsiteX6" fmla="*/ 1600199 w 4701578"/>
              <a:gd name="connsiteY6" fmla="*/ 4123510 h 4905563"/>
              <a:gd name="connsiteX7" fmla="*/ 1852862 w 4701578"/>
              <a:gd name="connsiteY7" fmla="*/ 4087415 h 4905563"/>
              <a:gd name="connsiteX8" fmla="*/ 2165683 w 4701578"/>
              <a:gd name="connsiteY8" fmla="*/ 4075384 h 4905563"/>
              <a:gd name="connsiteX9" fmla="*/ 2370220 w 4701578"/>
              <a:gd name="connsiteY9" fmla="*/ 4051320 h 4905563"/>
              <a:gd name="connsiteX10" fmla="*/ 2538662 w 4701578"/>
              <a:gd name="connsiteY10" fmla="*/ 4015226 h 4905563"/>
              <a:gd name="connsiteX11" fmla="*/ 3007894 w 4701578"/>
              <a:gd name="connsiteY11" fmla="*/ 3894910 h 4905563"/>
              <a:gd name="connsiteX12" fmla="*/ 3441031 w 4701578"/>
              <a:gd name="connsiteY12" fmla="*/ 3702405 h 4905563"/>
              <a:gd name="connsiteX13" fmla="*/ 3729789 w 4701578"/>
              <a:gd name="connsiteY13" fmla="*/ 3461773 h 4905563"/>
              <a:gd name="connsiteX14" fmla="*/ 3886199 w 4701578"/>
              <a:gd name="connsiteY14" fmla="*/ 3185047 h 4905563"/>
              <a:gd name="connsiteX15" fmla="*/ 3934325 w 4701578"/>
              <a:gd name="connsiteY15" fmla="*/ 2884257 h 4905563"/>
              <a:gd name="connsiteX16" fmla="*/ 4138863 w 4701578"/>
              <a:gd name="connsiteY16" fmla="*/ 2511279 h 4905563"/>
              <a:gd name="connsiteX17" fmla="*/ 4235115 w 4701578"/>
              <a:gd name="connsiteY17" fmla="*/ 2330805 h 4905563"/>
              <a:gd name="connsiteX18" fmla="*/ 4379494 w 4701578"/>
              <a:gd name="connsiteY18" fmla="*/ 1488594 h 4905563"/>
              <a:gd name="connsiteX19" fmla="*/ 4391525 w 4701578"/>
              <a:gd name="connsiteY19" fmla="*/ 1031394 h 4905563"/>
              <a:gd name="connsiteX20" fmla="*/ 4698158 w 4701578"/>
              <a:gd name="connsiteY20" fmla="*/ 459264 h 4905563"/>
              <a:gd name="connsiteX21" fmla="*/ 4162927 w 4701578"/>
              <a:gd name="connsiteY21" fmla="*/ 0 h 4905563"/>
              <a:gd name="connsiteX22" fmla="*/ 3903149 w 4701578"/>
              <a:gd name="connsiteY22" fmla="*/ 213249 h 4905563"/>
              <a:gd name="connsiteX23" fmla="*/ 3788067 w 4701578"/>
              <a:gd name="connsiteY23" fmla="*/ 333534 h 4905563"/>
              <a:gd name="connsiteX24" fmla="*/ 3624010 w 4701578"/>
              <a:gd name="connsiteY24" fmla="*/ 596253 h 4905563"/>
              <a:gd name="connsiteX25" fmla="*/ 3645568 w 4701578"/>
              <a:gd name="connsiteY25" fmla="*/ 850920 h 4905563"/>
              <a:gd name="connsiteX26" fmla="*/ 3719260 w 4701578"/>
              <a:gd name="connsiteY26" fmla="*/ 1329678 h 4905563"/>
              <a:gd name="connsiteX27" fmla="*/ 3719260 w 4701578"/>
              <a:gd name="connsiteY27" fmla="*/ 1682103 h 4905563"/>
              <a:gd name="connsiteX28" fmla="*/ 3728285 w 4701578"/>
              <a:gd name="connsiteY28" fmla="*/ 1849040 h 4905563"/>
              <a:gd name="connsiteX29" fmla="*/ 3063540 w 4701578"/>
              <a:gd name="connsiteY29" fmla="*/ 2860194 h 4905563"/>
              <a:gd name="connsiteX30" fmla="*/ 2642935 w 4701578"/>
              <a:gd name="connsiteY30" fmla="*/ 3110853 h 4905563"/>
              <a:gd name="connsiteX31" fmla="*/ 2264443 w 4701578"/>
              <a:gd name="connsiteY31" fmla="*/ 3281801 h 4905563"/>
              <a:gd name="connsiteX32" fmla="*/ 1318960 w 4701578"/>
              <a:gd name="connsiteY32" fmla="*/ 3463278 h 4905563"/>
              <a:gd name="connsiteX33" fmla="*/ 637673 w 4701578"/>
              <a:gd name="connsiteY33" fmla="*/ 3690373 h 4905563"/>
              <a:gd name="connsiteX34" fmla="*/ 348914 w 4701578"/>
              <a:gd name="connsiteY34" fmla="*/ 3894911 h 4905563"/>
              <a:gd name="connsiteX35" fmla="*/ 96251 w 4701578"/>
              <a:gd name="connsiteY35" fmla="*/ 4195700 h 4905563"/>
              <a:gd name="connsiteX36" fmla="*/ 0 w 4701578"/>
              <a:gd name="connsiteY36" fmla="*/ 4460394 h 4905563"/>
              <a:gd name="connsiteX37" fmla="*/ 613610 w 4701578"/>
              <a:gd name="connsiteY37" fmla="*/ 4905563 h 4905563"/>
              <a:gd name="connsiteX0" fmla="*/ 613610 w 4701578"/>
              <a:gd name="connsiteY0" fmla="*/ 4905563 h 4905563"/>
              <a:gd name="connsiteX1" fmla="*/ 577515 w 4701578"/>
              <a:gd name="connsiteY1" fmla="*/ 4833373 h 4905563"/>
              <a:gd name="connsiteX2" fmla="*/ 902368 w 4701578"/>
              <a:gd name="connsiteY2" fmla="*/ 4472426 h 4905563"/>
              <a:gd name="connsiteX3" fmla="*/ 1022683 w 4701578"/>
              <a:gd name="connsiteY3" fmla="*/ 4388205 h 4905563"/>
              <a:gd name="connsiteX4" fmla="*/ 1359568 w 4701578"/>
              <a:gd name="connsiteY4" fmla="*/ 4267889 h 4905563"/>
              <a:gd name="connsiteX5" fmla="*/ 1600199 w 4701578"/>
              <a:gd name="connsiteY5" fmla="*/ 4123510 h 4905563"/>
              <a:gd name="connsiteX6" fmla="*/ 1852862 w 4701578"/>
              <a:gd name="connsiteY6" fmla="*/ 4087415 h 4905563"/>
              <a:gd name="connsiteX7" fmla="*/ 2165683 w 4701578"/>
              <a:gd name="connsiteY7" fmla="*/ 4075384 h 4905563"/>
              <a:gd name="connsiteX8" fmla="*/ 2370220 w 4701578"/>
              <a:gd name="connsiteY8" fmla="*/ 4051320 h 4905563"/>
              <a:gd name="connsiteX9" fmla="*/ 2538662 w 4701578"/>
              <a:gd name="connsiteY9" fmla="*/ 4015226 h 4905563"/>
              <a:gd name="connsiteX10" fmla="*/ 3007894 w 4701578"/>
              <a:gd name="connsiteY10" fmla="*/ 3894910 h 4905563"/>
              <a:gd name="connsiteX11" fmla="*/ 3441031 w 4701578"/>
              <a:gd name="connsiteY11" fmla="*/ 3702405 h 4905563"/>
              <a:gd name="connsiteX12" fmla="*/ 3729789 w 4701578"/>
              <a:gd name="connsiteY12" fmla="*/ 3461773 h 4905563"/>
              <a:gd name="connsiteX13" fmla="*/ 3886199 w 4701578"/>
              <a:gd name="connsiteY13" fmla="*/ 3185047 h 4905563"/>
              <a:gd name="connsiteX14" fmla="*/ 3934325 w 4701578"/>
              <a:gd name="connsiteY14" fmla="*/ 2884257 h 4905563"/>
              <a:gd name="connsiteX15" fmla="*/ 4138863 w 4701578"/>
              <a:gd name="connsiteY15" fmla="*/ 2511279 h 4905563"/>
              <a:gd name="connsiteX16" fmla="*/ 4235115 w 4701578"/>
              <a:gd name="connsiteY16" fmla="*/ 2330805 h 4905563"/>
              <a:gd name="connsiteX17" fmla="*/ 4379494 w 4701578"/>
              <a:gd name="connsiteY17" fmla="*/ 1488594 h 4905563"/>
              <a:gd name="connsiteX18" fmla="*/ 4391525 w 4701578"/>
              <a:gd name="connsiteY18" fmla="*/ 1031394 h 4905563"/>
              <a:gd name="connsiteX19" fmla="*/ 4698158 w 4701578"/>
              <a:gd name="connsiteY19" fmla="*/ 459264 h 4905563"/>
              <a:gd name="connsiteX20" fmla="*/ 4162927 w 4701578"/>
              <a:gd name="connsiteY20" fmla="*/ 0 h 4905563"/>
              <a:gd name="connsiteX21" fmla="*/ 3903149 w 4701578"/>
              <a:gd name="connsiteY21" fmla="*/ 213249 h 4905563"/>
              <a:gd name="connsiteX22" fmla="*/ 3788067 w 4701578"/>
              <a:gd name="connsiteY22" fmla="*/ 333534 h 4905563"/>
              <a:gd name="connsiteX23" fmla="*/ 3624010 w 4701578"/>
              <a:gd name="connsiteY23" fmla="*/ 596253 h 4905563"/>
              <a:gd name="connsiteX24" fmla="*/ 3645568 w 4701578"/>
              <a:gd name="connsiteY24" fmla="*/ 850920 h 4905563"/>
              <a:gd name="connsiteX25" fmla="*/ 3719260 w 4701578"/>
              <a:gd name="connsiteY25" fmla="*/ 1329678 h 4905563"/>
              <a:gd name="connsiteX26" fmla="*/ 3719260 w 4701578"/>
              <a:gd name="connsiteY26" fmla="*/ 1682103 h 4905563"/>
              <a:gd name="connsiteX27" fmla="*/ 3728285 w 4701578"/>
              <a:gd name="connsiteY27" fmla="*/ 1849040 h 4905563"/>
              <a:gd name="connsiteX28" fmla="*/ 3063540 w 4701578"/>
              <a:gd name="connsiteY28" fmla="*/ 2860194 h 4905563"/>
              <a:gd name="connsiteX29" fmla="*/ 2642935 w 4701578"/>
              <a:gd name="connsiteY29" fmla="*/ 3110853 h 4905563"/>
              <a:gd name="connsiteX30" fmla="*/ 2264443 w 4701578"/>
              <a:gd name="connsiteY30" fmla="*/ 3281801 h 4905563"/>
              <a:gd name="connsiteX31" fmla="*/ 1318960 w 4701578"/>
              <a:gd name="connsiteY31" fmla="*/ 3463278 h 4905563"/>
              <a:gd name="connsiteX32" fmla="*/ 637673 w 4701578"/>
              <a:gd name="connsiteY32" fmla="*/ 3690373 h 4905563"/>
              <a:gd name="connsiteX33" fmla="*/ 348914 w 4701578"/>
              <a:gd name="connsiteY33" fmla="*/ 3894911 h 4905563"/>
              <a:gd name="connsiteX34" fmla="*/ 96251 w 4701578"/>
              <a:gd name="connsiteY34" fmla="*/ 4195700 h 4905563"/>
              <a:gd name="connsiteX35" fmla="*/ 0 w 4701578"/>
              <a:gd name="connsiteY35" fmla="*/ 4460394 h 4905563"/>
              <a:gd name="connsiteX36" fmla="*/ 613610 w 4701578"/>
              <a:gd name="connsiteY36" fmla="*/ 4905563 h 4905563"/>
              <a:gd name="connsiteX0" fmla="*/ 613610 w 4701578"/>
              <a:gd name="connsiteY0" fmla="*/ 4905563 h 4905563"/>
              <a:gd name="connsiteX1" fmla="*/ 577515 w 4701578"/>
              <a:gd name="connsiteY1" fmla="*/ 4833373 h 4905563"/>
              <a:gd name="connsiteX2" fmla="*/ 1022683 w 4701578"/>
              <a:gd name="connsiteY2" fmla="*/ 4388205 h 4905563"/>
              <a:gd name="connsiteX3" fmla="*/ 1359568 w 4701578"/>
              <a:gd name="connsiteY3" fmla="*/ 4267889 h 4905563"/>
              <a:gd name="connsiteX4" fmla="*/ 1600199 w 4701578"/>
              <a:gd name="connsiteY4" fmla="*/ 4123510 h 4905563"/>
              <a:gd name="connsiteX5" fmla="*/ 1852862 w 4701578"/>
              <a:gd name="connsiteY5" fmla="*/ 4087415 h 4905563"/>
              <a:gd name="connsiteX6" fmla="*/ 2165683 w 4701578"/>
              <a:gd name="connsiteY6" fmla="*/ 4075384 h 4905563"/>
              <a:gd name="connsiteX7" fmla="*/ 2370220 w 4701578"/>
              <a:gd name="connsiteY7" fmla="*/ 4051320 h 4905563"/>
              <a:gd name="connsiteX8" fmla="*/ 2538662 w 4701578"/>
              <a:gd name="connsiteY8" fmla="*/ 4015226 h 4905563"/>
              <a:gd name="connsiteX9" fmla="*/ 3007894 w 4701578"/>
              <a:gd name="connsiteY9" fmla="*/ 3894910 h 4905563"/>
              <a:gd name="connsiteX10" fmla="*/ 3441031 w 4701578"/>
              <a:gd name="connsiteY10" fmla="*/ 3702405 h 4905563"/>
              <a:gd name="connsiteX11" fmla="*/ 3729789 w 4701578"/>
              <a:gd name="connsiteY11" fmla="*/ 3461773 h 4905563"/>
              <a:gd name="connsiteX12" fmla="*/ 3886199 w 4701578"/>
              <a:gd name="connsiteY12" fmla="*/ 3185047 h 4905563"/>
              <a:gd name="connsiteX13" fmla="*/ 3934325 w 4701578"/>
              <a:gd name="connsiteY13" fmla="*/ 2884257 h 4905563"/>
              <a:gd name="connsiteX14" fmla="*/ 4138863 w 4701578"/>
              <a:gd name="connsiteY14" fmla="*/ 2511279 h 4905563"/>
              <a:gd name="connsiteX15" fmla="*/ 4235115 w 4701578"/>
              <a:gd name="connsiteY15" fmla="*/ 2330805 h 4905563"/>
              <a:gd name="connsiteX16" fmla="*/ 4379494 w 4701578"/>
              <a:gd name="connsiteY16" fmla="*/ 1488594 h 4905563"/>
              <a:gd name="connsiteX17" fmla="*/ 4391525 w 4701578"/>
              <a:gd name="connsiteY17" fmla="*/ 1031394 h 4905563"/>
              <a:gd name="connsiteX18" fmla="*/ 4698158 w 4701578"/>
              <a:gd name="connsiteY18" fmla="*/ 459264 h 4905563"/>
              <a:gd name="connsiteX19" fmla="*/ 4162927 w 4701578"/>
              <a:gd name="connsiteY19" fmla="*/ 0 h 4905563"/>
              <a:gd name="connsiteX20" fmla="*/ 3903149 w 4701578"/>
              <a:gd name="connsiteY20" fmla="*/ 213249 h 4905563"/>
              <a:gd name="connsiteX21" fmla="*/ 3788067 w 4701578"/>
              <a:gd name="connsiteY21" fmla="*/ 333534 h 4905563"/>
              <a:gd name="connsiteX22" fmla="*/ 3624010 w 4701578"/>
              <a:gd name="connsiteY22" fmla="*/ 596253 h 4905563"/>
              <a:gd name="connsiteX23" fmla="*/ 3645568 w 4701578"/>
              <a:gd name="connsiteY23" fmla="*/ 850920 h 4905563"/>
              <a:gd name="connsiteX24" fmla="*/ 3719260 w 4701578"/>
              <a:gd name="connsiteY24" fmla="*/ 1329678 h 4905563"/>
              <a:gd name="connsiteX25" fmla="*/ 3719260 w 4701578"/>
              <a:gd name="connsiteY25" fmla="*/ 1682103 h 4905563"/>
              <a:gd name="connsiteX26" fmla="*/ 3728285 w 4701578"/>
              <a:gd name="connsiteY26" fmla="*/ 1849040 h 4905563"/>
              <a:gd name="connsiteX27" fmla="*/ 3063540 w 4701578"/>
              <a:gd name="connsiteY27" fmla="*/ 2860194 h 4905563"/>
              <a:gd name="connsiteX28" fmla="*/ 2642935 w 4701578"/>
              <a:gd name="connsiteY28" fmla="*/ 3110853 h 4905563"/>
              <a:gd name="connsiteX29" fmla="*/ 2264443 w 4701578"/>
              <a:gd name="connsiteY29" fmla="*/ 3281801 h 4905563"/>
              <a:gd name="connsiteX30" fmla="*/ 1318960 w 4701578"/>
              <a:gd name="connsiteY30" fmla="*/ 3463278 h 4905563"/>
              <a:gd name="connsiteX31" fmla="*/ 637673 w 4701578"/>
              <a:gd name="connsiteY31" fmla="*/ 3690373 h 4905563"/>
              <a:gd name="connsiteX32" fmla="*/ 348914 w 4701578"/>
              <a:gd name="connsiteY32" fmla="*/ 3894911 h 4905563"/>
              <a:gd name="connsiteX33" fmla="*/ 96251 w 4701578"/>
              <a:gd name="connsiteY33" fmla="*/ 4195700 h 4905563"/>
              <a:gd name="connsiteX34" fmla="*/ 0 w 4701578"/>
              <a:gd name="connsiteY34" fmla="*/ 4460394 h 4905563"/>
              <a:gd name="connsiteX35" fmla="*/ 613610 w 4701578"/>
              <a:gd name="connsiteY35" fmla="*/ 4905563 h 4905563"/>
              <a:gd name="connsiteX0" fmla="*/ 613610 w 4701578"/>
              <a:gd name="connsiteY0" fmla="*/ 4905563 h 4905563"/>
              <a:gd name="connsiteX1" fmla="*/ 577515 w 4701578"/>
              <a:gd name="connsiteY1" fmla="*/ 4833373 h 4905563"/>
              <a:gd name="connsiteX2" fmla="*/ 1022683 w 4701578"/>
              <a:gd name="connsiteY2" fmla="*/ 4388205 h 4905563"/>
              <a:gd name="connsiteX3" fmla="*/ 1600199 w 4701578"/>
              <a:gd name="connsiteY3" fmla="*/ 4123510 h 4905563"/>
              <a:gd name="connsiteX4" fmla="*/ 1852862 w 4701578"/>
              <a:gd name="connsiteY4" fmla="*/ 4087415 h 4905563"/>
              <a:gd name="connsiteX5" fmla="*/ 2165683 w 4701578"/>
              <a:gd name="connsiteY5" fmla="*/ 4075384 h 4905563"/>
              <a:gd name="connsiteX6" fmla="*/ 2370220 w 4701578"/>
              <a:gd name="connsiteY6" fmla="*/ 4051320 h 4905563"/>
              <a:gd name="connsiteX7" fmla="*/ 2538662 w 4701578"/>
              <a:gd name="connsiteY7" fmla="*/ 4015226 h 4905563"/>
              <a:gd name="connsiteX8" fmla="*/ 3007894 w 4701578"/>
              <a:gd name="connsiteY8" fmla="*/ 3894910 h 4905563"/>
              <a:gd name="connsiteX9" fmla="*/ 3441031 w 4701578"/>
              <a:gd name="connsiteY9" fmla="*/ 3702405 h 4905563"/>
              <a:gd name="connsiteX10" fmla="*/ 3729789 w 4701578"/>
              <a:gd name="connsiteY10" fmla="*/ 3461773 h 4905563"/>
              <a:gd name="connsiteX11" fmla="*/ 3886199 w 4701578"/>
              <a:gd name="connsiteY11" fmla="*/ 3185047 h 4905563"/>
              <a:gd name="connsiteX12" fmla="*/ 3934325 w 4701578"/>
              <a:gd name="connsiteY12" fmla="*/ 2884257 h 4905563"/>
              <a:gd name="connsiteX13" fmla="*/ 4138863 w 4701578"/>
              <a:gd name="connsiteY13" fmla="*/ 2511279 h 4905563"/>
              <a:gd name="connsiteX14" fmla="*/ 4235115 w 4701578"/>
              <a:gd name="connsiteY14" fmla="*/ 2330805 h 4905563"/>
              <a:gd name="connsiteX15" fmla="*/ 4379494 w 4701578"/>
              <a:gd name="connsiteY15" fmla="*/ 1488594 h 4905563"/>
              <a:gd name="connsiteX16" fmla="*/ 4391525 w 4701578"/>
              <a:gd name="connsiteY16" fmla="*/ 1031394 h 4905563"/>
              <a:gd name="connsiteX17" fmla="*/ 4698158 w 4701578"/>
              <a:gd name="connsiteY17" fmla="*/ 459264 h 4905563"/>
              <a:gd name="connsiteX18" fmla="*/ 4162927 w 4701578"/>
              <a:gd name="connsiteY18" fmla="*/ 0 h 4905563"/>
              <a:gd name="connsiteX19" fmla="*/ 3903149 w 4701578"/>
              <a:gd name="connsiteY19" fmla="*/ 213249 h 4905563"/>
              <a:gd name="connsiteX20" fmla="*/ 3788067 w 4701578"/>
              <a:gd name="connsiteY20" fmla="*/ 333534 h 4905563"/>
              <a:gd name="connsiteX21" fmla="*/ 3624010 w 4701578"/>
              <a:gd name="connsiteY21" fmla="*/ 596253 h 4905563"/>
              <a:gd name="connsiteX22" fmla="*/ 3645568 w 4701578"/>
              <a:gd name="connsiteY22" fmla="*/ 850920 h 4905563"/>
              <a:gd name="connsiteX23" fmla="*/ 3719260 w 4701578"/>
              <a:gd name="connsiteY23" fmla="*/ 1329678 h 4905563"/>
              <a:gd name="connsiteX24" fmla="*/ 3719260 w 4701578"/>
              <a:gd name="connsiteY24" fmla="*/ 1682103 h 4905563"/>
              <a:gd name="connsiteX25" fmla="*/ 3728285 w 4701578"/>
              <a:gd name="connsiteY25" fmla="*/ 1849040 h 4905563"/>
              <a:gd name="connsiteX26" fmla="*/ 3063540 w 4701578"/>
              <a:gd name="connsiteY26" fmla="*/ 2860194 h 4905563"/>
              <a:gd name="connsiteX27" fmla="*/ 2642935 w 4701578"/>
              <a:gd name="connsiteY27" fmla="*/ 3110853 h 4905563"/>
              <a:gd name="connsiteX28" fmla="*/ 2264443 w 4701578"/>
              <a:gd name="connsiteY28" fmla="*/ 3281801 h 4905563"/>
              <a:gd name="connsiteX29" fmla="*/ 1318960 w 4701578"/>
              <a:gd name="connsiteY29" fmla="*/ 3463278 h 4905563"/>
              <a:gd name="connsiteX30" fmla="*/ 637673 w 4701578"/>
              <a:gd name="connsiteY30" fmla="*/ 3690373 h 4905563"/>
              <a:gd name="connsiteX31" fmla="*/ 348914 w 4701578"/>
              <a:gd name="connsiteY31" fmla="*/ 3894911 h 4905563"/>
              <a:gd name="connsiteX32" fmla="*/ 96251 w 4701578"/>
              <a:gd name="connsiteY32" fmla="*/ 4195700 h 4905563"/>
              <a:gd name="connsiteX33" fmla="*/ 0 w 4701578"/>
              <a:gd name="connsiteY33" fmla="*/ 4460394 h 4905563"/>
              <a:gd name="connsiteX34" fmla="*/ 613610 w 4701578"/>
              <a:gd name="connsiteY34" fmla="*/ 4905563 h 4905563"/>
              <a:gd name="connsiteX0" fmla="*/ 613610 w 4701578"/>
              <a:gd name="connsiteY0" fmla="*/ 4905563 h 4905563"/>
              <a:gd name="connsiteX1" fmla="*/ 577515 w 4701578"/>
              <a:gd name="connsiteY1" fmla="*/ 4833373 h 4905563"/>
              <a:gd name="connsiteX2" fmla="*/ 1022683 w 4701578"/>
              <a:gd name="connsiteY2" fmla="*/ 4388205 h 4905563"/>
              <a:gd name="connsiteX3" fmla="*/ 1600199 w 4701578"/>
              <a:gd name="connsiteY3" fmla="*/ 4123510 h 4905563"/>
              <a:gd name="connsiteX4" fmla="*/ 1852862 w 4701578"/>
              <a:gd name="connsiteY4" fmla="*/ 4087415 h 4905563"/>
              <a:gd name="connsiteX5" fmla="*/ 2165683 w 4701578"/>
              <a:gd name="connsiteY5" fmla="*/ 4075384 h 4905563"/>
              <a:gd name="connsiteX6" fmla="*/ 2370220 w 4701578"/>
              <a:gd name="connsiteY6" fmla="*/ 4051320 h 4905563"/>
              <a:gd name="connsiteX7" fmla="*/ 3007894 w 4701578"/>
              <a:gd name="connsiteY7" fmla="*/ 3894910 h 4905563"/>
              <a:gd name="connsiteX8" fmla="*/ 3441031 w 4701578"/>
              <a:gd name="connsiteY8" fmla="*/ 3702405 h 4905563"/>
              <a:gd name="connsiteX9" fmla="*/ 3729789 w 4701578"/>
              <a:gd name="connsiteY9" fmla="*/ 3461773 h 4905563"/>
              <a:gd name="connsiteX10" fmla="*/ 3886199 w 4701578"/>
              <a:gd name="connsiteY10" fmla="*/ 3185047 h 4905563"/>
              <a:gd name="connsiteX11" fmla="*/ 3934325 w 4701578"/>
              <a:gd name="connsiteY11" fmla="*/ 2884257 h 4905563"/>
              <a:gd name="connsiteX12" fmla="*/ 4138863 w 4701578"/>
              <a:gd name="connsiteY12" fmla="*/ 2511279 h 4905563"/>
              <a:gd name="connsiteX13" fmla="*/ 4235115 w 4701578"/>
              <a:gd name="connsiteY13" fmla="*/ 2330805 h 4905563"/>
              <a:gd name="connsiteX14" fmla="*/ 4379494 w 4701578"/>
              <a:gd name="connsiteY14" fmla="*/ 1488594 h 4905563"/>
              <a:gd name="connsiteX15" fmla="*/ 4391525 w 4701578"/>
              <a:gd name="connsiteY15" fmla="*/ 1031394 h 4905563"/>
              <a:gd name="connsiteX16" fmla="*/ 4698158 w 4701578"/>
              <a:gd name="connsiteY16" fmla="*/ 459264 h 4905563"/>
              <a:gd name="connsiteX17" fmla="*/ 4162927 w 4701578"/>
              <a:gd name="connsiteY17" fmla="*/ 0 h 4905563"/>
              <a:gd name="connsiteX18" fmla="*/ 3903149 w 4701578"/>
              <a:gd name="connsiteY18" fmla="*/ 213249 h 4905563"/>
              <a:gd name="connsiteX19" fmla="*/ 3788067 w 4701578"/>
              <a:gd name="connsiteY19" fmla="*/ 333534 h 4905563"/>
              <a:gd name="connsiteX20" fmla="*/ 3624010 w 4701578"/>
              <a:gd name="connsiteY20" fmla="*/ 596253 h 4905563"/>
              <a:gd name="connsiteX21" fmla="*/ 3645568 w 4701578"/>
              <a:gd name="connsiteY21" fmla="*/ 850920 h 4905563"/>
              <a:gd name="connsiteX22" fmla="*/ 3719260 w 4701578"/>
              <a:gd name="connsiteY22" fmla="*/ 1329678 h 4905563"/>
              <a:gd name="connsiteX23" fmla="*/ 3719260 w 4701578"/>
              <a:gd name="connsiteY23" fmla="*/ 1682103 h 4905563"/>
              <a:gd name="connsiteX24" fmla="*/ 3728285 w 4701578"/>
              <a:gd name="connsiteY24" fmla="*/ 1849040 h 4905563"/>
              <a:gd name="connsiteX25" fmla="*/ 3063540 w 4701578"/>
              <a:gd name="connsiteY25" fmla="*/ 2860194 h 4905563"/>
              <a:gd name="connsiteX26" fmla="*/ 2642935 w 4701578"/>
              <a:gd name="connsiteY26" fmla="*/ 3110853 h 4905563"/>
              <a:gd name="connsiteX27" fmla="*/ 2264443 w 4701578"/>
              <a:gd name="connsiteY27" fmla="*/ 3281801 h 4905563"/>
              <a:gd name="connsiteX28" fmla="*/ 1318960 w 4701578"/>
              <a:gd name="connsiteY28" fmla="*/ 3463278 h 4905563"/>
              <a:gd name="connsiteX29" fmla="*/ 637673 w 4701578"/>
              <a:gd name="connsiteY29" fmla="*/ 3690373 h 4905563"/>
              <a:gd name="connsiteX30" fmla="*/ 348914 w 4701578"/>
              <a:gd name="connsiteY30" fmla="*/ 3894911 h 4905563"/>
              <a:gd name="connsiteX31" fmla="*/ 96251 w 4701578"/>
              <a:gd name="connsiteY31" fmla="*/ 4195700 h 4905563"/>
              <a:gd name="connsiteX32" fmla="*/ 0 w 4701578"/>
              <a:gd name="connsiteY32" fmla="*/ 4460394 h 4905563"/>
              <a:gd name="connsiteX33" fmla="*/ 613610 w 4701578"/>
              <a:gd name="connsiteY33" fmla="*/ 4905563 h 4905563"/>
              <a:gd name="connsiteX0" fmla="*/ 613610 w 4701578"/>
              <a:gd name="connsiteY0" fmla="*/ 4905563 h 4905563"/>
              <a:gd name="connsiteX1" fmla="*/ 577515 w 4701578"/>
              <a:gd name="connsiteY1" fmla="*/ 4833373 h 4905563"/>
              <a:gd name="connsiteX2" fmla="*/ 1022683 w 4701578"/>
              <a:gd name="connsiteY2" fmla="*/ 4388205 h 4905563"/>
              <a:gd name="connsiteX3" fmla="*/ 1600199 w 4701578"/>
              <a:gd name="connsiteY3" fmla="*/ 4123510 h 4905563"/>
              <a:gd name="connsiteX4" fmla="*/ 1852862 w 4701578"/>
              <a:gd name="connsiteY4" fmla="*/ 4087415 h 4905563"/>
              <a:gd name="connsiteX5" fmla="*/ 2165683 w 4701578"/>
              <a:gd name="connsiteY5" fmla="*/ 4075384 h 4905563"/>
              <a:gd name="connsiteX6" fmla="*/ 2370220 w 4701578"/>
              <a:gd name="connsiteY6" fmla="*/ 4051320 h 4905563"/>
              <a:gd name="connsiteX7" fmla="*/ 3007894 w 4701578"/>
              <a:gd name="connsiteY7" fmla="*/ 3894910 h 4905563"/>
              <a:gd name="connsiteX8" fmla="*/ 3441031 w 4701578"/>
              <a:gd name="connsiteY8" fmla="*/ 3702405 h 4905563"/>
              <a:gd name="connsiteX9" fmla="*/ 3729789 w 4701578"/>
              <a:gd name="connsiteY9" fmla="*/ 3461773 h 4905563"/>
              <a:gd name="connsiteX10" fmla="*/ 3886199 w 4701578"/>
              <a:gd name="connsiteY10" fmla="*/ 3185047 h 4905563"/>
              <a:gd name="connsiteX11" fmla="*/ 3934325 w 4701578"/>
              <a:gd name="connsiteY11" fmla="*/ 2884257 h 4905563"/>
              <a:gd name="connsiteX12" fmla="*/ 4138863 w 4701578"/>
              <a:gd name="connsiteY12" fmla="*/ 2511279 h 4905563"/>
              <a:gd name="connsiteX13" fmla="*/ 4235115 w 4701578"/>
              <a:gd name="connsiteY13" fmla="*/ 2330805 h 4905563"/>
              <a:gd name="connsiteX14" fmla="*/ 4379494 w 4701578"/>
              <a:gd name="connsiteY14" fmla="*/ 1488594 h 4905563"/>
              <a:gd name="connsiteX15" fmla="*/ 4391525 w 4701578"/>
              <a:gd name="connsiteY15" fmla="*/ 1031394 h 4905563"/>
              <a:gd name="connsiteX16" fmla="*/ 4698158 w 4701578"/>
              <a:gd name="connsiteY16" fmla="*/ 459264 h 4905563"/>
              <a:gd name="connsiteX17" fmla="*/ 4162927 w 4701578"/>
              <a:gd name="connsiteY17" fmla="*/ 0 h 4905563"/>
              <a:gd name="connsiteX18" fmla="*/ 3903149 w 4701578"/>
              <a:gd name="connsiteY18" fmla="*/ 213249 h 4905563"/>
              <a:gd name="connsiteX19" fmla="*/ 3788067 w 4701578"/>
              <a:gd name="connsiteY19" fmla="*/ 333534 h 4905563"/>
              <a:gd name="connsiteX20" fmla="*/ 3624010 w 4701578"/>
              <a:gd name="connsiteY20" fmla="*/ 596253 h 4905563"/>
              <a:gd name="connsiteX21" fmla="*/ 3645568 w 4701578"/>
              <a:gd name="connsiteY21" fmla="*/ 850920 h 4905563"/>
              <a:gd name="connsiteX22" fmla="*/ 3719260 w 4701578"/>
              <a:gd name="connsiteY22" fmla="*/ 1329678 h 4905563"/>
              <a:gd name="connsiteX23" fmla="*/ 3719260 w 4701578"/>
              <a:gd name="connsiteY23" fmla="*/ 1682103 h 4905563"/>
              <a:gd name="connsiteX24" fmla="*/ 3063540 w 4701578"/>
              <a:gd name="connsiteY24" fmla="*/ 2860194 h 4905563"/>
              <a:gd name="connsiteX25" fmla="*/ 2642935 w 4701578"/>
              <a:gd name="connsiteY25" fmla="*/ 3110853 h 4905563"/>
              <a:gd name="connsiteX26" fmla="*/ 2264443 w 4701578"/>
              <a:gd name="connsiteY26" fmla="*/ 3281801 h 4905563"/>
              <a:gd name="connsiteX27" fmla="*/ 1318960 w 4701578"/>
              <a:gd name="connsiteY27" fmla="*/ 3463278 h 4905563"/>
              <a:gd name="connsiteX28" fmla="*/ 637673 w 4701578"/>
              <a:gd name="connsiteY28" fmla="*/ 3690373 h 4905563"/>
              <a:gd name="connsiteX29" fmla="*/ 348914 w 4701578"/>
              <a:gd name="connsiteY29" fmla="*/ 3894911 h 4905563"/>
              <a:gd name="connsiteX30" fmla="*/ 96251 w 4701578"/>
              <a:gd name="connsiteY30" fmla="*/ 4195700 h 4905563"/>
              <a:gd name="connsiteX31" fmla="*/ 0 w 4701578"/>
              <a:gd name="connsiteY31" fmla="*/ 4460394 h 4905563"/>
              <a:gd name="connsiteX32" fmla="*/ 613610 w 4701578"/>
              <a:gd name="connsiteY32" fmla="*/ 4905563 h 4905563"/>
              <a:gd name="connsiteX0" fmla="*/ 613610 w 4702647"/>
              <a:gd name="connsiteY0" fmla="*/ 4905563 h 4905563"/>
              <a:gd name="connsiteX1" fmla="*/ 577515 w 4702647"/>
              <a:gd name="connsiteY1" fmla="*/ 4833373 h 4905563"/>
              <a:gd name="connsiteX2" fmla="*/ 1022683 w 4702647"/>
              <a:gd name="connsiteY2" fmla="*/ 4388205 h 4905563"/>
              <a:gd name="connsiteX3" fmla="*/ 1600199 w 4702647"/>
              <a:gd name="connsiteY3" fmla="*/ 4123510 h 4905563"/>
              <a:gd name="connsiteX4" fmla="*/ 1852862 w 4702647"/>
              <a:gd name="connsiteY4" fmla="*/ 4087415 h 4905563"/>
              <a:gd name="connsiteX5" fmla="*/ 2165683 w 4702647"/>
              <a:gd name="connsiteY5" fmla="*/ 4075384 h 4905563"/>
              <a:gd name="connsiteX6" fmla="*/ 2370220 w 4702647"/>
              <a:gd name="connsiteY6" fmla="*/ 4051320 h 4905563"/>
              <a:gd name="connsiteX7" fmla="*/ 3007894 w 4702647"/>
              <a:gd name="connsiteY7" fmla="*/ 3894910 h 4905563"/>
              <a:gd name="connsiteX8" fmla="*/ 3441031 w 4702647"/>
              <a:gd name="connsiteY8" fmla="*/ 3702405 h 4905563"/>
              <a:gd name="connsiteX9" fmla="*/ 3729789 w 4702647"/>
              <a:gd name="connsiteY9" fmla="*/ 3461773 h 4905563"/>
              <a:gd name="connsiteX10" fmla="*/ 3886199 w 4702647"/>
              <a:gd name="connsiteY10" fmla="*/ 3185047 h 4905563"/>
              <a:gd name="connsiteX11" fmla="*/ 3934325 w 4702647"/>
              <a:gd name="connsiteY11" fmla="*/ 2884257 h 4905563"/>
              <a:gd name="connsiteX12" fmla="*/ 4138863 w 4702647"/>
              <a:gd name="connsiteY12" fmla="*/ 2511279 h 4905563"/>
              <a:gd name="connsiteX13" fmla="*/ 4235115 w 4702647"/>
              <a:gd name="connsiteY13" fmla="*/ 2330805 h 4905563"/>
              <a:gd name="connsiteX14" fmla="*/ 4379494 w 4702647"/>
              <a:gd name="connsiteY14" fmla="*/ 1488594 h 4905563"/>
              <a:gd name="connsiteX15" fmla="*/ 4467725 w 4702647"/>
              <a:gd name="connsiteY15" fmla="*/ 1040919 h 4905563"/>
              <a:gd name="connsiteX16" fmla="*/ 4698158 w 4702647"/>
              <a:gd name="connsiteY16" fmla="*/ 459264 h 4905563"/>
              <a:gd name="connsiteX17" fmla="*/ 4162927 w 4702647"/>
              <a:gd name="connsiteY17" fmla="*/ 0 h 4905563"/>
              <a:gd name="connsiteX18" fmla="*/ 3903149 w 4702647"/>
              <a:gd name="connsiteY18" fmla="*/ 213249 h 4905563"/>
              <a:gd name="connsiteX19" fmla="*/ 3788067 w 4702647"/>
              <a:gd name="connsiteY19" fmla="*/ 333534 h 4905563"/>
              <a:gd name="connsiteX20" fmla="*/ 3624010 w 4702647"/>
              <a:gd name="connsiteY20" fmla="*/ 596253 h 4905563"/>
              <a:gd name="connsiteX21" fmla="*/ 3645568 w 4702647"/>
              <a:gd name="connsiteY21" fmla="*/ 850920 h 4905563"/>
              <a:gd name="connsiteX22" fmla="*/ 3719260 w 4702647"/>
              <a:gd name="connsiteY22" fmla="*/ 1329678 h 4905563"/>
              <a:gd name="connsiteX23" fmla="*/ 3719260 w 4702647"/>
              <a:gd name="connsiteY23" fmla="*/ 1682103 h 4905563"/>
              <a:gd name="connsiteX24" fmla="*/ 3063540 w 4702647"/>
              <a:gd name="connsiteY24" fmla="*/ 2860194 h 4905563"/>
              <a:gd name="connsiteX25" fmla="*/ 2642935 w 4702647"/>
              <a:gd name="connsiteY25" fmla="*/ 3110853 h 4905563"/>
              <a:gd name="connsiteX26" fmla="*/ 2264443 w 4702647"/>
              <a:gd name="connsiteY26" fmla="*/ 3281801 h 4905563"/>
              <a:gd name="connsiteX27" fmla="*/ 1318960 w 4702647"/>
              <a:gd name="connsiteY27" fmla="*/ 3463278 h 4905563"/>
              <a:gd name="connsiteX28" fmla="*/ 637673 w 4702647"/>
              <a:gd name="connsiteY28" fmla="*/ 3690373 h 4905563"/>
              <a:gd name="connsiteX29" fmla="*/ 348914 w 4702647"/>
              <a:gd name="connsiteY29" fmla="*/ 3894911 h 4905563"/>
              <a:gd name="connsiteX30" fmla="*/ 96251 w 4702647"/>
              <a:gd name="connsiteY30" fmla="*/ 4195700 h 4905563"/>
              <a:gd name="connsiteX31" fmla="*/ 0 w 4702647"/>
              <a:gd name="connsiteY31" fmla="*/ 4460394 h 4905563"/>
              <a:gd name="connsiteX32" fmla="*/ 613610 w 4702647"/>
              <a:gd name="connsiteY32" fmla="*/ 4905563 h 4905563"/>
              <a:gd name="connsiteX0" fmla="*/ 613610 w 4702647"/>
              <a:gd name="connsiteY0" fmla="*/ 4905563 h 4905563"/>
              <a:gd name="connsiteX1" fmla="*/ 577515 w 4702647"/>
              <a:gd name="connsiteY1" fmla="*/ 4833373 h 4905563"/>
              <a:gd name="connsiteX2" fmla="*/ 1022683 w 4702647"/>
              <a:gd name="connsiteY2" fmla="*/ 4388205 h 4905563"/>
              <a:gd name="connsiteX3" fmla="*/ 1600199 w 4702647"/>
              <a:gd name="connsiteY3" fmla="*/ 4123510 h 4905563"/>
              <a:gd name="connsiteX4" fmla="*/ 1852862 w 4702647"/>
              <a:gd name="connsiteY4" fmla="*/ 4087415 h 4905563"/>
              <a:gd name="connsiteX5" fmla="*/ 2165683 w 4702647"/>
              <a:gd name="connsiteY5" fmla="*/ 4075384 h 4905563"/>
              <a:gd name="connsiteX6" fmla="*/ 2370220 w 4702647"/>
              <a:gd name="connsiteY6" fmla="*/ 4051320 h 4905563"/>
              <a:gd name="connsiteX7" fmla="*/ 3007894 w 4702647"/>
              <a:gd name="connsiteY7" fmla="*/ 3894910 h 4905563"/>
              <a:gd name="connsiteX8" fmla="*/ 3441031 w 4702647"/>
              <a:gd name="connsiteY8" fmla="*/ 3702405 h 4905563"/>
              <a:gd name="connsiteX9" fmla="*/ 3729789 w 4702647"/>
              <a:gd name="connsiteY9" fmla="*/ 3461773 h 4905563"/>
              <a:gd name="connsiteX10" fmla="*/ 3886199 w 4702647"/>
              <a:gd name="connsiteY10" fmla="*/ 3185047 h 4905563"/>
              <a:gd name="connsiteX11" fmla="*/ 3934325 w 4702647"/>
              <a:gd name="connsiteY11" fmla="*/ 2884257 h 4905563"/>
              <a:gd name="connsiteX12" fmla="*/ 4186488 w 4702647"/>
              <a:gd name="connsiteY12" fmla="*/ 2520804 h 4905563"/>
              <a:gd name="connsiteX13" fmla="*/ 4235115 w 4702647"/>
              <a:gd name="connsiteY13" fmla="*/ 2330805 h 4905563"/>
              <a:gd name="connsiteX14" fmla="*/ 4379494 w 4702647"/>
              <a:gd name="connsiteY14" fmla="*/ 1488594 h 4905563"/>
              <a:gd name="connsiteX15" fmla="*/ 4467725 w 4702647"/>
              <a:gd name="connsiteY15" fmla="*/ 1040919 h 4905563"/>
              <a:gd name="connsiteX16" fmla="*/ 4698158 w 4702647"/>
              <a:gd name="connsiteY16" fmla="*/ 459264 h 4905563"/>
              <a:gd name="connsiteX17" fmla="*/ 4162927 w 4702647"/>
              <a:gd name="connsiteY17" fmla="*/ 0 h 4905563"/>
              <a:gd name="connsiteX18" fmla="*/ 3903149 w 4702647"/>
              <a:gd name="connsiteY18" fmla="*/ 213249 h 4905563"/>
              <a:gd name="connsiteX19" fmla="*/ 3788067 w 4702647"/>
              <a:gd name="connsiteY19" fmla="*/ 333534 h 4905563"/>
              <a:gd name="connsiteX20" fmla="*/ 3624010 w 4702647"/>
              <a:gd name="connsiteY20" fmla="*/ 596253 h 4905563"/>
              <a:gd name="connsiteX21" fmla="*/ 3645568 w 4702647"/>
              <a:gd name="connsiteY21" fmla="*/ 850920 h 4905563"/>
              <a:gd name="connsiteX22" fmla="*/ 3719260 w 4702647"/>
              <a:gd name="connsiteY22" fmla="*/ 1329678 h 4905563"/>
              <a:gd name="connsiteX23" fmla="*/ 3719260 w 4702647"/>
              <a:gd name="connsiteY23" fmla="*/ 1682103 h 4905563"/>
              <a:gd name="connsiteX24" fmla="*/ 3063540 w 4702647"/>
              <a:gd name="connsiteY24" fmla="*/ 2860194 h 4905563"/>
              <a:gd name="connsiteX25" fmla="*/ 2642935 w 4702647"/>
              <a:gd name="connsiteY25" fmla="*/ 3110853 h 4905563"/>
              <a:gd name="connsiteX26" fmla="*/ 2264443 w 4702647"/>
              <a:gd name="connsiteY26" fmla="*/ 3281801 h 4905563"/>
              <a:gd name="connsiteX27" fmla="*/ 1318960 w 4702647"/>
              <a:gd name="connsiteY27" fmla="*/ 3463278 h 4905563"/>
              <a:gd name="connsiteX28" fmla="*/ 637673 w 4702647"/>
              <a:gd name="connsiteY28" fmla="*/ 3690373 h 4905563"/>
              <a:gd name="connsiteX29" fmla="*/ 348914 w 4702647"/>
              <a:gd name="connsiteY29" fmla="*/ 3894911 h 4905563"/>
              <a:gd name="connsiteX30" fmla="*/ 96251 w 4702647"/>
              <a:gd name="connsiteY30" fmla="*/ 4195700 h 4905563"/>
              <a:gd name="connsiteX31" fmla="*/ 0 w 4702647"/>
              <a:gd name="connsiteY31" fmla="*/ 4460394 h 4905563"/>
              <a:gd name="connsiteX32" fmla="*/ 613610 w 4702647"/>
              <a:gd name="connsiteY32" fmla="*/ 4905563 h 4905563"/>
              <a:gd name="connsiteX0" fmla="*/ 613610 w 4702647"/>
              <a:gd name="connsiteY0" fmla="*/ 4905563 h 4905563"/>
              <a:gd name="connsiteX1" fmla="*/ 577515 w 4702647"/>
              <a:gd name="connsiteY1" fmla="*/ 4833373 h 4905563"/>
              <a:gd name="connsiteX2" fmla="*/ 1022683 w 4702647"/>
              <a:gd name="connsiteY2" fmla="*/ 4388205 h 4905563"/>
              <a:gd name="connsiteX3" fmla="*/ 1600199 w 4702647"/>
              <a:gd name="connsiteY3" fmla="*/ 4123510 h 4905563"/>
              <a:gd name="connsiteX4" fmla="*/ 1852862 w 4702647"/>
              <a:gd name="connsiteY4" fmla="*/ 4087415 h 4905563"/>
              <a:gd name="connsiteX5" fmla="*/ 2165683 w 4702647"/>
              <a:gd name="connsiteY5" fmla="*/ 4075384 h 4905563"/>
              <a:gd name="connsiteX6" fmla="*/ 2370220 w 4702647"/>
              <a:gd name="connsiteY6" fmla="*/ 4051320 h 4905563"/>
              <a:gd name="connsiteX7" fmla="*/ 3007894 w 4702647"/>
              <a:gd name="connsiteY7" fmla="*/ 3894910 h 4905563"/>
              <a:gd name="connsiteX8" fmla="*/ 3441031 w 4702647"/>
              <a:gd name="connsiteY8" fmla="*/ 3702405 h 4905563"/>
              <a:gd name="connsiteX9" fmla="*/ 3729789 w 4702647"/>
              <a:gd name="connsiteY9" fmla="*/ 3461773 h 4905563"/>
              <a:gd name="connsiteX10" fmla="*/ 3886199 w 4702647"/>
              <a:gd name="connsiteY10" fmla="*/ 3185047 h 4905563"/>
              <a:gd name="connsiteX11" fmla="*/ 3981950 w 4702647"/>
              <a:gd name="connsiteY11" fmla="*/ 2893782 h 4905563"/>
              <a:gd name="connsiteX12" fmla="*/ 4186488 w 4702647"/>
              <a:gd name="connsiteY12" fmla="*/ 2520804 h 4905563"/>
              <a:gd name="connsiteX13" fmla="*/ 4235115 w 4702647"/>
              <a:gd name="connsiteY13" fmla="*/ 2330805 h 4905563"/>
              <a:gd name="connsiteX14" fmla="*/ 4379494 w 4702647"/>
              <a:gd name="connsiteY14" fmla="*/ 1488594 h 4905563"/>
              <a:gd name="connsiteX15" fmla="*/ 4467725 w 4702647"/>
              <a:gd name="connsiteY15" fmla="*/ 1040919 h 4905563"/>
              <a:gd name="connsiteX16" fmla="*/ 4698158 w 4702647"/>
              <a:gd name="connsiteY16" fmla="*/ 459264 h 4905563"/>
              <a:gd name="connsiteX17" fmla="*/ 4162927 w 4702647"/>
              <a:gd name="connsiteY17" fmla="*/ 0 h 4905563"/>
              <a:gd name="connsiteX18" fmla="*/ 3903149 w 4702647"/>
              <a:gd name="connsiteY18" fmla="*/ 213249 h 4905563"/>
              <a:gd name="connsiteX19" fmla="*/ 3788067 w 4702647"/>
              <a:gd name="connsiteY19" fmla="*/ 333534 h 4905563"/>
              <a:gd name="connsiteX20" fmla="*/ 3624010 w 4702647"/>
              <a:gd name="connsiteY20" fmla="*/ 596253 h 4905563"/>
              <a:gd name="connsiteX21" fmla="*/ 3645568 w 4702647"/>
              <a:gd name="connsiteY21" fmla="*/ 850920 h 4905563"/>
              <a:gd name="connsiteX22" fmla="*/ 3719260 w 4702647"/>
              <a:gd name="connsiteY22" fmla="*/ 1329678 h 4905563"/>
              <a:gd name="connsiteX23" fmla="*/ 3719260 w 4702647"/>
              <a:gd name="connsiteY23" fmla="*/ 1682103 h 4905563"/>
              <a:gd name="connsiteX24" fmla="*/ 3063540 w 4702647"/>
              <a:gd name="connsiteY24" fmla="*/ 2860194 h 4905563"/>
              <a:gd name="connsiteX25" fmla="*/ 2642935 w 4702647"/>
              <a:gd name="connsiteY25" fmla="*/ 3110853 h 4905563"/>
              <a:gd name="connsiteX26" fmla="*/ 2264443 w 4702647"/>
              <a:gd name="connsiteY26" fmla="*/ 3281801 h 4905563"/>
              <a:gd name="connsiteX27" fmla="*/ 1318960 w 4702647"/>
              <a:gd name="connsiteY27" fmla="*/ 3463278 h 4905563"/>
              <a:gd name="connsiteX28" fmla="*/ 637673 w 4702647"/>
              <a:gd name="connsiteY28" fmla="*/ 3690373 h 4905563"/>
              <a:gd name="connsiteX29" fmla="*/ 348914 w 4702647"/>
              <a:gd name="connsiteY29" fmla="*/ 3894911 h 4905563"/>
              <a:gd name="connsiteX30" fmla="*/ 96251 w 4702647"/>
              <a:gd name="connsiteY30" fmla="*/ 4195700 h 4905563"/>
              <a:gd name="connsiteX31" fmla="*/ 0 w 4702647"/>
              <a:gd name="connsiteY31" fmla="*/ 4460394 h 4905563"/>
              <a:gd name="connsiteX32" fmla="*/ 613610 w 4702647"/>
              <a:gd name="connsiteY32" fmla="*/ 4905563 h 4905563"/>
              <a:gd name="connsiteX0" fmla="*/ 613610 w 4702647"/>
              <a:gd name="connsiteY0" fmla="*/ 4905563 h 4905563"/>
              <a:gd name="connsiteX1" fmla="*/ 577515 w 4702647"/>
              <a:gd name="connsiteY1" fmla="*/ 4833373 h 4905563"/>
              <a:gd name="connsiteX2" fmla="*/ 1022683 w 4702647"/>
              <a:gd name="connsiteY2" fmla="*/ 4388205 h 4905563"/>
              <a:gd name="connsiteX3" fmla="*/ 1600199 w 4702647"/>
              <a:gd name="connsiteY3" fmla="*/ 4123510 h 4905563"/>
              <a:gd name="connsiteX4" fmla="*/ 1852862 w 4702647"/>
              <a:gd name="connsiteY4" fmla="*/ 4087415 h 4905563"/>
              <a:gd name="connsiteX5" fmla="*/ 2165683 w 4702647"/>
              <a:gd name="connsiteY5" fmla="*/ 4075384 h 4905563"/>
              <a:gd name="connsiteX6" fmla="*/ 2370220 w 4702647"/>
              <a:gd name="connsiteY6" fmla="*/ 4051320 h 4905563"/>
              <a:gd name="connsiteX7" fmla="*/ 3007894 w 4702647"/>
              <a:gd name="connsiteY7" fmla="*/ 3894910 h 4905563"/>
              <a:gd name="connsiteX8" fmla="*/ 3441031 w 4702647"/>
              <a:gd name="connsiteY8" fmla="*/ 3702405 h 4905563"/>
              <a:gd name="connsiteX9" fmla="*/ 3729789 w 4702647"/>
              <a:gd name="connsiteY9" fmla="*/ 3461773 h 4905563"/>
              <a:gd name="connsiteX10" fmla="*/ 3886199 w 4702647"/>
              <a:gd name="connsiteY10" fmla="*/ 3185047 h 4905563"/>
              <a:gd name="connsiteX11" fmla="*/ 3981950 w 4702647"/>
              <a:gd name="connsiteY11" fmla="*/ 2893782 h 4905563"/>
              <a:gd name="connsiteX12" fmla="*/ 4186488 w 4702647"/>
              <a:gd name="connsiteY12" fmla="*/ 2520804 h 4905563"/>
              <a:gd name="connsiteX13" fmla="*/ 4235115 w 4702647"/>
              <a:gd name="connsiteY13" fmla="*/ 2330805 h 4905563"/>
              <a:gd name="connsiteX14" fmla="*/ 4379494 w 4702647"/>
              <a:gd name="connsiteY14" fmla="*/ 1488594 h 4905563"/>
              <a:gd name="connsiteX15" fmla="*/ 4467725 w 4702647"/>
              <a:gd name="connsiteY15" fmla="*/ 1040919 h 4905563"/>
              <a:gd name="connsiteX16" fmla="*/ 4698158 w 4702647"/>
              <a:gd name="connsiteY16" fmla="*/ 459264 h 4905563"/>
              <a:gd name="connsiteX17" fmla="*/ 4162927 w 4702647"/>
              <a:gd name="connsiteY17" fmla="*/ 0 h 4905563"/>
              <a:gd name="connsiteX18" fmla="*/ 3903149 w 4702647"/>
              <a:gd name="connsiteY18" fmla="*/ 213249 h 4905563"/>
              <a:gd name="connsiteX19" fmla="*/ 3788067 w 4702647"/>
              <a:gd name="connsiteY19" fmla="*/ 333534 h 4905563"/>
              <a:gd name="connsiteX20" fmla="*/ 3624010 w 4702647"/>
              <a:gd name="connsiteY20" fmla="*/ 596253 h 4905563"/>
              <a:gd name="connsiteX21" fmla="*/ 3645568 w 4702647"/>
              <a:gd name="connsiteY21" fmla="*/ 850920 h 4905563"/>
              <a:gd name="connsiteX22" fmla="*/ 3719260 w 4702647"/>
              <a:gd name="connsiteY22" fmla="*/ 1329678 h 4905563"/>
              <a:gd name="connsiteX23" fmla="*/ 3719260 w 4702647"/>
              <a:gd name="connsiteY23" fmla="*/ 1682103 h 4905563"/>
              <a:gd name="connsiteX24" fmla="*/ 3063540 w 4702647"/>
              <a:gd name="connsiteY24" fmla="*/ 2860194 h 4905563"/>
              <a:gd name="connsiteX25" fmla="*/ 2642935 w 4702647"/>
              <a:gd name="connsiteY25" fmla="*/ 3110853 h 4905563"/>
              <a:gd name="connsiteX26" fmla="*/ 2264443 w 4702647"/>
              <a:gd name="connsiteY26" fmla="*/ 3281801 h 4905563"/>
              <a:gd name="connsiteX27" fmla="*/ 1318960 w 4702647"/>
              <a:gd name="connsiteY27" fmla="*/ 3463278 h 4905563"/>
              <a:gd name="connsiteX28" fmla="*/ 637673 w 4702647"/>
              <a:gd name="connsiteY28" fmla="*/ 3690373 h 4905563"/>
              <a:gd name="connsiteX29" fmla="*/ 348914 w 4702647"/>
              <a:gd name="connsiteY29" fmla="*/ 3894911 h 4905563"/>
              <a:gd name="connsiteX30" fmla="*/ 96251 w 4702647"/>
              <a:gd name="connsiteY30" fmla="*/ 4195700 h 4905563"/>
              <a:gd name="connsiteX31" fmla="*/ 0 w 4702647"/>
              <a:gd name="connsiteY31" fmla="*/ 4460394 h 4905563"/>
              <a:gd name="connsiteX32" fmla="*/ 613610 w 4702647"/>
              <a:gd name="connsiteY32" fmla="*/ 4905563 h 4905563"/>
              <a:gd name="connsiteX0" fmla="*/ 613610 w 4702647"/>
              <a:gd name="connsiteY0" fmla="*/ 4905563 h 4905563"/>
              <a:gd name="connsiteX1" fmla="*/ 577515 w 4702647"/>
              <a:gd name="connsiteY1" fmla="*/ 4833373 h 4905563"/>
              <a:gd name="connsiteX2" fmla="*/ 1022683 w 4702647"/>
              <a:gd name="connsiteY2" fmla="*/ 4388205 h 4905563"/>
              <a:gd name="connsiteX3" fmla="*/ 1600199 w 4702647"/>
              <a:gd name="connsiteY3" fmla="*/ 4123510 h 4905563"/>
              <a:gd name="connsiteX4" fmla="*/ 1852862 w 4702647"/>
              <a:gd name="connsiteY4" fmla="*/ 4087415 h 4905563"/>
              <a:gd name="connsiteX5" fmla="*/ 2165683 w 4702647"/>
              <a:gd name="connsiteY5" fmla="*/ 4075384 h 4905563"/>
              <a:gd name="connsiteX6" fmla="*/ 2370220 w 4702647"/>
              <a:gd name="connsiteY6" fmla="*/ 4051320 h 4905563"/>
              <a:gd name="connsiteX7" fmla="*/ 3007894 w 4702647"/>
              <a:gd name="connsiteY7" fmla="*/ 3894910 h 4905563"/>
              <a:gd name="connsiteX8" fmla="*/ 3441031 w 4702647"/>
              <a:gd name="connsiteY8" fmla="*/ 3702405 h 4905563"/>
              <a:gd name="connsiteX9" fmla="*/ 3729789 w 4702647"/>
              <a:gd name="connsiteY9" fmla="*/ 3461773 h 4905563"/>
              <a:gd name="connsiteX10" fmla="*/ 3981950 w 4702647"/>
              <a:gd name="connsiteY10" fmla="*/ 2893782 h 4905563"/>
              <a:gd name="connsiteX11" fmla="*/ 4186488 w 4702647"/>
              <a:gd name="connsiteY11" fmla="*/ 2520804 h 4905563"/>
              <a:gd name="connsiteX12" fmla="*/ 4235115 w 4702647"/>
              <a:gd name="connsiteY12" fmla="*/ 2330805 h 4905563"/>
              <a:gd name="connsiteX13" fmla="*/ 4379494 w 4702647"/>
              <a:gd name="connsiteY13" fmla="*/ 1488594 h 4905563"/>
              <a:gd name="connsiteX14" fmla="*/ 4467725 w 4702647"/>
              <a:gd name="connsiteY14" fmla="*/ 1040919 h 4905563"/>
              <a:gd name="connsiteX15" fmla="*/ 4698158 w 4702647"/>
              <a:gd name="connsiteY15" fmla="*/ 459264 h 4905563"/>
              <a:gd name="connsiteX16" fmla="*/ 4162927 w 4702647"/>
              <a:gd name="connsiteY16" fmla="*/ 0 h 4905563"/>
              <a:gd name="connsiteX17" fmla="*/ 3903149 w 4702647"/>
              <a:gd name="connsiteY17" fmla="*/ 213249 h 4905563"/>
              <a:gd name="connsiteX18" fmla="*/ 3788067 w 4702647"/>
              <a:gd name="connsiteY18" fmla="*/ 333534 h 4905563"/>
              <a:gd name="connsiteX19" fmla="*/ 3624010 w 4702647"/>
              <a:gd name="connsiteY19" fmla="*/ 596253 h 4905563"/>
              <a:gd name="connsiteX20" fmla="*/ 3645568 w 4702647"/>
              <a:gd name="connsiteY20" fmla="*/ 850920 h 4905563"/>
              <a:gd name="connsiteX21" fmla="*/ 3719260 w 4702647"/>
              <a:gd name="connsiteY21" fmla="*/ 1329678 h 4905563"/>
              <a:gd name="connsiteX22" fmla="*/ 3719260 w 4702647"/>
              <a:gd name="connsiteY22" fmla="*/ 1682103 h 4905563"/>
              <a:gd name="connsiteX23" fmla="*/ 3063540 w 4702647"/>
              <a:gd name="connsiteY23" fmla="*/ 2860194 h 4905563"/>
              <a:gd name="connsiteX24" fmla="*/ 2642935 w 4702647"/>
              <a:gd name="connsiteY24" fmla="*/ 3110853 h 4905563"/>
              <a:gd name="connsiteX25" fmla="*/ 2264443 w 4702647"/>
              <a:gd name="connsiteY25" fmla="*/ 3281801 h 4905563"/>
              <a:gd name="connsiteX26" fmla="*/ 1318960 w 4702647"/>
              <a:gd name="connsiteY26" fmla="*/ 3463278 h 4905563"/>
              <a:gd name="connsiteX27" fmla="*/ 637673 w 4702647"/>
              <a:gd name="connsiteY27" fmla="*/ 3690373 h 4905563"/>
              <a:gd name="connsiteX28" fmla="*/ 348914 w 4702647"/>
              <a:gd name="connsiteY28" fmla="*/ 3894911 h 4905563"/>
              <a:gd name="connsiteX29" fmla="*/ 96251 w 4702647"/>
              <a:gd name="connsiteY29" fmla="*/ 4195700 h 4905563"/>
              <a:gd name="connsiteX30" fmla="*/ 0 w 4702647"/>
              <a:gd name="connsiteY30" fmla="*/ 4460394 h 4905563"/>
              <a:gd name="connsiteX31" fmla="*/ 613610 w 4702647"/>
              <a:gd name="connsiteY31" fmla="*/ 4905563 h 4905563"/>
              <a:gd name="connsiteX0" fmla="*/ 613610 w 4702647"/>
              <a:gd name="connsiteY0" fmla="*/ 4905563 h 4905563"/>
              <a:gd name="connsiteX1" fmla="*/ 577515 w 4702647"/>
              <a:gd name="connsiteY1" fmla="*/ 4833373 h 4905563"/>
              <a:gd name="connsiteX2" fmla="*/ 1022683 w 4702647"/>
              <a:gd name="connsiteY2" fmla="*/ 4388205 h 4905563"/>
              <a:gd name="connsiteX3" fmla="*/ 1600199 w 4702647"/>
              <a:gd name="connsiteY3" fmla="*/ 4123510 h 4905563"/>
              <a:gd name="connsiteX4" fmla="*/ 1852862 w 4702647"/>
              <a:gd name="connsiteY4" fmla="*/ 4087415 h 4905563"/>
              <a:gd name="connsiteX5" fmla="*/ 2370220 w 4702647"/>
              <a:gd name="connsiteY5" fmla="*/ 4051320 h 4905563"/>
              <a:gd name="connsiteX6" fmla="*/ 3007894 w 4702647"/>
              <a:gd name="connsiteY6" fmla="*/ 3894910 h 4905563"/>
              <a:gd name="connsiteX7" fmla="*/ 3441031 w 4702647"/>
              <a:gd name="connsiteY7" fmla="*/ 3702405 h 4905563"/>
              <a:gd name="connsiteX8" fmla="*/ 3729789 w 4702647"/>
              <a:gd name="connsiteY8" fmla="*/ 3461773 h 4905563"/>
              <a:gd name="connsiteX9" fmla="*/ 3981950 w 4702647"/>
              <a:gd name="connsiteY9" fmla="*/ 2893782 h 4905563"/>
              <a:gd name="connsiteX10" fmla="*/ 4186488 w 4702647"/>
              <a:gd name="connsiteY10" fmla="*/ 2520804 h 4905563"/>
              <a:gd name="connsiteX11" fmla="*/ 4235115 w 4702647"/>
              <a:gd name="connsiteY11" fmla="*/ 2330805 h 4905563"/>
              <a:gd name="connsiteX12" fmla="*/ 4379494 w 4702647"/>
              <a:gd name="connsiteY12" fmla="*/ 1488594 h 4905563"/>
              <a:gd name="connsiteX13" fmla="*/ 4467725 w 4702647"/>
              <a:gd name="connsiteY13" fmla="*/ 1040919 h 4905563"/>
              <a:gd name="connsiteX14" fmla="*/ 4698158 w 4702647"/>
              <a:gd name="connsiteY14" fmla="*/ 459264 h 4905563"/>
              <a:gd name="connsiteX15" fmla="*/ 4162927 w 4702647"/>
              <a:gd name="connsiteY15" fmla="*/ 0 h 4905563"/>
              <a:gd name="connsiteX16" fmla="*/ 3903149 w 4702647"/>
              <a:gd name="connsiteY16" fmla="*/ 213249 h 4905563"/>
              <a:gd name="connsiteX17" fmla="*/ 3788067 w 4702647"/>
              <a:gd name="connsiteY17" fmla="*/ 333534 h 4905563"/>
              <a:gd name="connsiteX18" fmla="*/ 3624010 w 4702647"/>
              <a:gd name="connsiteY18" fmla="*/ 596253 h 4905563"/>
              <a:gd name="connsiteX19" fmla="*/ 3645568 w 4702647"/>
              <a:gd name="connsiteY19" fmla="*/ 850920 h 4905563"/>
              <a:gd name="connsiteX20" fmla="*/ 3719260 w 4702647"/>
              <a:gd name="connsiteY20" fmla="*/ 1329678 h 4905563"/>
              <a:gd name="connsiteX21" fmla="*/ 3719260 w 4702647"/>
              <a:gd name="connsiteY21" fmla="*/ 1682103 h 4905563"/>
              <a:gd name="connsiteX22" fmla="*/ 3063540 w 4702647"/>
              <a:gd name="connsiteY22" fmla="*/ 2860194 h 4905563"/>
              <a:gd name="connsiteX23" fmla="*/ 2642935 w 4702647"/>
              <a:gd name="connsiteY23" fmla="*/ 3110853 h 4905563"/>
              <a:gd name="connsiteX24" fmla="*/ 2264443 w 4702647"/>
              <a:gd name="connsiteY24" fmla="*/ 3281801 h 4905563"/>
              <a:gd name="connsiteX25" fmla="*/ 1318960 w 4702647"/>
              <a:gd name="connsiteY25" fmla="*/ 3463278 h 4905563"/>
              <a:gd name="connsiteX26" fmla="*/ 637673 w 4702647"/>
              <a:gd name="connsiteY26" fmla="*/ 3690373 h 4905563"/>
              <a:gd name="connsiteX27" fmla="*/ 348914 w 4702647"/>
              <a:gd name="connsiteY27" fmla="*/ 3894911 h 4905563"/>
              <a:gd name="connsiteX28" fmla="*/ 96251 w 4702647"/>
              <a:gd name="connsiteY28" fmla="*/ 4195700 h 4905563"/>
              <a:gd name="connsiteX29" fmla="*/ 0 w 4702647"/>
              <a:gd name="connsiteY29" fmla="*/ 4460394 h 4905563"/>
              <a:gd name="connsiteX30" fmla="*/ 613610 w 4702647"/>
              <a:gd name="connsiteY30" fmla="*/ 4905563 h 4905563"/>
              <a:gd name="connsiteX0" fmla="*/ 0 w 4702647"/>
              <a:gd name="connsiteY0" fmla="*/ 4460394 h 4833373"/>
              <a:gd name="connsiteX1" fmla="*/ 577515 w 4702647"/>
              <a:gd name="connsiteY1" fmla="*/ 4833373 h 4833373"/>
              <a:gd name="connsiteX2" fmla="*/ 1022683 w 4702647"/>
              <a:gd name="connsiteY2" fmla="*/ 4388205 h 4833373"/>
              <a:gd name="connsiteX3" fmla="*/ 1600199 w 4702647"/>
              <a:gd name="connsiteY3" fmla="*/ 4123510 h 4833373"/>
              <a:gd name="connsiteX4" fmla="*/ 1852862 w 4702647"/>
              <a:gd name="connsiteY4" fmla="*/ 4087415 h 4833373"/>
              <a:gd name="connsiteX5" fmla="*/ 2370220 w 4702647"/>
              <a:gd name="connsiteY5" fmla="*/ 4051320 h 4833373"/>
              <a:gd name="connsiteX6" fmla="*/ 3007894 w 4702647"/>
              <a:gd name="connsiteY6" fmla="*/ 3894910 h 4833373"/>
              <a:gd name="connsiteX7" fmla="*/ 3441031 w 4702647"/>
              <a:gd name="connsiteY7" fmla="*/ 3702405 h 4833373"/>
              <a:gd name="connsiteX8" fmla="*/ 3729789 w 4702647"/>
              <a:gd name="connsiteY8" fmla="*/ 3461773 h 4833373"/>
              <a:gd name="connsiteX9" fmla="*/ 3981950 w 4702647"/>
              <a:gd name="connsiteY9" fmla="*/ 2893782 h 4833373"/>
              <a:gd name="connsiteX10" fmla="*/ 4186488 w 4702647"/>
              <a:gd name="connsiteY10" fmla="*/ 2520804 h 4833373"/>
              <a:gd name="connsiteX11" fmla="*/ 4235115 w 4702647"/>
              <a:gd name="connsiteY11" fmla="*/ 2330805 h 4833373"/>
              <a:gd name="connsiteX12" fmla="*/ 4379494 w 4702647"/>
              <a:gd name="connsiteY12" fmla="*/ 1488594 h 4833373"/>
              <a:gd name="connsiteX13" fmla="*/ 4467725 w 4702647"/>
              <a:gd name="connsiteY13" fmla="*/ 1040919 h 4833373"/>
              <a:gd name="connsiteX14" fmla="*/ 4698158 w 4702647"/>
              <a:gd name="connsiteY14" fmla="*/ 459264 h 4833373"/>
              <a:gd name="connsiteX15" fmla="*/ 4162927 w 4702647"/>
              <a:gd name="connsiteY15" fmla="*/ 0 h 4833373"/>
              <a:gd name="connsiteX16" fmla="*/ 3903149 w 4702647"/>
              <a:gd name="connsiteY16" fmla="*/ 213249 h 4833373"/>
              <a:gd name="connsiteX17" fmla="*/ 3788067 w 4702647"/>
              <a:gd name="connsiteY17" fmla="*/ 333534 h 4833373"/>
              <a:gd name="connsiteX18" fmla="*/ 3624010 w 4702647"/>
              <a:gd name="connsiteY18" fmla="*/ 596253 h 4833373"/>
              <a:gd name="connsiteX19" fmla="*/ 3645568 w 4702647"/>
              <a:gd name="connsiteY19" fmla="*/ 850920 h 4833373"/>
              <a:gd name="connsiteX20" fmla="*/ 3719260 w 4702647"/>
              <a:gd name="connsiteY20" fmla="*/ 1329678 h 4833373"/>
              <a:gd name="connsiteX21" fmla="*/ 3719260 w 4702647"/>
              <a:gd name="connsiteY21" fmla="*/ 1682103 h 4833373"/>
              <a:gd name="connsiteX22" fmla="*/ 3063540 w 4702647"/>
              <a:gd name="connsiteY22" fmla="*/ 2860194 h 4833373"/>
              <a:gd name="connsiteX23" fmla="*/ 2642935 w 4702647"/>
              <a:gd name="connsiteY23" fmla="*/ 3110853 h 4833373"/>
              <a:gd name="connsiteX24" fmla="*/ 2264443 w 4702647"/>
              <a:gd name="connsiteY24" fmla="*/ 3281801 h 4833373"/>
              <a:gd name="connsiteX25" fmla="*/ 1318960 w 4702647"/>
              <a:gd name="connsiteY25" fmla="*/ 3463278 h 4833373"/>
              <a:gd name="connsiteX26" fmla="*/ 637673 w 4702647"/>
              <a:gd name="connsiteY26" fmla="*/ 3690373 h 4833373"/>
              <a:gd name="connsiteX27" fmla="*/ 348914 w 4702647"/>
              <a:gd name="connsiteY27" fmla="*/ 3894911 h 4833373"/>
              <a:gd name="connsiteX28" fmla="*/ 96251 w 4702647"/>
              <a:gd name="connsiteY28" fmla="*/ 4195700 h 4833373"/>
              <a:gd name="connsiteX29" fmla="*/ 0 w 4702647"/>
              <a:gd name="connsiteY29" fmla="*/ 4460394 h 4833373"/>
              <a:gd name="connsiteX0" fmla="*/ 0 w 4702647"/>
              <a:gd name="connsiteY0" fmla="*/ 4460394 h 4833373"/>
              <a:gd name="connsiteX1" fmla="*/ 577515 w 4702647"/>
              <a:gd name="connsiteY1" fmla="*/ 4833373 h 4833373"/>
              <a:gd name="connsiteX2" fmla="*/ 1022683 w 4702647"/>
              <a:gd name="connsiteY2" fmla="*/ 4388205 h 4833373"/>
              <a:gd name="connsiteX3" fmla="*/ 1600199 w 4702647"/>
              <a:gd name="connsiteY3" fmla="*/ 4123510 h 4833373"/>
              <a:gd name="connsiteX4" fmla="*/ 1852862 w 4702647"/>
              <a:gd name="connsiteY4" fmla="*/ 4087415 h 4833373"/>
              <a:gd name="connsiteX5" fmla="*/ 2370220 w 4702647"/>
              <a:gd name="connsiteY5" fmla="*/ 4051320 h 4833373"/>
              <a:gd name="connsiteX6" fmla="*/ 3007894 w 4702647"/>
              <a:gd name="connsiteY6" fmla="*/ 3894910 h 4833373"/>
              <a:gd name="connsiteX7" fmla="*/ 3441031 w 4702647"/>
              <a:gd name="connsiteY7" fmla="*/ 3702405 h 4833373"/>
              <a:gd name="connsiteX8" fmla="*/ 3729789 w 4702647"/>
              <a:gd name="connsiteY8" fmla="*/ 3461773 h 4833373"/>
              <a:gd name="connsiteX9" fmla="*/ 3981950 w 4702647"/>
              <a:gd name="connsiteY9" fmla="*/ 2893782 h 4833373"/>
              <a:gd name="connsiteX10" fmla="*/ 4235115 w 4702647"/>
              <a:gd name="connsiteY10" fmla="*/ 2330805 h 4833373"/>
              <a:gd name="connsiteX11" fmla="*/ 4379494 w 4702647"/>
              <a:gd name="connsiteY11" fmla="*/ 1488594 h 4833373"/>
              <a:gd name="connsiteX12" fmla="*/ 4467725 w 4702647"/>
              <a:gd name="connsiteY12" fmla="*/ 1040919 h 4833373"/>
              <a:gd name="connsiteX13" fmla="*/ 4698158 w 4702647"/>
              <a:gd name="connsiteY13" fmla="*/ 459264 h 4833373"/>
              <a:gd name="connsiteX14" fmla="*/ 4162927 w 4702647"/>
              <a:gd name="connsiteY14" fmla="*/ 0 h 4833373"/>
              <a:gd name="connsiteX15" fmla="*/ 3903149 w 4702647"/>
              <a:gd name="connsiteY15" fmla="*/ 213249 h 4833373"/>
              <a:gd name="connsiteX16" fmla="*/ 3788067 w 4702647"/>
              <a:gd name="connsiteY16" fmla="*/ 333534 h 4833373"/>
              <a:gd name="connsiteX17" fmla="*/ 3624010 w 4702647"/>
              <a:gd name="connsiteY17" fmla="*/ 596253 h 4833373"/>
              <a:gd name="connsiteX18" fmla="*/ 3645568 w 4702647"/>
              <a:gd name="connsiteY18" fmla="*/ 850920 h 4833373"/>
              <a:gd name="connsiteX19" fmla="*/ 3719260 w 4702647"/>
              <a:gd name="connsiteY19" fmla="*/ 1329678 h 4833373"/>
              <a:gd name="connsiteX20" fmla="*/ 3719260 w 4702647"/>
              <a:gd name="connsiteY20" fmla="*/ 1682103 h 4833373"/>
              <a:gd name="connsiteX21" fmla="*/ 3063540 w 4702647"/>
              <a:gd name="connsiteY21" fmla="*/ 2860194 h 4833373"/>
              <a:gd name="connsiteX22" fmla="*/ 2642935 w 4702647"/>
              <a:gd name="connsiteY22" fmla="*/ 3110853 h 4833373"/>
              <a:gd name="connsiteX23" fmla="*/ 2264443 w 4702647"/>
              <a:gd name="connsiteY23" fmla="*/ 3281801 h 4833373"/>
              <a:gd name="connsiteX24" fmla="*/ 1318960 w 4702647"/>
              <a:gd name="connsiteY24" fmla="*/ 3463278 h 4833373"/>
              <a:gd name="connsiteX25" fmla="*/ 637673 w 4702647"/>
              <a:gd name="connsiteY25" fmla="*/ 3690373 h 4833373"/>
              <a:gd name="connsiteX26" fmla="*/ 348914 w 4702647"/>
              <a:gd name="connsiteY26" fmla="*/ 3894911 h 4833373"/>
              <a:gd name="connsiteX27" fmla="*/ 96251 w 4702647"/>
              <a:gd name="connsiteY27" fmla="*/ 4195700 h 4833373"/>
              <a:gd name="connsiteX28" fmla="*/ 0 w 4702647"/>
              <a:gd name="connsiteY28" fmla="*/ 4460394 h 4833373"/>
              <a:gd name="connsiteX0" fmla="*/ 0 w 4702647"/>
              <a:gd name="connsiteY0" fmla="*/ 4460394 h 4833373"/>
              <a:gd name="connsiteX1" fmla="*/ 577515 w 4702647"/>
              <a:gd name="connsiteY1" fmla="*/ 4833373 h 4833373"/>
              <a:gd name="connsiteX2" fmla="*/ 1022683 w 4702647"/>
              <a:gd name="connsiteY2" fmla="*/ 4388205 h 4833373"/>
              <a:gd name="connsiteX3" fmla="*/ 1600199 w 4702647"/>
              <a:gd name="connsiteY3" fmla="*/ 4123510 h 4833373"/>
              <a:gd name="connsiteX4" fmla="*/ 2370220 w 4702647"/>
              <a:gd name="connsiteY4" fmla="*/ 4051320 h 4833373"/>
              <a:gd name="connsiteX5" fmla="*/ 3007894 w 4702647"/>
              <a:gd name="connsiteY5" fmla="*/ 3894910 h 4833373"/>
              <a:gd name="connsiteX6" fmla="*/ 3441031 w 4702647"/>
              <a:gd name="connsiteY6" fmla="*/ 3702405 h 4833373"/>
              <a:gd name="connsiteX7" fmla="*/ 3729789 w 4702647"/>
              <a:gd name="connsiteY7" fmla="*/ 3461773 h 4833373"/>
              <a:gd name="connsiteX8" fmla="*/ 3981950 w 4702647"/>
              <a:gd name="connsiteY8" fmla="*/ 2893782 h 4833373"/>
              <a:gd name="connsiteX9" fmla="*/ 4235115 w 4702647"/>
              <a:gd name="connsiteY9" fmla="*/ 2330805 h 4833373"/>
              <a:gd name="connsiteX10" fmla="*/ 4379494 w 4702647"/>
              <a:gd name="connsiteY10" fmla="*/ 1488594 h 4833373"/>
              <a:gd name="connsiteX11" fmla="*/ 4467725 w 4702647"/>
              <a:gd name="connsiteY11" fmla="*/ 1040919 h 4833373"/>
              <a:gd name="connsiteX12" fmla="*/ 4698158 w 4702647"/>
              <a:gd name="connsiteY12" fmla="*/ 459264 h 4833373"/>
              <a:gd name="connsiteX13" fmla="*/ 4162927 w 4702647"/>
              <a:gd name="connsiteY13" fmla="*/ 0 h 4833373"/>
              <a:gd name="connsiteX14" fmla="*/ 3903149 w 4702647"/>
              <a:gd name="connsiteY14" fmla="*/ 213249 h 4833373"/>
              <a:gd name="connsiteX15" fmla="*/ 3788067 w 4702647"/>
              <a:gd name="connsiteY15" fmla="*/ 333534 h 4833373"/>
              <a:gd name="connsiteX16" fmla="*/ 3624010 w 4702647"/>
              <a:gd name="connsiteY16" fmla="*/ 596253 h 4833373"/>
              <a:gd name="connsiteX17" fmla="*/ 3645568 w 4702647"/>
              <a:gd name="connsiteY17" fmla="*/ 850920 h 4833373"/>
              <a:gd name="connsiteX18" fmla="*/ 3719260 w 4702647"/>
              <a:gd name="connsiteY18" fmla="*/ 1329678 h 4833373"/>
              <a:gd name="connsiteX19" fmla="*/ 3719260 w 4702647"/>
              <a:gd name="connsiteY19" fmla="*/ 1682103 h 4833373"/>
              <a:gd name="connsiteX20" fmla="*/ 3063540 w 4702647"/>
              <a:gd name="connsiteY20" fmla="*/ 2860194 h 4833373"/>
              <a:gd name="connsiteX21" fmla="*/ 2642935 w 4702647"/>
              <a:gd name="connsiteY21" fmla="*/ 3110853 h 4833373"/>
              <a:gd name="connsiteX22" fmla="*/ 2264443 w 4702647"/>
              <a:gd name="connsiteY22" fmla="*/ 3281801 h 4833373"/>
              <a:gd name="connsiteX23" fmla="*/ 1318960 w 4702647"/>
              <a:gd name="connsiteY23" fmla="*/ 3463278 h 4833373"/>
              <a:gd name="connsiteX24" fmla="*/ 637673 w 4702647"/>
              <a:gd name="connsiteY24" fmla="*/ 3690373 h 4833373"/>
              <a:gd name="connsiteX25" fmla="*/ 348914 w 4702647"/>
              <a:gd name="connsiteY25" fmla="*/ 3894911 h 4833373"/>
              <a:gd name="connsiteX26" fmla="*/ 96251 w 4702647"/>
              <a:gd name="connsiteY26" fmla="*/ 4195700 h 4833373"/>
              <a:gd name="connsiteX27" fmla="*/ 0 w 4702647"/>
              <a:gd name="connsiteY27" fmla="*/ 4460394 h 4833373"/>
              <a:gd name="connsiteX0" fmla="*/ 0 w 4702647"/>
              <a:gd name="connsiteY0" fmla="*/ 4460394 h 4833373"/>
              <a:gd name="connsiteX1" fmla="*/ 577515 w 4702647"/>
              <a:gd name="connsiteY1" fmla="*/ 4833373 h 4833373"/>
              <a:gd name="connsiteX2" fmla="*/ 1022683 w 4702647"/>
              <a:gd name="connsiteY2" fmla="*/ 4388205 h 4833373"/>
              <a:gd name="connsiteX3" fmla="*/ 1600199 w 4702647"/>
              <a:gd name="connsiteY3" fmla="*/ 4123510 h 4833373"/>
              <a:gd name="connsiteX4" fmla="*/ 2370220 w 4702647"/>
              <a:gd name="connsiteY4" fmla="*/ 4051320 h 4833373"/>
              <a:gd name="connsiteX5" fmla="*/ 3007894 w 4702647"/>
              <a:gd name="connsiteY5" fmla="*/ 3894910 h 4833373"/>
              <a:gd name="connsiteX6" fmla="*/ 3441031 w 4702647"/>
              <a:gd name="connsiteY6" fmla="*/ 3702405 h 4833373"/>
              <a:gd name="connsiteX7" fmla="*/ 3729789 w 4702647"/>
              <a:gd name="connsiteY7" fmla="*/ 3461773 h 4833373"/>
              <a:gd name="connsiteX8" fmla="*/ 3981950 w 4702647"/>
              <a:gd name="connsiteY8" fmla="*/ 2893782 h 4833373"/>
              <a:gd name="connsiteX9" fmla="*/ 4235115 w 4702647"/>
              <a:gd name="connsiteY9" fmla="*/ 2330805 h 4833373"/>
              <a:gd name="connsiteX10" fmla="*/ 4379494 w 4702647"/>
              <a:gd name="connsiteY10" fmla="*/ 1488594 h 4833373"/>
              <a:gd name="connsiteX11" fmla="*/ 4467725 w 4702647"/>
              <a:gd name="connsiteY11" fmla="*/ 1040919 h 4833373"/>
              <a:gd name="connsiteX12" fmla="*/ 4698158 w 4702647"/>
              <a:gd name="connsiteY12" fmla="*/ 459264 h 4833373"/>
              <a:gd name="connsiteX13" fmla="*/ 4162927 w 4702647"/>
              <a:gd name="connsiteY13" fmla="*/ 0 h 4833373"/>
              <a:gd name="connsiteX14" fmla="*/ 3903149 w 4702647"/>
              <a:gd name="connsiteY14" fmla="*/ 213249 h 4833373"/>
              <a:gd name="connsiteX15" fmla="*/ 3624010 w 4702647"/>
              <a:gd name="connsiteY15" fmla="*/ 596253 h 4833373"/>
              <a:gd name="connsiteX16" fmla="*/ 3645568 w 4702647"/>
              <a:gd name="connsiteY16" fmla="*/ 850920 h 4833373"/>
              <a:gd name="connsiteX17" fmla="*/ 3719260 w 4702647"/>
              <a:gd name="connsiteY17" fmla="*/ 1329678 h 4833373"/>
              <a:gd name="connsiteX18" fmla="*/ 3719260 w 4702647"/>
              <a:gd name="connsiteY18" fmla="*/ 1682103 h 4833373"/>
              <a:gd name="connsiteX19" fmla="*/ 3063540 w 4702647"/>
              <a:gd name="connsiteY19" fmla="*/ 2860194 h 4833373"/>
              <a:gd name="connsiteX20" fmla="*/ 2642935 w 4702647"/>
              <a:gd name="connsiteY20" fmla="*/ 3110853 h 4833373"/>
              <a:gd name="connsiteX21" fmla="*/ 2264443 w 4702647"/>
              <a:gd name="connsiteY21" fmla="*/ 3281801 h 4833373"/>
              <a:gd name="connsiteX22" fmla="*/ 1318960 w 4702647"/>
              <a:gd name="connsiteY22" fmla="*/ 3463278 h 4833373"/>
              <a:gd name="connsiteX23" fmla="*/ 637673 w 4702647"/>
              <a:gd name="connsiteY23" fmla="*/ 3690373 h 4833373"/>
              <a:gd name="connsiteX24" fmla="*/ 348914 w 4702647"/>
              <a:gd name="connsiteY24" fmla="*/ 3894911 h 4833373"/>
              <a:gd name="connsiteX25" fmla="*/ 96251 w 4702647"/>
              <a:gd name="connsiteY25" fmla="*/ 4195700 h 4833373"/>
              <a:gd name="connsiteX26" fmla="*/ 0 w 4702647"/>
              <a:gd name="connsiteY26" fmla="*/ 4460394 h 4833373"/>
              <a:gd name="connsiteX0" fmla="*/ 0 w 4702647"/>
              <a:gd name="connsiteY0" fmla="*/ 4460394 h 4833373"/>
              <a:gd name="connsiteX1" fmla="*/ 577515 w 4702647"/>
              <a:gd name="connsiteY1" fmla="*/ 4833373 h 4833373"/>
              <a:gd name="connsiteX2" fmla="*/ 1022683 w 4702647"/>
              <a:gd name="connsiteY2" fmla="*/ 4388205 h 4833373"/>
              <a:gd name="connsiteX3" fmla="*/ 1600199 w 4702647"/>
              <a:gd name="connsiteY3" fmla="*/ 4123510 h 4833373"/>
              <a:gd name="connsiteX4" fmla="*/ 2370220 w 4702647"/>
              <a:gd name="connsiteY4" fmla="*/ 4051320 h 4833373"/>
              <a:gd name="connsiteX5" fmla="*/ 3007894 w 4702647"/>
              <a:gd name="connsiteY5" fmla="*/ 3894910 h 4833373"/>
              <a:gd name="connsiteX6" fmla="*/ 3441031 w 4702647"/>
              <a:gd name="connsiteY6" fmla="*/ 3702405 h 4833373"/>
              <a:gd name="connsiteX7" fmla="*/ 3729789 w 4702647"/>
              <a:gd name="connsiteY7" fmla="*/ 3461773 h 4833373"/>
              <a:gd name="connsiteX8" fmla="*/ 3981950 w 4702647"/>
              <a:gd name="connsiteY8" fmla="*/ 2893782 h 4833373"/>
              <a:gd name="connsiteX9" fmla="*/ 4235115 w 4702647"/>
              <a:gd name="connsiteY9" fmla="*/ 2330805 h 4833373"/>
              <a:gd name="connsiteX10" fmla="*/ 4379494 w 4702647"/>
              <a:gd name="connsiteY10" fmla="*/ 1488594 h 4833373"/>
              <a:gd name="connsiteX11" fmla="*/ 4467725 w 4702647"/>
              <a:gd name="connsiteY11" fmla="*/ 1040919 h 4833373"/>
              <a:gd name="connsiteX12" fmla="*/ 4698158 w 4702647"/>
              <a:gd name="connsiteY12" fmla="*/ 459264 h 4833373"/>
              <a:gd name="connsiteX13" fmla="*/ 4162927 w 4702647"/>
              <a:gd name="connsiteY13" fmla="*/ 0 h 4833373"/>
              <a:gd name="connsiteX14" fmla="*/ 3903149 w 4702647"/>
              <a:gd name="connsiteY14" fmla="*/ 213249 h 4833373"/>
              <a:gd name="connsiteX15" fmla="*/ 3645568 w 4702647"/>
              <a:gd name="connsiteY15" fmla="*/ 850920 h 4833373"/>
              <a:gd name="connsiteX16" fmla="*/ 3719260 w 4702647"/>
              <a:gd name="connsiteY16" fmla="*/ 1329678 h 4833373"/>
              <a:gd name="connsiteX17" fmla="*/ 3719260 w 4702647"/>
              <a:gd name="connsiteY17" fmla="*/ 1682103 h 4833373"/>
              <a:gd name="connsiteX18" fmla="*/ 3063540 w 4702647"/>
              <a:gd name="connsiteY18" fmla="*/ 2860194 h 4833373"/>
              <a:gd name="connsiteX19" fmla="*/ 2642935 w 4702647"/>
              <a:gd name="connsiteY19" fmla="*/ 3110853 h 4833373"/>
              <a:gd name="connsiteX20" fmla="*/ 2264443 w 4702647"/>
              <a:gd name="connsiteY20" fmla="*/ 3281801 h 4833373"/>
              <a:gd name="connsiteX21" fmla="*/ 1318960 w 4702647"/>
              <a:gd name="connsiteY21" fmla="*/ 3463278 h 4833373"/>
              <a:gd name="connsiteX22" fmla="*/ 637673 w 4702647"/>
              <a:gd name="connsiteY22" fmla="*/ 3690373 h 4833373"/>
              <a:gd name="connsiteX23" fmla="*/ 348914 w 4702647"/>
              <a:gd name="connsiteY23" fmla="*/ 3894911 h 4833373"/>
              <a:gd name="connsiteX24" fmla="*/ 96251 w 4702647"/>
              <a:gd name="connsiteY24" fmla="*/ 4195700 h 4833373"/>
              <a:gd name="connsiteX25" fmla="*/ 0 w 4702647"/>
              <a:gd name="connsiteY25" fmla="*/ 4460394 h 4833373"/>
              <a:gd name="connsiteX0" fmla="*/ 0 w 4704671"/>
              <a:gd name="connsiteY0" fmla="*/ 4460394 h 4833373"/>
              <a:gd name="connsiteX1" fmla="*/ 577515 w 4704671"/>
              <a:gd name="connsiteY1" fmla="*/ 4833373 h 4833373"/>
              <a:gd name="connsiteX2" fmla="*/ 1022683 w 4704671"/>
              <a:gd name="connsiteY2" fmla="*/ 4388205 h 4833373"/>
              <a:gd name="connsiteX3" fmla="*/ 1600199 w 4704671"/>
              <a:gd name="connsiteY3" fmla="*/ 4123510 h 4833373"/>
              <a:gd name="connsiteX4" fmla="*/ 2370220 w 4704671"/>
              <a:gd name="connsiteY4" fmla="*/ 4051320 h 4833373"/>
              <a:gd name="connsiteX5" fmla="*/ 3007894 w 4704671"/>
              <a:gd name="connsiteY5" fmla="*/ 3894910 h 4833373"/>
              <a:gd name="connsiteX6" fmla="*/ 3441031 w 4704671"/>
              <a:gd name="connsiteY6" fmla="*/ 3702405 h 4833373"/>
              <a:gd name="connsiteX7" fmla="*/ 3729789 w 4704671"/>
              <a:gd name="connsiteY7" fmla="*/ 3461773 h 4833373"/>
              <a:gd name="connsiteX8" fmla="*/ 3981950 w 4704671"/>
              <a:gd name="connsiteY8" fmla="*/ 2893782 h 4833373"/>
              <a:gd name="connsiteX9" fmla="*/ 4235115 w 4704671"/>
              <a:gd name="connsiteY9" fmla="*/ 2330805 h 4833373"/>
              <a:gd name="connsiteX10" fmla="*/ 4379494 w 4704671"/>
              <a:gd name="connsiteY10" fmla="*/ 1488594 h 4833373"/>
              <a:gd name="connsiteX11" fmla="*/ 4543925 w 4704671"/>
              <a:gd name="connsiteY11" fmla="*/ 840894 h 4833373"/>
              <a:gd name="connsiteX12" fmla="*/ 4698158 w 4704671"/>
              <a:gd name="connsiteY12" fmla="*/ 459264 h 4833373"/>
              <a:gd name="connsiteX13" fmla="*/ 4162927 w 4704671"/>
              <a:gd name="connsiteY13" fmla="*/ 0 h 4833373"/>
              <a:gd name="connsiteX14" fmla="*/ 3903149 w 4704671"/>
              <a:gd name="connsiteY14" fmla="*/ 213249 h 4833373"/>
              <a:gd name="connsiteX15" fmla="*/ 3645568 w 4704671"/>
              <a:gd name="connsiteY15" fmla="*/ 850920 h 4833373"/>
              <a:gd name="connsiteX16" fmla="*/ 3719260 w 4704671"/>
              <a:gd name="connsiteY16" fmla="*/ 1329678 h 4833373"/>
              <a:gd name="connsiteX17" fmla="*/ 3719260 w 4704671"/>
              <a:gd name="connsiteY17" fmla="*/ 1682103 h 4833373"/>
              <a:gd name="connsiteX18" fmla="*/ 3063540 w 4704671"/>
              <a:gd name="connsiteY18" fmla="*/ 2860194 h 4833373"/>
              <a:gd name="connsiteX19" fmla="*/ 2642935 w 4704671"/>
              <a:gd name="connsiteY19" fmla="*/ 3110853 h 4833373"/>
              <a:gd name="connsiteX20" fmla="*/ 2264443 w 4704671"/>
              <a:gd name="connsiteY20" fmla="*/ 3281801 h 4833373"/>
              <a:gd name="connsiteX21" fmla="*/ 1318960 w 4704671"/>
              <a:gd name="connsiteY21" fmla="*/ 3463278 h 4833373"/>
              <a:gd name="connsiteX22" fmla="*/ 637673 w 4704671"/>
              <a:gd name="connsiteY22" fmla="*/ 3690373 h 4833373"/>
              <a:gd name="connsiteX23" fmla="*/ 348914 w 4704671"/>
              <a:gd name="connsiteY23" fmla="*/ 3894911 h 4833373"/>
              <a:gd name="connsiteX24" fmla="*/ 96251 w 4704671"/>
              <a:gd name="connsiteY24" fmla="*/ 4195700 h 4833373"/>
              <a:gd name="connsiteX25" fmla="*/ 0 w 4704671"/>
              <a:gd name="connsiteY25" fmla="*/ 4460394 h 4833373"/>
              <a:gd name="connsiteX0" fmla="*/ 0 w 4710100"/>
              <a:gd name="connsiteY0" fmla="*/ 4460394 h 4833373"/>
              <a:gd name="connsiteX1" fmla="*/ 577515 w 4710100"/>
              <a:gd name="connsiteY1" fmla="*/ 4833373 h 4833373"/>
              <a:gd name="connsiteX2" fmla="*/ 1022683 w 4710100"/>
              <a:gd name="connsiteY2" fmla="*/ 4388205 h 4833373"/>
              <a:gd name="connsiteX3" fmla="*/ 1600199 w 4710100"/>
              <a:gd name="connsiteY3" fmla="*/ 4123510 h 4833373"/>
              <a:gd name="connsiteX4" fmla="*/ 2370220 w 4710100"/>
              <a:gd name="connsiteY4" fmla="*/ 4051320 h 4833373"/>
              <a:gd name="connsiteX5" fmla="*/ 3007894 w 4710100"/>
              <a:gd name="connsiteY5" fmla="*/ 3894910 h 4833373"/>
              <a:gd name="connsiteX6" fmla="*/ 3441031 w 4710100"/>
              <a:gd name="connsiteY6" fmla="*/ 3702405 h 4833373"/>
              <a:gd name="connsiteX7" fmla="*/ 3729789 w 4710100"/>
              <a:gd name="connsiteY7" fmla="*/ 3461773 h 4833373"/>
              <a:gd name="connsiteX8" fmla="*/ 3981950 w 4710100"/>
              <a:gd name="connsiteY8" fmla="*/ 2893782 h 4833373"/>
              <a:gd name="connsiteX9" fmla="*/ 4235115 w 4710100"/>
              <a:gd name="connsiteY9" fmla="*/ 2330805 h 4833373"/>
              <a:gd name="connsiteX10" fmla="*/ 4379494 w 4710100"/>
              <a:gd name="connsiteY10" fmla="*/ 1488594 h 4833373"/>
              <a:gd name="connsiteX11" fmla="*/ 4543925 w 4710100"/>
              <a:gd name="connsiteY11" fmla="*/ 840894 h 4833373"/>
              <a:gd name="connsiteX12" fmla="*/ 4698158 w 4710100"/>
              <a:gd name="connsiteY12" fmla="*/ 459264 h 4833373"/>
              <a:gd name="connsiteX13" fmla="*/ 4162927 w 4710100"/>
              <a:gd name="connsiteY13" fmla="*/ 0 h 4833373"/>
              <a:gd name="connsiteX14" fmla="*/ 3903149 w 4710100"/>
              <a:gd name="connsiteY14" fmla="*/ 213249 h 4833373"/>
              <a:gd name="connsiteX15" fmla="*/ 3645568 w 4710100"/>
              <a:gd name="connsiteY15" fmla="*/ 850920 h 4833373"/>
              <a:gd name="connsiteX16" fmla="*/ 3719260 w 4710100"/>
              <a:gd name="connsiteY16" fmla="*/ 1329678 h 4833373"/>
              <a:gd name="connsiteX17" fmla="*/ 3719260 w 4710100"/>
              <a:gd name="connsiteY17" fmla="*/ 1682103 h 4833373"/>
              <a:gd name="connsiteX18" fmla="*/ 3063540 w 4710100"/>
              <a:gd name="connsiteY18" fmla="*/ 2860194 h 4833373"/>
              <a:gd name="connsiteX19" fmla="*/ 2642935 w 4710100"/>
              <a:gd name="connsiteY19" fmla="*/ 3110853 h 4833373"/>
              <a:gd name="connsiteX20" fmla="*/ 2264443 w 4710100"/>
              <a:gd name="connsiteY20" fmla="*/ 3281801 h 4833373"/>
              <a:gd name="connsiteX21" fmla="*/ 1318960 w 4710100"/>
              <a:gd name="connsiteY21" fmla="*/ 3463278 h 4833373"/>
              <a:gd name="connsiteX22" fmla="*/ 637673 w 4710100"/>
              <a:gd name="connsiteY22" fmla="*/ 3690373 h 4833373"/>
              <a:gd name="connsiteX23" fmla="*/ 348914 w 4710100"/>
              <a:gd name="connsiteY23" fmla="*/ 3894911 h 4833373"/>
              <a:gd name="connsiteX24" fmla="*/ 96251 w 4710100"/>
              <a:gd name="connsiteY24" fmla="*/ 4195700 h 4833373"/>
              <a:gd name="connsiteX25" fmla="*/ 0 w 4710100"/>
              <a:gd name="connsiteY25" fmla="*/ 4460394 h 4833373"/>
              <a:gd name="connsiteX0" fmla="*/ 0 w 4707002"/>
              <a:gd name="connsiteY0" fmla="*/ 4460394 h 4833373"/>
              <a:gd name="connsiteX1" fmla="*/ 577515 w 4707002"/>
              <a:gd name="connsiteY1" fmla="*/ 4833373 h 4833373"/>
              <a:gd name="connsiteX2" fmla="*/ 1022683 w 4707002"/>
              <a:gd name="connsiteY2" fmla="*/ 4388205 h 4833373"/>
              <a:gd name="connsiteX3" fmla="*/ 1600199 w 4707002"/>
              <a:gd name="connsiteY3" fmla="*/ 4123510 h 4833373"/>
              <a:gd name="connsiteX4" fmla="*/ 2370220 w 4707002"/>
              <a:gd name="connsiteY4" fmla="*/ 4051320 h 4833373"/>
              <a:gd name="connsiteX5" fmla="*/ 3007894 w 4707002"/>
              <a:gd name="connsiteY5" fmla="*/ 3894910 h 4833373"/>
              <a:gd name="connsiteX6" fmla="*/ 3441031 w 4707002"/>
              <a:gd name="connsiteY6" fmla="*/ 3702405 h 4833373"/>
              <a:gd name="connsiteX7" fmla="*/ 3729789 w 4707002"/>
              <a:gd name="connsiteY7" fmla="*/ 3461773 h 4833373"/>
              <a:gd name="connsiteX8" fmla="*/ 3981950 w 4707002"/>
              <a:gd name="connsiteY8" fmla="*/ 2893782 h 4833373"/>
              <a:gd name="connsiteX9" fmla="*/ 4235115 w 4707002"/>
              <a:gd name="connsiteY9" fmla="*/ 2330805 h 4833373"/>
              <a:gd name="connsiteX10" fmla="*/ 4379494 w 4707002"/>
              <a:gd name="connsiteY10" fmla="*/ 1488594 h 4833373"/>
              <a:gd name="connsiteX11" fmla="*/ 4543925 w 4707002"/>
              <a:gd name="connsiteY11" fmla="*/ 840894 h 4833373"/>
              <a:gd name="connsiteX12" fmla="*/ 4698158 w 4707002"/>
              <a:gd name="connsiteY12" fmla="*/ 459264 h 4833373"/>
              <a:gd name="connsiteX13" fmla="*/ 4162927 w 4707002"/>
              <a:gd name="connsiteY13" fmla="*/ 0 h 4833373"/>
              <a:gd name="connsiteX14" fmla="*/ 3903149 w 4707002"/>
              <a:gd name="connsiteY14" fmla="*/ 213249 h 4833373"/>
              <a:gd name="connsiteX15" fmla="*/ 3645568 w 4707002"/>
              <a:gd name="connsiteY15" fmla="*/ 850920 h 4833373"/>
              <a:gd name="connsiteX16" fmla="*/ 3719260 w 4707002"/>
              <a:gd name="connsiteY16" fmla="*/ 1329678 h 4833373"/>
              <a:gd name="connsiteX17" fmla="*/ 3719260 w 4707002"/>
              <a:gd name="connsiteY17" fmla="*/ 1682103 h 4833373"/>
              <a:gd name="connsiteX18" fmla="*/ 3063540 w 4707002"/>
              <a:gd name="connsiteY18" fmla="*/ 2860194 h 4833373"/>
              <a:gd name="connsiteX19" fmla="*/ 2642935 w 4707002"/>
              <a:gd name="connsiteY19" fmla="*/ 3110853 h 4833373"/>
              <a:gd name="connsiteX20" fmla="*/ 2264443 w 4707002"/>
              <a:gd name="connsiteY20" fmla="*/ 3281801 h 4833373"/>
              <a:gd name="connsiteX21" fmla="*/ 1318960 w 4707002"/>
              <a:gd name="connsiteY21" fmla="*/ 3463278 h 4833373"/>
              <a:gd name="connsiteX22" fmla="*/ 637673 w 4707002"/>
              <a:gd name="connsiteY22" fmla="*/ 3690373 h 4833373"/>
              <a:gd name="connsiteX23" fmla="*/ 348914 w 4707002"/>
              <a:gd name="connsiteY23" fmla="*/ 3894911 h 4833373"/>
              <a:gd name="connsiteX24" fmla="*/ 96251 w 4707002"/>
              <a:gd name="connsiteY24" fmla="*/ 4195700 h 4833373"/>
              <a:gd name="connsiteX25" fmla="*/ 0 w 4707002"/>
              <a:gd name="connsiteY25" fmla="*/ 4460394 h 4833373"/>
              <a:gd name="connsiteX0" fmla="*/ 0 w 4709201"/>
              <a:gd name="connsiteY0" fmla="*/ 4460394 h 4833373"/>
              <a:gd name="connsiteX1" fmla="*/ 577515 w 4709201"/>
              <a:gd name="connsiteY1" fmla="*/ 4833373 h 4833373"/>
              <a:gd name="connsiteX2" fmla="*/ 1022683 w 4709201"/>
              <a:gd name="connsiteY2" fmla="*/ 4388205 h 4833373"/>
              <a:gd name="connsiteX3" fmla="*/ 1600199 w 4709201"/>
              <a:gd name="connsiteY3" fmla="*/ 4123510 h 4833373"/>
              <a:gd name="connsiteX4" fmla="*/ 2370220 w 4709201"/>
              <a:gd name="connsiteY4" fmla="*/ 4051320 h 4833373"/>
              <a:gd name="connsiteX5" fmla="*/ 3007894 w 4709201"/>
              <a:gd name="connsiteY5" fmla="*/ 3894910 h 4833373"/>
              <a:gd name="connsiteX6" fmla="*/ 3441031 w 4709201"/>
              <a:gd name="connsiteY6" fmla="*/ 3702405 h 4833373"/>
              <a:gd name="connsiteX7" fmla="*/ 3729789 w 4709201"/>
              <a:gd name="connsiteY7" fmla="*/ 3461773 h 4833373"/>
              <a:gd name="connsiteX8" fmla="*/ 3981950 w 4709201"/>
              <a:gd name="connsiteY8" fmla="*/ 2893782 h 4833373"/>
              <a:gd name="connsiteX9" fmla="*/ 4235115 w 4709201"/>
              <a:gd name="connsiteY9" fmla="*/ 2330805 h 4833373"/>
              <a:gd name="connsiteX10" fmla="*/ 4379494 w 4709201"/>
              <a:gd name="connsiteY10" fmla="*/ 1488594 h 4833373"/>
              <a:gd name="connsiteX11" fmla="*/ 4543925 w 4709201"/>
              <a:gd name="connsiteY11" fmla="*/ 840894 h 4833373"/>
              <a:gd name="connsiteX12" fmla="*/ 4698158 w 4709201"/>
              <a:gd name="connsiteY12" fmla="*/ 459264 h 4833373"/>
              <a:gd name="connsiteX13" fmla="*/ 4162927 w 4709201"/>
              <a:gd name="connsiteY13" fmla="*/ 0 h 4833373"/>
              <a:gd name="connsiteX14" fmla="*/ 3903149 w 4709201"/>
              <a:gd name="connsiteY14" fmla="*/ 213249 h 4833373"/>
              <a:gd name="connsiteX15" fmla="*/ 3645568 w 4709201"/>
              <a:gd name="connsiteY15" fmla="*/ 850920 h 4833373"/>
              <a:gd name="connsiteX16" fmla="*/ 3719260 w 4709201"/>
              <a:gd name="connsiteY16" fmla="*/ 1329678 h 4833373"/>
              <a:gd name="connsiteX17" fmla="*/ 3719260 w 4709201"/>
              <a:gd name="connsiteY17" fmla="*/ 1682103 h 4833373"/>
              <a:gd name="connsiteX18" fmla="*/ 3063540 w 4709201"/>
              <a:gd name="connsiteY18" fmla="*/ 2860194 h 4833373"/>
              <a:gd name="connsiteX19" fmla="*/ 2642935 w 4709201"/>
              <a:gd name="connsiteY19" fmla="*/ 3110853 h 4833373"/>
              <a:gd name="connsiteX20" fmla="*/ 2264443 w 4709201"/>
              <a:gd name="connsiteY20" fmla="*/ 3281801 h 4833373"/>
              <a:gd name="connsiteX21" fmla="*/ 1318960 w 4709201"/>
              <a:gd name="connsiteY21" fmla="*/ 3463278 h 4833373"/>
              <a:gd name="connsiteX22" fmla="*/ 637673 w 4709201"/>
              <a:gd name="connsiteY22" fmla="*/ 3690373 h 4833373"/>
              <a:gd name="connsiteX23" fmla="*/ 348914 w 4709201"/>
              <a:gd name="connsiteY23" fmla="*/ 3894911 h 4833373"/>
              <a:gd name="connsiteX24" fmla="*/ 96251 w 4709201"/>
              <a:gd name="connsiteY24" fmla="*/ 4195700 h 4833373"/>
              <a:gd name="connsiteX25" fmla="*/ 0 w 4709201"/>
              <a:gd name="connsiteY25" fmla="*/ 4460394 h 4833373"/>
              <a:gd name="connsiteX0" fmla="*/ 0 w 4706451"/>
              <a:gd name="connsiteY0" fmla="*/ 4460394 h 4833373"/>
              <a:gd name="connsiteX1" fmla="*/ 577515 w 4706451"/>
              <a:gd name="connsiteY1" fmla="*/ 4833373 h 4833373"/>
              <a:gd name="connsiteX2" fmla="*/ 1022683 w 4706451"/>
              <a:gd name="connsiteY2" fmla="*/ 4388205 h 4833373"/>
              <a:gd name="connsiteX3" fmla="*/ 1600199 w 4706451"/>
              <a:gd name="connsiteY3" fmla="*/ 4123510 h 4833373"/>
              <a:gd name="connsiteX4" fmla="*/ 2370220 w 4706451"/>
              <a:gd name="connsiteY4" fmla="*/ 4051320 h 4833373"/>
              <a:gd name="connsiteX5" fmla="*/ 3007894 w 4706451"/>
              <a:gd name="connsiteY5" fmla="*/ 3894910 h 4833373"/>
              <a:gd name="connsiteX6" fmla="*/ 3441031 w 4706451"/>
              <a:gd name="connsiteY6" fmla="*/ 3702405 h 4833373"/>
              <a:gd name="connsiteX7" fmla="*/ 3729789 w 4706451"/>
              <a:gd name="connsiteY7" fmla="*/ 3461773 h 4833373"/>
              <a:gd name="connsiteX8" fmla="*/ 3981950 w 4706451"/>
              <a:gd name="connsiteY8" fmla="*/ 2893782 h 4833373"/>
              <a:gd name="connsiteX9" fmla="*/ 4235115 w 4706451"/>
              <a:gd name="connsiteY9" fmla="*/ 2330805 h 4833373"/>
              <a:gd name="connsiteX10" fmla="*/ 4379494 w 4706451"/>
              <a:gd name="connsiteY10" fmla="*/ 1488594 h 4833373"/>
              <a:gd name="connsiteX11" fmla="*/ 4543925 w 4706451"/>
              <a:gd name="connsiteY11" fmla="*/ 840894 h 4833373"/>
              <a:gd name="connsiteX12" fmla="*/ 4698158 w 4706451"/>
              <a:gd name="connsiteY12" fmla="*/ 459264 h 4833373"/>
              <a:gd name="connsiteX13" fmla="*/ 4162927 w 4706451"/>
              <a:gd name="connsiteY13" fmla="*/ 0 h 4833373"/>
              <a:gd name="connsiteX14" fmla="*/ 3903149 w 4706451"/>
              <a:gd name="connsiteY14" fmla="*/ 213249 h 4833373"/>
              <a:gd name="connsiteX15" fmla="*/ 3645568 w 4706451"/>
              <a:gd name="connsiteY15" fmla="*/ 850920 h 4833373"/>
              <a:gd name="connsiteX16" fmla="*/ 3719260 w 4706451"/>
              <a:gd name="connsiteY16" fmla="*/ 1329678 h 4833373"/>
              <a:gd name="connsiteX17" fmla="*/ 3719260 w 4706451"/>
              <a:gd name="connsiteY17" fmla="*/ 1682103 h 4833373"/>
              <a:gd name="connsiteX18" fmla="*/ 3063540 w 4706451"/>
              <a:gd name="connsiteY18" fmla="*/ 2860194 h 4833373"/>
              <a:gd name="connsiteX19" fmla="*/ 2642935 w 4706451"/>
              <a:gd name="connsiteY19" fmla="*/ 3110853 h 4833373"/>
              <a:gd name="connsiteX20" fmla="*/ 2264443 w 4706451"/>
              <a:gd name="connsiteY20" fmla="*/ 3281801 h 4833373"/>
              <a:gd name="connsiteX21" fmla="*/ 1318960 w 4706451"/>
              <a:gd name="connsiteY21" fmla="*/ 3463278 h 4833373"/>
              <a:gd name="connsiteX22" fmla="*/ 637673 w 4706451"/>
              <a:gd name="connsiteY22" fmla="*/ 3690373 h 4833373"/>
              <a:gd name="connsiteX23" fmla="*/ 348914 w 4706451"/>
              <a:gd name="connsiteY23" fmla="*/ 3894911 h 4833373"/>
              <a:gd name="connsiteX24" fmla="*/ 96251 w 4706451"/>
              <a:gd name="connsiteY24" fmla="*/ 4195700 h 4833373"/>
              <a:gd name="connsiteX25" fmla="*/ 0 w 4706451"/>
              <a:gd name="connsiteY25" fmla="*/ 4460394 h 4833373"/>
              <a:gd name="connsiteX0" fmla="*/ 0 w 4745723"/>
              <a:gd name="connsiteY0" fmla="*/ 4460394 h 4833373"/>
              <a:gd name="connsiteX1" fmla="*/ 577515 w 4745723"/>
              <a:gd name="connsiteY1" fmla="*/ 4833373 h 4833373"/>
              <a:gd name="connsiteX2" fmla="*/ 1022683 w 4745723"/>
              <a:gd name="connsiteY2" fmla="*/ 4388205 h 4833373"/>
              <a:gd name="connsiteX3" fmla="*/ 1600199 w 4745723"/>
              <a:gd name="connsiteY3" fmla="*/ 4123510 h 4833373"/>
              <a:gd name="connsiteX4" fmla="*/ 2370220 w 4745723"/>
              <a:gd name="connsiteY4" fmla="*/ 4051320 h 4833373"/>
              <a:gd name="connsiteX5" fmla="*/ 3007894 w 4745723"/>
              <a:gd name="connsiteY5" fmla="*/ 3894910 h 4833373"/>
              <a:gd name="connsiteX6" fmla="*/ 3441031 w 4745723"/>
              <a:gd name="connsiteY6" fmla="*/ 3702405 h 4833373"/>
              <a:gd name="connsiteX7" fmla="*/ 3729789 w 4745723"/>
              <a:gd name="connsiteY7" fmla="*/ 3461773 h 4833373"/>
              <a:gd name="connsiteX8" fmla="*/ 3981950 w 4745723"/>
              <a:gd name="connsiteY8" fmla="*/ 2893782 h 4833373"/>
              <a:gd name="connsiteX9" fmla="*/ 4235115 w 4745723"/>
              <a:gd name="connsiteY9" fmla="*/ 2330805 h 4833373"/>
              <a:gd name="connsiteX10" fmla="*/ 4379494 w 4745723"/>
              <a:gd name="connsiteY10" fmla="*/ 1488594 h 4833373"/>
              <a:gd name="connsiteX11" fmla="*/ 4543925 w 4745723"/>
              <a:gd name="connsiteY11" fmla="*/ 840894 h 4833373"/>
              <a:gd name="connsiteX12" fmla="*/ 4698158 w 4745723"/>
              <a:gd name="connsiteY12" fmla="*/ 459264 h 4833373"/>
              <a:gd name="connsiteX13" fmla="*/ 4700334 w 4745723"/>
              <a:gd name="connsiteY13" fmla="*/ 481953 h 4833373"/>
              <a:gd name="connsiteX14" fmla="*/ 4162927 w 4745723"/>
              <a:gd name="connsiteY14" fmla="*/ 0 h 4833373"/>
              <a:gd name="connsiteX15" fmla="*/ 3903149 w 4745723"/>
              <a:gd name="connsiteY15" fmla="*/ 213249 h 4833373"/>
              <a:gd name="connsiteX16" fmla="*/ 3645568 w 4745723"/>
              <a:gd name="connsiteY16" fmla="*/ 850920 h 4833373"/>
              <a:gd name="connsiteX17" fmla="*/ 3719260 w 4745723"/>
              <a:gd name="connsiteY17" fmla="*/ 1329678 h 4833373"/>
              <a:gd name="connsiteX18" fmla="*/ 3719260 w 4745723"/>
              <a:gd name="connsiteY18" fmla="*/ 1682103 h 4833373"/>
              <a:gd name="connsiteX19" fmla="*/ 3063540 w 4745723"/>
              <a:gd name="connsiteY19" fmla="*/ 2860194 h 4833373"/>
              <a:gd name="connsiteX20" fmla="*/ 2642935 w 4745723"/>
              <a:gd name="connsiteY20" fmla="*/ 3110853 h 4833373"/>
              <a:gd name="connsiteX21" fmla="*/ 2264443 w 4745723"/>
              <a:gd name="connsiteY21" fmla="*/ 3281801 h 4833373"/>
              <a:gd name="connsiteX22" fmla="*/ 1318960 w 4745723"/>
              <a:gd name="connsiteY22" fmla="*/ 3463278 h 4833373"/>
              <a:gd name="connsiteX23" fmla="*/ 637673 w 4745723"/>
              <a:gd name="connsiteY23" fmla="*/ 3690373 h 4833373"/>
              <a:gd name="connsiteX24" fmla="*/ 348914 w 4745723"/>
              <a:gd name="connsiteY24" fmla="*/ 3894911 h 4833373"/>
              <a:gd name="connsiteX25" fmla="*/ 96251 w 4745723"/>
              <a:gd name="connsiteY25" fmla="*/ 4195700 h 4833373"/>
              <a:gd name="connsiteX26" fmla="*/ 0 w 4745723"/>
              <a:gd name="connsiteY26" fmla="*/ 4460394 h 4833373"/>
              <a:gd name="connsiteX0" fmla="*/ 0 w 4745723"/>
              <a:gd name="connsiteY0" fmla="*/ 4460394 h 4833373"/>
              <a:gd name="connsiteX1" fmla="*/ 577515 w 4745723"/>
              <a:gd name="connsiteY1" fmla="*/ 4833373 h 4833373"/>
              <a:gd name="connsiteX2" fmla="*/ 1022683 w 4745723"/>
              <a:gd name="connsiteY2" fmla="*/ 4388205 h 4833373"/>
              <a:gd name="connsiteX3" fmla="*/ 1600199 w 4745723"/>
              <a:gd name="connsiteY3" fmla="*/ 4123510 h 4833373"/>
              <a:gd name="connsiteX4" fmla="*/ 2370220 w 4745723"/>
              <a:gd name="connsiteY4" fmla="*/ 4051320 h 4833373"/>
              <a:gd name="connsiteX5" fmla="*/ 3007894 w 4745723"/>
              <a:gd name="connsiteY5" fmla="*/ 3894910 h 4833373"/>
              <a:gd name="connsiteX6" fmla="*/ 3441031 w 4745723"/>
              <a:gd name="connsiteY6" fmla="*/ 3702405 h 4833373"/>
              <a:gd name="connsiteX7" fmla="*/ 3729789 w 4745723"/>
              <a:gd name="connsiteY7" fmla="*/ 3461773 h 4833373"/>
              <a:gd name="connsiteX8" fmla="*/ 3981950 w 4745723"/>
              <a:gd name="connsiteY8" fmla="*/ 2893782 h 4833373"/>
              <a:gd name="connsiteX9" fmla="*/ 4235115 w 4745723"/>
              <a:gd name="connsiteY9" fmla="*/ 2330805 h 4833373"/>
              <a:gd name="connsiteX10" fmla="*/ 4379494 w 4745723"/>
              <a:gd name="connsiteY10" fmla="*/ 1488594 h 4833373"/>
              <a:gd name="connsiteX11" fmla="*/ 4543925 w 4745723"/>
              <a:gd name="connsiteY11" fmla="*/ 840894 h 4833373"/>
              <a:gd name="connsiteX12" fmla="*/ 4698158 w 4745723"/>
              <a:gd name="connsiteY12" fmla="*/ 459264 h 4833373"/>
              <a:gd name="connsiteX13" fmla="*/ 4700334 w 4745723"/>
              <a:gd name="connsiteY13" fmla="*/ 481953 h 4833373"/>
              <a:gd name="connsiteX14" fmla="*/ 4690809 w 4745723"/>
              <a:gd name="connsiteY14" fmla="*/ 481953 h 4833373"/>
              <a:gd name="connsiteX15" fmla="*/ 4162927 w 4745723"/>
              <a:gd name="connsiteY15" fmla="*/ 0 h 4833373"/>
              <a:gd name="connsiteX16" fmla="*/ 3903149 w 4745723"/>
              <a:gd name="connsiteY16" fmla="*/ 213249 h 4833373"/>
              <a:gd name="connsiteX17" fmla="*/ 3645568 w 4745723"/>
              <a:gd name="connsiteY17" fmla="*/ 850920 h 4833373"/>
              <a:gd name="connsiteX18" fmla="*/ 3719260 w 4745723"/>
              <a:gd name="connsiteY18" fmla="*/ 1329678 h 4833373"/>
              <a:gd name="connsiteX19" fmla="*/ 3719260 w 4745723"/>
              <a:gd name="connsiteY19" fmla="*/ 1682103 h 4833373"/>
              <a:gd name="connsiteX20" fmla="*/ 3063540 w 4745723"/>
              <a:gd name="connsiteY20" fmla="*/ 2860194 h 4833373"/>
              <a:gd name="connsiteX21" fmla="*/ 2642935 w 4745723"/>
              <a:gd name="connsiteY21" fmla="*/ 3110853 h 4833373"/>
              <a:gd name="connsiteX22" fmla="*/ 2264443 w 4745723"/>
              <a:gd name="connsiteY22" fmla="*/ 3281801 h 4833373"/>
              <a:gd name="connsiteX23" fmla="*/ 1318960 w 4745723"/>
              <a:gd name="connsiteY23" fmla="*/ 3463278 h 4833373"/>
              <a:gd name="connsiteX24" fmla="*/ 637673 w 4745723"/>
              <a:gd name="connsiteY24" fmla="*/ 3690373 h 4833373"/>
              <a:gd name="connsiteX25" fmla="*/ 348914 w 4745723"/>
              <a:gd name="connsiteY25" fmla="*/ 3894911 h 4833373"/>
              <a:gd name="connsiteX26" fmla="*/ 96251 w 4745723"/>
              <a:gd name="connsiteY26" fmla="*/ 4195700 h 4833373"/>
              <a:gd name="connsiteX27" fmla="*/ 0 w 4745723"/>
              <a:gd name="connsiteY27" fmla="*/ 4460394 h 4833373"/>
              <a:gd name="connsiteX0" fmla="*/ 0 w 4745723"/>
              <a:gd name="connsiteY0" fmla="*/ 4460394 h 4833373"/>
              <a:gd name="connsiteX1" fmla="*/ 577515 w 4745723"/>
              <a:gd name="connsiteY1" fmla="*/ 4833373 h 4833373"/>
              <a:gd name="connsiteX2" fmla="*/ 1022683 w 4745723"/>
              <a:gd name="connsiteY2" fmla="*/ 4388205 h 4833373"/>
              <a:gd name="connsiteX3" fmla="*/ 1600199 w 4745723"/>
              <a:gd name="connsiteY3" fmla="*/ 4123510 h 4833373"/>
              <a:gd name="connsiteX4" fmla="*/ 2370220 w 4745723"/>
              <a:gd name="connsiteY4" fmla="*/ 4051320 h 4833373"/>
              <a:gd name="connsiteX5" fmla="*/ 3007894 w 4745723"/>
              <a:gd name="connsiteY5" fmla="*/ 3894910 h 4833373"/>
              <a:gd name="connsiteX6" fmla="*/ 3441031 w 4745723"/>
              <a:gd name="connsiteY6" fmla="*/ 3702405 h 4833373"/>
              <a:gd name="connsiteX7" fmla="*/ 3729789 w 4745723"/>
              <a:gd name="connsiteY7" fmla="*/ 3461773 h 4833373"/>
              <a:gd name="connsiteX8" fmla="*/ 3981950 w 4745723"/>
              <a:gd name="connsiteY8" fmla="*/ 2893782 h 4833373"/>
              <a:gd name="connsiteX9" fmla="*/ 4235115 w 4745723"/>
              <a:gd name="connsiteY9" fmla="*/ 2330805 h 4833373"/>
              <a:gd name="connsiteX10" fmla="*/ 4379494 w 4745723"/>
              <a:gd name="connsiteY10" fmla="*/ 1488594 h 4833373"/>
              <a:gd name="connsiteX11" fmla="*/ 4543925 w 4745723"/>
              <a:gd name="connsiteY11" fmla="*/ 840894 h 4833373"/>
              <a:gd name="connsiteX12" fmla="*/ 4698158 w 4745723"/>
              <a:gd name="connsiteY12" fmla="*/ 459264 h 4833373"/>
              <a:gd name="connsiteX13" fmla="*/ 4700334 w 4745723"/>
              <a:gd name="connsiteY13" fmla="*/ 481953 h 4833373"/>
              <a:gd name="connsiteX14" fmla="*/ 4690809 w 4745723"/>
              <a:gd name="connsiteY14" fmla="*/ 481953 h 4833373"/>
              <a:gd name="connsiteX15" fmla="*/ 4700334 w 4745723"/>
              <a:gd name="connsiteY15" fmla="*/ 491478 h 4833373"/>
              <a:gd name="connsiteX16" fmla="*/ 4162927 w 4745723"/>
              <a:gd name="connsiteY16" fmla="*/ 0 h 4833373"/>
              <a:gd name="connsiteX17" fmla="*/ 3903149 w 4745723"/>
              <a:gd name="connsiteY17" fmla="*/ 213249 h 4833373"/>
              <a:gd name="connsiteX18" fmla="*/ 3645568 w 4745723"/>
              <a:gd name="connsiteY18" fmla="*/ 850920 h 4833373"/>
              <a:gd name="connsiteX19" fmla="*/ 3719260 w 4745723"/>
              <a:gd name="connsiteY19" fmla="*/ 1329678 h 4833373"/>
              <a:gd name="connsiteX20" fmla="*/ 3719260 w 4745723"/>
              <a:gd name="connsiteY20" fmla="*/ 1682103 h 4833373"/>
              <a:gd name="connsiteX21" fmla="*/ 3063540 w 4745723"/>
              <a:gd name="connsiteY21" fmla="*/ 2860194 h 4833373"/>
              <a:gd name="connsiteX22" fmla="*/ 2642935 w 4745723"/>
              <a:gd name="connsiteY22" fmla="*/ 3110853 h 4833373"/>
              <a:gd name="connsiteX23" fmla="*/ 2264443 w 4745723"/>
              <a:gd name="connsiteY23" fmla="*/ 3281801 h 4833373"/>
              <a:gd name="connsiteX24" fmla="*/ 1318960 w 4745723"/>
              <a:gd name="connsiteY24" fmla="*/ 3463278 h 4833373"/>
              <a:gd name="connsiteX25" fmla="*/ 637673 w 4745723"/>
              <a:gd name="connsiteY25" fmla="*/ 3690373 h 4833373"/>
              <a:gd name="connsiteX26" fmla="*/ 348914 w 4745723"/>
              <a:gd name="connsiteY26" fmla="*/ 3894911 h 4833373"/>
              <a:gd name="connsiteX27" fmla="*/ 96251 w 4745723"/>
              <a:gd name="connsiteY27" fmla="*/ 4195700 h 4833373"/>
              <a:gd name="connsiteX28" fmla="*/ 0 w 4745723"/>
              <a:gd name="connsiteY28" fmla="*/ 4460394 h 4833373"/>
              <a:gd name="connsiteX0" fmla="*/ 0 w 4745723"/>
              <a:gd name="connsiteY0" fmla="*/ 4460394 h 4833373"/>
              <a:gd name="connsiteX1" fmla="*/ 577515 w 4745723"/>
              <a:gd name="connsiteY1" fmla="*/ 4833373 h 4833373"/>
              <a:gd name="connsiteX2" fmla="*/ 1022683 w 4745723"/>
              <a:gd name="connsiteY2" fmla="*/ 4388205 h 4833373"/>
              <a:gd name="connsiteX3" fmla="*/ 1600199 w 4745723"/>
              <a:gd name="connsiteY3" fmla="*/ 4123510 h 4833373"/>
              <a:gd name="connsiteX4" fmla="*/ 2370220 w 4745723"/>
              <a:gd name="connsiteY4" fmla="*/ 4051320 h 4833373"/>
              <a:gd name="connsiteX5" fmla="*/ 3007894 w 4745723"/>
              <a:gd name="connsiteY5" fmla="*/ 3894910 h 4833373"/>
              <a:gd name="connsiteX6" fmla="*/ 3441031 w 4745723"/>
              <a:gd name="connsiteY6" fmla="*/ 3702405 h 4833373"/>
              <a:gd name="connsiteX7" fmla="*/ 3729789 w 4745723"/>
              <a:gd name="connsiteY7" fmla="*/ 3461773 h 4833373"/>
              <a:gd name="connsiteX8" fmla="*/ 3981950 w 4745723"/>
              <a:gd name="connsiteY8" fmla="*/ 2893782 h 4833373"/>
              <a:gd name="connsiteX9" fmla="*/ 4235115 w 4745723"/>
              <a:gd name="connsiteY9" fmla="*/ 2330805 h 4833373"/>
              <a:gd name="connsiteX10" fmla="*/ 4379494 w 4745723"/>
              <a:gd name="connsiteY10" fmla="*/ 1488594 h 4833373"/>
              <a:gd name="connsiteX11" fmla="*/ 4543925 w 4745723"/>
              <a:gd name="connsiteY11" fmla="*/ 840894 h 4833373"/>
              <a:gd name="connsiteX12" fmla="*/ 4698158 w 4745723"/>
              <a:gd name="connsiteY12" fmla="*/ 459264 h 4833373"/>
              <a:gd name="connsiteX13" fmla="*/ 4700334 w 4745723"/>
              <a:gd name="connsiteY13" fmla="*/ 481953 h 4833373"/>
              <a:gd name="connsiteX14" fmla="*/ 4690809 w 4745723"/>
              <a:gd name="connsiteY14" fmla="*/ 481953 h 4833373"/>
              <a:gd name="connsiteX15" fmla="*/ 4162927 w 4745723"/>
              <a:gd name="connsiteY15" fmla="*/ 0 h 4833373"/>
              <a:gd name="connsiteX16" fmla="*/ 3903149 w 4745723"/>
              <a:gd name="connsiteY16" fmla="*/ 213249 h 4833373"/>
              <a:gd name="connsiteX17" fmla="*/ 3645568 w 4745723"/>
              <a:gd name="connsiteY17" fmla="*/ 850920 h 4833373"/>
              <a:gd name="connsiteX18" fmla="*/ 3719260 w 4745723"/>
              <a:gd name="connsiteY18" fmla="*/ 1329678 h 4833373"/>
              <a:gd name="connsiteX19" fmla="*/ 3719260 w 4745723"/>
              <a:gd name="connsiteY19" fmla="*/ 1682103 h 4833373"/>
              <a:gd name="connsiteX20" fmla="*/ 3063540 w 4745723"/>
              <a:gd name="connsiteY20" fmla="*/ 2860194 h 4833373"/>
              <a:gd name="connsiteX21" fmla="*/ 2642935 w 4745723"/>
              <a:gd name="connsiteY21" fmla="*/ 3110853 h 4833373"/>
              <a:gd name="connsiteX22" fmla="*/ 2264443 w 4745723"/>
              <a:gd name="connsiteY22" fmla="*/ 3281801 h 4833373"/>
              <a:gd name="connsiteX23" fmla="*/ 1318960 w 4745723"/>
              <a:gd name="connsiteY23" fmla="*/ 3463278 h 4833373"/>
              <a:gd name="connsiteX24" fmla="*/ 637673 w 4745723"/>
              <a:gd name="connsiteY24" fmla="*/ 3690373 h 4833373"/>
              <a:gd name="connsiteX25" fmla="*/ 348914 w 4745723"/>
              <a:gd name="connsiteY25" fmla="*/ 3894911 h 4833373"/>
              <a:gd name="connsiteX26" fmla="*/ 96251 w 4745723"/>
              <a:gd name="connsiteY26" fmla="*/ 4195700 h 4833373"/>
              <a:gd name="connsiteX27" fmla="*/ 0 w 4745723"/>
              <a:gd name="connsiteY27" fmla="*/ 4460394 h 4833373"/>
              <a:gd name="connsiteX0" fmla="*/ 0 w 4745723"/>
              <a:gd name="connsiteY0" fmla="*/ 4460394 h 4833373"/>
              <a:gd name="connsiteX1" fmla="*/ 577515 w 4745723"/>
              <a:gd name="connsiteY1" fmla="*/ 4833373 h 4833373"/>
              <a:gd name="connsiteX2" fmla="*/ 1022683 w 4745723"/>
              <a:gd name="connsiteY2" fmla="*/ 4388205 h 4833373"/>
              <a:gd name="connsiteX3" fmla="*/ 1600199 w 4745723"/>
              <a:gd name="connsiteY3" fmla="*/ 4123510 h 4833373"/>
              <a:gd name="connsiteX4" fmla="*/ 2370220 w 4745723"/>
              <a:gd name="connsiteY4" fmla="*/ 4051320 h 4833373"/>
              <a:gd name="connsiteX5" fmla="*/ 3007894 w 4745723"/>
              <a:gd name="connsiteY5" fmla="*/ 3894910 h 4833373"/>
              <a:gd name="connsiteX6" fmla="*/ 3441031 w 4745723"/>
              <a:gd name="connsiteY6" fmla="*/ 3702405 h 4833373"/>
              <a:gd name="connsiteX7" fmla="*/ 3729789 w 4745723"/>
              <a:gd name="connsiteY7" fmla="*/ 3461773 h 4833373"/>
              <a:gd name="connsiteX8" fmla="*/ 3981950 w 4745723"/>
              <a:gd name="connsiteY8" fmla="*/ 2893782 h 4833373"/>
              <a:gd name="connsiteX9" fmla="*/ 4235115 w 4745723"/>
              <a:gd name="connsiteY9" fmla="*/ 2330805 h 4833373"/>
              <a:gd name="connsiteX10" fmla="*/ 4379494 w 4745723"/>
              <a:gd name="connsiteY10" fmla="*/ 1488594 h 4833373"/>
              <a:gd name="connsiteX11" fmla="*/ 4543925 w 4745723"/>
              <a:gd name="connsiteY11" fmla="*/ 840894 h 4833373"/>
              <a:gd name="connsiteX12" fmla="*/ 4698158 w 4745723"/>
              <a:gd name="connsiteY12" fmla="*/ 459264 h 4833373"/>
              <a:gd name="connsiteX13" fmla="*/ 4700334 w 4745723"/>
              <a:gd name="connsiteY13" fmla="*/ 481953 h 4833373"/>
              <a:gd name="connsiteX14" fmla="*/ 4162927 w 4745723"/>
              <a:gd name="connsiteY14" fmla="*/ 0 h 4833373"/>
              <a:gd name="connsiteX15" fmla="*/ 3903149 w 4745723"/>
              <a:gd name="connsiteY15" fmla="*/ 213249 h 4833373"/>
              <a:gd name="connsiteX16" fmla="*/ 3645568 w 4745723"/>
              <a:gd name="connsiteY16" fmla="*/ 850920 h 4833373"/>
              <a:gd name="connsiteX17" fmla="*/ 3719260 w 4745723"/>
              <a:gd name="connsiteY17" fmla="*/ 1329678 h 4833373"/>
              <a:gd name="connsiteX18" fmla="*/ 3719260 w 4745723"/>
              <a:gd name="connsiteY18" fmla="*/ 1682103 h 4833373"/>
              <a:gd name="connsiteX19" fmla="*/ 3063540 w 4745723"/>
              <a:gd name="connsiteY19" fmla="*/ 2860194 h 4833373"/>
              <a:gd name="connsiteX20" fmla="*/ 2642935 w 4745723"/>
              <a:gd name="connsiteY20" fmla="*/ 3110853 h 4833373"/>
              <a:gd name="connsiteX21" fmla="*/ 2264443 w 4745723"/>
              <a:gd name="connsiteY21" fmla="*/ 3281801 h 4833373"/>
              <a:gd name="connsiteX22" fmla="*/ 1318960 w 4745723"/>
              <a:gd name="connsiteY22" fmla="*/ 3463278 h 4833373"/>
              <a:gd name="connsiteX23" fmla="*/ 637673 w 4745723"/>
              <a:gd name="connsiteY23" fmla="*/ 3690373 h 4833373"/>
              <a:gd name="connsiteX24" fmla="*/ 348914 w 4745723"/>
              <a:gd name="connsiteY24" fmla="*/ 3894911 h 4833373"/>
              <a:gd name="connsiteX25" fmla="*/ 96251 w 4745723"/>
              <a:gd name="connsiteY25" fmla="*/ 4195700 h 4833373"/>
              <a:gd name="connsiteX26" fmla="*/ 0 w 4745723"/>
              <a:gd name="connsiteY26" fmla="*/ 4460394 h 4833373"/>
              <a:gd name="connsiteX0" fmla="*/ 0 w 4706451"/>
              <a:gd name="connsiteY0" fmla="*/ 4460394 h 4833373"/>
              <a:gd name="connsiteX1" fmla="*/ 577515 w 4706451"/>
              <a:gd name="connsiteY1" fmla="*/ 4833373 h 4833373"/>
              <a:gd name="connsiteX2" fmla="*/ 1022683 w 4706451"/>
              <a:gd name="connsiteY2" fmla="*/ 4388205 h 4833373"/>
              <a:gd name="connsiteX3" fmla="*/ 1600199 w 4706451"/>
              <a:gd name="connsiteY3" fmla="*/ 4123510 h 4833373"/>
              <a:gd name="connsiteX4" fmla="*/ 2370220 w 4706451"/>
              <a:gd name="connsiteY4" fmla="*/ 4051320 h 4833373"/>
              <a:gd name="connsiteX5" fmla="*/ 3007894 w 4706451"/>
              <a:gd name="connsiteY5" fmla="*/ 3894910 h 4833373"/>
              <a:gd name="connsiteX6" fmla="*/ 3441031 w 4706451"/>
              <a:gd name="connsiteY6" fmla="*/ 3702405 h 4833373"/>
              <a:gd name="connsiteX7" fmla="*/ 3729789 w 4706451"/>
              <a:gd name="connsiteY7" fmla="*/ 3461773 h 4833373"/>
              <a:gd name="connsiteX8" fmla="*/ 3981950 w 4706451"/>
              <a:gd name="connsiteY8" fmla="*/ 2893782 h 4833373"/>
              <a:gd name="connsiteX9" fmla="*/ 4235115 w 4706451"/>
              <a:gd name="connsiteY9" fmla="*/ 2330805 h 4833373"/>
              <a:gd name="connsiteX10" fmla="*/ 4379494 w 4706451"/>
              <a:gd name="connsiteY10" fmla="*/ 1488594 h 4833373"/>
              <a:gd name="connsiteX11" fmla="*/ 4543925 w 4706451"/>
              <a:gd name="connsiteY11" fmla="*/ 840894 h 4833373"/>
              <a:gd name="connsiteX12" fmla="*/ 4698158 w 4706451"/>
              <a:gd name="connsiteY12" fmla="*/ 459264 h 4833373"/>
              <a:gd name="connsiteX13" fmla="*/ 4162927 w 4706451"/>
              <a:gd name="connsiteY13" fmla="*/ 0 h 4833373"/>
              <a:gd name="connsiteX14" fmla="*/ 3903149 w 4706451"/>
              <a:gd name="connsiteY14" fmla="*/ 213249 h 4833373"/>
              <a:gd name="connsiteX15" fmla="*/ 3645568 w 4706451"/>
              <a:gd name="connsiteY15" fmla="*/ 850920 h 4833373"/>
              <a:gd name="connsiteX16" fmla="*/ 3719260 w 4706451"/>
              <a:gd name="connsiteY16" fmla="*/ 1329678 h 4833373"/>
              <a:gd name="connsiteX17" fmla="*/ 3719260 w 4706451"/>
              <a:gd name="connsiteY17" fmla="*/ 1682103 h 4833373"/>
              <a:gd name="connsiteX18" fmla="*/ 3063540 w 4706451"/>
              <a:gd name="connsiteY18" fmla="*/ 2860194 h 4833373"/>
              <a:gd name="connsiteX19" fmla="*/ 2642935 w 4706451"/>
              <a:gd name="connsiteY19" fmla="*/ 3110853 h 4833373"/>
              <a:gd name="connsiteX20" fmla="*/ 2264443 w 4706451"/>
              <a:gd name="connsiteY20" fmla="*/ 3281801 h 4833373"/>
              <a:gd name="connsiteX21" fmla="*/ 1318960 w 4706451"/>
              <a:gd name="connsiteY21" fmla="*/ 3463278 h 4833373"/>
              <a:gd name="connsiteX22" fmla="*/ 637673 w 4706451"/>
              <a:gd name="connsiteY22" fmla="*/ 3690373 h 4833373"/>
              <a:gd name="connsiteX23" fmla="*/ 348914 w 4706451"/>
              <a:gd name="connsiteY23" fmla="*/ 3894911 h 4833373"/>
              <a:gd name="connsiteX24" fmla="*/ 96251 w 4706451"/>
              <a:gd name="connsiteY24" fmla="*/ 4195700 h 4833373"/>
              <a:gd name="connsiteX25" fmla="*/ 0 w 4706451"/>
              <a:gd name="connsiteY25" fmla="*/ 4460394 h 4833373"/>
              <a:gd name="connsiteX0" fmla="*/ 0 w 4706451"/>
              <a:gd name="connsiteY0" fmla="*/ 4460394 h 4833373"/>
              <a:gd name="connsiteX1" fmla="*/ 577515 w 4706451"/>
              <a:gd name="connsiteY1" fmla="*/ 4833373 h 4833373"/>
              <a:gd name="connsiteX2" fmla="*/ 1022683 w 4706451"/>
              <a:gd name="connsiteY2" fmla="*/ 4388205 h 4833373"/>
              <a:gd name="connsiteX3" fmla="*/ 1600199 w 4706451"/>
              <a:gd name="connsiteY3" fmla="*/ 4123510 h 4833373"/>
              <a:gd name="connsiteX4" fmla="*/ 2370220 w 4706451"/>
              <a:gd name="connsiteY4" fmla="*/ 4051320 h 4833373"/>
              <a:gd name="connsiteX5" fmla="*/ 3007894 w 4706451"/>
              <a:gd name="connsiteY5" fmla="*/ 3894910 h 4833373"/>
              <a:gd name="connsiteX6" fmla="*/ 3441031 w 4706451"/>
              <a:gd name="connsiteY6" fmla="*/ 3702405 h 4833373"/>
              <a:gd name="connsiteX7" fmla="*/ 3729789 w 4706451"/>
              <a:gd name="connsiteY7" fmla="*/ 3461773 h 4833373"/>
              <a:gd name="connsiteX8" fmla="*/ 3981950 w 4706451"/>
              <a:gd name="connsiteY8" fmla="*/ 2893782 h 4833373"/>
              <a:gd name="connsiteX9" fmla="*/ 4235115 w 4706451"/>
              <a:gd name="connsiteY9" fmla="*/ 2330805 h 4833373"/>
              <a:gd name="connsiteX10" fmla="*/ 4379494 w 4706451"/>
              <a:gd name="connsiteY10" fmla="*/ 1488594 h 4833373"/>
              <a:gd name="connsiteX11" fmla="*/ 4543925 w 4706451"/>
              <a:gd name="connsiteY11" fmla="*/ 878994 h 4833373"/>
              <a:gd name="connsiteX12" fmla="*/ 4698158 w 4706451"/>
              <a:gd name="connsiteY12" fmla="*/ 459264 h 4833373"/>
              <a:gd name="connsiteX13" fmla="*/ 4162927 w 4706451"/>
              <a:gd name="connsiteY13" fmla="*/ 0 h 4833373"/>
              <a:gd name="connsiteX14" fmla="*/ 3903149 w 4706451"/>
              <a:gd name="connsiteY14" fmla="*/ 213249 h 4833373"/>
              <a:gd name="connsiteX15" fmla="*/ 3645568 w 4706451"/>
              <a:gd name="connsiteY15" fmla="*/ 850920 h 4833373"/>
              <a:gd name="connsiteX16" fmla="*/ 3719260 w 4706451"/>
              <a:gd name="connsiteY16" fmla="*/ 1329678 h 4833373"/>
              <a:gd name="connsiteX17" fmla="*/ 3719260 w 4706451"/>
              <a:gd name="connsiteY17" fmla="*/ 1682103 h 4833373"/>
              <a:gd name="connsiteX18" fmla="*/ 3063540 w 4706451"/>
              <a:gd name="connsiteY18" fmla="*/ 2860194 h 4833373"/>
              <a:gd name="connsiteX19" fmla="*/ 2642935 w 4706451"/>
              <a:gd name="connsiteY19" fmla="*/ 3110853 h 4833373"/>
              <a:gd name="connsiteX20" fmla="*/ 2264443 w 4706451"/>
              <a:gd name="connsiteY20" fmla="*/ 3281801 h 4833373"/>
              <a:gd name="connsiteX21" fmla="*/ 1318960 w 4706451"/>
              <a:gd name="connsiteY21" fmla="*/ 3463278 h 4833373"/>
              <a:gd name="connsiteX22" fmla="*/ 637673 w 4706451"/>
              <a:gd name="connsiteY22" fmla="*/ 3690373 h 4833373"/>
              <a:gd name="connsiteX23" fmla="*/ 348914 w 4706451"/>
              <a:gd name="connsiteY23" fmla="*/ 3894911 h 4833373"/>
              <a:gd name="connsiteX24" fmla="*/ 96251 w 4706451"/>
              <a:gd name="connsiteY24" fmla="*/ 4195700 h 4833373"/>
              <a:gd name="connsiteX25" fmla="*/ 0 w 4706451"/>
              <a:gd name="connsiteY25" fmla="*/ 4460394 h 4833373"/>
              <a:gd name="connsiteX0" fmla="*/ 0 w 4709237"/>
              <a:gd name="connsiteY0" fmla="*/ 4460394 h 4833373"/>
              <a:gd name="connsiteX1" fmla="*/ 577515 w 4709237"/>
              <a:gd name="connsiteY1" fmla="*/ 4833373 h 4833373"/>
              <a:gd name="connsiteX2" fmla="*/ 1022683 w 4709237"/>
              <a:gd name="connsiteY2" fmla="*/ 4388205 h 4833373"/>
              <a:gd name="connsiteX3" fmla="*/ 1600199 w 4709237"/>
              <a:gd name="connsiteY3" fmla="*/ 4123510 h 4833373"/>
              <a:gd name="connsiteX4" fmla="*/ 2370220 w 4709237"/>
              <a:gd name="connsiteY4" fmla="*/ 4051320 h 4833373"/>
              <a:gd name="connsiteX5" fmla="*/ 3007894 w 4709237"/>
              <a:gd name="connsiteY5" fmla="*/ 3894910 h 4833373"/>
              <a:gd name="connsiteX6" fmla="*/ 3441031 w 4709237"/>
              <a:gd name="connsiteY6" fmla="*/ 3702405 h 4833373"/>
              <a:gd name="connsiteX7" fmla="*/ 3729789 w 4709237"/>
              <a:gd name="connsiteY7" fmla="*/ 3461773 h 4833373"/>
              <a:gd name="connsiteX8" fmla="*/ 3981950 w 4709237"/>
              <a:gd name="connsiteY8" fmla="*/ 2893782 h 4833373"/>
              <a:gd name="connsiteX9" fmla="*/ 4235115 w 4709237"/>
              <a:gd name="connsiteY9" fmla="*/ 2330805 h 4833373"/>
              <a:gd name="connsiteX10" fmla="*/ 4379494 w 4709237"/>
              <a:gd name="connsiteY10" fmla="*/ 1488594 h 4833373"/>
              <a:gd name="connsiteX11" fmla="*/ 4543925 w 4709237"/>
              <a:gd name="connsiteY11" fmla="*/ 878994 h 4833373"/>
              <a:gd name="connsiteX12" fmla="*/ 4698158 w 4709237"/>
              <a:gd name="connsiteY12" fmla="*/ 459264 h 4833373"/>
              <a:gd name="connsiteX13" fmla="*/ 4162927 w 4709237"/>
              <a:gd name="connsiteY13" fmla="*/ 0 h 4833373"/>
              <a:gd name="connsiteX14" fmla="*/ 3903149 w 4709237"/>
              <a:gd name="connsiteY14" fmla="*/ 213249 h 4833373"/>
              <a:gd name="connsiteX15" fmla="*/ 3645568 w 4709237"/>
              <a:gd name="connsiteY15" fmla="*/ 850920 h 4833373"/>
              <a:gd name="connsiteX16" fmla="*/ 3719260 w 4709237"/>
              <a:gd name="connsiteY16" fmla="*/ 1329678 h 4833373"/>
              <a:gd name="connsiteX17" fmla="*/ 3719260 w 4709237"/>
              <a:gd name="connsiteY17" fmla="*/ 1682103 h 4833373"/>
              <a:gd name="connsiteX18" fmla="*/ 3063540 w 4709237"/>
              <a:gd name="connsiteY18" fmla="*/ 2860194 h 4833373"/>
              <a:gd name="connsiteX19" fmla="*/ 2642935 w 4709237"/>
              <a:gd name="connsiteY19" fmla="*/ 3110853 h 4833373"/>
              <a:gd name="connsiteX20" fmla="*/ 2264443 w 4709237"/>
              <a:gd name="connsiteY20" fmla="*/ 3281801 h 4833373"/>
              <a:gd name="connsiteX21" fmla="*/ 1318960 w 4709237"/>
              <a:gd name="connsiteY21" fmla="*/ 3463278 h 4833373"/>
              <a:gd name="connsiteX22" fmla="*/ 637673 w 4709237"/>
              <a:gd name="connsiteY22" fmla="*/ 3690373 h 4833373"/>
              <a:gd name="connsiteX23" fmla="*/ 348914 w 4709237"/>
              <a:gd name="connsiteY23" fmla="*/ 3894911 h 4833373"/>
              <a:gd name="connsiteX24" fmla="*/ 96251 w 4709237"/>
              <a:gd name="connsiteY24" fmla="*/ 4195700 h 4833373"/>
              <a:gd name="connsiteX25" fmla="*/ 0 w 4709237"/>
              <a:gd name="connsiteY25" fmla="*/ 4460394 h 4833373"/>
              <a:gd name="connsiteX0" fmla="*/ 0 w 4704671"/>
              <a:gd name="connsiteY0" fmla="*/ 4460394 h 4833373"/>
              <a:gd name="connsiteX1" fmla="*/ 577515 w 4704671"/>
              <a:gd name="connsiteY1" fmla="*/ 4833373 h 4833373"/>
              <a:gd name="connsiteX2" fmla="*/ 1022683 w 4704671"/>
              <a:gd name="connsiteY2" fmla="*/ 4388205 h 4833373"/>
              <a:gd name="connsiteX3" fmla="*/ 1600199 w 4704671"/>
              <a:gd name="connsiteY3" fmla="*/ 4123510 h 4833373"/>
              <a:gd name="connsiteX4" fmla="*/ 2370220 w 4704671"/>
              <a:gd name="connsiteY4" fmla="*/ 4051320 h 4833373"/>
              <a:gd name="connsiteX5" fmla="*/ 3007894 w 4704671"/>
              <a:gd name="connsiteY5" fmla="*/ 3894910 h 4833373"/>
              <a:gd name="connsiteX6" fmla="*/ 3441031 w 4704671"/>
              <a:gd name="connsiteY6" fmla="*/ 3702405 h 4833373"/>
              <a:gd name="connsiteX7" fmla="*/ 3729789 w 4704671"/>
              <a:gd name="connsiteY7" fmla="*/ 3461773 h 4833373"/>
              <a:gd name="connsiteX8" fmla="*/ 3981950 w 4704671"/>
              <a:gd name="connsiteY8" fmla="*/ 2893782 h 4833373"/>
              <a:gd name="connsiteX9" fmla="*/ 4235115 w 4704671"/>
              <a:gd name="connsiteY9" fmla="*/ 2330805 h 4833373"/>
              <a:gd name="connsiteX10" fmla="*/ 4379494 w 4704671"/>
              <a:gd name="connsiteY10" fmla="*/ 1564794 h 4833373"/>
              <a:gd name="connsiteX11" fmla="*/ 4543925 w 4704671"/>
              <a:gd name="connsiteY11" fmla="*/ 878994 h 4833373"/>
              <a:gd name="connsiteX12" fmla="*/ 4698158 w 4704671"/>
              <a:gd name="connsiteY12" fmla="*/ 459264 h 4833373"/>
              <a:gd name="connsiteX13" fmla="*/ 4162927 w 4704671"/>
              <a:gd name="connsiteY13" fmla="*/ 0 h 4833373"/>
              <a:gd name="connsiteX14" fmla="*/ 3903149 w 4704671"/>
              <a:gd name="connsiteY14" fmla="*/ 213249 h 4833373"/>
              <a:gd name="connsiteX15" fmla="*/ 3645568 w 4704671"/>
              <a:gd name="connsiteY15" fmla="*/ 850920 h 4833373"/>
              <a:gd name="connsiteX16" fmla="*/ 3719260 w 4704671"/>
              <a:gd name="connsiteY16" fmla="*/ 1329678 h 4833373"/>
              <a:gd name="connsiteX17" fmla="*/ 3719260 w 4704671"/>
              <a:gd name="connsiteY17" fmla="*/ 1682103 h 4833373"/>
              <a:gd name="connsiteX18" fmla="*/ 3063540 w 4704671"/>
              <a:gd name="connsiteY18" fmla="*/ 2860194 h 4833373"/>
              <a:gd name="connsiteX19" fmla="*/ 2642935 w 4704671"/>
              <a:gd name="connsiteY19" fmla="*/ 3110853 h 4833373"/>
              <a:gd name="connsiteX20" fmla="*/ 2264443 w 4704671"/>
              <a:gd name="connsiteY20" fmla="*/ 3281801 h 4833373"/>
              <a:gd name="connsiteX21" fmla="*/ 1318960 w 4704671"/>
              <a:gd name="connsiteY21" fmla="*/ 3463278 h 4833373"/>
              <a:gd name="connsiteX22" fmla="*/ 637673 w 4704671"/>
              <a:gd name="connsiteY22" fmla="*/ 3690373 h 4833373"/>
              <a:gd name="connsiteX23" fmla="*/ 348914 w 4704671"/>
              <a:gd name="connsiteY23" fmla="*/ 3894911 h 4833373"/>
              <a:gd name="connsiteX24" fmla="*/ 96251 w 4704671"/>
              <a:gd name="connsiteY24" fmla="*/ 4195700 h 4833373"/>
              <a:gd name="connsiteX25" fmla="*/ 0 w 4704671"/>
              <a:gd name="connsiteY25" fmla="*/ 4460394 h 4833373"/>
              <a:gd name="connsiteX0" fmla="*/ 0 w 4705981"/>
              <a:gd name="connsiteY0" fmla="*/ 4460394 h 4833373"/>
              <a:gd name="connsiteX1" fmla="*/ 577515 w 4705981"/>
              <a:gd name="connsiteY1" fmla="*/ 4833373 h 4833373"/>
              <a:gd name="connsiteX2" fmla="*/ 1022683 w 4705981"/>
              <a:gd name="connsiteY2" fmla="*/ 4388205 h 4833373"/>
              <a:gd name="connsiteX3" fmla="*/ 1600199 w 4705981"/>
              <a:gd name="connsiteY3" fmla="*/ 4123510 h 4833373"/>
              <a:gd name="connsiteX4" fmla="*/ 2370220 w 4705981"/>
              <a:gd name="connsiteY4" fmla="*/ 4051320 h 4833373"/>
              <a:gd name="connsiteX5" fmla="*/ 3007894 w 4705981"/>
              <a:gd name="connsiteY5" fmla="*/ 3894910 h 4833373"/>
              <a:gd name="connsiteX6" fmla="*/ 3441031 w 4705981"/>
              <a:gd name="connsiteY6" fmla="*/ 3702405 h 4833373"/>
              <a:gd name="connsiteX7" fmla="*/ 3729789 w 4705981"/>
              <a:gd name="connsiteY7" fmla="*/ 3461773 h 4833373"/>
              <a:gd name="connsiteX8" fmla="*/ 3981950 w 4705981"/>
              <a:gd name="connsiteY8" fmla="*/ 2893782 h 4833373"/>
              <a:gd name="connsiteX9" fmla="*/ 4235115 w 4705981"/>
              <a:gd name="connsiteY9" fmla="*/ 2330805 h 4833373"/>
              <a:gd name="connsiteX10" fmla="*/ 4379494 w 4705981"/>
              <a:gd name="connsiteY10" fmla="*/ 1564794 h 4833373"/>
              <a:gd name="connsiteX11" fmla="*/ 4572500 w 4705981"/>
              <a:gd name="connsiteY11" fmla="*/ 898044 h 4833373"/>
              <a:gd name="connsiteX12" fmla="*/ 4698158 w 4705981"/>
              <a:gd name="connsiteY12" fmla="*/ 459264 h 4833373"/>
              <a:gd name="connsiteX13" fmla="*/ 4162927 w 4705981"/>
              <a:gd name="connsiteY13" fmla="*/ 0 h 4833373"/>
              <a:gd name="connsiteX14" fmla="*/ 3903149 w 4705981"/>
              <a:gd name="connsiteY14" fmla="*/ 213249 h 4833373"/>
              <a:gd name="connsiteX15" fmla="*/ 3645568 w 4705981"/>
              <a:gd name="connsiteY15" fmla="*/ 850920 h 4833373"/>
              <a:gd name="connsiteX16" fmla="*/ 3719260 w 4705981"/>
              <a:gd name="connsiteY16" fmla="*/ 1329678 h 4833373"/>
              <a:gd name="connsiteX17" fmla="*/ 3719260 w 4705981"/>
              <a:gd name="connsiteY17" fmla="*/ 1682103 h 4833373"/>
              <a:gd name="connsiteX18" fmla="*/ 3063540 w 4705981"/>
              <a:gd name="connsiteY18" fmla="*/ 2860194 h 4833373"/>
              <a:gd name="connsiteX19" fmla="*/ 2642935 w 4705981"/>
              <a:gd name="connsiteY19" fmla="*/ 3110853 h 4833373"/>
              <a:gd name="connsiteX20" fmla="*/ 2264443 w 4705981"/>
              <a:gd name="connsiteY20" fmla="*/ 3281801 h 4833373"/>
              <a:gd name="connsiteX21" fmla="*/ 1318960 w 4705981"/>
              <a:gd name="connsiteY21" fmla="*/ 3463278 h 4833373"/>
              <a:gd name="connsiteX22" fmla="*/ 637673 w 4705981"/>
              <a:gd name="connsiteY22" fmla="*/ 3690373 h 4833373"/>
              <a:gd name="connsiteX23" fmla="*/ 348914 w 4705981"/>
              <a:gd name="connsiteY23" fmla="*/ 3894911 h 4833373"/>
              <a:gd name="connsiteX24" fmla="*/ 96251 w 4705981"/>
              <a:gd name="connsiteY24" fmla="*/ 4195700 h 4833373"/>
              <a:gd name="connsiteX25" fmla="*/ 0 w 4705981"/>
              <a:gd name="connsiteY25"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1600199 w 4701378"/>
              <a:gd name="connsiteY3" fmla="*/ 4123510 h 4833373"/>
              <a:gd name="connsiteX4" fmla="*/ 2370220 w 4701378"/>
              <a:gd name="connsiteY4" fmla="*/ 4051320 h 4833373"/>
              <a:gd name="connsiteX5" fmla="*/ 3007894 w 4701378"/>
              <a:gd name="connsiteY5" fmla="*/ 3894910 h 4833373"/>
              <a:gd name="connsiteX6" fmla="*/ 3441031 w 4701378"/>
              <a:gd name="connsiteY6" fmla="*/ 3702405 h 4833373"/>
              <a:gd name="connsiteX7" fmla="*/ 3729789 w 4701378"/>
              <a:gd name="connsiteY7" fmla="*/ 3461773 h 4833373"/>
              <a:gd name="connsiteX8" fmla="*/ 3981950 w 4701378"/>
              <a:gd name="connsiteY8" fmla="*/ 2893782 h 4833373"/>
              <a:gd name="connsiteX9" fmla="*/ 4235115 w 4701378"/>
              <a:gd name="connsiteY9" fmla="*/ 2330805 h 4833373"/>
              <a:gd name="connsiteX10" fmla="*/ 4379494 w 4701378"/>
              <a:gd name="connsiteY10" fmla="*/ 1564794 h 4833373"/>
              <a:gd name="connsiteX11" fmla="*/ 4698158 w 4701378"/>
              <a:gd name="connsiteY11" fmla="*/ 459264 h 4833373"/>
              <a:gd name="connsiteX12" fmla="*/ 4162927 w 4701378"/>
              <a:gd name="connsiteY12" fmla="*/ 0 h 4833373"/>
              <a:gd name="connsiteX13" fmla="*/ 3903149 w 4701378"/>
              <a:gd name="connsiteY13" fmla="*/ 213249 h 4833373"/>
              <a:gd name="connsiteX14" fmla="*/ 3645568 w 4701378"/>
              <a:gd name="connsiteY14" fmla="*/ 850920 h 4833373"/>
              <a:gd name="connsiteX15" fmla="*/ 3719260 w 4701378"/>
              <a:gd name="connsiteY15" fmla="*/ 1329678 h 4833373"/>
              <a:gd name="connsiteX16" fmla="*/ 3719260 w 4701378"/>
              <a:gd name="connsiteY16" fmla="*/ 1682103 h 4833373"/>
              <a:gd name="connsiteX17" fmla="*/ 3063540 w 4701378"/>
              <a:gd name="connsiteY17" fmla="*/ 2860194 h 4833373"/>
              <a:gd name="connsiteX18" fmla="*/ 2642935 w 4701378"/>
              <a:gd name="connsiteY18" fmla="*/ 3110853 h 4833373"/>
              <a:gd name="connsiteX19" fmla="*/ 2264443 w 4701378"/>
              <a:gd name="connsiteY19" fmla="*/ 3281801 h 4833373"/>
              <a:gd name="connsiteX20" fmla="*/ 1318960 w 4701378"/>
              <a:gd name="connsiteY20" fmla="*/ 3463278 h 4833373"/>
              <a:gd name="connsiteX21" fmla="*/ 637673 w 4701378"/>
              <a:gd name="connsiteY21" fmla="*/ 3690373 h 4833373"/>
              <a:gd name="connsiteX22" fmla="*/ 348914 w 4701378"/>
              <a:gd name="connsiteY22" fmla="*/ 3894911 h 4833373"/>
              <a:gd name="connsiteX23" fmla="*/ 96251 w 4701378"/>
              <a:gd name="connsiteY23" fmla="*/ 4195700 h 4833373"/>
              <a:gd name="connsiteX24" fmla="*/ 0 w 4701378"/>
              <a:gd name="connsiteY24"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1600199 w 4701378"/>
              <a:gd name="connsiteY3" fmla="*/ 4123510 h 4833373"/>
              <a:gd name="connsiteX4" fmla="*/ 2370220 w 4701378"/>
              <a:gd name="connsiteY4" fmla="*/ 4051320 h 4833373"/>
              <a:gd name="connsiteX5" fmla="*/ 3007894 w 4701378"/>
              <a:gd name="connsiteY5" fmla="*/ 3894910 h 4833373"/>
              <a:gd name="connsiteX6" fmla="*/ 3441031 w 4701378"/>
              <a:gd name="connsiteY6" fmla="*/ 3702405 h 4833373"/>
              <a:gd name="connsiteX7" fmla="*/ 3981950 w 4701378"/>
              <a:gd name="connsiteY7" fmla="*/ 2893782 h 4833373"/>
              <a:gd name="connsiteX8" fmla="*/ 4235115 w 4701378"/>
              <a:gd name="connsiteY8" fmla="*/ 2330805 h 4833373"/>
              <a:gd name="connsiteX9" fmla="*/ 4379494 w 4701378"/>
              <a:gd name="connsiteY9" fmla="*/ 1564794 h 4833373"/>
              <a:gd name="connsiteX10" fmla="*/ 4698158 w 4701378"/>
              <a:gd name="connsiteY10" fmla="*/ 459264 h 4833373"/>
              <a:gd name="connsiteX11" fmla="*/ 4162927 w 4701378"/>
              <a:gd name="connsiteY11" fmla="*/ 0 h 4833373"/>
              <a:gd name="connsiteX12" fmla="*/ 3903149 w 4701378"/>
              <a:gd name="connsiteY12" fmla="*/ 213249 h 4833373"/>
              <a:gd name="connsiteX13" fmla="*/ 3645568 w 4701378"/>
              <a:gd name="connsiteY13" fmla="*/ 850920 h 4833373"/>
              <a:gd name="connsiteX14" fmla="*/ 3719260 w 4701378"/>
              <a:gd name="connsiteY14" fmla="*/ 1329678 h 4833373"/>
              <a:gd name="connsiteX15" fmla="*/ 3719260 w 4701378"/>
              <a:gd name="connsiteY15" fmla="*/ 1682103 h 4833373"/>
              <a:gd name="connsiteX16" fmla="*/ 3063540 w 4701378"/>
              <a:gd name="connsiteY16" fmla="*/ 2860194 h 4833373"/>
              <a:gd name="connsiteX17" fmla="*/ 2642935 w 4701378"/>
              <a:gd name="connsiteY17" fmla="*/ 3110853 h 4833373"/>
              <a:gd name="connsiteX18" fmla="*/ 2264443 w 4701378"/>
              <a:gd name="connsiteY18" fmla="*/ 3281801 h 4833373"/>
              <a:gd name="connsiteX19" fmla="*/ 1318960 w 4701378"/>
              <a:gd name="connsiteY19" fmla="*/ 3463278 h 4833373"/>
              <a:gd name="connsiteX20" fmla="*/ 637673 w 4701378"/>
              <a:gd name="connsiteY20" fmla="*/ 3690373 h 4833373"/>
              <a:gd name="connsiteX21" fmla="*/ 348914 w 4701378"/>
              <a:gd name="connsiteY21" fmla="*/ 3894911 h 4833373"/>
              <a:gd name="connsiteX22" fmla="*/ 96251 w 4701378"/>
              <a:gd name="connsiteY22" fmla="*/ 4195700 h 4833373"/>
              <a:gd name="connsiteX23" fmla="*/ 0 w 4701378"/>
              <a:gd name="connsiteY23"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2370220 w 4701378"/>
              <a:gd name="connsiteY3" fmla="*/ 4051320 h 4833373"/>
              <a:gd name="connsiteX4" fmla="*/ 3007894 w 4701378"/>
              <a:gd name="connsiteY4" fmla="*/ 3894910 h 4833373"/>
              <a:gd name="connsiteX5" fmla="*/ 3441031 w 4701378"/>
              <a:gd name="connsiteY5" fmla="*/ 3702405 h 4833373"/>
              <a:gd name="connsiteX6" fmla="*/ 3981950 w 4701378"/>
              <a:gd name="connsiteY6" fmla="*/ 2893782 h 4833373"/>
              <a:gd name="connsiteX7" fmla="*/ 4235115 w 4701378"/>
              <a:gd name="connsiteY7" fmla="*/ 2330805 h 4833373"/>
              <a:gd name="connsiteX8" fmla="*/ 4379494 w 4701378"/>
              <a:gd name="connsiteY8" fmla="*/ 1564794 h 4833373"/>
              <a:gd name="connsiteX9" fmla="*/ 4698158 w 4701378"/>
              <a:gd name="connsiteY9" fmla="*/ 459264 h 4833373"/>
              <a:gd name="connsiteX10" fmla="*/ 4162927 w 4701378"/>
              <a:gd name="connsiteY10" fmla="*/ 0 h 4833373"/>
              <a:gd name="connsiteX11" fmla="*/ 3903149 w 4701378"/>
              <a:gd name="connsiteY11" fmla="*/ 213249 h 4833373"/>
              <a:gd name="connsiteX12" fmla="*/ 3645568 w 4701378"/>
              <a:gd name="connsiteY12" fmla="*/ 850920 h 4833373"/>
              <a:gd name="connsiteX13" fmla="*/ 3719260 w 4701378"/>
              <a:gd name="connsiteY13" fmla="*/ 1329678 h 4833373"/>
              <a:gd name="connsiteX14" fmla="*/ 3719260 w 4701378"/>
              <a:gd name="connsiteY14" fmla="*/ 1682103 h 4833373"/>
              <a:gd name="connsiteX15" fmla="*/ 3063540 w 4701378"/>
              <a:gd name="connsiteY15" fmla="*/ 2860194 h 4833373"/>
              <a:gd name="connsiteX16" fmla="*/ 2642935 w 4701378"/>
              <a:gd name="connsiteY16" fmla="*/ 3110853 h 4833373"/>
              <a:gd name="connsiteX17" fmla="*/ 2264443 w 4701378"/>
              <a:gd name="connsiteY17" fmla="*/ 3281801 h 4833373"/>
              <a:gd name="connsiteX18" fmla="*/ 1318960 w 4701378"/>
              <a:gd name="connsiteY18" fmla="*/ 3463278 h 4833373"/>
              <a:gd name="connsiteX19" fmla="*/ 637673 w 4701378"/>
              <a:gd name="connsiteY19" fmla="*/ 3690373 h 4833373"/>
              <a:gd name="connsiteX20" fmla="*/ 348914 w 4701378"/>
              <a:gd name="connsiteY20" fmla="*/ 3894911 h 4833373"/>
              <a:gd name="connsiteX21" fmla="*/ 96251 w 4701378"/>
              <a:gd name="connsiteY21" fmla="*/ 4195700 h 4833373"/>
              <a:gd name="connsiteX22" fmla="*/ 0 w 4701378"/>
              <a:gd name="connsiteY22"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2370220 w 4701378"/>
              <a:gd name="connsiteY3" fmla="*/ 4051320 h 4833373"/>
              <a:gd name="connsiteX4" fmla="*/ 3007894 w 4701378"/>
              <a:gd name="connsiteY4" fmla="*/ 3894910 h 4833373"/>
              <a:gd name="connsiteX5" fmla="*/ 3981950 w 4701378"/>
              <a:gd name="connsiteY5" fmla="*/ 2893782 h 4833373"/>
              <a:gd name="connsiteX6" fmla="*/ 4235115 w 4701378"/>
              <a:gd name="connsiteY6" fmla="*/ 2330805 h 4833373"/>
              <a:gd name="connsiteX7" fmla="*/ 4379494 w 4701378"/>
              <a:gd name="connsiteY7" fmla="*/ 1564794 h 4833373"/>
              <a:gd name="connsiteX8" fmla="*/ 4698158 w 4701378"/>
              <a:gd name="connsiteY8" fmla="*/ 459264 h 4833373"/>
              <a:gd name="connsiteX9" fmla="*/ 4162927 w 4701378"/>
              <a:gd name="connsiteY9" fmla="*/ 0 h 4833373"/>
              <a:gd name="connsiteX10" fmla="*/ 3903149 w 4701378"/>
              <a:gd name="connsiteY10" fmla="*/ 213249 h 4833373"/>
              <a:gd name="connsiteX11" fmla="*/ 3645568 w 4701378"/>
              <a:gd name="connsiteY11" fmla="*/ 850920 h 4833373"/>
              <a:gd name="connsiteX12" fmla="*/ 3719260 w 4701378"/>
              <a:gd name="connsiteY12" fmla="*/ 1329678 h 4833373"/>
              <a:gd name="connsiteX13" fmla="*/ 3719260 w 4701378"/>
              <a:gd name="connsiteY13" fmla="*/ 1682103 h 4833373"/>
              <a:gd name="connsiteX14" fmla="*/ 3063540 w 4701378"/>
              <a:gd name="connsiteY14" fmla="*/ 2860194 h 4833373"/>
              <a:gd name="connsiteX15" fmla="*/ 2642935 w 4701378"/>
              <a:gd name="connsiteY15" fmla="*/ 3110853 h 4833373"/>
              <a:gd name="connsiteX16" fmla="*/ 2264443 w 4701378"/>
              <a:gd name="connsiteY16" fmla="*/ 3281801 h 4833373"/>
              <a:gd name="connsiteX17" fmla="*/ 1318960 w 4701378"/>
              <a:gd name="connsiteY17" fmla="*/ 3463278 h 4833373"/>
              <a:gd name="connsiteX18" fmla="*/ 637673 w 4701378"/>
              <a:gd name="connsiteY18" fmla="*/ 3690373 h 4833373"/>
              <a:gd name="connsiteX19" fmla="*/ 348914 w 4701378"/>
              <a:gd name="connsiteY19" fmla="*/ 3894911 h 4833373"/>
              <a:gd name="connsiteX20" fmla="*/ 96251 w 4701378"/>
              <a:gd name="connsiteY20" fmla="*/ 4195700 h 4833373"/>
              <a:gd name="connsiteX21" fmla="*/ 0 w 4701378"/>
              <a:gd name="connsiteY21"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2370220 w 4701378"/>
              <a:gd name="connsiteY3" fmla="*/ 4051320 h 4833373"/>
              <a:gd name="connsiteX4" fmla="*/ 3026944 w 4701378"/>
              <a:gd name="connsiteY4" fmla="*/ 3913960 h 4833373"/>
              <a:gd name="connsiteX5" fmla="*/ 3981950 w 4701378"/>
              <a:gd name="connsiteY5" fmla="*/ 2893782 h 4833373"/>
              <a:gd name="connsiteX6" fmla="*/ 4235115 w 4701378"/>
              <a:gd name="connsiteY6" fmla="*/ 2330805 h 4833373"/>
              <a:gd name="connsiteX7" fmla="*/ 4379494 w 4701378"/>
              <a:gd name="connsiteY7" fmla="*/ 1564794 h 4833373"/>
              <a:gd name="connsiteX8" fmla="*/ 4698158 w 4701378"/>
              <a:gd name="connsiteY8" fmla="*/ 459264 h 4833373"/>
              <a:gd name="connsiteX9" fmla="*/ 4162927 w 4701378"/>
              <a:gd name="connsiteY9" fmla="*/ 0 h 4833373"/>
              <a:gd name="connsiteX10" fmla="*/ 3903149 w 4701378"/>
              <a:gd name="connsiteY10" fmla="*/ 213249 h 4833373"/>
              <a:gd name="connsiteX11" fmla="*/ 3645568 w 4701378"/>
              <a:gd name="connsiteY11" fmla="*/ 850920 h 4833373"/>
              <a:gd name="connsiteX12" fmla="*/ 3719260 w 4701378"/>
              <a:gd name="connsiteY12" fmla="*/ 1329678 h 4833373"/>
              <a:gd name="connsiteX13" fmla="*/ 3719260 w 4701378"/>
              <a:gd name="connsiteY13" fmla="*/ 1682103 h 4833373"/>
              <a:gd name="connsiteX14" fmla="*/ 3063540 w 4701378"/>
              <a:gd name="connsiteY14" fmla="*/ 2860194 h 4833373"/>
              <a:gd name="connsiteX15" fmla="*/ 2642935 w 4701378"/>
              <a:gd name="connsiteY15" fmla="*/ 3110853 h 4833373"/>
              <a:gd name="connsiteX16" fmla="*/ 2264443 w 4701378"/>
              <a:gd name="connsiteY16" fmla="*/ 3281801 h 4833373"/>
              <a:gd name="connsiteX17" fmla="*/ 1318960 w 4701378"/>
              <a:gd name="connsiteY17" fmla="*/ 3463278 h 4833373"/>
              <a:gd name="connsiteX18" fmla="*/ 637673 w 4701378"/>
              <a:gd name="connsiteY18" fmla="*/ 3690373 h 4833373"/>
              <a:gd name="connsiteX19" fmla="*/ 348914 w 4701378"/>
              <a:gd name="connsiteY19" fmla="*/ 3894911 h 4833373"/>
              <a:gd name="connsiteX20" fmla="*/ 96251 w 4701378"/>
              <a:gd name="connsiteY20" fmla="*/ 4195700 h 4833373"/>
              <a:gd name="connsiteX21" fmla="*/ 0 w 4701378"/>
              <a:gd name="connsiteY21"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2370220 w 4701378"/>
              <a:gd name="connsiteY3" fmla="*/ 4051320 h 4833373"/>
              <a:gd name="connsiteX4" fmla="*/ 3026944 w 4701378"/>
              <a:gd name="connsiteY4" fmla="*/ 3913960 h 4833373"/>
              <a:gd name="connsiteX5" fmla="*/ 3981950 w 4701378"/>
              <a:gd name="connsiteY5" fmla="*/ 2893782 h 4833373"/>
              <a:gd name="connsiteX6" fmla="*/ 4235115 w 4701378"/>
              <a:gd name="connsiteY6" fmla="*/ 2330805 h 4833373"/>
              <a:gd name="connsiteX7" fmla="*/ 4379494 w 4701378"/>
              <a:gd name="connsiteY7" fmla="*/ 1564794 h 4833373"/>
              <a:gd name="connsiteX8" fmla="*/ 4698158 w 4701378"/>
              <a:gd name="connsiteY8" fmla="*/ 459264 h 4833373"/>
              <a:gd name="connsiteX9" fmla="*/ 4162927 w 4701378"/>
              <a:gd name="connsiteY9" fmla="*/ 0 h 4833373"/>
              <a:gd name="connsiteX10" fmla="*/ 3903149 w 4701378"/>
              <a:gd name="connsiteY10" fmla="*/ 213249 h 4833373"/>
              <a:gd name="connsiteX11" fmla="*/ 3645568 w 4701378"/>
              <a:gd name="connsiteY11" fmla="*/ 850920 h 4833373"/>
              <a:gd name="connsiteX12" fmla="*/ 3719260 w 4701378"/>
              <a:gd name="connsiteY12" fmla="*/ 1329678 h 4833373"/>
              <a:gd name="connsiteX13" fmla="*/ 3719260 w 4701378"/>
              <a:gd name="connsiteY13" fmla="*/ 1682103 h 4833373"/>
              <a:gd name="connsiteX14" fmla="*/ 3063540 w 4701378"/>
              <a:gd name="connsiteY14" fmla="*/ 2860194 h 4833373"/>
              <a:gd name="connsiteX15" fmla="*/ 2642935 w 4701378"/>
              <a:gd name="connsiteY15" fmla="*/ 3110853 h 4833373"/>
              <a:gd name="connsiteX16" fmla="*/ 2264443 w 4701378"/>
              <a:gd name="connsiteY16" fmla="*/ 3281801 h 4833373"/>
              <a:gd name="connsiteX17" fmla="*/ 1318960 w 4701378"/>
              <a:gd name="connsiteY17" fmla="*/ 3463278 h 4833373"/>
              <a:gd name="connsiteX18" fmla="*/ 637673 w 4701378"/>
              <a:gd name="connsiteY18" fmla="*/ 3690373 h 4833373"/>
              <a:gd name="connsiteX19" fmla="*/ 348914 w 4701378"/>
              <a:gd name="connsiteY19" fmla="*/ 3894911 h 4833373"/>
              <a:gd name="connsiteX20" fmla="*/ 96251 w 4701378"/>
              <a:gd name="connsiteY20" fmla="*/ 4195700 h 4833373"/>
              <a:gd name="connsiteX21" fmla="*/ 0 w 4701378"/>
              <a:gd name="connsiteY21"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2370220 w 4701378"/>
              <a:gd name="connsiteY3" fmla="*/ 4051320 h 4833373"/>
              <a:gd name="connsiteX4" fmla="*/ 3026944 w 4701378"/>
              <a:gd name="connsiteY4" fmla="*/ 3913960 h 4833373"/>
              <a:gd name="connsiteX5" fmla="*/ 3981950 w 4701378"/>
              <a:gd name="connsiteY5" fmla="*/ 2893782 h 4833373"/>
              <a:gd name="connsiteX6" fmla="*/ 4235115 w 4701378"/>
              <a:gd name="connsiteY6" fmla="*/ 2330805 h 4833373"/>
              <a:gd name="connsiteX7" fmla="*/ 4379494 w 4701378"/>
              <a:gd name="connsiteY7" fmla="*/ 1564794 h 4833373"/>
              <a:gd name="connsiteX8" fmla="*/ 4698158 w 4701378"/>
              <a:gd name="connsiteY8" fmla="*/ 459264 h 4833373"/>
              <a:gd name="connsiteX9" fmla="*/ 4162927 w 4701378"/>
              <a:gd name="connsiteY9" fmla="*/ 0 h 4833373"/>
              <a:gd name="connsiteX10" fmla="*/ 3903149 w 4701378"/>
              <a:gd name="connsiteY10" fmla="*/ 213249 h 4833373"/>
              <a:gd name="connsiteX11" fmla="*/ 3645568 w 4701378"/>
              <a:gd name="connsiteY11" fmla="*/ 850920 h 4833373"/>
              <a:gd name="connsiteX12" fmla="*/ 3719260 w 4701378"/>
              <a:gd name="connsiteY12" fmla="*/ 1329678 h 4833373"/>
              <a:gd name="connsiteX13" fmla="*/ 3719260 w 4701378"/>
              <a:gd name="connsiteY13" fmla="*/ 1682103 h 4833373"/>
              <a:gd name="connsiteX14" fmla="*/ 3063540 w 4701378"/>
              <a:gd name="connsiteY14" fmla="*/ 2860194 h 4833373"/>
              <a:gd name="connsiteX15" fmla="*/ 2642935 w 4701378"/>
              <a:gd name="connsiteY15" fmla="*/ 3110853 h 4833373"/>
              <a:gd name="connsiteX16" fmla="*/ 2264443 w 4701378"/>
              <a:gd name="connsiteY16" fmla="*/ 3281801 h 4833373"/>
              <a:gd name="connsiteX17" fmla="*/ 1318960 w 4701378"/>
              <a:gd name="connsiteY17" fmla="*/ 3463278 h 4833373"/>
              <a:gd name="connsiteX18" fmla="*/ 637673 w 4701378"/>
              <a:gd name="connsiteY18" fmla="*/ 3690373 h 4833373"/>
              <a:gd name="connsiteX19" fmla="*/ 348914 w 4701378"/>
              <a:gd name="connsiteY19" fmla="*/ 3894911 h 4833373"/>
              <a:gd name="connsiteX20" fmla="*/ 96251 w 4701378"/>
              <a:gd name="connsiteY20" fmla="*/ 4195700 h 4833373"/>
              <a:gd name="connsiteX21" fmla="*/ 0 w 4701378"/>
              <a:gd name="connsiteY21"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2370220 w 4701378"/>
              <a:gd name="connsiteY3" fmla="*/ 4051320 h 4833373"/>
              <a:gd name="connsiteX4" fmla="*/ 3026944 w 4701378"/>
              <a:gd name="connsiteY4" fmla="*/ 3913960 h 4833373"/>
              <a:gd name="connsiteX5" fmla="*/ 3981950 w 4701378"/>
              <a:gd name="connsiteY5" fmla="*/ 2893782 h 4833373"/>
              <a:gd name="connsiteX6" fmla="*/ 4235115 w 4701378"/>
              <a:gd name="connsiteY6" fmla="*/ 2330805 h 4833373"/>
              <a:gd name="connsiteX7" fmla="*/ 4379494 w 4701378"/>
              <a:gd name="connsiteY7" fmla="*/ 1564794 h 4833373"/>
              <a:gd name="connsiteX8" fmla="*/ 4698158 w 4701378"/>
              <a:gd name="connsiteY8" fmla="*/ 459264 h 4833373"/>
              <a:gd name="connsiteX9" fmla="*/ 4162927 w 4701378"/>
              <a:gd name="connsiteY9" fmla="*/ 0 h 4833373"/>
              <a:gd name="connsiteX10" fmla="*/ 3903149 w 4701378"/>
              <a:gd name="connsiteY10" fmla="*/ 213249 h 4833373"/>
              <a:gd name="connsiteX11" fmla="*/ 3645568 w 4701378"/>
              <a:gd name="connsiteY11" fmla="*/ 850920 h 4833373"/>
              <a:gd name="connsiteX12" fmla="*/ 3719260 w 4701378"/>
              <a:gd name="connsiteY12" fmla="*/ 1329678 h 4833373"/>
              <a:gd name="connsiteX13" fmla="*/ 3719260 w 4701378"/>
              <a:gd name="connsiteY13" fmla="*/ 1682103 h 4833373"/>
              <a:gd name="connsiteX14" fmla="*/ 3063540 w 4701378"/>
              <a:gd name="connsiteY14" fmla="*/ 2860194 h 4833373"/>
              <a:gd name="connsiteX15" fmla="*/ 2642935 w 4701378"/>
              <a:gd name="connsiteY15" fmla="*/ 3110853 h 4833373"/>
              <a:gd name="connsiteX16" fmla="*/ 2264443 w 4701378"/>
              <a:gd name="connsiteY16" fmla="*/ 3281801 h 4833373"/>
              <a:gd name="connsiteX17" fmla="*/ 1318960 w 4701378"/>
              <a:gd name="connsiteY17" fmla="*/ 3463278 h 4833373"/>
              <a:gd name="connsiteX18" fmla="*/ 637673 w 4701378"/>
              <a:gd name="connsiteY18" fmla="*/ 3690373 h 4833373"/>
              <a:gd name="connsiteX19" fmla="*/ 348914 w 4701378"/>
              <a:gd name="connsiteY19" fmla="*/ 3894911 h 4833373"/>
              <a:gd name="connsiteX20" fmla="*/ 96251 w 4701378"/>
              <a:gd name="connsiteY20" fmla="*/ 4195700 h 4833373"/>
              <a:gd name="connsiteX21" fmla="*/ 0 w 4701378"/>
              <a:gd name="connsiteY21"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2370220 w 4701378"/>
              <a:gd name="connsiteY3" fmla="*/ 4051320 h 4833373"/>
              <a:gd name="connsiteX4" fmla="*/ 3026944 w 4701378"/>
              <a:gd name="connsiteY4" fmla="*/ 3913960 h 4833373"/>
              <a:gd name="connsiteX5" fmla="*/ 3981950 w 4701378"/>
              <a:gd name="connsiteY5" fmla="*/ 2893782 h 4833373"/>
              <a:gd name="connsiteX6" fmla="*/ 4235115 w 4701378"/>
              <a:gd name="connsiteY6" fmla="*/ 2330805 h 4833373"/>
              <a:gd name="connsiteX7" fmla="*/ 4379494 w 4701378"/>
              <a:gd name="connsiteY7" fmla="*/ 1564794 h 4833373"/>
              <a:gd name="connsiteX8" fmla="*/ 4698158 w 4701378"/>
              <a:gd name="connsiteY8" fmla="*/ 459264 h 4833373"/>
              <a:gd name="connsiteX9" fmla="*/ 4162927 w 4701378"/>
              <a:gd name="connsiteY9" fmla="*/ 0 h 4833373"/>
              <a:gd name="connsiteX10" fmla="*/ 3903149 w 4701378"/>
              <a:gd name="connsiteY10" fmla="*/ 213249 h 4833373"/>
              <a:gd name="connsiteX11" fmla="*/ 3645568 w 4701378"/>
              <a:gd name="connsiteY11" fmla="*/ 850920 h 4833373"/>
              <a:gd name="connsiteX12" fmla="*/ 3719260 w 4701378"/>
              <a:gd name="connsiteY12" fmla="*/ 1329678 h 4833373"/>
              <a:gd name="connsiteX13" fmla="*/ 3719260 w 4701378"/>
              <a:gd name="connsiteY13" fmla="*/ 1682103 h 4833373"/>
              <a:gd name="connsiteX14" fmla="*/ 3063540 w 4701378"/>
              <a:gd name="connsiteY14" fmla="*/ 2860194 h 4833373"/>
              <a:gd name="connsiteX15" fmla="*/ 2642935 w 4701378"/>
              <a:gd name="connsiteY15" fmla="*/ 3110853 h 4833373"/>
              <a:gd name="connsiteX16" fmla="*/ 2264443 w 4701378"/>
              <a:gd name="connsiteY16" fmla="*/ 3281801 h 4833373"/>
              <a:gd name="connsiteX17" fmla="*/ 1318960 w 4701378"/>
              <a:gd name="connsiteY17" fmla="*/ 3463278 h 4833373"/>
              <a:gd name="connsiteX18" fmla="*/ 637673 w 4701378"/>
              <a:gd name="connsiteY18" fmla="*/ 3690373 h 4833373"/>
              <a:gd name="connsiteX19" fmla="*/ 348914 w 4701378"/>
              <a:gd name="connsiteY19" fmla="*/ 3894911 h 4833373"/>
              <a:gd name="connsiteX20" fmla="*/ 96251 w 4701378"/>
              <a:gd name="connsiteY20" fmla="*/ 4195700 h 4833373"/>
              <a:gd name="connsiteX21" fmla="*/ 0 w 4701378"/>
              <a:gd name="connsiteY21" fmla="*/ 4460394 h 4833373"/>
              <a:gd name="connsiteX0" fmla="*/ 0 w 4701378"/>
              <a:gd name="connsiteY0" fmla="*/ 4460394 h 4833373"/>
              <a:gd name="connsiteX1" fmla="*/ 577515 w 4701378"/>
              <a:gd name="connsiteY1" fmla="*/ 4833373 h 4833373"/>
              <a:gd name="connsiteX2" fmla="*/ 1022683 w 4701378"/>
              <a:gd name="connsiteY2" fmla="*/ 4388205 h 4833373"/>
              <a:gd name="connsiteX3" fmla="*/ 2370220 w 4701378"/>
              <a:gd name="connsiteY3" fmla="*/ 4051320 h 4833373"/>
              <a:gd name="connsiteX4" fmla="*/ 3026944 w 4701378"/>
              <a:gd name="connsiteY4" fmla="*/ 3913960 h 4833373"/>
              <a:gd name="connsiteX5" fmla="*/ 3981950 w 4701378"/>
              <a:gd name="connsiteY5" fmla="*/ 2893782 h 4833373"/>
              <a:gd name="connsiteX6" fmla="*/ 4235115 w 4701378"/>
              <a:gd name="connsiteY6" fmla="*/ 2330805 h 4833373"/>
              <a:gd name="connsiteX7" fmla="*/ 4379494 w 4701378"/>
              <a:gd name="connsiteY7" fmla="*/ 1564794 h 4833373"/>
              <a:gd name="connsiteX8" fmla="*/ 4698158 w 4701378"/>
              <a:gd name="connsiteY8" fmla="*/ 459264 h 4833373"/>
              <a:gd name="connsiteX9" fmla="*/ 4162927 w 4701378"/>
              <a:gd name="connsiteY9" fmla="*/ 0 h 4833373"/>
              <a:gd name="connsiteX10" fmla="*/ 3645568 w 4701378"/>
              <a:gd name="connsiteY10" fmla="*/ 850920 h 4833373"/>
              <a:gd name="connsiteX11" fmla="*/ 3719260 w 4701378"/>
              <a:gd name="connsiteY11" fmla="*/ 1329678 h 4833373"/>
              <a:gd name="connsiteX12" fmla="*/ 3719260 w 4701378"/>
              <a:gd name="connsiteY12" fmla="*/ 1682103 h 4833373"/>
              <a:gd name="connsiteX13" fmla="*/ 3063540 w 4701378"/>
              <a:gd name="connsiteY13" fmla="*/ 2860194 h 4833373"/>
              <a:gd name="connsiteX14" fmla="*/ 2642935 w 4701378"/>
              <a:gd name="connsiteY14" fmla="*/ 3110853 h 4833373"/>
              <a:gd name="connsiteX15" fmla="*/ 2264443 w 4701378"/>
              <a:gd name="connsiteY15" fmla="*/ 3281801 h 4833373"/>
              <a:gd name="connsiteX16" fmla="*/ 1318960 w 4701378"/>
              <a:gd name="connsiteY16" fmla="*/ 3463278 h 4833373"/>
              <a:gd name="connsiteX17" fmla="*/ 637673 w 4701378"/>
              <a:gd name="connsiteY17" fmla="*/ 3690373 h 4833373"/>
              <a:gd name="connsiteX18" fmla="*/ 348914 w 4701378"/>
              <a:gd name="connsiteY18" fmla="*/ 3894911 h 4833373"/>
              <a:gd name="connsiteX19" fmla="*/ 96251 w 4701378"/>
              <a:gd name="connsiteY19" fmla="*/ 4195700 h 4833373"/>
              <a:gd name="connsiteX20" fmla="*/ 0 w 4701378"/>
              <a:gd name="connsiteY20" fmla="*/ 4460394 h 4833373"/>
              <a:gd name="connsiteX0" fmla="*/ 3527 w 4704905"/>
              <a:gd name="connsiteY0" fmla="*/ 4460394 h 4833373"/>
              <a:gd name="connsiteX1" fmla="*/ 581042 w 4704905"/>
              <a:gd name="connsiteY1" fmla="*/ 4833373 h 4833373"/>
              <a:gd name="connsiteX2" fmla="*/ 1026210 w 4704905"/>
              <a:gd name="connsiteY2" fmla="*/ 4388205 h 4833373"/>
              <a:gd name="connsiteX3" fmla="*/ 2373747 w 4704905"/>
              <a:gd name="connsiteY3" fmla="*/ 4051320 h 4833373"/>
              <a:gd name="connsiteX4" fmla="*/ 3030471 w 4704905"/>
              <a:gd name="connsiteY4" fmla="*/ 3913960 h 4833373"/>
              <a:gd name="connsiteX5" fmla="*/ 3985477 w 4704905"/>
              <a:gd name="connsiteY5" fmla="*/ 2893782 h 4833373"/>
              <a:gd name="connsiteX6" fmla="*/ 4238642 w 4704905"/>
              <a:gd name="connsiteY6" fmla="*/ 2330805 h 4833373"/>
              <a:gd name="connsiteX7" fmla="*/ 4383021 w 4704905"/>
              <a:gd name="connsiteY7" fmla="*/ 1564794 h 4833373"/>
              <a:gd name="connsiteX8" fmla="*/ 4701685 w 4704905"/>
              <a:gd name="connsiteY8" fmla="*/ 459264 h 4833373"/>
              <a:gd name="connsiteX9" fmla="*/ 4166454 w 4704905"/>
              <a:gd name="connsiteY9" fmla="*/ 0 h 4833373"/>
              <a:gd name="connsiteX10" fmla="*/ 3649095 w 4704905"/>
              <a:gd name="connsiteY10" fmla="*/ 850920 h 4833373"/>
              <a:gd name="connsiteX11" fmla="*/ 3722787 w 4704905"/>
              <a:gd name="connsiteY11" fmla="*/ 1329678 h 4833373"/>
              <a:gd name="connsiteX12" fmla="*/ 3722787 w 4704905"/>
              <a:gd name="connsiteY12" fmla="*/ 1682103 h 4833373"/>
              <a:gd name="connsiteX13" fmla="*/ 3067067 w 4704905"/>
              <a:gd name="connsiteY13" fmla="*/ 2860194 h 4833373"/>
              <a:gd name="connsiteX14" fmla="*/ 2646462 w 4704905"/>
              <a:gd name="connsiteY14" fmla="*/ 3110853 h 4833373"/>
              <a:gd name="connsiteX15" fmla="*/ 2267970 w 4704905"/>
              <a:gd name="connsiteY15" fmla="*/ 3281801 h 4833373"/>
              <a:gd name="connsiteX16" fmla="*/ 1322487 w 4704905"/>
              <a:gd name="connsiteY16" fmla="*/ 3463278 h 4833373"/>
              <a:gd name="connsiteX17" fmla="*/ 641200 w 4704905"/>
              <a:gd name="connsiteY17" fmla="*/ 3690373 h 4833373"/>
              <a:gd name="connsiteX18" fmla="*/ 352441 w 4704905"/>
              <a:gd name="connsiteY18" fmla="*/ 3894911 h 4833373"/>
              <a:gd name="connsiteX19" fmla="*/ 3527 w 4704905"/>
              <a:gd name="connsiteY19" fmla="*/ 4460394 h 4833373"/>
              <a:gd name="connsiteX0" fmla="*/ 3527 w 4704905"/>
              <a:gd name="connsiteY0" fmla="*/ 4460394 h 4833373"/>
              <a:gd name="connsiteX1" fmla="*/ 581042 w 4704905"/>
              <a:gd name="connsiteY1" fmla="*/ 4833373 h 4833373"/>
              <a:gd name="connsiteX2" fmla="*/ 1026210 w 4704905"/>
              <a:gd name="connsiteY2" fmla="*/ 4388205 h 4833373"/>
              <a:gd name="connsiteX3" fmla="*/ 2373747 w 4704905"/>
              <a:gd name="connsiteY3" fmla="*/ 4051320 h 4833373"/>
              <a:gd name="connsiteX4" fmla="*/ 3030471 w 4704905"/>
              <a:gd name="connsiteY4" fmla="*/ 3913960 h 4833373"/>
              <a:gd name="connsiteX5" fmla="*/ 3985477 w 4704905"/>
              <a:gd name="connsiteY5" fmla="*/ 2893782 h 4833373"/>
              <a:gd name="connsiteX6" fmla="*/ 4238642 w 4704905"/>
              <a:gd name="connsiteY6" fmla="*/ 2330805 h 4833373"/>
              <a:gd name="connsiteX7" fmla="*/ 4383021 w 4704905"/>
              <a:gd name="connsiteY7" fmla="*/ 1564794 h 4833373"/>
              <a:gd name="connsiteX8" fmla="*/ 4701685 w 4704905"/>
              <a:gd name="connsiteY8" fmla="*/ 459264 h 4833373"/>
              <a:gd name="connsiteX9" fmla="*/ 4166454 w 4704905"/>
              <a:gd name="connsiteY9" fmla="*/ 0 h 4833373"/>
              <a:gd name="connsiteX10" fmla="*/ 3649095 w 4704905"/>
              <a:gd name="connsiteY10" fmla="*/ 850920 h 4833373"/>
              <a:gd name="connsiteX11" fmla="*/ 3722787 w 4704905"/>
              <a:gd name="connsiteY11" fmla="*/ 1329678 h 4833373"/>
              <a:gd name="connsiteX12" fmla="*/ 3722787 w 4704905"/>
              <a:gd name="connsiteY12" fmla="*/ 1682103 h 4833373"/>
              <a:gd name="connsiteX13" fmla="*/ 3067067 w 4704905"/>
              <a:gd name="connsiteY13" fmla="*/ 2860194 h 4833373"/>
              <a:gd name="connsiteX14" fmla="*/ 2646462 w 4704905"/>
              <a:gd name="connsiteY14" fmla="*/ 3110853 h 4833373"/>
              <a:gd name="connsiteX15" fmla="*/ 2267970 w 4704905"/>
              <a:gd name="connsiteY15" fmla="*/ 3281801 h 4833373"/>
              <a:gd name="connsiteX16" fmla="*/ 1322487 w 4704905"/>
              <a:gd name="connsiteY16" fmla="*/ 3463278 h 4833373"/>
              <a:gd name="connsiteX17" fmla="*/ 352441 w 4704905"/>
              <a:gd name="connsiteY17" fmla="*/ 3894911 h 4833373"/>
              <a:gd name="connsiteX18" fmla="*/ 3527 w 4704905"/>
              <a:gd name="connsiteY18" fmla="*/ 4460394 h 4833373"/>
              <a:gd name="connsiteX0" fmla="*/ 3060 w 4704438"/>
              <a:gd name="connsiteY0" fmla="*/ 4460394 h 4833373"/>
              <a:gd name="connsiteX1" fmla="*/ 580575 w 4704438"/>
              <a:gd name="connsiteY1" fmla="*/ 4833373 h 4833373"/>
              <a:gd name="connsiteX2" fmla="*/ 1025743 w 4704438"/>
              <a:gd name="connsiteY2" fmla="*/ 4388205 h 4833373"/>
              <a:gd name="connsiteX3" fmla="*/ 2373280 w 4704438"/>
              <a:gd name="connsiteY3" fmla="*/ 4051320 h 4833373"/>
              <a:gd name="connsiteX4" fmla="*/ 3030004 w 4704438"/>
              <a:gd name="connsiteY4" fmla="*/ 3913960 h 4833373"/>
              <a:gd name="connsiteX5" fmla="*/ 3985010 w 4704438"/>
              <a:gd name="connsiteY5" fmla="*/ 2893782 h 4833373"/>
              <a:gd name="connsiteX6" fmla="*/ 4238175 w 4704438"/>
              <a:gd name="connsiteY6" fmla="*/ 2330805 h 4833373"/>
              <a:gd name="connsiteX7" fmla="*/ 4382554 w 4704438"/>
              <a:gd name="connsiteY7" fmla="*/ 1564794 h 4833373"/>
              <a:gd name="connsiteX8" fmla="*/ 4701218 w 4704438"/>
              <a:gd name="connsiteY8" fmla="*/ 459264 h 4833373"/>
              <a:gd name="connsiteX9" fmla="*/ 4165987 w 4704438"/>
              <a:gd name="connsiteY9" fmla="*/ 0 h 4833373"/>
              <a:gd name="connsiteX10" fmla="*/ 3648628 w 4704438"/>
              <a:gd name="connsiteY10" fmla="*/ 850920 h 4833373"/>
              <a:gd name="connsiteX11" fmla="*/ 3722320 w 4704438"/>
              <a:gd name="connsiteY11" fmla="*/ 1329678 h 4833373"/>
              <a:gd name="connsiteX12" fmla="*/ 3722320 w 4704438"/>
              <a:gd name="connsiteY12" fmla="*/ 1682103 h 4833373"/>
              <a:gd name="connsiteX13" fmla="*/ 3066600 w 4704438"/>
              <a:gd name="connsiteY13" fmla="*/ 2860194 h 4833373"/>
              <a:gd name="connsiteX14" fmla="*/ 2645995 w 4704438"/>
              <a:gd name="connsiteY14" fmla="*/ 3110853 h 4833373"/>
              <a:gd name="connsiteX15" fmla="*/ 2267503 w 4704438"/>
              <a:gd name="connsiteY15" fmla="*/ 3281801 h 4833373"/>
              <a:gd name="connsiteX16" fmla="*/ 1322020 w 4704438"/>
              <a:gd name="connsiteY16" fmla="*/ 3463278 h 4833373"/>
              <a:gd name="connsiteX17" fmla="*/ 399599 w 4704438"/>
              <a:gd name="connsiteY17" fmla="*/ 3952061 h 4833373"/>
              <a:gd name="connsiteX18" fmla="*/ 3060 w 4704438"/>
              <a:gd name="connsiteY18" fmla="*/ 4460394 h 4833373"/>
              <a:gd name="connsiteX0" fmla="*/ 3060 w 4704438"/>
              <a:gd name="connsiteY0" fmla="*/ 4460394 h 4833373"/>
              <a:gd name="connsiteX1" fmla="*/ 580575 w 4704438"/>
              <a:gd name="connsiteY1" fmla="*/ 4833373 h 4833373"/>
              <a:gd name="connsiteX2" fmla="*/ 1025743 w 4704438"/>
              <a:gd name="connsiteY2" fmla="*/ 4388205 h 4833373"/>
              <a:gd name="connsiteX3" fmla="*/ 2373280 w 4704438"/>
              <a:gd name="connsiteY3" fmla="*/ 4051320 h 4833373"/>
              <a:gd name="connsiteX4" fmla="*/ 3030004 w 4704438"/>
              <a:gd name="connsiteY4" fmla="*/ 3913960 h 4833373"/>
              <a:gd name="connsiteX5" fmla="*/ 3985010 w 4704438"/>
              <a:gd name="connsiteY5" fmla="*/ 2893782 h 4833373"/>
              <a:gd name="connsiteX6" fmla="*/ 4238175 w 4704438"/>
              <a:gd name="connsiteY6" fmla="*/ 2330805 h 4833373"/>
              <a:gd name="connsiteX7" fmla="*/ 4382554 w 4704438"/>
              <a:gd name="connsiteY7" fmla="*/ 1564794 h 4833373"/>
              <a:gd name="connsiteX8" fmla="*/ 4701218 w 4704438"/>
              <a:gd name="connsiteY8" fmla="*/ 459264 h 4833373"/>
              <a:gd name="connsiteX9" fmla="*/ 4165987 w 4704438"/>
              <a:gd name="connsiteY9" fmla="*/ 0 h 4833373"/>
              <a:gd name="connsiteX10" fmla="*/ 3648628 w 4704438"/>
              <a:gd name="connsiteY10" fmla="*/ 850920 h 4833373"/>
              <a:gd name="connsiteX11" fmla="*/ 3722320 w 4704438"/>
              <a:gd name="connsiteY11" fmla="*/ 1329678 h 4833373"/>
              <a:gd name="connsiteX12" fmla="*/ 3722320 w 4704438"/>
              <a:gd name="connsiteY12" fmla="*/ 1682103 h 4833373"/>
              <a:gd name="connsiteX13" fmla="*/ 3066600 w 4704438"/>
              <a:gd name="connsiteY13" fmla="*/ 2860194 h 4833373"/>
              <a:gd name="connsiteX14" fmla="*/ 2645995 w 4704438"/>
              <a:gd name="connsiteY14" fmla="*/ 3110853 h 4833373"/>
              <a:gd name="connsiteX15" fmla="*/ 2267503 w 4704438"/>
              <a:gd name="connsiteY15" fmla="*/ 3281801 h 4833373"/>
              <a:gd name="connsiteX16" fmla="*/ 1322020 w 4704438"/>
              <a:gd name="connsiteY16" fmla="*/ 3463278 h 4833373"/>
              <a:gd name="connsiteX17" fmla="*/ 399599 w 4704438"/>
              <a:gd name="connsiteY17" fmla="*/ 3952061 h 4833373"/>
              <a:gd name="connsiteX18" fmla="*/ 3060 w 4704438"/>
              <a:gd name="connsiteY18" fmla="*/ 4460394 h 4833373"/>
              <a:gd name="connsiteX0" fmla="*/ 2586 w 4703964"/>
              <a:gd name="connsiteY0" fmla="*/ 4460394 h 4833373"/>
              <a:gd name="connsiteX1" fmla="*/ 580101 w 4703964"/>
              <a:gd name="connsiteY1" fmla="*/ 4833373 h 4833373"/>
              <a:gd name="connsiteX2" fmla="*/ 1025269 w 4703964"/>
              <a:gd name="connsiteY2" fmla="*/ 4388205 h 4833373"/>
              <a:gd name="connsiteX3" fmla="*/ 2372806 w 4703964"/>
              <a:gd name="connsiteY3" fmla="*/ 4051320 h 4833373"/>
              <a:gd name="connsiteX4" fmla="*/ 3029530 w 4703964"/>
              <a:gd name="connsiteY4" fmla="*/ 3913960 h 4833373"/>
              <a:gd name="connsiteX5" fmla="*/ 3984536 w 4703964"/>
              <a:gd name="connsiteY5" fmla="*/ 2893782 h 4833373"/>
              <a:gd name="connsiteX6" fmla="*/ 4237701 w 4703964"/>
              <a:gd name="connsiteY6" fmla="*/ 2330805 h 4833373"/>
              <a:gd name="connsiteX7" fmla="*/ 4382080 w 4703964"/>
              <a:gd name="connsiteY7" fmla="*/ 1564794 h 4833373"/>
              <a:gd name="connsiteX8" fmla="*/ 4700744 w 4703964"/>
              <a:gd name="connsiteY8" fmla="*/ 459264 h 4833373"/>
              <a:gd name="connsiteX9" fmla="*/ 4165513 w 4703964"/>
              <a:gd name="connsiteY9" fmla="*/ 0 h 4833373"/>
              <a:gd name="connsiteX10" fmla="*/ 3648154 w 4703964"/>
              <a:gd name="connsiteY10" fmla="*/ 850920 h 4833373"/>
              <a:gd name="connsiteX11" fmla="*/ 3721846 w 4703964"/>
              <a:gd name="connsiteY11" fmla="*/ 1329678 h 4833373"/>
              <a:gd name="connsiteX12" fmla="*/ 3721846 w 4703964"/>
              <a:gd name="connsiteY12" fmla="*/ 1682103 h 4833373"/>
              <a:gd name="connsiteX13" fmla="*/ 3066126 w 4703964"/>
              <a:gd name="connsiteY13" fmla="*/ 2860194 h 4833373"/>
              <a:gd name="connsiteX14" fmla="*/ 2645521 w 4703964"/>
              <a:gd name="connsiteY14" fmla="*/ 3110853 h 4833373"/>
              <a:gd name="connsiteX15" fmla="*/ 2267029 w 4703964"/>
              <a:gd name="connsiteY15" fmla="*/ 3281801 h 4833373"/>
              <a:gd name="connsiteX16" fmla="*/ 1321546 w 4703964"/>
              <a:gd name="connsiteY16" fmla="*/ 3463278 h 4833373"/>
              <a:gd name="connsiteX17" fmla="*/ 399125 w 4703964"/>
              <a:gd name="connsiteY17" fmla="*/ 3952061 h 4833373"/>
              <a:gd name="connsiteX18" fmla="*/ 2586 w 4703964"/>
              <a:gd name="connsiteY18" fmla="*/ 4460394 h 4833373"/>
              <a:gd name="connsiteX0" fmla="*/ 2586 w 4703964"/>
              <a:gd name="connsiteY0" fmla="*/ 4460394 h 4833373"/>
              <a:gd name="connsiteX1" fmla="*/ 580101 w 4703964"/>
              <a:gd name="connsiteY1" fmla="*/ 4833373 h 4833373"/>
              <a:gd name="connsiteX2" fmla="*/ 1025269 w 4703964"/>
              <a:gd name="connsiteY2" fmla="*/ 4388205 h 4833373"/>
              <a:gd name="connsiteX3" fmla="*/ 2372806 w 4703964"/>
              <a:gd name="connsiteY3" fmla="*/ 4051320 h 4833373"/>
              <a:gd name="connsiteX4" fmla="*/ 3029530 w 4703964"/>
              <a:gd name="connsiteY4" fmla="*/ 3913960 h 4833373"/>
              <a:gd name="connsiteX5" fmla="*/ 3984536 w 4703964"/>
              <a:gd name="connsiteY5" fmla="*/ 2893782 h 4833373"/>
              <a:gd name="connsiteX6" fmla="*/ 4237701 w 4703964"/>
              <a:gd name="connsiteY6" fmla="*/ 2330805 h 4833373"/>
              <a:gd name="connsiteX7" fmla="*/ 4382080 w 4703964"/>
              <a:gd name="connsiteY7" fmla="*/ 1564794 h 4833373"/>
              <a:gd name="connsiteX8" fmla="*/ 4700744 w 4703964"/>
              <a:gd name="connsiteY8" fmla="*/ 459264 h 4833373"/>
              <a:gd name="connsiteX9" fmla="*/ 4165513 w 4703964"/>
              <a:gd name="connsiteY9" fmla="*/ 0 h 4833373"/>
              <a:gd name="connsiteX10" fmla="*/ 3648154 w 4703964"/>
              <a:gd name="connsiteY10" fmla="*/ 850920 h 4833373"/>
              <a:gd name="connsiteX11" fmla="*/ 3721846 w 4703964"/>
              <a:gd name="connsiteY11" fmla="*/ 1329678 h 4833373"/>
              <a:gd name="connsiteX12" fmla="*/ 3721846 w 4703964"/>
              <a:gd name="connsiteY12" fmla="*/ 1682103 h 4833373"/>
              <a:gd name="connsiteX13" fmla="*/ 3066126 w 4703964"/>
              <a:gd name="connsiteY13" fmla="*/ 2860194 h 4833373"/>
              <a:gd name="connsiteX14" fmla="*/ 2645521 w 4703964"/>
              <a:gd name="connsiteY14" fmla="*/ 3110853 h 4833373"/>
              <a:gd name="connsiteX15" fmla="*/ 2267029 w 4703964"/>
              <a:gd name="connsiteY15" fmla="*/ 3281801 h 4833373"/>
              <a:gd name="connsiteX16" fmla="*/ 1321546 w 4703964"/>
              <a:gd name="connsiteY16" fmla="*/ 3463278 h 4833373"/>
              <a:gd name="connsiteX17" fmla="*/ 399125 w 4703964"/>
              <a:gd name="connsiteY17" fmla="*/ 3952061 h 4833373"/>
              <a:gd name="connsiteX18" fmla="*/ 2586 w 4703964"/>
              <a:gd name="connsiteY18" fmla="*/ 4460394 h 4833373"/>
              <a:gd name="connsiteX0" fmla="*/ 4429 w 4705807"/>
              <a:gd name="connsiteY0" fmla="*/ 4460394 h 4833373"/>
              <a:gd name="connsiteX1" fmla="*/ 581944 w 4705807"/>
              <a:gd name="connsiteY1" fmla="*/ 4833373 h 4833373"/>
              <a:gd name="connsiteX2" fmla="*/ 1027112 w 4705807"/>
              <a:gd name="connsiteY2" fmla="*/ 4388205 h 4833373"/>
              <a:gd name="connsiteX3" fmla="*/ 2374649 w 4705807"/>
              <a:gd name="connsiteY3" fmla="*/ 4051320 h 4833373"/>
              <a:gd name="connsiteX4" fmla="*/ 3031373 w 4705807"/>
              <a:gd name="connsiteY4" fmla="*/ 3913960 h 4833373"/>
              <a:gd name="connsiteX5" fmla="*/ 3986379 w 4705807"/>
              <a:gd name="connsiteY5" fmla="*/ 2893782 h 4833373"/>
              <a:gd name="connsiteX6" fmla="*/ 4239544 w 4705807"/>
              <a:gd name="connsiteY6" fmla="*/ 2330805 h 4833373"/>
              <a:gd name="connsiteX7" fmla="*/ 4383923 w 4705807"/>
              <a:gd name="connsiteY7" fmla="*/ 1564794 h 4833373"/>
              <a:gd name="connsiteX8" fmla="*/ 4702587 w 4705807"/>
              <a:gd name="connsiteY8" fmla="*/ 459264 h 4833373"/>
              <a:gd name="connsiteX9" fmla="*/ 4167356 w 4705807"/>
              <a:gd name="connsiteY9" fmla="*/ 0 h 4833373"/>
              <a:gd name="connsiteX10" fmla="*/ 3649997 w 4705807"/>
              <a:gd name="connsiteY10" fmla="*/ 850920 h 4833373"/>
              <a:gd name="connsiteX11" fmla="*/ 3723689 w 4705807"/>
              <a:gd name="connsiteY11" fmla="*/ 1329678 h 4833373"/>
              <a:gd name="connsiteX12" fmla="*/ 3723689 w 4705807"/>
              <a:gd name="connsiteY12" fmla="*/ 1682103 h 4833373"/>
              <a:gd name="connsiteX13" fmla="*/ 3067969 w 4705807"/>
              <a:gd name="connsiteY13" fmla="*/ 2860194 h 4833373"/>
              <a:gd name="connsiteX14" fmla="*/ 2647364 w 4705807"/>
              <a:gd name="connsiteY14" fmla="*/ 3110853 h 4833373"/>
              <a:gd name="connsiteX15" fmla="*/ 2268872 w 4705807"/>
              <a:gd name="connsiteY15" fmla="*/ 3281801 h 4833373"/>
              <a:gd name="connsiteX16" fmla="*/ 1323389 w 4705807"/>
              <a:gd name="connsiteY16" fmla="*/ 3463278 h 4833373"/>
              <a:gd name="connsiteX17" fmla="*/ 400968 w 4705807"/>
              <a:gd name="connsiteY17" fmla="*/ 3952061 h 4833373"/>
              <a:gd name="connsiteX18" fmla="*/ 4429 w 4705807"/>
              <a:gd name="connsiteY18" fmla="*/ 4460394 h 4833373"/>
              <a:gd name="connsiteX0" fmla="*/ 3848 w 4705226"/>
              <a:gd name="connsiteY0" fmla="*/ 4460394 h 4833373"/>
              <a:gd name="connsiteX1" fmla="*/ 581363 w 4705226"/>
              <a:gd name="connsiteY1" fmla="*/ 4833373 h 4833373"/>
              <a:gd name="connsiteX2" fmla="*/ 1026531 w 4705226"/>
              <a:gd name="connsiteY2" fmla="*/ 4388205 h 4833373"/>
              <a:gd name="connsiteX3" fmla="*/ 2374068 w 4705226"/>
              <a:gd name="connsiteY3" fmla="*/ 4051320 h 4833373"/>
              <a:gd name="connsiteX4" fmla="*/ 3030792 w 4705226"/>
              <a:gd name="connsiteY4" fmla="*/ 3913960 h 4833373"/>
              <a:gd name="connsiteX5" fmla="*/ 3985798 w 4705226"/>
              <a:gd name="connsiteY5" fmla="*/ 2893782 h 4833373"/>
              <a:gd name="connsiteX6" fmla="*/ 4238963 w 4705226"/>
              <a:gd name="connsiteY6" fmla="*/ 2330805 h 4833373"/>
              <a:gd name="connsiteX7" fmla="*/ 4383342 w 4705226"/>
              <a:gd name="connsiteY7" fmla="*/ 1564794 h 4833373"/>
              <a:gd name="connsiteX8" fmla="*/ 4702006 w 4705226"/>
              <a:gd name="connsiteY8" fmla="*/ 459264 h 4833373"/>
              <a:gd name="connsiteX9" fmla="*/ 4166775 w 4705226"/>
              <a:gd name="connsiteY9" fmla="*/ 0 h 4833373"/>
              <a:gd name="connsiteX10" fmla="*/ 3649416 w 4705226"/>
              <a:gd name="connsiteY10" fmla="*/ 850920 h 4833373"/>
              <a:gd name="connsiteX11" fmla="*/ 3723108 w 4705226"/>
              <a:gd name="connsiteY11" fmla="*/ 1329678 h 4833373"/>
              <a:gd name="connsiteX12" fmla="*/ 3723108 w 4705226"/>
              <a:gd name="connsiteY12" fmla="*/ 1682103 h 4833373"/>
              <a:gd name="connsiteX13" fmla="*/ 3067388 w 4705226"/>
              <a:gd name="connsiteY13" fmla="*/ 2860194 h 4833373"/>
              <a:gd name="connsiteX14" fmla="*/ 2646783 w 4705226"/>
              <a:gd name="connsiteY14" fmla="*/ 3110853 h 4833373"/>
              <a:gd name="connsiteX15" fmla="*/ 2268291 w 4705226"/>
              <a:gd name="connsiteY15" fmla="*/ 3281801 h 4833373"/>
              <a:gd name="connsiteX16" fmla="*/ 1322808 w 4705226"/>
              <a:gd name="connsiteY16" fmla="*/ 3463278 h 4833373"/>
              <a:gd name="connsiteX17" fmla="*/ 438487 w 4705226"/>
              <a:gd name="connsiteY17" fmla="*/ 3894911 h 4833373"/>
              <a:gd name="connsiteX18" fmla="*/ 3848 w 4705226"/>
              <a:gd name="connsiteY18" fmla="*/ 4460394 h 4833373"/>
              <a:gd name="connsiteX0" fmla="*/ 4755 w 4706133"/>
              <a:gd name="connsiteY0" fmla="*/ 4460394 h 4833373"/>
              <a:gd name="connsiteX1" fmla="*/ 582270 w 4706133"/>
              <a:gd name="connsiteY1" fmla="*/ 4833373 h 4833373"/>
              <a:gd name="connsiteX2" fmla="*/ 1027438 w 4706133"/>
              <a:gd name="connsiteY2" fmla="*/ 4388205 h 4833373"/>
              <a:gd name="connsiteX3" fmla="*/ 2374975 w 4706133"/>
              <a:gd name="connsiteY3" fmla="*/ 4051320 h 4833373"/>
              <a:gd name="connsiteX4" fmla="*/ 3031699 w 4706133"/>
              <a:gd name="connsiteY4" fmla="*/ 3913960 h 4833373"/>
              <a:gd name="connsiteX5" fmla="*/ 3986705 w 4706133"/>
              <a:gd name="connsiteY5" fmla="*/ 2893782 h 4833373"/>
              <a:gd name="connsiteX6" fmla="*/ 4239870 w 4706133"/>
              <a:gd name="connsiteY6" fmla="*/ 2330805 h 4833373"/>
              <a:gd name="connsiteX7" fmla="*/ 4384249 w 4706133"/>
              <a:gd name="connsiteY7" fmla="*/ 1564794 h 4833373"/>
              <a:gd name="connsiteX8" fmla="*/ 4702913 w 4706133"/>
              <a:gd name="connsiteY8" fmla="*/ 459264 h 4833373"/>
              <a:gd name="connsiteX9" fmla="*/ 4167682 w 4706133"/>
              <a:gd name="connsiteY9" fmla="*/ 0 h 4833373"/>
              <a:gd name="connsiteX10" fmla="*/ 3650323 w 4706133"/>
              <a:gd name="connsiteY10" fmla="*/ 850920 h 4833373"/>
              <a:gd name="connsiteX11" fmla="*/ 3724015 w 4706133"/>
              <a:gd name="connsiteY11" fmla="*/ 1329678 h 4833373"/>
              <a:gd name="connsiteX12" fmla="*/ 3724015 w 4706133"/>
              <a:gd name="connsiteY12" fmla="*/ 1682103 h 4833373"/>
              <a:gd name="connsiteX13" fmla="*/ 3068295 w 4706133"/>
              <a:gd name="connsiteY13" fmla="*/ 2860194 h 4833373"/>
              <a:gd name="connsiteX14" fmla="*/ 2647690 w 4706133"/>
              <a:gd name="connsiteY14" fmla="*/ 3110853 h 4833373"/>
              <a:gd name="connsiteX15" fmla="*/ 2269198 w 4706133"/>
              <a:gd name="connsiteY15" fmla="*/ 3281801 h 4833373"/>
              <a:gd name="connsiteX16" fmla="*/ 1323715 w 4706133"/>
              <a:gd name="connsiteY16" fmla="*/ 3463278 h 4833373"/>
              <a:gd name="connsiteX17" fmla="*/ 439394 w 4706133"/>
              <a:gd name="connsiteY17" fmla="*/ 3894911 h 4833373"/>
              <a:gd name="connsiteX18" fmla="*/ 4755 w 4706133"/>
              <a:gd name="connsiteY18" fmla="*/ 4460394 h 4833373"/>
              <a:gd name="connsiteX0" fmla="*/ 4755 w 4706133"/>
              <a:gd name="connsiteY0" fmla="*/ 4460394 h 4833373"/>
              <a:gd name="connsiteX1" fmla="*/ 582270 w 4706133"/>
              <a:gd name="connsiteY1" fmla="*/ 4833373 h 4833373"/>
              <a:gd name="connsiteX2" fmla="*/ 1027438 w 4706133"/>
              <a:gd name="connsiteY2" fmla="*/ 4388205 h 4833373"/>
              <a:gd name="connsiteX3" fmla="*/ 2374975 w 4706133"/>
              <a:gd name="connsiteY3" fmla="*/ 4051320 h 4833373"/>
              <a:gd name="connsiteX4" fmla="*/ 3031699 w 4706133"/>
              <a:gd name="connsiteY4" fmla="*/ 3913960 h 4833373"/>
              <a:gd name="connsiteX5" fmla="*/ 3986705 w 4706133"/>
              <a:gd name="connsiteY5" fmla="*/ 2893782 h 4833373"/>
              <a:gd name="connsiteX6" fmla="*/ 4239870 w 4706133"/>
              <a:gd name="connsiteY6" fmla="*/ 2330805 h 4833373"/>
              <a:gd name="connsiteX7" fmla="*/ 4384249 w 4706133"/>
              <a:gd name="connsiteY7" fmla="*/ 1564794 h 4833373"/>
              <a:gd name="connsiteX8" fmla="*/ 4702913 w 4706133"/>
              <a:gd name="connsiteY8" fmla="*/ 459264 h 4833373"/>
              <a:gd name="connsiteX9" fmla="*/ 4167682 w 4706133"/>
              <a:gd name="connsiteY9" fmla="*/ 0 h 4833373"/>
              <a:gd name="connsiteX10" fmla="*/ 3650323 w 4706133"/>
              <a:gd name="connsiteY10" fmla="*/ 850920 h 4833373"/>
              <a:gd name="connsiteX11" fmla="*/ 3724015 w 4706133"/>
              <a:gd name="connsiteY11" fmla="*/ 1329678 h 4833373"/>
              <a:gd name="connsiteX12" fmla="*/ 3724015 w 4706133"/>
              <a:gd name="connsiteY12" fmla="*/ 1682103 h 4833373"/>
              <a:gd name="connsiteX13" fmla="*/ 3068295 w 4706133"/>
              <a:gd name="connsiteY13" fmla="*/ 2860194 h 4833373"/>
              <a:gd name="connsiteX14" fmla="*/ 2647690 w 4706133"/>
              <a:gd name="connsiteY14" fmla="*/ 3110853 h 4833373"/>
              <a:gd name="connsiteX15" fmla="*/ 2269198 w 4706133"/>
              <a:gd name="connsiteY15" fmla="*/ 3281801 h 4833373"/>
              <a:gd name="connsiteX16" fmla="*/ 1323715 w 4706133"/>
              <a:gd name="connsiteY16" fmla="*/ 3463278 h 4833373"/>
              <a:gd name="connsiteX17" fmla="*/ 439394 w 4706133"/>
              <a:gd name="connsiteY17" fmla="*/ 3894911 h 4833373"/>
              <a:gd name="connsiteX18" fmla="*/ 4755 w 4706133"/>
              <a:gd name="connsiteY18" fmla="*/ 4460394 h 4833373"/>
              <a:gd name="connsiteX0" fmla="*/ 5930 w 4707308"/>
              <a:gd name="connsiteY0" fmla="*/ 4460394 h 4833373"/>
              <a:gd name="connsiteX1" fmla="*/ 583445 w 4707308"/>
              <a:gd name="connsiteY1" fmla="*/ 4833373 h 4833373"/>
              <a:gd name="connsiteX2" fmla="*/ 1028613 w 4707308"/>
              <a:gd name="connsiteY2" fmla="*/ 4388205 h 4833373"/>
              <a:gd name="connsiteX3" fmla="*/ 2376150 w 4707308"/>
              <a:gd name="connsiteY3" fmla="*/ 4051320 h 4833373"/>
              <a:gd name="connsiteX4" fmla="*/ 3032874 w 4707308"/>
              <a:gd name="connsiteY4" fmla="*/ 3913960 h 4833373"/>
              <a:gd name="connsiteX5" fmla="*/ 3987880 w 4707308"/>
              <a:gd name="connsiteY5" fmla="*/ 2893782 h 4833373"/>
              <a:gd name="connsiteX6" fmla="*/ 4241045 w 4707308"/>
              <a:gd name="connsiteY6" fmla="*/ 2330805 h 4833373"/>
              <a:gd name="connsiteX7" fmla="*/ 4385424 w 4707308"/>
              <a:gd name="connsiteY7" fmla="*/ 1564794 h 4833373"/>
              <a:gd name="connsiteX8" fmla="*/ 4704088 w 4707308"/>
              <a:gd name="connsiteY8" fmla="*/ 459264 h 4833373"/>
              <a:gd name="connsiteX9" fmla="*/ 4168857 w 4707308"/>
              <a:gd name="connsiteY9" fmla="*/ 0 h 4833373"/>
              <a:gd name="connsiteX10" fmla="*/ 3651498 w 4707308"/>
              <a:gd name="connsiteY10" fmla="*/ 850920 h 4833373"/>
              <a:gd name="connsiteX11" fmla="*/ 3725190 w 4707308"/>
              <a:gd name="connsiteY11" fmla="*/ 1329678 h 4833373"/>
              <a:gd name="connsiteX12" fmla="*/ 3725190 w 4707308"/>
              <a:gd name="connsiteY12" fmla="*/ 1682103 h 4833373"/>
              <a:gd name="connsiteX13" fmla="*/ 3069470 w 4707308"/>
              <a:gd name="connsiteY13" fmla="*/ 2860194 h 4833373"/>
              <a:gd name="connsiteX14" fmla="*/ 2648865 w 4707308"/>
              <a:gd name="connsiteY14" fmla="*/ 3110853 h 4833373"/>
              <a:gd name="connsiteX15" fmla="*/ 2270373 w 4707308"/>
              <a:gd name="connsiteY15" fmla="*/ 3281801 h 4833373"/>
              <a:gd name="connsiteX16" fmla="*/ 1324890 w 4707308"/>
              <a:gd name="connsiteY16" fmla="*/ 3463278 h 4833373"/>
              <a:gd name="connsiteX17" fmla="*/ 392944 w 4707308"/>
              <a:gd name="connsiteY17" fmla="*/ 3856811 h 4833373"/>
              <a:gd name="connsiteX18" fmla="*/ 5930 w 4707308"/>
              <a:gd name="connsiteY18" fmla="*/ 4460394 h 4833373"/>
              <a:gd name="connsiteX0" fmla="*/ 6567 w 4707945"/>
              <a:gd name="connsiteY0" fmla="*/ 4460394 h 4833373"/>
              <a:gd name="connsiteX1" fmla="*/ 584082 w 4707945"/>
              <a:gd name="connsiteY1" fmla="*/ 4833373 h 4833373"/>
              <a:gd name="connsiteX2" fmla="*/ 1029250 w 4707945"/>
              <a:gd name="connsiteY2" fmla="*/ 4388205 h 4833373"/>
              <a:gd name="connsiteX3" fmla="*/ 2376787 w 4707945"/>
              <a:gd name="connsiteY3" fmla="*/ 4051320 h 4833373"/>
              <a:gd name="connsiteX4" fmla="*/ 3033511 w 4707945"/>
              <a:gd name="connsiteY4" fmla="*/ 3913960 h 4833373"/>
              <a:gd name="connsiteX5" fmla="*/ 3988517 w 4707945"/>
              <a:gd name="connsiteY5" fmla="*/ 2893782 h 4833373"/>
              <a:gd name="connsiteX6" fmla="*/ 4241682 w 4707945"/>
              <a:gd name="connsiteY6" fmla="*/ 2330805 h 4833373"/>
              <a:gd name="connsiteX7" fmla="*/ 4386061 w 4707945"/>
              <a:gd name="connsiteY7" fmla="*/ 1564794 h 4833373"/>
              <a:gd name="connsiteX8" fmla="*/ 4704725 w 4707945"/>
              <a:gd name="connsiteY8" fmla="*/ 459264 h 4833373"/>
              <a:gd name="connsiteX9" fmla="*/ 4169494 w 4707945"/>
              <a:gd name="connsiteY9" fmla="*/ 0 h 4833373"/>
              <a:gd name="connsiteX10" fmla="*/ 3652135 w 4707945"/>
              <a:gd name="connsiteY10" fmla="*/ 850920 h 4833373"/>
              <a:gd name="connsiteX11" fmla="*/ 3725827 w 4707945"/>
              <a:gd name="connsiteY11" fmla="*/ 1329678 h 4833373"/>
              <a:gd name="connsiteX12" fmla="*/ 3725827 w 4707945"/>
              <a:gd name="connsiteY12" fmla="*/ 1682103 h 4833373"/>
              <a:gd name="connsiteX13" fmla="*/ 3070107 w 4707945"/>
              <a:gd name="connsiteY13" fmla="*/ 2860194 h 4833373"/>
              <a:gd name="connsiteX14" fmla="*/ 2649502 w 4707945"/>
              <a:gd name="connsiteY14" fmla="*/ 3110853 h 4833373"/>
              <a:gd name="connsiteX15" fmla="*/ 2271010 w 4707945"/>
              <a:gd name="connsiteY15" fmla="*/ 3281801 h 4833373"/>
              <a:gd name="connsiteX16" fmla="*/ 1325527 w 4707945"/>
              <a:gd name="connsiteY16" fmla="*/ 3463278 h 4833373"/>
              <a:gd name="connsiteX17" fmla="*/ 374531 w 4707945"/>
              <a:gd name="connsiteY17" fmla="*/ 3818711 h 4833373"/>
              <a:gd name="connsiteX18" fmla="*/ 6567 w 4707945"/>
              <a:gd name="connsiteY18" fmla="*/ 4460394 h 4833373"/>
              <a:gd name="connsiteX0" fmla="*/ 5953 w 4707331"/>
              <a:gd name="connsiteY0" fmla="*/ 4460394 h 4833373"/>
              <a:gd name="connsiteX1" fmla="*/ 583468 w 4707331"/>
              <a:gd name="connsiteY1" fmla="*/ 4833373 h 4833373"/>
              <a:gd name="connsiteX2" fmla="*/ 1028636 w 4707331"/>
              <a:gd name="connsiteY2" fmla="*/ 4388205 h 4833373"/>
              <a:gd name="connsiteX3" fmla="*/ 2376173 w 4707331"/>
              <a:gd name="connsiteY3" fmla="*/ 4051320 h 4833373"/>
              <a:gd name="connsiteX4" fmla="*/ 3032897 w 4707331"/>
              <a:gd name="connsiteY4" fmla="*/ 3913960 h 4833373"/>
              <a:gd name="connsiteX5" fmla="*/ 3987903 w 4707331"/>
              <a:gd name="connsiteY5" fmla="*/ 2893782 h 4833373"/>
              <a:gd name="connsiteX6" fmla="*/ 4241068 w 4707331"/>
              <a:gd name="connsiteY6" fmla="*/ 2330805 h 4833373"/>
              <a:gd name="connsiteX7" fmla="*/ 4385447 w 4707331"/>
              <a:gd name="connsiteY7" fmla="*/ 1564794 h 4833373"/>
              <a:gd name="connsiteX8" fmla="*/ 4704111 w 4707331"/>
              <a:gd name="connsiteY8" fmla="*/ 459264 h 4833373"/>
              <a:gd name="connsiteX9" fmla="*/ 4168880 w 4707331"/>
              <a:gd name="connsiteY9" fmla="*/ 0 h 4833373"/>
              <a:gd name="connsiteX10" fmla="*/ 3651521 w 4707331"/>
              <a:gd name="connsiteY10" fmla="*/ 850920 h 4833373"/>
              <a:gd name="connsiteX11" fmla="*/ 3725213 w 4707331"/>
              <a:gd name="connsiteY11" fmla="*/ 1329678 h 4833373"/>
              <a:gd name="connsiteX12" fmla="*/ 3725213 w 4707331"/>
              <a:gd name="connsiteY12" fmla="*/ 1682103 h 4833373"/>
              <a:gd name="connsiteX13" fmla="*/ 3069493 w 4707331"/>
              <a:gd name="connsiteY13" fmla="*/ 2860194 h 4833373"/>
              <a:gd name="connsiteX14" fmla="*/ 2648888 w 4707331"/>
              <a:gd name="connsiteY14" fmla="*/ 3110853 h 4833373"/>
              <a:gd name="connsiteX15" fmla="*/ 2270396 w 4707331"/>
              <a:gd name="connsiteY15" fmla="*/ 3281801 h 4833373"/>
              <a:gd name="connsiteX16" fmla="*/ 1324913 w 4707331"/>
              <a:gd name="connsiteY16" fmla="*/ 3463278 h 4833373"/>
              <a:gd name="connsiteX17" fmla="*/ 373917 w 4707331"/>
              <a:gd name="connsiteY17" fmla="*/ 3818711 h 4833373"/>
              <a:gd name="connsiteX18" fmla="*/ 5953 w 4707331"/>
              <a:gd name="connsiteY18" fmla="*/ 4460394 h 4833373"/>
              <a:gd name="connsiteX0" fmla="*/ 5953 w 4707331"/>
              <a:gd name="connsiteY0" fmla="*/ 4460394 h 4833373"/>
              <a:gd name="connsiteX1" fmla="*/ 583468 w 4707331"/>
              <a:gd name="connsiteY1" fmla="*/ 4833373 h 4833373"/>
              <a:gd name="connsiteX2" fmla="*/ 1028636 w 4707331"/>
              <a:gd name="connsiteY2" fmla="*/ 4388205 h 4833373"/>
              <a:gd name="connsiteX3" fmla="*/ 2376173 w 4707331"/>
              <a:gd name="connsiteY3" fmla="*/ 4051320 h 4833373"/>
              <a:gd name="connsiteX4" fmla="*/ 3032897 w 4707331"/>
              <a:gd name="connsiteY4" fmla="*/ 3913960 h 4833373"/>
              <a:gd name="connsiteX5" fmla="*/ 3987903 w 4707331"/>
              <a:gd name="connsiteY5" fmla="*/ 2893782 h 4833373"/>
              <a:gd name="connsiteX6" fmla="*/ 4241068 w 4707331"/>
              <a:gd name="connsiteY6" fmla="*/ 2330805 h 4833373"/>
              <a:gd name="connsiteX7" fmla="*/ 4385447 w 4707331"/>
              <a:gd name="connsiteY7" fmla="*/ 1564794 h 4833373"/>
              <a:gd name="connsiteX8" fmla="*/ 4704111 w 4707331"/>
              <a:gd name="connsiteY8" fmla="*/ 459264 h 4833373"/>
              <a:gd name="connsiteX9" fmla="*/ 4168880 w 4707331"/>
              <a:gd name="connsiteY9" fmla="*/ 0 h 4833373"/>
              <a:gd name="connsiteX10" fmla="*/ 3794396 w 4707331"/>
              <a:gd name="connsiteY10" fmla="*/ 841395 h 4833373"/>
              <a:gd name="connsiteX11" fmla="*/ 3725213 w 4707331"/>
              <a:gd name="connsiteY11" fmla="*/ 1329678 h 4833373"/>
              <a:gd name="connsiteX12" fmla="*/ 3725213 w 4707331"/>
              <a:gd name="connsiteY12" fmla="*/ 1682103 h 4833373"/>
              <a:gd name="connsiteX13" fmla="*/ 3069493 w 4707331"/>
              <a:gd name="connsiteY13" fmla="*/ 2860194 h 4833373"/>
              <a:gd name="connsiteX14" fmla="*/ 2648888 w 4707331"/>
              <a:gd name="connsiteY14" fmla="*/ 3110853 h 4833373"/>
              <a:gd name="connsiteX15" fmla="*/ 2270396 w 4707331"/>
              <a:gd name="connsiteY15" fmla="*/ 3281801 h 4833373"/>
              <a:gd name="connsiteX16" fmla="*/ 1324913 w 4707331"/>
              <a:gd name="connsiteY16" fmla="*/ 3463278 h 4833373"/>
              <a:gd name="connsiteX17" fmla="*/ 373917 w 4707331"/>
              <a:gd name="connsiteY17" fmla="*/ 3818711 h 4833373"/>
              <a:gd name="connsiteX18" fmla="*/ 5953 w 4707331"/>
              <a:gd name="connsiteY18" fmla="*/ 4460394 h 4833373"/>
              <a:gd name="connsiteX0" fmla="*/ 5953 w 4707331"/>
              <a:gd name="connsiteY0" fmla="*/ 4460394 h 4833373"/>
              <a:gd name="connsiteX1" fmla="*/ 583468 w 4707331"/>
              <a:gd name="connsiteY1" fmla="*/ 4833373 h 4833373"/>
              <a:gd name="connsiteX2" fmla="*/ 1028636 w 4707331"/>
              <a:gd name="connsiteY2" fmla="*/ 4388205 h 4833373"/>
              <a:gd name="connsiteX3" fmla="*/ 2376173 w 4707331"/>
              <a:gd name="connsiteY3" fmla="*/ 4051320 h 4833373"/>
              <a:gd name="connsiteX4" fmla="*/ 3032897 w 4707331"/>
              <a:gd name="connsiteY4" fmla="*/ 3913960 h 4833373"/>
              <a:gd name="connsiteX5" fmla="*/ 3987903 w 4707331"/>
              <a:gd name="connsiteY5" fmla="*/ 2893782 h 4833373"/>
              <a:gd name="connsiteX6" fmla="*/ 4241068 w 4707331"/>
              <a:gd name="connsiteY6" fmla="*/ 2330805 h 4833373"/>
              <a:gd name="connsiteX7" fmla="*/ 4385447 w 4707331"/>
              <a:gd name="connsiteY7" fmla="*/ 1564794 h 4833373"/>
              <a:gd name="connsiteX8" fmla="*/ 4704111 w 4707331"/>
              <a:gd name="connsiteY8" fmla="*/ 459264 h 4833373"/>
              <a:gd name="connsiteX9" fmla="*/ 4168880 w 4707331"/>
              <a:gd name="connsiteY9" fmla="*/ 0 h 4833373"/>
              <a:gd name="connsiteX10" fmla="*/ 3794396 w 4707331"/>
              <a:gd name="connsiteY10" fmla="*/ 841395 h 4833373"/>
              <a:gd name="connsiteX11" fmla="*/ 3725213 w 4707331"/>
              <a:gd name="connsiteY11" fmla="*/ 1329678 h 4833373"/>
              <a:gd name="connsiteX12" fmla="*/ 3725213 w 4707331"/>
              <a:gd name="connsiteY12" fmla="*/ 1682103 h 4833373"/>
              <a:gd name="connsiteX13" fmla="*/ 3069493 w 4707331"/>
              <a:gd name="connsiteY13" fmla="*/ 2860194 h 4833373"/>
              <a:gd name="connsiteX14" fmla="*/ 2648888 w 4707331"/>
              <a:gd name="connsiteY14" fmla="*/ 3110853 h 4833373"/>
              <a:gd name="connsiteX15" fmla="*/ 2270396 w 4707331"/>
              <a:gd name="connsiteY15" fmla="*/ 3281801 h 4833373"/>
              <a:gd name="connsiteX16" fmla="*/ 1324913 w 4707331"/>
              <a:gd name="connsiteY16" fmla="*/ 3463278 h 4833373"/>
              <a:gd name="connsiteX17" fmla="*/ 373917 w 4707331"/>
              <a:gd name="connsiteY17" fmla="*/ 3818711 h 4833373"/>
              <a:gd name="connsiteX18" fmla="*/ 5953 w 4707331"/>
              <a:gd name="connsiteY18" fmla="*/ 4460394 h 4833373"/>
              <a:gd name="connsiteX0" fmla="*/ 5953 w 4707331"/>
              <a:gd name="connsiteY0" fmla="*/ 4460394 h 4833373"/>
              <a:gd name="connsiteX1" fmla="*/ 583468 w 4707331"/>
              <a:gd name="connsiteY1" fmla="*/ 4833373 h 4833373"/>
              <a:gd name="connsiteX2" fmla="*/ 1028636 w 4707331"/>
              <a:gd name="connsiteY2" fmla="*/ 4388205 h 4833373"/>
              <a:gd name="connsiteX3" fmla="*/ 2376173 w 4707331"/>
              <a:gd name="connsiteY3" fmla="*/ 4051320 h 4833373"/>
              <a:gd name="connsiteX4" fmla="*/ 3032897 w 4707331"/>
              <a:gd name="connsiteY4" fmla="*/ 3913960 h 4833373"/>
              <a:gd name="connsiteX5" fmla="*/ 3987903 w 4707331"/>
              <a:gd name="connsiteY5" fmla="*/ 2893782 h 4833373"/>
              <a:gd name="connsiteX6" fmla="*/ 4241068 w 4707331"/>
              <a:gd name="connsiteY6" fmla="*/ 2330805 h 4833373"/>
              <a:gd name="connsiteX7" fmla="*/ 4385447 w 4707331"/>
              <a:gd name="connsiteY7" fmla="*/ 1564794 h 4833373"/>
              <a:gd name="connsiteX8" fmla="*/ 4704111 w 4707331"/>
              <a:gd name="connsiteY8" fmla="*/ 459264 h 4833373"/>
              <a:gd name="connsiteX9" fmla="*/ 4168880 w 4707331"/>
              <a:gd name="connsiteY9" fmla="*/ 0 h 4833373"/>
              <a:gd name="connsiteX10" fmla="*/ 3794396 w 4707331"/>
              <a:gd name="connsiteY10" fmla="*/ 841395 h 4833373"/>
              <a:gd name="connsiteX11" fmla="*/ 3725213 w 4707331"/>
              <a:gd name="connsiteY11" fmla="*/ 1329678 h 4833373"/>
              <a:gd name="connsiteX12" fmla="*/ 3725213 w 4707331"/>
              <a:gd name="connsiteY12" fmla="*/ 1682103 h 4833373"/>
              <a:gd name="connsiteX13" fmla="*/ 3069493 w 4707331"/>
              <a:gd name="connsiteY13" fmla="*/ 2860194 h 4833373"/>
              <a:gd name="connsiteX14" fmla="*/ 2648888 w 4707331"/>
              <a:gd name="connsiteY14" fmla="*/ 3110853 h 4833373"/>
              <a:gd name="connsiteX15" fmla="*/ 2270396 w 4707331"/>
              <a:gd name="connsiteY15" fmla="*/ 3281801 h 4833373"/>
              <a:gd name="connsiteX16" fmla="*/ 1324913 w 4707331"/>
              <a:gd name="connsiteY16" fmla="*/ 3463278 h 4833373"/>
              <a:gd name="connsiteX17" fmla="*/ 373917 w 4707331"/>
              <a:gd name="connsiteY17" fmla="*/ 3818711 h 4833373"/>
              <a:gd name="connsiteX18" fmla="*/ 5953 w 4707331"/>
              <a:gd name="connsiteY18" fmla="*/ 4460394 h 4833373"/>
              <a:gd name="connsiteX0" fmla="*/ 5953 w 4707331"/>
              <a:gd name="connsiteY0" fmla="*/ 4460394 h 4833373"/>
              <a:gd name="connsiteX1" fmla="*/ 583468 w 4707331"/>
              <a:gd name="connsiteY1" fmla="*/ 4833373 h 4833373"/>
              <a:gd name="connsiteX2" fmla="*/ 1028636 w 4707331"/>
              <a:gd name="connsiteY2" fmla="*/ 4388205 h 4833373"/>
              <a:gd name="connsiteX3" fmla="*/ 2376173 w 4707331"/>
              <a:gd name="connsiteY3" fmla="*/ 4051320 h 4833373"/>
              <a:gd name="connsiteX4" fmla="*/ 3032897 w 4707331"/>
              <a:gd name="connsiteY4" fmla="*/ 3913960 h 4833373"/>
              <a:gd name="connsiteX5" fmla="*/ 3987903 w 4707331"/>
              <a:gd name="connsiteY5" fmla="*/ 2893782 h 4833373"/>
              <a:gd name="connsiteX6" fmla="*/ 4241068 w 4707331"/>
              <a:gd name="connsiteY6" fmla="*/ 2330805 h 4833373"/>
              <a:gd name="connsiteX7" fmla="*/ 4385447 w 4707331"/>
              <a:gd name="connsiteY7" fmla="*/ 1564794 h 4833373"/>
              <a:gd name="connsiteX8" fmla="*/ 4704111 w 4707331"/>
              <a:gd name="connsiteY8" fmla="*/ 459264 h 4833373"/>
              <a:gd name="connsiteX9" fmla="*/ 4168880 w 4707331"/>
              <a:gd name="connsiteY9" fmla="*/ 0 h 4833373"/>
              <a:gd name="connsiteX10" fmla="*/ 3794396 w 4707331"/>
              <a:gd name="connsiteY10" fmla="*/ 841395 h 4833373"/>
              <a:gd name="connsiteX11" fmla="*/ 3725213 w 4707331"/>
              <a:gd name="connsiteY11" fmla="*/ 1329678 h 4833373"/>
              <a:gd name="connsiteX12" fmla="*/ 3725213 w 4707331"/>
              <a:gd name="connsiteY12" fmla="*/ 1682103 h 4833373"/>
              <a:gd name="connsiteX13" fmla="*/ 3069493 w 4707331"/>
              <a:gd name="connsiteY13" fmla="*/ 2860194 h 4833373"/>
              <a:gd name="connsiteX14" fmla="*/ 2648888 w 4707331"/>
              <a:gd name="connsiteY14" fmla="*/ 3110853 h 4833373"/>
              <a:gd name="connsiteX15" fmla="*/ 2270396 w 4707331"/>
              <a:gd name="connsiteY15" fmla="*/ 3281801 h 4833373"/>
              <a:gd name="connsiteX16" fmla="*/ 1324913 w 4707331"/>
              <a:gd name="connsiteY16" fmla="*/ 3463278 h 4833373"/>
              <a:gd name="connsiteX17" fmla="*/ 373917 w 4707331"/>
              <a:gd name="connsiteY17" fmla="*/ 3818711 h 4833373"/>
              <a:gd name="connsiteX18" fmla="*/ 5953 w 4707331"/>
              <a:gd name="connsiteY18" fmla="*/ 4460394 h 4833373"/>
              <a:gd name="connsiteX0" fmla="*/ 5953 w 4707331"/>
              <a:gd name="connsiteY0" fmla="*/ 4460394 h 4833373"/>
              <a:gd name="connsiteX1" fmla="*/ 583468 w 4707331"/>
              <a:gd name="connsiteY1" fmla="*/ 4833373 h 4833373"/>
              <a:gd name="connsiteX2" fmla="*/ 1028636 w 4707331"/>
              <a:gd name="connsiteY2" fmla="*/ 4388205 h 4833373"/>
              <a:gd name="connsiteX3" fmla="*/ 2376173 w 4707331"/>
              <a:gd name="connsiteY3" fmla="*/ 4051320 h 4833373"/>
              <a:gd name="connsiteX4" fmla="*/ 3032897 w 4707331"/>
              <a:gd name="connsiteY4" fmla="*/ 3913960 h 4833373"/>
              <a:gd name="connsiteX5" fmla="*/ 3987903 w 4707331"/>
              <a:gd name="connsiteY5" fmla="*/ 2893782 h 4833373"/>
              <a:gd name="connsiteX6" fmla="*/ 4241068 w 4707331"/>
              <a:gd name="connsiteY6" fmla="*/ 2330805 h 4833373"/>
              <a:gd name="connsiteX7" fmla="*/ 4385447 w 4707331"/>
              <a:gd name="connsiteY7" fmla="*/ 1564794 h 4833373"/>
              <a:gd name="connsiteX8" fmla="*/ 4704111 w 4707331"/>
              <a:gd name="connsiteY8" fmla="*/ 459264 h 4833373"/>
              <a:gd name="connsiteX9" fmla="*/ 4168880 w 4707331"/>
              <a:gd name="connsiteY9" fmla="*/ 0 h 4833373"/>
              <a:gd name="connsiteX10" fmla="*/ 3794396 w 4707331"/>
              <a:gd name="connsiteY10" fmla="*/ 841395 h 4833373"/>
              <a:gd name="connsiteX11" fmla="*/ 3725213 w 4707331"/>
              <a:gd name="connsiteY11" fmla="*/ 1329678 h 4833373"/>
              <a:gd name="connsiteX12" fmla="*/ 3725213 w 4707331"/>
              <a:gd name="connsiteY12" fmla="*/ 1682103 h 4833373"/>
              <a:gd name="connsiteX13" fmla="*/ 3069493 w 4707331"/>
              <a:gd name="connsiteY13" fmla="*/ 2860194 h 4833373"/>
              <a:gd name="connsiteX14" fmla="*/ 2648888 w 4707331"/>
              <a:gd name="connsiteY14" fmla="*/ 3110853 h 4833373"/>
              <a:gd name="connsiteX15" fmla="*/ 2270396 w 4707331"/>
              <a:gd name="connsiteY15" fmla="*/ 3281801 h 4833373"/>
              <a:gd name="connsiteX16" fmla="*/ 1324913 w 4707331"/>
              <a:gd name="connsiteY16" fmla="*/ 3463278 h 4833373"/>
              <a:gd name="connsiteX17" fmla="*/ 373917 w 4707331"/>
              <a:gd name="connsiteY17" fmla="*/ 3818711 h 4833373"/>
              <a:gd name="connsiteX18" fmla="*/ 5953 w 4707331"/>
              <a:gd name="connsiteY18" fmla="*/ 4460394 h 4833373"/>
              <a:gd name="connsiteX0" fmla="*/ 5953 w 4707331"/>
              <a:gd name="connsiteY0" fmla="*/ 4460394 h 4833373"/>
              <a:gd name="connsiteX1" fmla="*/ 583468 w 4707331"/>
              <a:gd name="connsiteY1" fmla="*/ 4833373 h 4833373"/>
              <a:gd name="connsiteX2" fmla="*/ 1028636 w 4707331"/>
              <a:gd name="connsiteY2" fmla="*/ 4388205 h 4833373"/>
              <a:gd name="connsiteX3" fmla="*/ 2376173 w 4707331"/>
              <a:gd name="connsiteY3" fmla="*/ 4051320 h 4833373"/>
              <a:gd name="connsiteX4" fmla="*/ 3032897 w 4707331"/>
              <a:gd name="connsiteY4" fmla="*/ 3913960 h 4833373"/>
              <a:gd name="connsiteX5" fmla="*/ 3987903 w 4707331"/>
              <a:gd name="connsiteY5" fmla="*/ 2893782 h 4833373"/>
              <a:gd name="connsiteX6" fmla="*/ 4241068 w 4707331"/>
              <a:gd name="connsiteY6" fmla="*/ 2330805 h 4833373"/>
              <a:gd name="connsiteX7" fmla="*/ 4385447 w 4707331"/>
              <a:gd name="connsiteY7" fmla="*/ 1564794 h 4833373"/>
              <a:gd name="connsiteX8" fmla="*/ 4704111 w 4707331"/>
              <a:gd name="connsiteY8" fmla="*/ 459264 h 4833373"/>
              <a:gd name="connsiteX9" fmla="*/ 4168880 w 4707331"/>
              <a:gd name="connsiteY9" fmla="*/ 0 h 4833373"/>
              <a:gd name="connsiteX10" fmla="*/ 3813446 w 4707331"/>
              <a:gd name="connsiteY10" fmla="*/ 841395 h 4833373"/>
              <a:gd name="connsiteX11" fmla="*/ 3725213 w 4707331"/>
              <a:gd name="connsiteY11" fmla="*/ 1329678 h 4833373"/>
              <a:gd name="connsiteX12" fmla="*/ 3725213 w 4707331"/>
              <a:gd name="connsiteY12" fmla="*/ 1682103 h 4833373"/>
              <a:gd name="connsiteX13" fmla="*/ 3069493 w 4707331"/>
              <a:gd name="connsiteY13" fmla="*/ 2860194 h 4833373"/>
              <a:gd name="connsiteX14" fmla="*/ 2648888 w 4707331"/>
              <a:gd name="connsiteY14" fmla="*/ 3110853 h 4833373"/>
              <a:gd name="connsiteX15" fmla="*/ 2270396 w 4707331"/>
              <a:gd name="connsiteY15" fmla="*/ 3281801 h 4833373"/>
              <a:gd name="connsiteX16" fmla="*/ 1324913 w 4707331"/>
              <a:gd name="connsiteY16" fmla="*/ 3463278 h 4833373"/>
              <a:gd name="connsiteX17" fmla="*/ 373917 w 4707331"/>
              <a:gd name="connsiteY17" fmla="*/ 3818711 h 4833373"/>
              <a:gd name="connsiteX18" fmla="*/ 5953 w 4707331"/>
              <a:gd name="connsiteY18" fmla="*/ 4460394 h 4833373"/>
              <a:gd name="connsiteX0" fmla="*/ 5953 w 4707331"/>
              <a:gd name="connsiteY0" fmla="*/ 4461452 h 4834431"/>
              <a:gd name="connsiteX1" fmla="*/ 583468 w 4707331"/>
              <a:gd name="connsiteY1" fmla="*/ 4834431 h 4834431"/>
              <a:gd name="connsiteX2" fmla="*/ 1028636 w 4707331"/>
              <a:gd name="connsiteY2" fmla="*/ 4389263 h 4834431"/>
              <a:gd name="connsiteX3" fmla="*/ 2376173 w 4707331"/>
              <a:gd name="connsiteY3" fmla="*/ 4052378 h 4834431"/>
              <a:gd name="connsiteX4" fmla="*/ 3032897 w 4707331"/>
              <a:gd name="connsiteY4" fmla="*/ 3915018 h 4834431"/>
              <a:gd name="connsiteX5" fmla="*/ 3987903 w 4707331"/>
              <a:gd name="connsiteY5" fmla="*/ 2894840 h 4834431"/>
              <a:gd name="connsiteX6" fmla="*/ 4241068 w 4707331"/>
              <a:gd name="connsiteY6" fmla="*/ 2331863 h 4834431"/>
              <a:gd name="connsiteX7" fmla="*/ 4385447 w 4707331"/>
              <a:gd name="connsiteY7" fmla="*/ 1565852 h 4834431"/>
              <a:gd name="connsiteX8" fmla="*/ 4704111 w 4707331"/>
              <a:gd name="connsiteY8" fmla="*/ 460322 h 4834431"/>
              <a:gd name="connsiteX9" fmla="*/ 4168880 w 4707331"/>
              <a:gd name="connsiteY9" fmla="*/ 1058 h 4834431"/>
              <a:gd name="connsiteX10" fmla="*/ 3972864 w 4707331"/>
              <a:gd name="connsiteY10" fmla="*/ 349661 h 4834431"/>
              <a:gd name="connsiteX11" fmla="*/ 3813446 w 4707331"/>
              <a:gd name="connsiteY11" fmla="*/ 842453 h 4834431"/>
              <a:gd name="connsiteX12" fmla="*/ 3725213 w 4707331"/>
              <a:gd name="connsiteY12" fmla="*/ 1330736 h 4834431"/>
              <a:gd name="connsiteX13" fmla="*/ 3725213 w 4707331"/>
              <a:gd name="connsiteY13" fmla="*/ 1683161 h 4834431"/>
              <a:gd name="connsiteX14" fmla="*/ 3069493 w 4707331"/>
              <a:gd name="connsiteY14" fmla="*/ 2861252 h 4834431"/>
              <a:gd name="connsiteX15" fmla="*/ 2648888 w 4707331"/>
              <a:gd name="connsiteY15" fmla="*/ 3111911 h 4834431"/>
              <a:gd name="connsiteX16" fmla="*/ 2270396 w 4707331"/>
              <a:gd name="connsiteY16" fmla="*/ 3282859 h 4834431"/>
              <a:gd name="connsiteX17" fmla="*/ 1324913 w 4707331"/>
              <a:gd name="connsiteY17" fmla="*/ 3464336 h 4834431"/>
              <a:gd name="connsiteX18" fmla="*/ 373917 w 4707331"/>
              <a:gd name="connsiteY18" fmla="*/ 3819769 h 4834431"/>
              <a:gd name="connsiteX19" fmla="*/ 5953 w 4707331"/>
              <a:gd name="connsiteY19" fmla="*/ 4461452 h 4834431"/>
              <a:gd name="connsiteX0" fmla="*/ 5953 w 4707331"/>
              <a:gd name="connsiteY0" fmla="*/ 4461495 h 4834474"/>
              <a:gd name="connsiteX1" fmla="*/ 583468 w 4707331"/>
              <a:gd name="connsiteY1" fmla="*/ 4834474 h 4834474"/>
              <a:gd name="connsiteX2" fmla="*/ 1028636 w 4707331"/>
              <a:gd name="connsiteY2" fmla="*/ 4389306 h 4834474"/>
              <a:gd name="connsiteX3" fmla="*/ 2376173 w 4707331"/>
              <a:gd name="connsiteY3" fmla="*/ 4052421 h 4834474"/>
              <a:gd name="connsiteX4" fmla="*/ 3032897 w 4707331"/>
              <a:gd name="connsiteY4" fmla="*/ 3915061 h 4834474"/>
              <a:gd name="connsiteX5" fmla="*/ 3987903 w 4707331"/>
              <a:gd name="connsiteY5" fmla="*/ 2894883 h 4834474"/>
              <a:gd name="connsiteX6" fmla="*/ 4241068 w 4707331"/>
              <a:gd name="connsiteY6" fmla="*/ 2331906 h 4834474"/>
              <a:gd name="connsiteX7" fmla="*/ 4385447 w 4707331"/>
              <a:gd name="connsiteY7" fmla="*/ 1565895 h 4834474"/>
              <a:gd name="connsiteX8" fmla="*/ 4704111 w 4707331"/>
              <a:gd name="connsiteY8" fmla="*/ 460365 h 4834474"/>
              <a:gd name="connsiteX9" fmla="*/ 4168880 w 4707331"/>
              <a:gd name="connsiteY9" fmla="*/ 1101 h 4834474"/>
              <a:gd name="connsiteX10" fmla="*/ 3925239 w 4707331"/>
              <a:gd name="connsiteY10" fmla="*/ 340179 h 4834474"/>
              <a:gd name="connsiteX11" fmla="*/ 3813446 w 4707331"/>
              <a:gd name="connsiteY11" fmla="*/ 842496 h 4834474"/>
              <a:gd name="connsiteX12" fmla="*/ 3725213 w 4707331"/>
              <a:gd name="connsiteY12" fmla="*/ 1330779 h 4834474"/>
              <a:gd name="connsiteX13" fmla="*/ 3725213 w 4707331"/>
              <a:gd name="connsiteY13" fmla="*/ 1683204 h 4834474"/>
              <a:gd name="connsiteX14" fmla="*/ 3069493 w 4707331"/>
              <a:gd name="connsiteY14" fmla="*/ 2861295 h 4834474"/>
              <a:gd name="connsiteX15" fmla="*/ 2648888 w 4707331"/>
              <a:gd name="connsiteY15" fmla="*/ 3111954 h 4834474"/>
              <a:gd name="connsiteX16" fmla="*/ 2270396 w 4707331"/>
              <a:gd name="connsiteY16" fmla="*/ 3282902 h 4834474"/>
              <a:gd name="connsiteX17" fmla="*/ 1324913 w 4707331"/>
              <a:gd name="connsiteY17" fmla="*/ 3464379 h 4834474"/>
              <a:gd name="connsiteX18" fmla="*/ 373917 w 4707331"/>
              <a:gd name="connsiteY18" fmla="*/ 3819812 h 4834474"/>
              <a:gd name="connsiteX19" fmla="*/ 5953 w 4707331"/>
              <a:gd name="connsiteY19" fmla="*/ 4461495 h 4834474"/>
              <a:gd name="connsiteX0" fmla="*/ 5953 w 4707331"/>
              <a:gd name="connsiteY0" fmla="*/ 4462107 h 4835086"/>
              <a:gd name="connsiteX1" fmla="*/ 583468 w 4707331"/>
              <a:gd name="connsiteY1" fmla="*/ 4835086 h 4835086"/>
              <a:gd name="connsiteX2" fmla="*/ 1028636 w 4707331"/>
              <a:gd name="connsiteY2" fmla="*/ 4389918 h 4835086"/>
              <a:gd name="connsiteX3" fmla="*/ 2376173 w 4707331"/>
              <a:gd name="connsiteY3" fmla="*/ 4053033 h 4835086"/>
              <a:gd name="connsiteX4" fmla="*/ 3032897 w 4707331"/>
              <a:gd name="connsiteY4" fmla="*/ 3915673 h 4835086"/>
              <a:gd name="connsiteX5" fmla="*/ 3987903 w 4707331"/>
              <a:gd name="connsiteY5" fmla="*/ 2895495 h 4835086"/>
              <a:gd name="connsiteX6" fmla="*/ 4241068 w 4707331"/>
              <a:gd name="connsiteY6" fmla="*/ 2332518 h 4835086"/>
              <a:gd name="connsiteX7" fmla="*/ 4385447 w 4707331"/>
              <a:gd name="connsiteY7" fmla="*/ 1566507 h 4835086"/>
              <a:gd name="connsiteX8" fmla="*/ 4704111 w 4707331"/>
              <a:gd name="connsiteY8" fmla="*/ 460977 h 4835086"/>
              <a:gd name="connsiteX9" fmla="*/ 4168880 w 4707331"/>
              <a:gd name="connsiteY9" fmla="*/ 1713 h 4835086"/>
              <a:gd name="connsiteX10" fmla="*/ 3925239 w 4707331"/>
              <a:gd name="connsiteY10" fmla="*/ 340791 h 4835086"/>
              <a:gd name="connsiteX11" fmla="*/ 3813446 w 4707331"/>
              <a:gd name="connsiteY11" fmla="*/ 843108 h 4835086"/>
              <a:gd name="connsiteX12" fmla="*/ 3725213 w 4707331"/>
              <a:gd name="connsiteY12" fmla="*/ 1331391 h 4835086"/>
              <a:gd name="connsiteX13" fmla="*/ 3725213 w 4707331"/>
              <a:gd name="connsiteY13" fmla="*/ 1683816 h 4835086"/>
              <a:gd name="connsiteX14" fmla="*/ 3069493 w 4707331"/>
              <a:gd name="connsiteY14" fmla="*/ 2861907 h 4835086"/>
              <a:gd name="connsiteX15" fmla="*/ 2648888 w 4707331"/>
              <a:gd name="connsiteY15" fmla="*/ 3112566 h 4835086"/>
              <a:gd name="connsiteX16" fmla="*/ 2270396 w 4707331"/>
              <a:gd name="connsiteY16" fmla="*/ 3283514 h 4835086"/>
              <a:gd name="connsiteX17" fmla="*/ 1324913 w 4707331"/>
              <a:gd name="connsiteY17" fmla="*/ 3464991 h 4835086"/>
              <a:gd name="connsiteX18" fmla="*/ 373917 w 4707331"/>
              <a:gd name="connsiteY18" fmla="*/ 3820424 h 4835086"/>
              <a:gd name="connsiteX19" fmla="*/ 5953 w 4707331"/>
              <a:gd name="connsiteY19" fmla="*/ 4462107 h 4835086"/>
              <a:gd name="connsiteX0" fmla="*/ 5953 w 4707331"/>
              <a:gd name="connsiteY0" fmla="*/ 4462107 h 4835086"/>
              <a:gd name="connsiteX1" fmla="*/ 583468 w 4707331"/>
              <a:gd name="connsiteY1" fmla="*/ 4835086 h 4835086"/>
              <a:gd name="connsiteX2" fmla="*/ 1028636 w 4707331"/>
              <a:gd name="connsiteY2" fmla="*/ 4389918 h 4835086"/>
              <a:gd name="connsiteX3" fmla="*/ 2376173 w 4707331"/>
              <a:gd name="connsiteY3" fmla="*/ 4053033 h 4835086"/>
              <a:gd name="connsiteX4" fmla="*/ 3032897 w 4707331"/>
              <a:gd name="connsiteY4" fmla="*/ 3915673 h 4835086"/>
              <a:gd name="connsiteX5" fmla="*/ 3987903 w 4707331"/>
              <a:gd name="connsiteY5" fmla="*/ 2895495 h 4835086"/>
              <a:gd name="connsiteX6" fmla="*/ 4241068 w 4707331"/>
              <a:gd name="connsiteY6" fmla="*/ 2332518 h 4835086"/>
              <a:gd name="connsiteX7" fmla="*/ 4385447 w 4707331"/>
              <a:gd name="connsiteY7" fmla="*/ 1566507 h 4835086"/>
              <a:gd name="connsiteX8" fmla="*/ 4704111 w 4707331"/>
              <a:gd name="connsiteY8" fmla="*/ 460977 h 4835086"/>
              <a:gd name="connsiteX9" fmla="*/ 4168880 w 4707331"/>
              <a:gd name="connsiteY9" fmla="*/ 1713 h 4835086"/>
              <a:gd name="connsiteX10" fmla="*/ 3925239 w 4707331"/>
              <a:gd name="connsiteY10" fmla="*/ 340791 h 4835086"/>
              <a:gd name="connsiteX11" fmla="*/ 3813446 w 4707331"/>
              <a:gd name="connsiteY11" fmla="*/ 843108 h 4835086"/>
              <a:gd name="connsiteX12" fmla="*/ 3725213 w 4707331"/>
              <a:gd name="connsiteY12" fmla="*/ 1331391 h 4835086"/>
              <a:gd name="connsiteX13" fmla="*/ 3725213 w 4707331"/>
              <a:gd name="connsiteY13" fmla="*/ 1683816 h 4835086"/>
              <a:gd name="connsiteX14" fmla="*/ 3069493 w 4707331"/>
              <a:gd name="connsiteY14" fmla="*/ 2861907 h 4835086"/>
              <a:gd name="connsiteX15" fmla="*/ 2648888 w 4707331"/>
              <a:gd name="connsiteY15" fmla="*/ 3112566 h 4835086"/>
              <a:gd name="connsiteX16" fmla="*/ 2270396 w 4707331"/>
              <a:gd name="connsiteY16" fmla="*/ 3283514 h 4835086"/>
              <a:gd name="connsiteX17" fmla="*/ 1324913 w 4707331"/>
              <a:gd name="connsiteY17" fmla="*/ 3464991 h 4835086"/>
              <a:gd name="connsiteX18" fmla="*/ 373917 w 4707331"/>
              <a:gd name="connsiteY18" fmla="*/ 3820424 h 4835086"/>
              <a:gd name="connsiteX19" fmla="*/ 5953 w 4707331"/>
              <a:gd name="connsiteY19" fmla="*/ 4462107 h 4835086"/>
              <a:gd name="connsiteX0" fmla="*/ 5953 w 4707331"/>
              <a:gd name="connsiteY0" fmla="*/ 4463570 h 4836549"/>
              <a:gd name="connsiteX1" fmla="*/ 583468 w 4707331"/>
              <a:gd name="connsiteY1" fmla="*/ 4836549 h 4836549"/>
              <a:gd name="connsiteX2" fmla="*/ 1028636 w 4707331"/>
              <a:gd name="connsiteY2" fmla="*/ 4391381 h 4836549"/>
              <a:gd name="connsiteX3" fmla="*/ 2376173 w 4707331"/>
              <a:gd name="connsiteY3" fmla="*/ 4054496 h 4836549"/>
              <a:gd name="connsiteX4" fmla="*/ 3032897 w 4707331"/>
              <a:gd name="connsiteY4" fmla="*/ 3917136 h 4836549"/>
              <a:gd name="connsiteX5" fmla="*/ 3987903 w 4707331"/>
              <a:gd name="connsiteY5" fmla="*/ 2896958 h 4836549"/>
              <a:gd name="connsiteX6" fmla="*/ 4241068 w 4707331"/>
              <a:gd name="connsiteY6" fmla="*/ 2333981 h 4836549"/>
              <a:gd name="connsiteX7" fmla="*/ 4385447 w 4707331"/>
              <a:gd name="connsiteY7" fmla="*/ 1567970 h 4836549"/>
              <a:gd name="connsiteX8" fmla="*/ 4704111 w 4707331"/>
              <a:gd name="connsiteY8" fmla="*/ 462440 h 4836549"/>
              <a:gd name="connsiteX9" fmla="*/ 4168880 w 4707331"/>
              <a:gd name="connsiteY9" fmla="*/ 3176 h 4836549"/>
              <a:gd name="connsiteX10" fmla="*/ 3925239 w 4707331"/>
              <a:gd name="connsiteY10" fmla="*/ 342254 h 4836549"/>
              <a:gd name="connsiteX11" fmla="*/ 3813446 w 4707331"/>
              <a:gd name="connsiteY11" fmla="*/ 844571 h 4836549"/>
              <a:gd name="connsiteX12" fmla="*/ 3725213 w 4707331"/>
              <a:gd name="connsiteY12" fmla="*/ 1332854 h 4836549"/>
              <a:gd name="connsiteX13" fmla="*/ 3725213 w 4707331"/>
              <a:gd name="connsiteY13" fmla="*/ 1685279 h 4836549"/>
              <a:gd name="connsiteX14" fmla="*/ 3069493 w 4707331"/>
              <a:gd name="connsiteY14" fmla="*/ 2863370 h 4836549"/>
              <a:gd name="connsiteX15" fmla="*/ 2648888 w 4707331"/>
              <a:gd name="connsiteY15" fmla="*/ 3114029 h 4836549"/>
              <a:gd name="connsiteX16" fmla="*/ 2270396 w 4707331"/>
              <a:gd name="connsiteY16" fmla="*/ 3284977 h 4836549"/>
              <a:gd name="connsiteX17" fmla="*/ 1324913 w 4707331"/>
              <a:gd name="connsiteY17" fmla="*/ 3466454 h 4836549"/>
              <a:gd name="connsiteX18" fmla="*/ 373917 w 4707331"/>
              <a:gd name="connsiteY18" fmla="*/ 3821887 h 4836549"/>
              <a:gd name="connsiteX19" fmla="*/ 5953 w 4707331"/>
              <a:gd name="connsiteY19" fmla="*/ 4463570 h 4836549"/>
              <a:gd name="connsiteX0" fmla="*/ 5953 w 4707331"/>
              <a:gd name="connsiteY0" fmla="*/ 4463570 h 4836549"/>
              <a:gd name="connsiteX1" fmla="*/ 583468 w 4707331"/>
              <a:gd name="connsiteY1" fmla="*/ 4836549 h 4836549"/>
              <a:gd name="connsiteX2" fmla="*/ 1028636 w 4707331"/>
              <a:gd name="connsiteY2" fmla="*/ 4391381 h 4836549"/>
              <a:gd name="connsiteX3" fmla="*/ 2376173 w 4707331"/>
              <a:gd name="connsiteY3" fmla="*/ 4054496 h 4836549"/>
              <a:gd name="connsiteX4" fmla="*/ 3032897 w 4707331"/>
              <a:gd name="connsiteY4" fmla="*/ 3917136 h 4836549"/>
              <a:gd name="connsiteX5" fmla="*/ 3987903 w 4707331"/>
              <a:gd name="connsiteY5" fmla="*/ 2896958 h 4836549"/>
              <a:gd name="connsiteX6" fmla="*/ 4241068 w 4707331"/>
              <a:gd name="connsiteY6" fmla="*/ 2333981 h 4836549"/>
              <a:gd name="connsiteX7" fmla="*/ 4385447 w 4707331"/>
              <a:gd name="connsiteY7" fmla="*/ 1567970 h 4836549"/>
              <a:gd name="connsiteX8" fmla="*/ 4704111 w 4707331"/>
              <a:gd name="connsiteY8" fmla="*/ 462440 h 4836549"/>
              <a:gd name="connsiteX9" fmla="*/ 4168880 w 4707331"/>
              <a:gd name="connsiteY9" fmla="*/ 3176 h 4836549"/>
              <a:gd name="connsiteX10" fmla="*/ 3925239 w 4707331"/>
              <a:gd name="connsiteY10" fmla="*/ 342254 h 4836549"/>
              <a:gd name="connsiteX11" fmla="*/ 3813446 w 4707331"/>
              <a:gd name="connsiteY11" fmla="*/ 844571 h 4836549"/>
              <a:gd name="connsiteX12" fmla="*/ 3725213 w 4707331"/>
              <a:gd name="connsiteY12" fmla="*/ 1332854 h 4836549"/>
              <a:gd name="connsiteX13" fmla="*/ 3725213 w 4707331"/>
              <a:gd name="connsiteY13" fmla="*/ 1685279 h 4836549"/>
              <a:gd name="connsiteX14" fmla="*/ 3069493 w 4707331"/>
              <a:gd name="connsiteY14" fmla="*/ 2863370 h 4836549"/>
              <a:gd name="connsiteX15" fmla="*/ 2648888 w 4707331"/>
              <a:gd name="connsiteY15" fmla="*/ 3114029 h 4836549"/>
              <a:gd name="connsiteX16" fmla="*/ 2270396 w 4707331"/>
              <a:gd name="connsiteY16" fmla="*/ 3284977 h 4836549"/>
              <a:gd name="connsiteX17" fmla="*/ 1324913 w 4707331"/>
              <a:gd name="connsiteY17" fmla="*/ 3466454 h 4836549"/>
              <a:gd name="connsiteX18" fmla="*/ 373917 w 4707331"/>
              <a:gd name="connsiteY18" fmla="*/ 3821887 h 4836549"/>
              <a:gd name="connsiteX19" fmla="*/ 5953 w 4707331"/>
              <a:gd name="connsiteY19" fmla="*/ 4463570 h 4836549"/>
              <a:gd name="connsiteX0" fmla="*/ 5953 w 4707331"/>
              <a:gd name="connsiteY0" fmla="*/ 4465487 h 4838466"/>
              <a:gd name="connsiteX1" fmla="*/ 583468 w 4707331"/>
              <a:gd name="connsiteY1" fmla="*/ 4838466 h 4838466"/>
              <a:gd name="connsiteX2" fmla="*/ 1028636 w 4707331"/>
              <a:gd name="connsiteY2" fmla="*/ 4393298 h 4838466"/>
              <a:gd name="connsiteX3" fmla="*/ 2376173 w 4707331"/>
              <a:gd name="connsiteY3" fmla="*/ 4056413 h 4838466"/>
              <a:gd name="connsiteX4" fmla="*/ 3032897 w 4707331"/>
              <a:gd name="connsiteY4" fmla="*/ 3919053 h 4838466"/>
              <a:gd name="connsiteX5" fmla="*/ 3987903 w 4707331"/>
              <a:gd name="connsiteY5" fmla="*/ 2898875 h 4838466"/>
              <a:gd name="connsiteX6" fmla="*/ 4241068 w 4707331"/>
              <a:gd name="connsiteY6" fmla="*/ 2335898 h 4838466"/>
              <a:gd name="connsiteX7" fmla="*/ 4385447 w 4707331"/>
              <a:gd name="connsiteY7" fmla="*/ 1569887 h 4838466"/>
              <a:gd name="connsiteX8" fmla="*/ 4704111 w 4707331"/>
              <a:gd name="connsiteY8" fmla="*/ 464357 h 4838466"/>
              <a:gd name="connsiteX9" fmla="*/ 4168880 w 4707331"/>
              <a:gd name="connsiteY9" fmla="*/ 5093 h 4838466"/>
              <a:gd name="connsiteX10" fmla="*/ 3915714 w 4707331"/>
              <a:gd name="connsiteY10" fmla="*/ 306071 h 4838466"/>
              <a:gd name="connsiteX11" fmla="*/ 3813446 w 4707331"/>
              <a:gd name="connsiteY11" fmla="*/ 846488 h 4838466"/>
              <a:gd name="connsiteX12" fmla="*/ 3725213 w 4707331"/>
              <a:gd name="connsiteY12" fmla="*/ 1334771 h 4838466"/>
              <a:gd name="connsiteX13" fmla="*/ 3725213 w 4707331"/>
              <a:gd name="connsiteY13" fmla="*/ 1687196 h 4838466"/>
              <a:gd name="connsiteX14" fmla="*/ 3069493 w 4707331"/>
              <a:gd name="connsiteY14" fmla="*/ 2865287 h 4838466"/>
              <a:gd name="connsiteX15" fmla="*/ 2648888 w 4707331"/>
              <a:gd name="connsiteY15" fmla="*/ 3115946 h 4838466"/>
              <a:gd name="connsiteX16" fmla="*/ 2270396 w 4707331"/>
              <a:gd name="connsiteY16" fmla="*/ 3286894 h 4838466"/>
              <a:gd name="connsiteX17" fmla="*/ 1324913 w 4707331"/>
              <a:gd name="connsiteY17" fmla="*/ 3468371 h 4838466"/>
              <a:gd name="connsiteX18" fmla="*/ 373917 w 4707331"/>
              <a:gd name="connsiteY18" fmla="*/ 3823804 h 4838466"/>
              <a:gd name="connsiteX19" fmla="*/ 5953 w 4707331"/>
              <a:gd name="connsiteY19" fmla="*/ 4465487 h 4838466"/>
              <a:gd name="connsiteX0" fmla="*/ 5953 w 4707331"/>
              <a:gd name="connsiteY0" fmla="*/ 4467972 h 4840951"/>
              <a:gd name="connsiteX1" fmla="*/ 583468 w 4707331"/>
              <a:gd name="connsiteY1" fmla="*/ 4840951 h 4840951"/>
              <a:gd name="connsiteX2" fmla="*/ 1028636 w 4707331"/>
              <a:gd name="connsiteY2" fmla="*/ 4395783 h 4840951"/>
              <a:gd name="connsiteX3" fmla="*/ 2376173 w 4707331"/>
              <a:gd name="connsiteY3" fmla="*/ 4058898 h 4840951"/>
              <a:gd name="connsiteX4" fmla="*/ 3032897 w 4707331"/>
              <a:gd name="connsiteY4" fmla="*/ 3921538 h 4840951"/>
              <a:gd name="connsiteX5" fmla="*/ 3987903 w 4707331"/>
              <a:gd name="connsiteY5" fmla="*/ 2901360 h 4840951"/>
              <a:gd name="connsiteX6" fmla="*/ 4241068 w 4707331"/>
              <a:gd name="connsiteY6" fmla="*/ 2338383 h 4840951"/>
              <a:gd name="connsiteX7" fmla="*/ 4385447 w 4707331"/>
              <a:gd name="connsiteY7" fmla="*/ 1572372 h 4840951"/>
              <a:gd name="connsiteX8" fmla="*/ 4704111 w 4707331"/>
              <a:gd name="connsiteY8" fmla="*/ 466842 h 4840951"/>
              <a:gd name="connsiteX9" fmla="*/ 4168880 w 4707331"/>
              <a:gd name="connsiteY9" fmla="*/ 7578 h 4840951"/>
              <a:gd name="connsiteX10" fmla="*/ 3915714 w 4707331"/>
              <a:gd name="connsiteY10" fmla="*/ 308556 h 4840951"/>
              <a:gd name="connsiteX11" fmla="*/ 3813446 w 4707331"/>
              <a:gd name="connsiteY11" fmla="*/ 848973 h 4840951"/>
              <a:gd name="connsiteX12" fmla="*/ 3725213 w 4707331"/>
              <a:gd name="connsiteY12" fmla="*/ 1337256 h 4840951"/>
              <a:gd name="connsiteX13" fmla="*/ 3725213 w 4707331"/>
              <a:gd name="connsiteY13" fmla="*/ 1689681 h 4840951"/>
              <a:gd name="connsiteX14" fmla="*/ 3069493 w 4707331"/>
              <a:gd name="connsiteY14" fmla="*/ 2867772 h 4840951"/>
              <a:gd name="connsiteX15" fmla="*/ 2648888 w 4707331"/>
              <a:gd name="connsiteY15" fmla="*/ 3118431 h 4840951"/>
              <a:gd name="connsiteX16" fmla="*/ 2270396 w 4707331"/>
              <a:gd name="connsiteY16" fmla="*/ 3289379 h 4840951"/>
              <a:gd name="connsiteX17" fmla="*/ 1324913 w 4707331"/>
              <a:gd name="connsiteY17" fmla="*/ 3470856 h 4840951"/>
              <a:gd name="connsiteX18" fmla="*/ 373917 w 4707331"/>
              <a:gd name="connsiteY18" fmla="*/ 3826289 h 4840951"/>
              <a:gd name="connsiteX19" fmla="*/ 5953 w 4707331"/>
              <a:gd name="connsiteY19" fmla="*/ 4467972 h 4840951"/>
              <a:gd name="connsiteX0" fmla="*/ 5953 w 4707331"/>
              <a:gd name="connsiteY0" fmla="*/ 4467972 h 4840951"/>
              <a:gd name="connsiteX1" fmla="*/ 583468 w 4707331"/>
              <a:gd name="connsiteY1" fmla="*/ 4840951 h 4840951"/>
              <a:gd name="connsiteX2" fmla="*/ 1028636 w 4707331"/>
              <a:gd name="connsiteY2" fmla="*/ 4395783 h 4840951"/>
              <a:gd name="connsiteX3" fmla="*/ 2376173 w 4707331"/>
              <a:gd name="connsiteY3" fmla="*/ 4058898 h 4840951"/>
              <a:gd name="connsiteX4" fmla="*/ 3032897 w 4707331"/>
              <a:gd name="connsiteY4" fmla="*/ 3921538 h 4840951"/>
              <a:gd name="connsiteX5" fmla="*/ 3987903 w 4707331"/>
              <a:gd name="connsiteY5" fmla="*/ 2901360 h 4840951"/>
              <a:gd name="connsiteX6" fmla="*/ 4241068 w 4707331"/>
              <a:gd name="connsiteY6" fmla="*/ 2338383 h 4840951"/>
              <a:gd name="connsiteX7" fmla="*/ 4385447 w 4707331"/>
              <a:gd name="connsiteY7" fmla="*/ 1572372 h 4840951"/>
              <a:gd name="connsiteX8" fmla="*/ 4704111 w 4707331"/>
              <a:gd name="connsiteY8" fmla="*/ 466842 h 4840951"/>
              <a:gd name="connsiteX9" fmla="*/ 4168880 w 4707331"/>
              <a:gd name="connsiteY9" fmla="*/ 7578 h 4840951"/>
              <a:gd name="connsiteX10" fmla="*/ 3915714 w 4707331"/>
              <a:gd name="connsiteY10" fmla="*/ 308556 h 4840951"/>
              <a:gd name="connsiteX11" fmla="*/ 3813446 w 4707331"/>
              <a:gd name="connsiteY11" fmla="*/ 848973 h 4840951"/>
              <a:gd name="connsiteX12" fmla="*/ 3725213 w 4707331"/>
              <a:gd name="connsiteY12" fmla="*/ 1337256 h 4840951"/>
              <a:gd name="connsiteX13" fmla="*/ 3725213 w 4707331"/>
              <a:gd name="connsiteY13" fmla="*/ 1689681 h 4840951"/>
              <a:gd name="connsiteX14" fmla="*/ 3069493 w 4707331"/>
              <a:gd name="connsiteY14" fmla="*/ 2867772 h 4840951"/>
              <a:gd name="connsiteX15" fmla="*/ 2648888 w 4707331"/>
              <a:gd name="connsiteY15" fmla="*/ 3118431 h 4840951"/>
              <a:gd name="connsiteX16" fmla="*/ 2270396 w 4707331"/>
              <a:gd name="connsiteY16" fmla="*/ 3289379 h 4840951"/>
              <a:gd name="connsiteX17" fmla="*/ 1324913 w 4707331"/>
              <a:gd name="connsiteY17" fmla="*/ 3470856 h 4840951"/>
              <a:gd name="connsiteX18" fmla="*/ 373917 w 4707331"/>
              <a:gd name="connsiteY18" fmla="*/ 3826289 h 4840951"/>
              <a:gd name="connsiteX19" fmla="*/ 5953 w 4707331"/>
              <a:gd name="connsiteY19" fmla="*/ 4467972 h 4840951"/>
              <a:gd name="connsiteX0" fmla="*/ 5953 w 4707331"/>
              <a:gd name="connsiteY0" fmla="*/ 4467972 h 4840951"/>
              <a:gd name="connsiteX1" fmla="*/ 583468 w 4707331"/>
              <a:gd name="connsiteY1" fmla="*/ 4840951 h 4840951"/>
              <a:gd name="connsiteX2" fmla="*/ 1028636 w 4707331"/>
              <a:gd name="connsiteY2" fmla="*/ 4395783 h 4840951"/>
              <a:gd name="connsiteX3" fmla="*/ 2376173 w 4707331"/>
              <a:gd name="connsiteY3" fmla="*/ 4058898 h 4840951"/>
              <a:gd name="connsiteX4" fmla="*/ 3032897 w 4707331"/>
              <a:gd name="connsiteY4" fmla="*/ 3921538 h 4840951"/>
              <a:gd name="connsiteX5" fmla="*/ 3987903 w 4707331"/>
              <a:gd name="connsiteY5" fmla="*/ 2901360 h 4840951"/>
              <a:gd name="connsiteX6" fmla="*/ 4241068 w 4707331"/>
              <a:gd name="connsiteY6" fmla="*/ 2338383 h 4840951"/>
              <a:gd name="connsiteX7" fmla="*/ 4385447 w 4707331"/>
              <a:gd name="connsiteY7" fmla="*/ 1572372 h 4840951"/>
              <a:gd name="connsiteX8" fmla="*/ 4704111 w 4707331"/>
              <a:gd name="connsiteY8" fmla="*/ 466842 h 4840951"/>
              <a:gd name="connsiteX9" fmla="*/ 4168880 w 4707331"/>
              <a:gd name="connsiteY9" fmla="*/ 7578 h 4840951"/>
              <a:gd name="connsiteX10" fmla="*/ 3915714 w 4707331"/>
              <a:gd name="connsiteY10" fmla="*/ 308556 h 4840951"/>
              <a:gd name="connsiteX11" fmla="*/ 3832496 w 4707331"/>
              <a:gd name="connsiteY11" fmla="*/ 848973 h 4840951"/>
              <a:gd name="connsiteX12" fmla="*/ 3725213 w 4707331"/>
              <a:gd name="connsiteY12" fmla="*/ 1337256 h 4840951"/>
              <a:gd name="connsiteX13" fmla="*/ 3725213 w 4707331"/>
              <a:gd name="connsiteY13" fmla="*/ 1689681 h 4840951"/>
              <a:gd name="connsiteX14" fmla="*/ 3069493 w 4707331"/>
              <a:gd name="connsiteY14" fmla="*/ 2867772 h 4840951"/>
              <a:gd name="connsiteX15" fmla="*/ 2648888 w 4707331"/>
              <a:gd name="connsiteY15" fmla="*/ 3118431 h 4840951"/>
              <a:gd name="connsiteX16" fmla="*/ 2270396 w 4707331"/>
              <a:gd name="connsiteY16" fmla="*/ 3289379 h 4840951"/>
              <a:gd name="connsiteX17" fmla="*/ 1324913 w 4707331"/>
              <a:gd name="connsiteY17" fmla="*/ 3470856 h 4840951"/>
              <a:gd name="connsiteX18" fmla="*/ 373917 w 4707331"/>
              <a:gd name="connsiteY18" fmla="*/ 3826289 h 4840951"/>
              <a:gd name="connsiteX19" fmla="*/ 5953 w 4707331"/>
              <a:gd name="connsiteY19" fmla="*/ 4467972 h 4840951"/>
              <a:gd name="connsiteX0" fmla="*/ 5953 w 4707331"/>
              <a:gd name="connsiteY0" fmla="*/ 4467972 h 4840951"/>
              <a:gd name="connsiteX1" fmla="*/ 583468 w 4707331"/>
              <a:gd name="connsiteY1" fmla="*/ 4840951 h 4840951"/>
              <a:gd name="connsiteX2" fmla="*/ 1028636 w 4707331"/>
              <a:gd name="connsiteY2" fmla="*/ 4395783 h 4840951"/>
              <a:gd name="connsiteX3" fmla="*/ 2376173 w 4707331"/>
              <a:gd name="connsiteY3" fmla="*/ 4058898 h 4840951"/>
              <a:gd name="connsiteX4" fmla="*/ 3032897 w 4707331"/>
              <a:gd name="connsiteY4" fmla="*/ 3921538 h 4840951"/>
              <a:gd name="connsiteX5" fmla="*/ 3987903 w 4707331"/>
              <a:gd name="connsiteY5" fmla="*/ 2901360 h 4840951"/>
              <a:gd name="connsiteX6" fmla="*/ 4241068 w 4707331"/>
              <a:gd name="connsiteY6" fmla="*/ 2338383 h 4840951"/>
              <a:gd name="connsiteX7" fmla="*/ 4385447 w 4707331"/>
              <a:gd name="connsiteY7" fmla="*/ 1572372 h 4840951"/>
              <a:gd name="connsiteX8" fmla="*/ 4704111 w 4707331"/>
              <a:gd name="connsiteY8" fmla="*/ 466842 h 4840951"/>
              <a:gd name="connsiteX9" fmla="*/ 4168880 w 4707331"/>
              <a:gd name="connsiteY9" fmla="*/ 7578 h 4840951"/>
              <a:gd name="connsiteX10" fmla="*/ 3915714 w 4707331"/>
              <a:gd name="connsiteY10" fmla="*/ 308556 h 4840951"/>
              <a:gd name="connsiteX11" fmla="*/ 3725213 w 4707331"/>
              <a:gd name="connsiteY11" fmla="*/ 1337256 h 4840951"/>
              <a:gd name="connsiteX12" fmla="*/ 3725213 w 4707331"/>
              <a:gd name="connsiteY12" fmla="*/ 1689681 h 4840951"/>
              <a:gd name="connsiteX13" fmla="*/ 3069493 w 4707331"/>
              <a:gd name="connsiteY13" fmla="*/ 2867772 h 4840951"/>
              <a:gd name="connsiteX14" fmla="*/ 2648888 w 4707331"/>
              <a:gd name="connsiteY14" fmla="*/ 3118431 h 4840951"/>
              <a:gd name="connsiteX15" fmla="*/ 2270396 w 4707331"/>
              <a:gd name="connsiteY15" fmla="*/ 3289379 h 4840951"/>
              <a:gd name="connsiteX16" fmla="*/ 1324913 w 4707331"/>
              <a:gd name="connsiteY16" fmla="*/ 3470856 h 4840951"/>
              <a:gd name="connsiteX17" fmla="*/ 373917 w 4707331"/>
              <a:gd name="connsiteY17" fmla="*/ 3826289 h 4840951"/>
              <a:gd name="connsiteX18" fmla="*/ 5953 w 4707331"/>
              <a:gd name="connsiteY18" fmla="*/ 4467972 h 4840951"/>
              <a:gd name="connsiteX0" fmla="*/ 5953 w 4934550"/>
              <a:gd name="connsiteY0" fmla="*/ 4467972 h 4840951"/>
              <a:gd name="connsiteX1" fmla="*/ 583468 w 4934550"/>
              <a:gd name="connsiteY1" fmla="*/ 4840951 h 4840951"/>
              <a:gd name="connsiteX2" fmla="*/ 1028636 w 4934550"/>
              <a:gd name="connsiteY2" fmla="*/ 4395783 h 4840951"/>
              <a:gd name="connsiteX3" fmla="*/ 2376173 w 4934550"/>
              <a:gd name="connsiteY3" fmla="*/ 4058898 h 4840951"/>
              <a:gd name="connsiteX4" fmla="*/ 3032897 w 4934550"/>
              <a:gd name="connsiteY4" fmla="*/ 3921538 h 4840951"/>
              <a:gd name="connsiteX5" fmla="*/ 3987903 w 4934550"/>
              <a:gd name="connsiteY5" fmla="*/ 2901360 h 4840951"/>
              <a:gd name="connsiteX6" fmla="*/ 4241068 w 4934550"/>
              <a:gd name="connsiteY6" fmla="*/ 2338383 h 4840951"/>
              <a:gd name="connsiteX7" fmla="*/ 4385447 w 4934550"/>
              <a:gd name="connsiteY7" fmla="*/ 1572372 h 4840951"/>
              <a:gd name="connsiteX8" fmla="*/ 4932711 w 4934550"/>
              <a:gd name="connsiteY8" fmla="*/ 495417 h 4840951"/>
              <a:gd name="connsiteX9" fmla="*/ 4168880 w 4934550"/>
              <a:gd name="connsiteY9" fmla="*/ 7578 h 4840951"/>
              <a:gd name="connsiteX10" fmla="*/ 3915714 w 4934550"/>
              <a:gd name="connsiteY10" fmla="*/ 308556 h 4840951"/>
              <a:gd name="connsiteX11" fmla="*/ 3725213 w 4934550"/>
              <a:gd name="connsiteY11" fmla="*/ 1337256 h 4840951"/>
              <a:gd name="connsiteX12" fmla="*/ 3725213 w 4934550"/>
              <a:gd name="connsiteY12" fmla="*/ 1689681 h 4840951"/>
              <a:gd name="connsiteX13" fmla="*/ 3069493 w 4934550"/>
              <a:gd name="connsiteY13" fmla="*/ 2867772 h 4840951"/>
              <a:gd name="connsiteX14" fmla="*/ 2648888 w 4934550"/>
              <a:gd name="connsiteY14" fmla="*/ 3118431 h 4840951"/>
              <a:gd name="connsiteX15" fmla="*/ 2270396 w 4934550"/>
              <a:gd name="connsiteY15" fmla="*/ 3289379 h 4840951"/>
              <a:gd name="connsiteX16" fmla="*/ 1324913 w 4934550"/>
              <a:gd name="connsiteY16" fmla="*/ 3470856 h 4840951"/>
              <a:gd name="connsiteX17" fmla="*/ 373917 w 4934550"/>
              <a:gd name="connsiteY17" fmla="*/ 3826289 h 4840951"/>
              <a:gd name="connsiteX18" fmla="*/ 5953 w 4934550"/>
              <a:gd name="connsiteY18" fmla="*/ 4467972 h 4840951"/>
              <a:gd name="connsiteX0" fmla="*/ 5953 w 4932711"/>
              <a:gd name="connsiteY0" fmla="*/ 4467972 h 4840951"/>
              <a:gd name="connsiteX1" fmla="*/ 583468 w 4932711"/>
              <a:gd name="connsiteY1" fmla="*/ 4840951 h 4840951"/>
              <a:gd name="connsiteX2" fmla="*/ 1028636 w 4932711"/>
              <a:gd name="connsiteY2" fmla="*/ 4395783 h 4840951"/>
              <a:gd name="connsiteX3" fmla="*/ 2376173 w 4932711"/>
              <a:gd name="connsiteY3" fmla="*/ 4058898 h 4840951"/>
              <a:gd name="connsiteX4" fmla="*/ 3032897 w 4932711"/>
              <a:gd name="connsiteY4" fmla="*/ 3921538 h 4840951"/>
              <a:gd name="connsiteX5" fmla="*/ 3987903 w 4932711"/>
              <a:gd name="connsiteY5" fmla="*/ 2901360 h 4840951"/>
              <a:gd name="connsiteX6" fmla="*/ 4241068 w 4932711"/>
              <a:gd name="connsiteY6" fmla="*/ 2338383 h 4840951"/>
              <a:gd name="connsiteX7" fmla="*/ 4385447 w 4932711"/>
              <a:gd name="connsiteY7" fmla="*/ 1572372 h 4840951"/>
              <a:gd name="connsiteX8" fmla="*/ 4932711 w 4932711"/>
              <a:gd name="connsiteY8" fmla="*/ 495417 h 4840951"/>
              <a:gd name="connsiteX9" fmla="*/ 4168880 w 4932711"/>
              <a:gd name="connsiteY9" fmla="*/ 7578 h 4840951"/>
              <a:gd name="connsiteX10" fmla="*/ 3915714 w 4932711"/>
              <a:gd name="connsiteY10" fmla="*/ 308556 h 4840951"/>
              <a:gd name="connsiteX11" fmla="*/ 3725213 w 4932711"/>
              <a:gd name="connsiteY11" fmla="*/ 1337256 h 4840951"/>
              <a:gd name="connsiteX12" fmla="*/ 3725213 w 4932711"/>
              <a:gd name="connsiteY12" fmla="*/ 1689681 h 4840951"/>
              <a:gd name="connsiteX13" fmla="*/ 3069493 w 4932711"/>
              <a:gd name="connsiteY13" fmla="*/ 2867772 h 4840951"/>
              <a:gd name="connsiteX14" fmla="*/ 2648888 w 4932711"/>
              <a:gd name="connsiteY14" fmla="*/ 3118431 h 4840951"/>
              <a:gd name="connsiteX15" fmla="*/ 2270396 w 4932711"/>
              <a:gd name="connsiteY15" fmla="*/ 3289379 h 4840951"/>
              <a:gd name="connsiteX16" fmla="*/ 1324913 w 4932711"/>
              <a:gd name="connsiteY16" fmla="*/ 3470856 h 4840951"/>
              <a:gd name="connsiteX17" fmla="*/ 373917 w 4932711"/>
              <a:gd name="connsiteY17" fmla="*/ 3826289 h 4840951"/>
              <a:gd name="connsiteX18" fmla="*/ 5953 w 4932711"/>
              <a:gd name="connsiteY18" fmla="*/ 4467972 h 4840951"/>
              <a:gd name="connsiteX0" fmla="*/ 5953 w 4932711"/>
              <a:gd name="connsiteY0" fmla="*/ 4467972 h 4840951"/>
              <a:gd name="connsiteX1" fmla="*/ 583468 w 4932711"/>
              <a:gd name="connsiteY1" fmla="*/ 4840951 h 4840951"/>
              <a:gd name="connsiteX2" fmla="*/ 1028636 w 4932711"/>
              <a:gd name="connsiteY2" fmla="*/ 4395783 h 4840951"/>
              <a:gd name="connsiteX3" fmla="*/ 2376173 w 4932711"/>
              <a:gd name="connsiteY3" fmla="*/ 4058898 h 4840951"/>
              <a:gd name="connsiteX4" fmla="*/ 3032897 w 4932711"/>
              <a:gd name="connsiteY4" fmla="*/ 3921538 h 4840951"/>
              <a:gd name="connsiteX5" fmla="*/ 3987903 w 4932711"/>
              <a:gd name="connsiteY5" fmla="*/ 2901360 h 4840951"/>
              <a:gd name="connsiteX6" fmla="*/ 4241068 w 4932711"/>
              <a:gd name="connsiteY6" fmla="*/ 2338383 h 4840951"/>
              <a:gd name="connsiteX7" fmla="*/ 4385447 w 4932711"/>
              <a:gd name="connsiteY7" fmla="*/ 1572372 h 4840951"/>
              <a:gd name="connsiteX8" fmla="*/ 4932711 w 4932711"/>
              <a:gd name="connsiteY8" fmla="*/ 495417 h 4840951"/>
              <a:gd name="connsiteX9" fmla="*/ 4168880 w 4932711"/>
              <a:gd name="connsiteY9" fmla="*/ 7578 h 4840951"/>
              <a:gd name="connsiteX10" fmla="*/ 3915714 w 4932711"/>
              <a:gd name="connsiteY10" fmla="*/ 308556 h 4840951"/>
              <a:gd name="connsiteX11" fmla="*/ 3725213 w 4932711"/>
              <a:gd name="connsiteY11" fmla="*/ 1337256 h 4840951"/>
              <a:gd name="connsiteX12" fmla="*/ 3725213 w 4932711"/>
              <a:gd name="connsiteY12" fmla="*/ 1689681 h 4840951"/>
              <a:gd name="connsiteX13" fmla="*/ 3069493 w 4932711"/>
              <a:gd name="connsiteY13" fmla="*/ 2867772 h 4840951"/>
              <a:gd name="connsiteX14" fmla="*/ 2648888 w 4932711"/>
              <a:gd name="connsiteY14" fmla="*/ 3118431 h 4840951"/>
              <a:gd name="connsiteX15" fmla="*/ 2270396 w 4932711"/>
              <a:gd name="connsiteY15" fmla="*/ 3289379 h 4840951"/>
              <a:gd name="connsiteX16" fmla="*/ 1324913 w 4932711"/>
              <a:gd name="connsiteY16" fmla="*/ 3470856 h 4840951"/>
              <a:gd name="connsiteX17" fmla="*/ 373917 w 4932711"/>
              <a:gd name="connsiteY17" fmla="*/ 3826289 h 4840951"/>
              <a:gd name="connsiteX18" fmla="*/ 5953 w 4932711"/>
              <a:gd name="connsiteY18" fmla="*/ 4467972 h 4840951"/>
              <a:gd name="connsiteX0" fmla="*/ 5953 w 4932711"/>
              <a:gd name="connsiteY0" fmla="*/ 4466081 h 4839060"/>
              <a:gd name="connsiteX1" fmla="*/ 583468 w 4932711"/>
              <a:gd name="connsiteY1" fmla="*/ 4839060 h 4839060"/>
              <a:gd name="connsiteX2" fmla="*/ 1028636 w 4932711"/>
              <a:gd name="connsiteY2" fmla="*/ 4393892 h 4839060"/>
              <a:gd name="connsiteX3" fmla="*/ 2376173 w 4932711"/>
              <a:gd name="connsiteY3" fmla="*/ 4057007 h 4839060"/>
              <a:gd name="connsiteX4" fmla="*/ 3032897 w 4932711"/>
              <a:gd name="connsiteY4" fmla="*/ 3919647 h 4839060"/>
              <a:gd name="connsiteX5" fmla="*/ 3987903 w 4932711"/>
              <a:gd name="connsiteY5" fmla="*/ 2899469 h 4839060"/>
              <a:gd name="connsiteX6" fmla="*/ 4241068 w 4932711"/>
              <a:gd name="connsiteY6" fmla="*/ 2336492 h 4839060"/>
              <a:gd name="connsiteX7" fmla="*/ 4385447 w 4932711"/>
              <a:gd name="connsiteY7" fmla="*/ 1570481 h 4839060"/>
              <a:gd name="connsiteX8" fmla="*/ 4932711 w 4932711"/>
              <a:gd name="connsiteY8" fmla="*/ 493526 h 4839060"/>
              <a:gd name="connsiteX9" fmla="*/ 4168880 w 4932711"/>
              <a:gd name="connsiteY9" fmla="*/ 5687 h 4839060"/>
              <a:gd name="connsiteX10" fmla="*/ 3982389 w 4932711"/>
              <a:gd name="connsiteY10" fmla="*/ 325715 h 4839060"/>
              <a:gd name="connsiteX11" fmla="*/ 3725213 w 4932711"/>
              <a:gd name="connsiteY11" fmla="*/ 1335365 h 4839060"/>
              <a:gd name="connsiteX12" fmla="*/ 3725213 w 4932711"/>
              <a:gd name="connsiteY12" fmla="*/ 1687790 h 4839060"/>
              <a:gd name="connsiteX13" fmla="*/ 3069493 w 4932711"/>
              <a:gd name="connsiteY13" fmla="*/ 2865881 h 4839060"/>
              <a:gd name="connsiteX14" fmla="*/ 2648888 w 4932711"/>
              <a:gd name="connsiteY14" fmla="*/ 3116540 h 4839060"/>
              <a:gd name="connsiteX15" fmla="*/ 2270396 w 4932711"/>
              <a:gd name="connsiteY15" fmla="*/ 3287488 h 4839060"/>
              <a:gd name="connsiteX16" fmla="*/ 1324913 w 4932711"/>
              <a:gd name="connsiteY16" fmla="*/ 3468965 h 4839060"/>
              <a:gd name="connsiteX17" fmla="*/ 373917 w 4932711"/>
              <a:gd name="connsiteY17" fmla="*/ 3824398 h 4839060"/>
              <a:gd name="connsiteX18" fmla="*/ 5953 w 4932711"/>
              <a:gd name="connsiteY18" fmla="*/ 4466081 h 4839060"/>
              <a:gd name="connsiteX0" fmla="*/ 5953 w 4932711"/>
              <a:gd name="connsiteY0" fmla="*/ 4492859 h 4865838"/>
              <a:gd name="connsiteX1" fmla="*/ 583468 w 4932711"/>
              <a:gd name="connsiteY1" fmla="*/ 4865838 h 4865838"/>
              <a:gd name="connsiteX2" fmla="*/ 1028636 w 4932711"/>
              <a:gd name="connsiteY2" fmla="*/ 4420670 h 4865838"/>
              <a:gd name="connsiteX3" fmla="*/ 2376173 w 4932711"/>
              <a:gd name="connsiteY3" fmla="*/ 4083785 h 4865838"/>
              <a:gd name="connsiteX4" fmla="*/ 3032897 w 4932711"/>
              <a:gd name="connsiteY4" fmla="*/ 3946425 h 4865838"/>
              <a:gd name="connsiteX5" fmla="*/ 3987903 w 4932711"/>
              <a:gd name="connsiteY5" fmla="*/ 2926247 h 4865838"/>
              <a:gd name="connsiteX6" fmla="*/ 4241068 w 4932711"/>
              <a:gd name="connsiteY6" fmla="*/ 2363270 h 4865838"/>
              <a:gd name="connsiteX7" fmla="*/ 4385447 w 4932711"/>
              <a:gd name="connsiteY7" fmla="*/ 1597259 h 4865838"/>
              <a:gd name="connsiteX8" fmla="*/ 4932711 w 4932711"/>
              <a:gd name="connsiteY8" fmla="*/ 520304 h 4865838"/>
              <a:gd name="connsiteX9" fmla="*/ 4140305 w 4932711"/>
              <a:gd name="connsiteY9" fmla="*/ 3890 h 4865838"/>
              <a:gd name="connsiteX10" fmla="*/ 3982389 w 4932711"/>
              <a:gd name="connsiteY10" fmla="*/ 352493 h 4865838"/>
              <a:gd name="connsiteX11" fmla="*/ 3725213 w 4932711"/>
              <a:gd name="connsiteY11" fmla="*/ 1362143 h 4865838"/>
              <a:gd name="connsiteX12" fmla="*/ 3725213 w 4932711"/>
              <a:gd name="connsiteY12" fmla="*/ 1714568 h 4865838"/>
              <a:gd name="connsiteX13" fmla="*/ 3069493 w 4932711"/>
              <a:gd name="connsiteY13" fmla="*/ 2892659 h 4865838"/>
              <a:gd name="connsiteX14" fmla="*/ 2648888 w 4932711"/>
              <a:gd name="connsiteY14" fmla="*/ 3143318 h 4865838"/>
              <a:gd name="connsiteX15" fmla="*/ 2270396 w 4932711"/>
              <a:gd name="connsiteY15" fmla="*/ 3314266 h 4865838"/>
              <a:gd name="connsiteX16" fmla="*/ 1324913 w 4932711"/>
              <a:gd name="connsiteY16" fmla="*/ 3495743 h 4865838"/>
              <a:gd name="connsiteX17" fmla="*/ 373917 w 4932711"/>
              <a:gd name="connsiteY17" fmla="*/ 3851176 h 4865838"/>
              <a:gd name="connsiteX18" fmla="*/ 5953 w 4932711"/>
              <a:gd name="connsiteY18" fmla="*/ 4492859 h 486583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982389 w 4932711"/>
              <a:gd name="connsiteY10" fmla="*/ 348603 h 4861948"/>
              <a:gd name="connsiteX11" fmla="*/ 3725213 w 4932711"/>
              <a:gd name="connsiteY11" fmla="*/ 1358253 h 4861948"/>
              <a:gd name="connsiteX12" fmla="*/ 3725213 w 4932711"/>
              <a:gd name="connsiteY12" fmla="*/ 1710678 h 4861948"/>
              <a:gd name="connsiteX13" fmla="*/ 3069493 w 4932711"/>
              <a:gd name="connsiteY13" fmla="*/ 2888769 h 4861948"/>
              <a:gd name="connsiteX14" fmla="*/ 2648888 w 4932711"/>
              <a:gd name="connsiteY14" fmla="*/ 3139428 h 4861948"/>
              <a:gd name="connsiteX15" fmla="*/ 2270396 w 4932711"/>
              <a:gd name="connsiteY15" fmla="*/ 3310376 h 4861948"/>
              <a:gd name="connsiteX16" fmla="*/ 1324913 w 4932711"/>
              <a:gd name="connsiteY16" fmla="*/ 3491853 h 4861948"/>
              <a:gd name="connsiteX17" fmla="*/ 373917 w 4932711"/>
              <a:gd name="connsiteY17" fmla="*/ 3847286 h 4861948"/>
              <a:gd name="connsiteX18" fmla="*/ 5953 w 4932711"/>
              <a:gd name="connsiteY18"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953814 w 4932711"/>
              <a:gd name="connsiteY10" fmla="*/ 443853 h 4861948"/>
              <a:gd name="connsiteX11" fmla="*/ 3725213 w 4932711"/>
              <a:gd name="connsiteY11" fmla="*/ 1358253 h 4861948"/>
              <a:gd name="connsiteX12" fmla="*/ 3725213 w 4932711"/>
              <a:gd name="connsiteY12" fmla="*/ 1710678 h 4861948"/>
              <a:gd name="connsiteX13" fmla="*/ 3069493 w 4932711"/>
              <a:gd name="connsiteY13" fmla="*/ 2888769 h 4861948"/>
              <a:gd name="connsiteX14" fmla="*/ 2648888 w 4932711"/>
              <a:gd name="connsiteY14" fmla="*/ 3139428 h 4861948"/>
              <a:gd name="connsiteX15" fmla="*/ 2270396 w 4932711"/>
              <a:gd name="connsiteY15" fmla="*/ 3310376 h 4861948"/>
              <a:gd name="connsiteX16" fmla="*/ 1324913 w 4932711"/>
              <a:gd name="connsiteY16" fmla="*/ 3491853 h 4861948"/>
              <a:gd name="connsiteX17" fmla="*/ 373917 w 4932711"/>
              <a:gd name="connsiteY17" fmla="*/ 3847286 h 4861948"/>
              <a:gd name="connsiteX18" fmla="*/ 5953 w 4932711"/>
              <a:gd name="connsiteY18"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953814 w 4932711"/>
              <a:gd name="connsiteY10" fmla="*/ 443853 h 4861948"/>
              <a:gd name="connsiteX11" fmla="*/ 3725213 w 4932711"/>
              <a:gd name="connsiteY11" fmla="*/ 1358253 h 4861948"/>
              <a:gd name="connsiteX12" fmla="*/ 3725213 w 4932711"/>
              <a:gd name="connsiteY12" fmla="*/ 1710678 h 4861948"/>
              <a:gd name="connsiteX13" fmla="*/ 3069493 w 4932711"/>
              <a:gd name="connsiteY13" fmla="*/ 2888769 h 4861948"/>
              <a:gd name="connsiteX14" fmla="*/ 2648888 w 4932711"/>
              <a:gd name="connsiteY14" fmla="*/ 3139428 h 4861948"/>
              <a:gd name="connsiteX15" fmla="*/ 2270396 w 4932711"/>
              <a:gd name="connsiteY15" fmla="*/ 3310376 h 4861948"/>
              <a:gd name="connsiteX16" fmla="*/ 1324913 w 4932711"/>
              <a:gd name="connsiteY16" fmla="*/ 3491853 h 4861948"/>
              <a:gd name="connsiteX17" fmla="*/ 373917 w 4932711"/>
              <a:gd name="connsiteY17" fmla="*/ 3847286 h 4861948"/>
              <a:gd name="connsiteX18" fmla="*/ 5953 w 4932711"/>
              <a:gd name="connsiteY18"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953814 w 4932711"/>
              <a:gd name="connsiteY10" fmla="*/ 443853 h 4861948"/>
              <a:gd name="connsiteX11" fmla="*/ 3725213 w 4932711"/>
              <a:gd name="connsiteY11" fmla="*/ 1358253 h 4861948"/>
              <a:gd name="connsiteX12" fmla="*/ 3725213 w 4932711"/>
              <a:gd name="connsiteY12" fmla="*/ 1710678 h 4861948"/>
              <a:gd name="connsiteX13" fmla="*/ 3069493 w 4932711"/>
              <a:gd name="connsiteY13" fmla="*/ 2888769 h 4861948"/>
              <a:gd name="connsiteX14" fmla="*/ 2648888 w 4932711"/>
              <a:gd name="connsiteY14" fmla="*/ 3139428 h 4861948"/>
              <a:gd name="connsiteX15" fmla="*/ 2270396 w 4932711"/>
              <a:gd name="connsiteY15" fmla="*/ 3310376 h 4861948"/>
              <a:gd name="connsiteX16" fmla="*/ 1324913 w 4932711"/>
              <a:gd name="connsiteY16" fmla="*/ 3491853 h 4861948"/>
              <a:gd name="connsiteX17" fmla="*/ 373917 w 4932711"/>
              <a:gd name="connsiteY17" fmla="*/ 3847286 h 4861948"/>
              <a:gd name="connsiteX18" fmla="*/ 5953 w 4932711"/>
              <a:gd name="connsiteY18"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953814 w 4932711"/>
              <a:gd name="connsiteY10" fmla="*/ 443853 h 4861948"/>
              <a:gd name="connsiteX11" fmla="*/ 3725213 w 4932711"/>
              <a:gd name="connsiteY11" fmla="*/ 1358253 h 4861948"/>
              <a:gd name="connsiteX12" fmla="*/ 3725213 w 4932711"/>
              <a:gd name="connsiteY12" fmla="*/ 1710678 h 4861948"/>
              <a:gd name="connsiteX13" fmla="*/ 3069493 w 4932711"/>
              <a:gd name="connsiteY13" fmla="*/ 2888769 h 4861948"/>
              <a:gd name="connsiteX14" fmla="*/ 2648888 w 4932711"/>
              <a:gd name="connsiteY14" fmla="*/ 3139428 h 4861948"/>
              <a:gd name="connsiteX15" fmla="*/ 2270396 w 4932711"/>
              <a:gd name="connsiteY15" fmla="*/ 3310376 h 4861948"/>
              <a:gd name="connsiteX16" fmla="*/ 1324913 w 4932711"/>
              <a:gd name="connsiteY16" fmla="*/ 3491853 h 4861948"/>
              <a:gd name="connsiteX17" fmla="*/ 373917 w 4932711"/>
              <a:gd name="connsiteY17" fmla="*/ 3847286 h 4861948"/>
              <a:gd name="connsiteX18" fmla="*/ 5953 w 4932711"/>
              <a:gd name="connsiteY18"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41068 w 4932711"/>
              <a:gd name="connsiteY6" fmla="*/ 2359380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30039 w 4932711"/>
              <a:gd name="connsiteY6" fmla="*/ 2167879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30039 w 4932711"/>
              <a:gd name="connsiteY6" fmla="*/ 2167879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30039 w 4932711"/>
              <a:gd name="connsiteY6" fmla="*/ 2167879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30039 w 4932711"/>
              <a:gd name="connsiteY6" fmla="*/ 2167879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30039 w 4932711"/>
              <a:gd name="connsiteY6" fmla="*/ 2167879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032897 w 4932711"/>
              <a:gd name="connsiteY4" fmla="*/ 3942535 h 4861948"/>
              <a:gd name="connsiteX5" fmla="*/ 3987903 w 4932711"/>
              <a:gd name="connsiteY5" fmla="*/ 2922357 h 4861948"/>
              <a:gd name="connsiteX6" fmla="*/ 4230039 w 4932711"/>
              <a:gd name="connsiteY6" fmla="*/ 2167879 h 4861948"/>
              <a:gd name="connsiteX7" fmla="*/ 4385447 w 4932711"/>
              <a:gd name="connsiteY7" fmla="*/ 1593369 h 4861948"/>
              <a:gd name="connsiteX8" fmla="*/ 4932711 w 4932711"/>
              <a:gd name="connsiteY8" fmla="*/ 516414 h 4861948"/>
              <a:gd name="connsiteX9" fmla="*/ 4140305 w 4932711"/>
              <a:gd name="connsiteY9" fmla="*/ 0 h 4861948"/>
              <a:gd name="connsiteX10" fmla="*/ 3725213 w 4932711"/>
              <a:gd name="connsiteY10" fmla="*/ 1358253 h 4861948"/>
              <a:gd name="connsiteX11" fmla="*/ 3725213 w 4932711"/>
              <a:gd name="connsiteY11" fmla="*/ 1710678 h 4861948"/>
              <a:gd name="connsiteX12" fmla="*/ 3069493 w 4932711"/>
              <a:gd name="connsiteY12" fmla="*/ 2888769 h 4861948"/>
              <a:gd name="connsiteX13" fmla="*/ 2648888 w 4932711"/>
              <a:gd name="connsiteY13" fmla="*/ 3139428 h 4861948"/>
              <a:gd name="connsiteX14" fmla="*/ 2270396 w 4932711"/>
              <a:gd name="connsiteY14" fmla="*/ 3310376 h 4861948"/>
              <a:gd name="connsiteX15" fmla="*/ 1324913 w 4932711"/>
              <a:gd name="connsiteY15" fmla="*/ 3491853 h 4861948"/>
              <a:gd name="connsiteX16" fmla="*/ 373917 w 4932711"/>
              <a:gd name="connsiteY16" fmla="*/ 3847286 h 4861948"/>
              <a:gd name="connsiteX17" fmla="*/ 5953 w 4932711"/>
              <a:gd name="connsiteY17"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76173 w 4932711"/>
              <a:gd name="connsiteY3" fmla="*/ 407989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95223 w 4932711"/>
              <a:gd name="connsiteY3" fmla="*/ 409894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95223 w 4932711"/>
              <a:gd name="connsiteY3" fmla="*/ 409894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95223 w 4932711"/>
              <a:gd name="connsiteY3" fmla="*/ 409894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95223 w 4932711"/>
              <a:gd name="connsiteY3" fmla="*/ 409894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95223 w 4932711"/>
              <a:gd name="connsiteY3" fmla="*/ 409894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95223 w 4932711"/>
              <a:gd name="connsiteY3" fmla="*/ 409894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95223 w 4932711"/>
              <a:gd name="connsiteY3" fmla="*/ 409894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95223 w 4932711"/>
              <a:gd name="connsiteY3" fmla="*/ 409894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2711"/>
              <a:gd name="connsiteY0" fmla="*/ 4488969 h 4861948"/>
              <a:gd name="connsiteX1" fmla="*/ 583468 w 4932711"/>
              <a:gd name="connsiteY1" fmla="*/ 4861948 h 4861948"/>
              <a:gd name="connsiteX2" fmla="*/ 1028636 w 4932711"/>
              <a:gd name="connsiteY2" fmla="*/ 4416780 h 4861948"/>
              <a:gd name="connsiteX3" fmla="*/ 2395223 w 4932711"/>
              <a:gd name="connsiteY3" fmla="*/ 4098945 h 4861948"/>
              <a:gd name="connsiteX4" fmla="*/ 3987903 w 4932711"/>
              <a:gd name="connsiteY4" fmla="*/ 2922357 h 4861948"/>
              <a:gd name="connsiteX5" fmla="*/ 4230039 w 4932711"/>
              <a:gd name="connsiteY5" fmla="*/ 2167879 h 4861948"/>
              <a:gd name="connsiteX6" fmla="*/ 4385447 w 4932711"/>
              <a:gd name="connsiteY6" fmla="*/ 1593369 h 4861948"/>
              <a:gd name="connsiteX7" fmla="*/ 4932711 w 4932711"/>
              <a:gd name="connsiteY7" fmla="*/ 516414 h 4861948"/>
              <a:gd name="connsiteX8" fmla="*/ 4140305 w 4932711"/>
              <a:gd name="connsiteY8" fmla="*/ 0 h 4861948"/>
              <a:gd name="connsiteX9" fmla="*/ 3725213 w 4932711"/>
              <a:gd name="connsiteY9" fmla="*/ 1358253 h 4861948"/>
              <a:gd name="connsiteX10" fmla="*/ 3725213 w 4932711"/>
              <a:gd name="connsiteY10" fmla="*/ 1710678 h 4861948"/>
              <a:gd name="connsiteX11" fmla="*/ 3069493 w 4932711"/>
              <a:gd name="connsiteY11" fmla="*/ 2888769 h 4861948"/>
              <a:gd name="connsiteX12" fmla="*/ 2648888 w 4932711"/>
              <a:gd name="connsiteY12" fmla="*/ 3139428 h 4861948"/>
              <a:gd name="connsiteX13" fmla="*/ 2270396 w 4932711"/>
              <a:gd name="connsiteY13" fmla="*/ 3310376 h 4861948"/>
              <a:gd name="connsiteX14" fmla="*/ 1324913 w 4932711"/>
              <a:gd name="connsiteY14" fmla="*/ 3491853 h 4861948"/>
              <a:gd name="connsiteX15" fmla="*/ 373917 w 4932711"/>
              <a:gd name="connsiteY15" fmla="*/ 3847286 h 4861948"/>
              <a:gd name="connsiteX16" fmla="*/ 5953 w 4932711"/>
              <a:gd name="connsiteY16" fmla="*/ 4488969 h 4861948"/>
              <a:gd name="connsiteX0" fmla="*/ 5953 w 4933004"/>
              <a:gd name="connsiteY0" fmla="*/ 4488969 h 4861948"/>
              <a:gd name="connsiteX1" fmla="*/ 583468 w 4933004"/>
              <a:gd name="connsiteY1" fmla="*/ 4861948 h 4861948"/>
              <a:gd name="connsiteX2" fmla="*/ 1028636 w 4933004"/>
              <a:gd name="connsiteY2" fmla="*/ 4416780 h 4861948"/>
              <a:gd name="connsiteX3" fmla="*/ 2395223 w 4933004"/>
              <a:gd name="connsiteY3" fmla="*/ 4098945 h 4861948"/>
              <a:gd name="connsiteX4" fmla="*/ 3987903 w 4933004"/>
              <a:gd name="connsiteY4" fmla="*/ 2922357 h 4861948"/>
              <a:gd name="connsiteX5" fmla="*/ 4230039 w 4933004"/>
              <a:gd name="connsiteY5" fmla="*/ 2167879 h 4861948"/>
              <a:gd name="connsiteX6" fmla="*/ 4932711 w 4933004"/>
              <a:gd name="connsiteY6" fmla="*/ 516414 h 4861948"/>
              <a:gd name="connsiteX7" fmla="*/ 4140305 w 4933004"/>
              <a:gd name="connsiteY7" fmla="*/ 0 h 4861948"/>
              <a:gd name="connsiteX8" fmla="*/ 3725213 w 4933004"/>
              <a:gd name="connsiteY8" fmla="*/ 1358253 h 4861948"/>
              <a:gd name="connsiteX9" fmla="*/ 3725213 w 4933004"/>
              <a:gd name="connsiteY9" fmla="*/ 1710678 h 4861948"/>
              <a:gd name="connsiteX10" fmla="*/ 3069493 w 4933004"/>
              <a:gd name="connsiteY10" fmla="*/ 2888769 h 4861948"/>
              <a:gd name="connsiteX11" fmla="*/ 2648888 w 4933004"/>
              <a:gd name="connsiteY11" fmla="*/ 3139428 h 4861948"/>
              <a:gd name="connsiteX12" fmla="*/ 2270396 w 4933004"/>
              <a:gd name="connsiteY12" fmla="*/ 3310376 h 4861948"/>
              <a:gd name="connsiteX13" fmla="*/ 1324913 w 4933004"/>
              <a:gd name="connsiteY13" fmla="*/ 3491853 h 4861948"/>
              <a:gd name="connsiteX14" fmla="*/ 373917 w 4933004"/>
              <a:gd name="connsiteY14" fmla="*/ 3847286 h 4861948"/>
              <a:gd name="connsiteX15" fmla="*/ 5953 w 4933004"/>
              <a:gd name="connsiteY15" fmla="*/ 4488969 h 4861948"/>
              <a:gd name="connsiteX0" fmla="*/ 5953 w 4933119"/>
              <a:gd name="connsiteY0" fmla="*/ 4488969 h 4861948"/>
              <a:gd name="connsiteX1" fmla="*/ 583468 w 4933119"/>
              <a:gd name="connsiteY1" fmla="*/ 4861948 h 4861948"/>
              <a:gd name="connsiteX2" fmla="*/ 1028636 w 4933119"/>
              <a:gd name="connsiteY2" fmla="*/ 4416780 h 4861948"/>
              <a:gd name="connsiteX3" fmla="*/ 2395223 w 4933119"/>
              <a:gd name="connsiteY3" fmla="*/ 4098945 h 4861948"/>
              <a:gd name="connsiteX4" fmla="*/ 3987903 w 4933119"/>
              <a:gd name="connsiteY4" fmla="*/ 2922357 h 4861948"/>
              <a:gd name="connsiteX5" fmla="*/ 4230039 w 4933119"/>
              <a:gd name="connsiteY5" fmla="*/ 2167879 h 4861948"/>
              <a:gd name="connsiteX6" fmla="*/ 4932711 w 4933119"/>
              <a:gd name="connsiteY6" fmla="*/ 516414 h 4861948"/>
              <a:gd name="connsiteX7" fmla="*/ 4140305 w 4933119"/>
              <a:gd name="connsiteY7" fmla="*/ 0 h 4861948"/>
              <a:gd name="connsiteX8" fmla="*/ 3725213 w 4933119"/>
              <a:gd name="connsiteY8" fmla="*/ 1358253 h 4861948"/>
              <a:gd name="connsiteX9" fmla="*/ 3725213 w 4933119"/>
              <a:gd name="connsiteY9" fmla="*/ 1710678 h 4861948"/>
              <a:gd name="connsiteX10" fmla="*/ 3069493 w 4933119"/>
              <a:gd name="connsiteY10" fmla="*/ 2888769 h 4861948"/>
              <a:gd name="connsiteX11" fmla="*/ 2648888 w 4933119"/>
              <a:gd name="connsiteY11" fmla="*/ 3139428 h 4861948"/>
              <a:gd name="connsiteX12" fmla="*/ 2270396 w 4933119"/>
              <a:gd name="connsiteY12" fmla="*/ 3310376 h 4861948"/>
              <a:gd name="connsiteX13" fmla="*/ 1324913 w 4933119"/>
              <a:gd name="connsiteY13" fmla="*/ 3491853 h 4861948"/>
              <a:gd name="connsiteX14" fmla="*/ 373917 w 4933119"/>
              <a:gd name="connsiteY14" fmla="*/ 3847286 h 4861948"/>
              <a:gd name="connsiteX15" fmla="*/ 5953 w 4933119"/>
              <a:gd name="connsiteY15" fmla="*/ 4488969 h 4861948"/>
              <a:gd name="connsiteX0" fmla="*/ 5953 w 4933085"/>
              <a:gd name="connsiteY0" fmla="*/ 4488969 h 4861948"/>
              <a:gd name="connsiteX1" fmla="*/ 583468 w 4933085"/>
              <a:gd name="connsiteY1" fmla="*/ 4861948 h 4861948"/>
              <a:gd name="connsiteX2" fmla="*/ 1028636 w 4933085"/>
              <a:gd name="connsiteY2" fmla="*/ 4416780 h 4861948"/>
              <a:gd name="connsiteX3" fmla="*/ 2395223 w 4933085"/>
              <a:gd name="connsiteY3" fmla="*/ 4098945 h 4861948"/>
              <a:gd name="connsiteX4" fmla="*/ 3987903 w 4933085"/>
              <a:gd name="connsiteY4" fmla="*/ 2922357 h 4861948"/>
              <a:gd name="connsiteX5" fmla="*/ 4230039 w 4933085"/>
              <a:gd name="connsiteY5" fmla="*/ 2167879 h 4861948"/>
              <a:gd name="connsiteX6" fmla="*/ 4932711 w 4933085"/>
              <a:gd name="connsiteY6" fmla="*/ 516414 h 4861948"/>
              <a:gd name="connsiteX7" fmla="*/ 4140305 w 4933085"/>
              <a:gd name="connsiteY7" fmla="*/ 0 h 4861948"/>
              <a:gd name="connsiteX8" fmla="*/ 3725213 w 4933085"/>
              <a:gd name="connsiteY8" fmla="*/ 1358253 h 4861948"/>
              <a:gd name="connsiteX9" fmla="*/ 3725213 w 4933085"/>
              <a:gd name="connsiteY9" fmla="*/ 1710678 h 4861948"/>
              <a:gd name="connsiteX10" fmla="*/ 3069493 w 4933085"/>
              <a:gd name="connsiteY10" fmla="*/ 2888769 h 4861948"/>
              <a:gd name="connsiteX11" fmla="*/ 2648888 w 4933085"/>
              <a:gd name="connsiteY11" fmla="*/ 3139428 h 4861948"/>
              <a:gd name="connsiteX12" fmla="*/ 2270396 w 4933085"/>
              <a:gd name="connsiteY12" fmla="*/ 3310376 h 4861948"/>
              <a:gd name="connsiteX13" fmla="*/ 1324913 w 4933085"/>
              <a:gd name="connsiteY13" fmla="*/ 3491853 h 4861948"/>
              <a:gd name="connsiteX14" fmla="*/ 373917 w 4933085"/>
              <a:gd name="connsiteY14" fmla="*/ 3847286 h 4861948"/>
              <a:gd name="connsiteX15" fmla="*/ 5953 w 4933085"/>
              <a:gd name="connsiteY15" fmla="*/ 4488969 h 4861948"/>
              <a:gd name="connsiteX0" fmla="*/ 5953 w 4933085"/>
              <a:gd name="connsiteY0" fmla="*/ 4488969 h 4861948"/>
              <a:gd name="connsiteX1" fmla="*/ 583468 w 4933085"/>
              <a:gd name="connsiteY1" fmla="*/ 4861948 h 4861948"/>
              <a:gd name="connsiteX2" fmla="*/ 1028636 w 4933085"/>
              <a:gd name="connsiteY2" fmla="*/ 4416780 h 4861948"/>
              <a:gd name="connsiteX3" fmla="*/ 2395223 w 4933085"/>
              <a:gd name="connsiteY3" fmla="*/ 4098945 h 4861948"/>
              <a:gd name="connsiteX4" fmla="*/ 3987903 w 4933085"/>
              <a:gd name="connsiteY4" fmla="*/ 2922357 h 4861948"/>
              <a:gd name="connsiteX5" fmla="*/ 4230039 w 4933085"/>
              <a:gd name="connsiteY5" fmla="*/ 2167879 h 4861948"/>
              <a:gd name="connsiteX6" fmla="*/ 4932711 w 4933085"/>
              <a:gd name="connsiteY6" fmla="*/ 516414 h 4861948"/>
              <a:gd name="connsiteX7" fmla="*/ 4140305 w 4933085"/>
              <a:gd name="connsiteY7" fmla="*/ 0 h 4861948"/>
              <a:gd name="connsiteX8" fmla="*/ 3725213 w 4933085"/>
              <a:gd name="connsiteY8" fmla="*/ 1358253 h 4861948"/>
              <a:gd name="connsiteX9" fmla="*/ 3725213 w 4933085"/>
              <a:gd name="connsiteY9" fmla="*/ 1710678 h 4861948"/>
              <a:gd name="connsiteX10" fmla="*/ 3069493 w 4933085"/>
              <a:gd name="connsiteY10" fmla="*/ 2888769 h 4861948"/>
              <a:gd name="connsiteX11" fmla="*/ 2648888 w 4933085"/>
              <a:gd name="connsiteY11" fmla="*/ 3139428 h 4861948"/>
              <a:gd name="connsiteX12" fmla="*/ 2270396 w 4933085"/>
              <a:gd name="connsiteY12" fmla="*/ 3310376 h 4861948"/>
              <a:gd name="connsiteX13" fmla="*/ 1324913 w 4933085"/>
              <a:gd name="connsiteY13" fmla="*/ 3491853 h 4861948"/>
              <a:gd name="connsiteX14" fmla="*/ 373917 w 4933085"/>
              <a:gd name="connsiteY14" fmla="*/ 3847286 h 4861948"/>
              <a:gd name="connsiteX15" fmla="*/ 5953 w 4933085"/>
              <a:gd name="connsiteY15" fmla="*/ 4488969 h 4861948"/>
              <a:gd name="connsiteX0" fmla="*/ 5953 w 4933085"/>
              <a:gd name="connsiteY0" fmla="*/ 4488969 h 4861948"/>
              <a:gd name="connsiteX1" fmla="*/ 583468 w 4933085"/>
              <a:gd name="connsiteY1" fmla="*/ 4861948 h 4861948"/>
              <a:gd name="connsiteX2" fmla="*/ 1028636 w 4933085"/>
              <a:gd name="connsiteY2" fmla="*/ 4416780 h 4861948"/>
              <a:gd name="connsiteX3" fmla="*/ 2395223 w 4933085"/>
              <a:gd name="connsiteY3" fmla="*/ 4098945 h 4861948"/>
              <a:gd name="connsiteX4" fmla="*/ 3987903 w 4933085"/>
              <a:gd name="connsiteY4" fmla="*/ 2922357 h 4861948"/>
              <a:gd name="connsiteX5" fmla="*/ 4230039 w 4933085"/>
              <a:gd name="connsiteY5" fmla="*/ 2167879 h 4861948"/>
              <a:gd name="connsiteX6" fmla="*/ 4932711 w 4933085"/>
              <a:gd name="connsiteY6" fmla="*/ 516414 h 4861948"/>
              <a:gd name="connsiteX7" fmla="*/ 4140305 w 4933085"/>
              <a:gd name="connsiteY7" fmla="*/ 0 h 4861948"/>
              <a:gd name="connsiteX8" fmla="*/ 3725213 w 4933085"/>
              <a:gd name="connsiteY8" fmla="*/ 1358253 h 4861948"/>
              <a:gd name="connsiteX9" fmla="*/ 3725213 w 4933085"/>
              <a:gd name="connsiteY9" fmla="*/ 1710678 h 4861948"/>
              <a:gd name="connsiteX10" fmla="*/ 3069493 w 4933085"/>
              <a:gd name="connsiteY10" fmla="*/ 2888769 h 4861948"/>
              <a:gd name="connsiteX11" fmla="*/ 2648888 w 4933085"/>
              <a:gd name="connsiteY11" fmla="*/ 3139428 h 4861948"/>
              <a:gd name="connsiteX12" fmla="*/ 2270396 w 4933085"/>
              <a:gd name="connsiteY12" fmla="*/ 3310376 h 4861948"/>
              <a:gd name="connsiteX13" fmla="*/ 1324913 w 4933085"/>
              <a:gd name="connsiteY13" fmla="*/ 3491853 h 4861948"/>
              <a:gd name="connsiteX14" fmla="*/ 373917 w 4933085"/>
              <a:gd name="connsiteY14" fmla="*/ 3847286 h 4861948"/>
              <a:gd name="connsiteX15" fmla="*/ 5953 w 4933085"/>
              <a:gd name="connsiteY15" fmla="*/ 4488969 h 4861948"/>
              <a:gd name="connsiteX0" fmla="*/ 5953 w 4933161"/>
              <a:gd name="connsiteY0" fmla="*/ 4488969 h 4861948"/>
              <a:gd name="connsiteX1" fmla="*/ 583468 w 4933161"/>
              <a:gd name="connsiteY1" fmla="*/ 4861948 h 4861948"/>
              <a:gd name="connsiteX2" fmla="*/ 1028636 w 4933161"/>
              <a:gd name="connsiteY2" fmla="*/ 4416780 h 4861948"/>
              <a:gd name="connsiteX3" fmla="*/ 2395223 w 4933161"/>
              <a:gd name="connsiteY3" fmla="*/ 4098945 h 4861948"/>
              <a:gd name="connsiteX4" fmla="*/ 3987903 w 4933161"/>
              <a:gd name="connsiteY4" fmla="*/ 2922357 h 4861948"/>
              <a:gd name="connsiteX5" fmla="*/ 4230039 w 4933161"/>
              <a:gd name="connsiteY5" fmla="*/ 2167879 h 4861948"/>
              <a:gd name="connsiteX6" fmla="*/ 4932711 w 4933161"/>
              <a:gd name="connsiteY6" fmla="*/ 516414 h 4861948"/>
              <a:gd name="connsiteX7" fmla="*/ 4140305 w 4933161"/>
              <a:gd name="connsiteY7" fmla="*/ 0 h 4861948"/>
              <a:gd name="connsiteX8" fmla="*/ 3725213 w 4933161"/>
              <a:gd name="connsiteY8" fmla="*/ 1358253 h 4861948"/>
              <a:gd name="connsiteX9" fmla="*/ 3725213 w 4933161"/>
              <a:gd name="connsiteY9" fmla="*/ 1710678 h 4861948"/>
              <a:gd name="connsiteX10" fmla="*/ 3069493 w 4933161"/>
              <a:gd name="connsiteY10" fmla="*/ 2888769 h 4861948"/>
              <a:gd name="connsiteX11" fmla="*/ 2648888 w 4933161"/>
              <a:gd name="connsiteY11" fmla="*/ 3139428 h 4861948"/>
              <a:gd name="connsiteX12" fmla="*/ 2270396 w 4933161"/>
              <a:gd name="connsiteY12" fmla="*/ 3310376 h 4861948"/>
              <a:gd name="connsiteX13" fmla="*/ 1324913 w 4933161"/>
              <a:gd name="connsiteY13" fmla="*/ 3491853 h 4861948"/>
              <a:gd name="connsiteX14" fmla="*/ 373917 w 4933161"/>
              <a:gd name="connsiteY14" fmla="*/ 3847286 h 4861948"/>
              <a:gd name="connsiteX15" fmla="*/ 5953 w 4933161"/>
              <a:gd name="connsiteY15" fmla="*/ 4488969 h 4861948"/>
              <a:gd name="connsiteX0" fmla="*/ 5953 w 4933161"/>
              <a:gd name="connsiteY0" fmla="*/ 4365144 h 4738123"/>
              <a:gd name="connsiteX1" fmla="*/ 583468 w 4933161"/>
              <a:gd name="connsiteY1" fmla="*/ 4738123 h 4738123"/>
              <a:gd name="connsiteX2" fmla="*/ 1028636 w 4933161"/>
              <a:gd name="connsiteY2" fmla="*/ 4292955 h 4738123"/>
              <a:gd name="connsiteX3" fmla="*/ 2395223 w 4933161"/>
              <a:gd name="connsiteY3" fmla="*/ 3975120 h 4738123"/>
              <a:gd name="connsiteX4" fmla="*/ 3987903 w 4933161"/>
              <a:gd name="connsiteY4" fmla="*/ 2798532 h 4738123"/>
              <a:gd name="connsiteX5" fmla="*/ 4230039 w 4933161"/>
              <a:gd name="connsiteY5" fmla="*/ 2044054 h 4738123"/>
              <a:gd name="connsiteX6" fmla="*/ 4932711 w 4933161"/>
              <a:gd name="connsiteY6" fmla="*/ 392589 h 4738123"/>
              <a:gd name="connsiteX7" fmla="*/ 4168880 w 4933161"/>
              <a:gd name="connsiteY7" fmla="*/ 0 h 4738123"/>
              <a:gd name="connsiteX8" fmla="*/ 3725213 w 4933161"/>
              <a:gd name="connsiteY8" fmla="*/ 1234428 h 4738123"/>
              <a:gd name="connsiteX9" fmla="*/ 3725213 w 4933161"/>
              <a:gd name="connsiteY9" fmla="*/ 1586853 h 4738123"/>
              <a:gd name="connsiteX10" fmla="*/ 3069493 w 4933161"/>
              <a:gd name="connsiteY10" fmla="*/ 2764944 h 4738123"/>
              <a:gd name="connsiteX11" fmla="*/ 2648888 w 4933161"/>
              <a:gd name="connsiteY11" fmla="*/ 3015603 h 4738123"/>
              <a:gd name="connsiteX12" fmla="*/ 2270396 w 4933161"/>
              <a:gd name="connsiteY12" fmla="*/ 3186551 h 4738123"/>
              <a:gd name="connsiteX13" fmla="*/ 1324913 w 4933161"/>
              <a:gd name="connsiteY13" fmla="*/ 3368028 h 4738123"/>
              <a:gd name="connsiteX14" fmla="*/ 373917 w 4933161"/>
              <a:gd name="connsiteY14" fmla="*/ 3723461 h 4738123"/>
              <a:gd name="connsiteX15" fmla="*/ 5953 w 4933161"/>
              <a:gd name="connsiteY15" fmla="*/ 4365144 h 4738123"/>
              <a:gd name="connsiteX0" fmla="*/ 5953 w 4933161"/>
              <a:gd name="connsiteY0" fmla="*/ 4365144 h 4738123"/>
              <a:gd name="connsiteX1" fmla="*/ 583468 w 4933161"/>
              <a:gd name="connsiteY1" fmla="*/ 4738123 h 4738123"/>
              <a:gd name="connsiteX2" fmla="*/ 1028636 w 4933161"/>
              <a:gd name="connsiteY2" fmla="*/ 4292955 h 4738123"/>
              <a:gd name="connsiteX3" fmla="*/ 2395223 w 4933161"/>
              <a:gd name="connsiteY3" fmla="*/ 3975120 h 4738123"/>
              <a:gd name="connsiteX4" fmla="*/ 3987903 w 4933161"/>
              <a:gd name="connsiteY4" fmla="*/ 2798532 h 4738123"/>
              <a:gd name="connsiteX5" fmla="*/ 4230039 w 4933161"/>
              <a:gd name="connsiteY5" fmla="*/ 2044054 h 4738123"/>
              <a:gd name="connsiteX6" fmla="*/ 4932711 w 4933161"/>
              <a:gd name="connsiteY6" fmla="*/ 392589 h 4738123"/>
              <a:gd name="connsiteX7" fmla="*/ 4168880 w 4933161"/>
              <a:gd name="connsiteY7" fmla="*/ 0 h 4738123"/>
              <a:gd name="connsiteX8" fmla="*/ 3725213 w 4933161"/>
              <a:gd name="connsiteY8" fmla="*/ 1234428 h 4738123"/>
              <a:gd name="connsiteX9" fmla="*/ 3725213 w 4933161"/>
              <a:gd name="connsiteY9" fmla="*/ 1586853 h 4738123"/>
              <a:gd name="connsiteX10" fmla="*/ 3069493 w 4933161"/>
              <a:gd name="connsiteY10" fmla="*/ 2764944 h 4738123"/>
              <a:gd name="connsiteX11" fmla="*/ 2648888 w 4933161"/>
              <a:gd name="connsiteY11" fmla="*/ 3015603 h 4738123"/>
              <a:gd name="connsiteX12" fmla="*/ 2270396 w 4933161"/>
              <a:gd name="connsiteY12" fmla="*/ 3186551 h 4738123"/>
              <a:gd name="connsiteX13" fmla="*/ 1324913 w 4933161"/>
              <a:gd name="connsiteY13" fmla="*/ 3368028 h 4738123"/>
              <a:gd name="connsiteX14" fmla="*/ 373917 w 4933161"/>
              <a:gd name="connsiteY14" fmla="*/ 3723461 h 4738123"/>
              <a:gd name="connsiteX15" fmla="*/ 5953 w 4933161"/>
              <a:gd name="connsiteY15" fmla="*/ 4365144 h 4738123"/>
              <a:gd name="connsiteX0" fmla="*/ 5953 w 4933161"/>
              <a:gd name="connsiteY0" fmla="*/ 4365144 h 4738123"/>
              <a:gd name="connsiteX1" fmla="*/ 583468 w 4933161"/>
              <a:gd name="connsiteY1" fmla="*/ 4738123 h 4738123"/>
              <a:gd name="connsiteX2" fmla="*/ 1028636 w 4933161"/>
              <a:gd name="connsiteY2" fmla="*/ 4292955 h 4738123"/>
              <a:gd name="connsiteX3" fmla="*/ 2395223 w 4933161"/>
              <a:gd name="connsiteY3" fmla="*/ 3975120 h 4738123"/>
              <a:gd name="connsiteX4" fmla="*/ 3987903 w 4933161"/>
              <a:gd name="connsiteY4" fmla="*/ 2798532 h 4738123"/>
              <a:gd name="connsiteX5" fmla="*/ 4230039 w 4933161"/>
              <a:gd name="connsiteY5" fmla="*/ 2044054 h 4738123"/>
              <a:gd name="connsiteX6" fmla="*/ 4932711 w 4933161"/>
              <a:gd name="connsiteY6" fmla="*/ 392589 h 4738123"/>
              <a:gd name="connsiteX7" fmla="*/ 4168880 w 4933161"/>
              <a:gd name="connsiteY7" fmla="*/ 0 h 4738123"/>
              <a:gd name="connsiteX8" fmla="*/ 3725213 w 4933161"/>
              <a:gd name="connsiteY8" fmla="*/ 1234428 h 4738123"/>
              <a:gd name="connsiteX9" fmla="*/ 3725213 w 4933161"/>
              <a:gd name="connsiteY9" fmla="*/ 1586853 h 4738123"/>
              <a:gd name="connsiteX10" fmla="*/ 3069493 w 4933161"/>
              <a:gd name="connsiteY10" fmla="*/ 2764944 h 4738123"/>
              <a:gd name="connsiteX11" fmla="*/ 2648888 w 4933161"/>
              <a:gd name="connsiteY11" fmla="*/ 3015603 h 4738123"/>
              <a:gd name="connsiteX12" fmla="*/ 2270396 w 4933161"/>
              <a:gd name="connsiteY12" fmla="*/ 3186551 h 4738123"/>
              <a:gd name="connsiteX13" fmla="*/ 1324913 w 4933161"/>
              <a:gd name="connsiteY13" fmla="*/ 3368028 h 4738123"/>
              <a:gd name="connsiteX14" fmla="*/ 373917 w 4933161"/>
              <a:gd name="connsiteY14" fmla="*/ 3723461 h 4738123"/>
              <a:gd name="connsiteX15" fmla="*/ 5953 w 4933161"/>
              <a:gd name="connsiteY15" fmla="*/ 4365144 h 4738123"/>
              <a:gd name="connsiteX0" fmla="*/ 5953 w 4933161"/>
              <a:gd name="connsiteY0" fmla="*/ 4365144 h 4738123"/>
              <a:gd name="connsiteX1" fmla="*/ 583468 w 4933161"/>
              <a:gd name="connsiteY1" fmla="*/ 4738123 h 4738123"/>
              <a:gd name="connsiteX2" fmla="*/ 1028636 w 4933161"/>
              <a:gd name="connsiteY2" fmla="*/ 4292955 h 4738123"/>
              <a:gd name="connsiteX3" fmla="*/ 2395223 w 4933161"/>
              <a:gd name="connsiteY3" fmla="*/ 3975120 h 4738123"/>
              <a:gd name="connsiteX4" fmla="*/ 3987903 w 4933161"/>
              <a:gd name="connsiteY4" fmla="*/ 2798532 h 4738123"/>
              <a:gd name="connsiteX5" fmla="*/ 4230039 w 4933161"/>
              <a:gd name="connsiteY5" fmla="*/ 2044054 h 4738123"/>
              <a:gd name="connsiteX6" fmla="*/ 4932711 w 4933161"/>
              <a:gd name="connsiteY6" fmla="*/ 392589 h 4738123"/>
              <a:gd name="connsiteX7" fmla="*/ 4168880 w 4933161"/>
              <a:gd name="connsiteY7" fmla="*/ 0 h 4738123"/>
              <a:gd name="connsiteX8" fmla="*/ 3725213 w 4933161"/>
              <a:gd name="connsiteY8" fmla="*/ 1234428 h 4738123"/>
              <a:gd name="connsiteX9" fmla="*/ 3725213 w 4933161"/>
              <a:gd name="connsiteY9" fmla="*/ 1586853 h 4738123"/>
              <a:gd name="connsiteX10" fmla="*/ 3069493 w 4933161"/>
              <a:gd name="connsiteY10" fmla="*/ 2764944 h 4738123"/>
              <a:gd name="connsiteX11" fmla="*/ 2648888 w 4933161"/>
              <a:gd name="connsiteY11" fmla="*/ 3015603 h 4738123"/>
              <a:gd name="connsiteX12" fmla="*/ 2270396 w 4933161"/>
              <a:gd name="connsiteY12" fmla="*/ 3186551 h 4738123"/>
              <a:gd name="connsiteX13" fmla="*/ 1324913 w 4933161"/>
              <a:gd name="connsiteY13" fmla="*/ 3368028 h 4738123"/>
              <a:gd name="connsiteX14" fmla="*/ 373917 w 4933161"/>
              <a:gd name="connsiteY14" fmla="*/ 3723461 h 4738123"/>
              <a:gd name="connsiteX15" fmla="*/ 5953 w 4933161"/>
              <a:gd name="connsiteY15" fmla="*/ 4365144 h 4738123"/>
              <a:gd name="connsiteX0" fmla="*/ 5953 w 4933161"/>
              <a:gd name="connsiteY0" fmla="*/ 4384194 h 4757173"/>
              <a:gd name="connsiteX1" fmla="*/ 583468 w 4933161"/>
              <a:gd name="connsiteY1" fmla="*/ 4757173 h 4757173"/>
              <a:gd name="connsiteX2" fmla="*/ 1028636 w 4933161"/>
              <a:gd name="connsiteY2" fmla="*/ 4312005 h 4757173"/>
              <a:gd name="connsiteX3" fmla="*/ 2395223 w 4933161"/>
              <a:gd name="connsiteY3" fmla="*/ 3994170 h 4757173"/>
              <a:gd name="connsiteX4" fmla="*/ 3987903 w 4933161"/>
              <a:gd name="connsiteY4" fmla="*/ 2817582 h 4757173"/>
              <a:gd name="connsiteX5" fmla="*/ 4230039 w 4933161"/>
              <a:gd name="connsiteY5" fmla="*/ 2063104 h 4757173"/>
              <a:gd name="connsiteX6" fmla="*/ 4932711 w 4933161"/>
              <a:gd name="connsiteY6" fmla="*/ 411639 h 4757173"/>
              <a:gd name="connsiteX7" fmla="*/ 4121255 w 4933161"/>
              <a:gd name="connsiteY7" fmla="*/ 0 h 4757173"/>
              <a:gd name="connsiteX8" fmla="*/ 3725213 w 4933161"/>
              <a:gd name="connsiteY8" fmla="*/ 1253478 h 4757173"/>
              <a:gd name="connsiteX9" fmla="*/ 3725213 w 4933161"/>
              <a:gd name="connsiteY9" fmla="*/ 1605903 h 4757173"/>
              <a:gd name="connsiteX10" fmla="*/ 3069493 w 4933161"/>
              <a:gd name="connsiteY10" fmla="*/ 2783994 h 4757173"/>
              <a:gd name="connsiteX11" fmla="*/ 2648888 w 4933161"/>
              <a:gd name="connsiteY11" fmla="*/ 3034653 h 4757173"/>
              <a:gd name="connsiteX12" fmla="*/ 2270396 w 4933161"/>
              <a:gd name="connsiteY12" fmla="*/ 3205601 h 4757173"/>
              <a:gd name="connsiteX13" fmla="*/ 1324913 w 4933161"/>
              <a:gd name="connsiteY13" fmla="*/ 3387078 h 4757173"/>
              <a:gd name="connsiteX14" fmla="*/ 373917 w 4933161"/>
              <a:gd name="connsiteY14" fmla="*/ 3742511 h 4757173"/>
              <a:gd name="connsiteX15" fmla="*/ 5953 w 4933161"/>
              <a:gd name="connsiteY15" fmla="*/ 4384194 h 4757173"/>
              <a:gd name="connsiteX0" fmla="*/ 5953 w 4933161"/>
              <a:gd name="connsiteY0" fmla="*/ 4384194 h 4757173"/>
              <a:gd name="connsiteX1" fmla="*/ 583468 w 4933161"/>
              <a:gd name="connsiteY1" fmla="*/ 4757173 h 4757173"/>
              <a:gd name="connsiteX2" fmla="*/ 1028636 w 4933161"/>
              <a:gd name="connsiteY2" fmla="*/ 4312005 h 4757173"/>
              <a:gd name="connsiteX3" fmla="*/ 2395223 w 4933161"/>
              <a:gd name="connsiteY3" fmla="*/ 3994170 h 4757173"/>
              <a:gd name="connsiteX4" fmla="*/ 3987903 w 4933161"/>
              <a:gd name="connsiteY4" fmla="*/ 2817582 h 4757173"/>
              <a:gd name="connsiteX5" fmla="*/ 4230039 w 4933161"/>
              <a:gd name="connsiteY5" fmla="*/ 2063104 h 4757173"/>
              <a:gd name="connsiteX6" fmla="*/ 4932711 w 4933161"/>
              <a:gd name="connsiteY6" fmla="*/ 411639 h 4757173"/>
              <a:gd name="connsiteX7" fmla="*/ 4121255 w 4933161"/>
              <a:gd name="connsiteY7" fmla="*/ 0 h 4757173"/>
              <a:gd name="connsiteX8" fmla="*/ 3725213 w 4933161"/>
              <a:gd name="connsiteY8" fmla="*/ 1253478 h 4757173"/>
              <a:gd name="connsiteX9" fmla="*/ 3725213 w 4933161"/>
              <a:gd name="connsiteY9" fmla="*/ 1605903 h 4757173"/>
              <a:gd name="connsiteX10" fmla="*/ 3069493 w 4933161"/>
              <a:gd name="connsiteY10" fmla="*/ 2783994 h 4757173"/>
              <a:gd name="connsiteX11" fmla="*/ 2648888 w 4933161"/>
              <a:gd name="connsiteY11" fmla="*/ 3034653 h 4757173"/>
              <a:gd name="connsiteX12" fmla="*/ 2270396 w 4933161"/>
              <a:gd name="connsiteY12" fmla="*/ 3205601 h 4757173"/>
              <a:gd name="connsiteX13" fmla="*/ 1324913 w 4933161"/>
              <a:gd name="connsiteY13" fmla="*/ 3387078 h 4757173"/>
              <a:gd name="connsiteX14" fmla="*/ 373917 w 4933161"/>
              <a:gd name="connsiteY14" fmla="*/ 3742511 h 4757173"/>
              <a:gd name="connsiteX15" fmla="*/ 5953 w 4933161"/>
              <a:gd name="connsiteY15" fmla="*/ 4384194 h 4757173"/>
              <a:gd name="connsiteX0" fmla="*/ 5953 w 4933493"/>
              <a:gd name="connsiteY0" fmla="*/ 4384194 h 4757173"/>
              <a:gd name="connsiteX1" fmla="*/ 583468 w 4933493"/>
              <a:gd name="connsiteY1" fmla="*/ 4757173 h 4757173"/>
              <a:gd name="connsiteX2" fmla="*/ 1028636 w 4933493"/>
              <a:gd name="connsiteY2" fmla="*/ 4312005 h 4757173"/>
              <a:gd name="connsiteX3" fmla="*/ 2395223 w 4933493"/>
              <a:gd name="connsiteY3" fmla="*/ 3994170 h 4757173"/>
              <a:gd name="connsiteX4" fmla="*/ 3987903 w 4933493"/>
              <a:gd name="connsiteY4" fmla="*/ 2817582 h 4757173"/>
              <a:gd name="connsiteX5" fmla="*/ 4230039 w 4933493"/>
              <a:gd name="connsiteY5" fmla="*/ 2063104 h 4757173"/>
              <a:gd name="connsiteX6" fmla="*/ 4932711 w 4933493"/>
              <a:gd name="connsiteY6" fmla="*/ 411639 h 4757173"/>
              <a:gd name="connsiteX7" fmla="*/ 4121255 w 4933493"/>
              <a:gd name="connsiteY7" fmla="*/ 0 h 4757173"/>
              <a:gd name="connsiteX8" fmla="*/ 3725213 w 4933493"/>
              <a:gd name="connsiteY8" fmla="*/ 1253478 h 4757173"/>
              <a:gd name="connsiteX9" fmla="*/ 3725213 w 4933493"/>
              <a:gd name="connsiteY9" fmla="*/ 1605903 h 4757173"/>
              <a:gd name="connsiteX10" fmla="*/ 3069493 w 4933493"/>
              <a:gd name="connsiteY10" fmla="*/ 2783994 h 4757173"/>
              <a:gd name="connsiteX11" fmla="*/ 2648888 w 4933493"/>
              <a:gd name="connsiteY11" fmla="*/ 3034653 h 4757173"/>
              <a:gd name="connsiteX12" fmla="*/ 2270396 w 4933493"/>
              <a:gd name="connsiteY12" fmla="*/ 3205601 h 4757173"/>
              <a:gd name="connsiteX13" fmla="*/ 1324913 w 4933493"/>
              <a:gd name="connsiteY13" fmla="*/ 3387078 h 4757173"/>
              <a:gd name="connsiteX14" fmla="*/ 373917 w 4933493"/>
              <a:gd name="connsiteY14" fmla="*/ 3742511 h 4757173"/>
              <a:gd name="connsiteX15" fmla="*/ 5953 w 4933493"/>
              <a:gd name="connsiteY15" fmla="*/ 4384194 h 4757173"/>
              <a:gd name="connsiteX0" fmla="*/ 5953 w 4933493"/>
              <a:gd name="connsiteY0" fmla="*/ 4384194 h 4757173"/>
              <a:gd name="connsiteX1" fmla="*/ 583468 w 4933493"/>
              <a:gd name="connsiteY1" fmla="*/ 4757173 h 4757173"/>
              <a:gd name="connsiteX2" fmla="*/ 1028636 w 4933493"/>
              <a:gd name="connsiteY2" fmla="*/ 4312005 h 4757173"/>
              <a:gd name="connsiteX3" fmla="*/ 2395223 w 4933493"/>
              <a:gd name="connsiteY3" fmla="*/ 3994170 h 4757173"/>
              <a:gd name="connsiteX4" fmla="*/ 4230039 w 4933493"/>
              <a:gd name="connsiteY4" fmla="*/ 2063104 h 4757173"/>
              <a:gd name="connsiteX5" fmla="*/ 4932711 w 4933493"/>
              <a:gd name="connsiteY5" fmla="*/ 411639 h 4757173"/>
              <a:gd name="connsiteX6" fmla="*/ 4121255 w 4933493"/>
              <a:gd name="connsiteY6" fmla="*/ 0 h 4757173"/>
              <a:gd name="connsiteX7" fmla="*/ 3725213 w 4933493"/>
              <a:gd name="connsiteY7" fmla="*/ 1253478 h 4757173"/>
              <a:gd name="connsiteX8" fmla="*/ 3725213 w 4933493"/>
              <a:gd name="connsiteY8" fmla="*/ 1605903 h 4757173"/>
              <a:gd name="connsiteX9" fmla="*/ 3069493 w 4933493"/>
              <a:gd name="connsiteY9" fmla="*/ 2783994 h 4757173"/>
              <a:gd name="connsiteX10" fmla="*/ 2648888 w 4933493"/>
              <a:gd name="connsiteY10" fmla="*/ 3034653 h 4757173"/>
              <a:gd name="connsiteX11" fmla="*/ 2270396 w 4933493"/>
              <a:gd name="connsiteY11" fmla="*/ 3205601 h 4757173"/>
              <a:gd name="connsiteX12" fmla="*/ 1324913 w 4933493"/>
              <a:gd name="connsiteY12" fmla="*/ 3387078 h 4757173"/>
              <a:gd name="connsiteX13" fmla="*/ 373917 w 4933493"/>
              <a:gd name="connsiteY13" fmla="*/ 3742511 h 4757173"/>
              <a:gd name="connsiteX14" fmla="*/ 5953 w 4933493"/>
              <a:gd name="connsiteY14" fmla="*/ 4384194 h 4757173"/>
              <a:gd name="connsiteX0" fmla="*/ 5953 w 4933493"/>
              <a:gd name="connsiteY0" fmla="*/ 4384194 h 4757173"/>
              <a:gd name="connsiteX1" fmla="*/ 583468 w 4933493"/>
              <a:gd name="connsiteY1" fmla="*/ 4757173 h 4757173"/>
              <a:gd name="connsiteX2" fmla="*/ 1028636 w 4933493"/>
              <a:gd name="connsiteY2" fmla="*/ 4312005 h 4757173"/>
              <a:gd name="connsiteX3" fmla="*/ 2423798 w 4933493"/>
              <a:gd name="connsiteY3" fmla="*/ 4060845 h 4757173"/>
              <a:gd name="connsiteX4" fmla="*/ 4230039 w 4933493"/>
              <a:gd name="connsiteY4" fmla="*/ 2063104 h 4757173"/>
              <a:gd name="connsiteX5" fmla="*/ 4932711 w 4933493"/>
              <a:gd name="connsiteY5" fmla="*/ 411639 h 4757173"/>
              <a:gd name="connsiteX6" fmla="*/ 4121255 w 4933493"/>
              <a:gd name="connsiteY6" fmla="*/ 0 h 4757173"/>
              <a:gd name="connsiteX7" fmla="*/ 3725213 w 4933493"/>
              <a:gd name="connsiteY7" fmla="*/ 1253478 h 4757173"/>
              <a:gd name="connsiteX8" fmla="*/ 3725213 w 4933493"/>
              <a:gd name="connsiteY8" fmla="*/ 1605903 h 4757173"/>
              <a:gd name="connsiteX9" fmla="*/ 3069493 w 4933493"/>
              <a:gd name="connsiteY9" fmla="*/ 2783994 h 4757173"/>
              <a:gd name="connsiteX10" fmla="*/ 2648888 w 4933493"/>
              <a:gd name="connsiteY10" fmla="*/ 3034653 h 4757173"/>
              <a:gd name="connsiteX11" fmla="*/ 2270396 w 4933493"/>
              <a:gd name="connsiteY11" fmla="*/ 3205601 h 4757173"/>
              <a:gd name="connsiteX12" fmla="*/ 1324913 w 4933493"/>
              <a:gd name="connsiteY12" fmla="*/ 3387078 h 4757173"/>
              <a:gd name="connsiteX13" fmla="*/ 373917 w 4933493"/>
              <a:gd name="connsiteY13" fmla="*/ 3742511 h 4757173"/>
              <a:gd name="connsiteX14" fmla="*/ 5953 w 4933493"/>
              <a:gd name="connsiteY14" fmla="*/ 4384194 h 4757173"/>
              <a:gd name="connsiteX0" fmla="*/ 5953 w 4933493"/>
              <a:gd name="connsiteY0" fmla="*/ 4384194 h 4757173"/>
              <a:gd name="connsiteX1" fmla="*/ 583468 w 4933493"/>
              <a:gd name="connsiteY1" fmla="*/ 4757173 h 4757173"/>
              <a:gd name="connsiteX2" fmla="*/ 1028636 w 4933493"/>
              <a:gd name="connsiteY2" fmla="*/ 4312005 h 4757173"/>
              <a:gd name="connsiteX3" fmla="*/ 2423798 w 4933493"/>
              <a:gd name="connsiteY3" fmla="*/ 4060845 h 4757173"/>
              <a:gd name="connsiteX4" fmla="*/ 4230039 w 4933493"/>
              <a:gd name="connsiteY4" fmla="*/ 2063104 h 4757173"/>
              <a:gd name="connsiteX5" fmla="*/ 4932711 w 4933493"/>
              <a:gd name="connsiteY5" fmla="*/ 411639 h 4757173"/>
              <a:gd name="connsiteX6" fmla="*/ 4121255 w 4933493"/>
              <a:gd name="connsiteY6" fmla="*/ 0 h 4757173"/>
              <a:gd name="connsiteX7" fmla="*/ 3725213 w 4933493"/>
              <a:gd name="connsiteY7" fmla="*/ 1253478 h 4757173"/>
              <a:gd name="connsiteX8" fmla="*/ 3725213 w 4933493"/>
              <a:gd name="connsiteY8" fmla="*/ 1605903 h 4757173"/>
              <a:gd name="connsiteX9" fmla="*/ 3069493 w 4933493"/>
              <a:gd name="connsiteY9" fmla="*/ 2783994 h 4757173"/>
              <a:gd name="connsiteX10" fmla="*/ 2648888 w 4933493"/>
              <a:gd name="connsiteY10" fmla="*/ 3034653 h 4757173"/>
              <a:gd name="connsiteX11" fmla="*/ 2270396 w 4933493"/>
              <a:gd name="connsiteY11" fmla="*/ 3205601 h 4757173"/>
              <a:gd name="connsiteX12" fmla="*/ 1324913 w 4933493"/>
              <a:gd name="connsiteY12" fmla="*/ 3387078 h 4757173"/>
              <a:gd name="connsiteX13" fmla="*/ 373917 w 4933493"/>
              <a:gd name="connsiteY13" fmla="*/ 3742511 h 4757173"/>
              <a:gd name="connsiteX14" fmla="*/ 5953 w 4933493"/>
              <a:gd name="connsiteY14" fmla="*/ 4384194 h 4757173"/>
              <a:gd name="connsiteX0" fmla="*/ 5953 w 4933493"/>
              <a:gd name="connsiteY0" fmla="*/ 4384194 h 4757173"/>
              <a:gd name="connsiteX1" fmla="*/ 583468 w 4933493"/>
              <a:gd name="connsiteY1" fmla="*/ 4757173 h 4757173"/>
              <a:gd name="connsiteX2" fmla="*/ 1028636 w 4933493"/>
              <a:gd name="connsiteY2" fmla="*/ 4312005 h 4757173"/>
              <a:gd name="connsiteX3" fmla="*/ 2423798 w 4933493"/>
              <a:gd name="connsiteY3" fmla="*/ 4060845 h 4757173"/>
              <a:gd name="connsiteX4" fmla="*/ 4230039 w 4933493"/>
              <a:gd name="connsiteY4" fmla="*/ 2063104 h 4757173"/>
              <a:gd name="connsiteX5" fmla="*/ 4932711 w 4933493"/>
              <a:gd name="connsiteY5" fmla="*/ 411639 h 4757173"/>
              <a:gd name="connsiteX6" fmla="*/ 4121255 w 4933493"/>
              <a:gd name="connsiteY6" fmla="*/ 0 h 4757173"/>
              <a:gd name="connsiteX7" fmla="*/ 3725213 w 4933493"/>
              <a:gd name="connsiteY7" fmla="*/ 1253478 h 4757173"/>
              <a:gd name="connsiteX8" fmla="*/ 3725213 w 4933493"/>
              <a:gd name="connsiteY8" fmla="*/ 1605903 h 4757173"/>
              <a:gd name="connsiteX9" fmla="*/ 3069493 w 4933493"/>
              <a:gd name="connsiteY9" fmla="*/ 2783994 h 4757173"/>
              <a:gd name="connsiteX10" fmla="*/ 2648888 w 4933493"/>
              <a:gd name="connsiteY10" fmla="*/ 3034653 h 4757173"/>
              <a:gd name="connsiteX11" fmla="*/ 2270396 w 4933493"/>
              <a:gd name="connsiteY11" fmla="*/ 3205601 h 4757173"/>
              <a:gd name="connsiteX12" fmla="*/ 1324913 w 4933493"/>
              <a:gd name="connsiteY12" fmla="*/ 3387078 h 4757173"/>
              <a:gd name="connsiteX13" fmla="*/ 373917 w 4933493"/>
              <a:gd name="connsiteY13" fmla="*/ 3742511 h 4757173"/>
              <a:gd name="connsiteX14" fmla="*/ 5953 w 4933493"/>
              <a:gd name="connsiteY14" fmla="*/ 4384194 h 4757173"/>
              <a:gd name="connsiteX0" fmla="*/ 5953 w 4933493"/>
              <a:gd name="connsiteY0" fmla="*/ 4384194 h 4757173"/>
              <a:gd name="connsiteX1" fmla="*/ 583468 w 4933493"/>
              <a:gd name="connsiteY1" fmla="*/ 4757173 h 4757173"/>
              <a:gd name="connsiteX2" fmla="*/ 1028636 w 4933493"/>
              <a:gd name="connsiteY2" fmla="*/ 4312005 h 4757173"/>
              <a:gd name="connsiteX3" fmla="*/ 2423798 w 4933493"/>
              <a:gd name="connsiteY3" fmla="*/ 4060845 h 4757173"/>
              <a:gd name="connsiteX4" fmla="*/ 4230039 w 4933493"/>
              <a:gd name="connsiteY4" fmla="*/ 2063104 h 4757173"/>
              <a:gd name="connsiteX5" fmla="*/ 4932711 w 4933493"/>
              <a:gd name="connsiteY5" fmla="*/ 411639 h 4757173"/>
              <a:gd name="connsiteX6" fmla="*/ 4121255 w 4933493"/>
              <a:gd name="connsiteY6" fmla="*/ 0 h 4757173"/>
              <a:gd name="connsiteX7" fmla="*/ 3725213 w 4933493"/>
              <a:gd name="connsiteY7" fmla="*/ 1253478 h 4757173"/>
              <a:gd name="connsiteX8" fmla="*/ 3725213 w 4933493"/>
              <a:gd name="connsiteY8" fmla="*/ 1605903 h 4757173"/>
              <a:gd name="connsiteX9" fmla="*/ 3069493 w 4933493"/>
              <a:gd name="connsiteY9" fmla="*/ 2783994 h 4757173"/>
              <a:gd name="connsiteX10" fmla="*/ 2648888 w 4933493"/>
              <a:gd name="connsiteY10" fmla="*/ 3034653 h 4757173"/>
              <a:gd name="connsiteX11" fmla="*/ 2270396 w 4933493"/>
              <a:gd name="connsiteY11" fmla="*/ 3205601 h 4757173"/>
              <a:gd name="connsiteX12" fmla="*/ 1324913 w 4933493"/>
              <a:gd name="connsiteY12" fmla="*/ 3387078 h 4757173"/>
              <a:gd name="connsiteX13" fmla="*/ 373917 w 4933493"/>
              <a:gd name="connsiteY13" fmla="*/ 3742511 h 4757173"/>
              <a:gd name="connsiteX14" fmla="*/ 5953 w 4933493"/>
              <a:gd name="connsiteY14" fmla="*/ 4384194 h 4757173"/>
              <a:gd name="connsiteX0" fmla="*/ 5953 w 4933493"/>
              <a:gd name="connsiteY0" fmla="*/ 4384194 h 4757173"/>
              <a:gd name="connsiteX1" fmla="*/ 583468 w 4933493"/>
              <a:gd name="connsiteY1" fmla="*/ 4757173 h 4757173"/>
              <a:gd name="connsiteX2" fmla="*/ 1028636 w 4933493"/>
              <a:gd name="connsiteY2" fmla="*/ 4312005 h 4757173"/>
              <a:gd name="connsiteX3" fmla="*/ 2423798 w 4933493"/>
              <a:gd name="connsiteY3" fmla="*/ 4060845 h 4757173"/>
              <a:gd name="connsiteX4" fmla="*/ 4230039 w 4933493"/>
              <a:gd name="connsiteY4" fmla="*/ 2063104 h 4757173"/>
              <a:gd name="connsiteX5" fmla="*/ 4932711 w 4933493"/>
              <a:gd name="connsiteY5" fmla="*/ 411639 h 4757173"/>
              <a:gd name="connsiteX6" fmla="*/ 4121255 w 4933493"/>
              <a:gd name="connsiteY6" fmla="*/ 0 h 4757173"/>
              <a:gd name="connsiteX7" fmla="*/ 3725213 w 4933493"/>
              <a:gd name="connsiteY7" fmla="*/ 1253478 h 4757173"/>
              <a:gd name="connsiteX8" fmla="*/ 3725213 w 4933493"/>
              <a:gd name="connsiteY8" fmla="*/ 1605903 h 4757173"/>
              <a:gd name="connsiteX9" fmla="*/ 3069493 w 4933493"/>
              <a:gd name="connsiteY9" fmla="*/ 2783994 h 4757173"/>
              <a:gd name="connsiteX10" fmla="*/ 2648888 w 4933493"/>
              <a:gd name="connsiteY10" fmla="*/ 3034653 h 4757173"/>
              <a:gd name="connsiteX11" fmla="*/ 2270396 w 4933493"/>
              <a:gd name="connsiteY11" fmla="*/ 3205601 h 4757173"/>
              <a:gd name="connsiteX12" fmla="*/ 1324913 w 4933493"/>
              <a:gd name="connsiteY12" fmla="*/ 3387078 h 4757173"/>
              <a:gd name="connsiteX13" fmla="*/ 373917 w 4933493"/>
              <a:gd name="connsiteY13" fmla="*/ 3742511 h 4757173"/>
              <a:gd name="connsiteX14" fmla="*/ 5953 w 4933493"/>
              <a:gd name="connsiteY14" fmla="*/ 4384194 h 4757173"/>
              <a:gd name="connsiteX0" fmla="*/ 5953 w 4933493"/>
              <a:gd name="connsiteY0" fmla="*/ 4384194 h 4757173"/>
              <a:gd name="connsiteX1" fmla="*/ 583468 w 4933493"/>
              <a:gd name="connsiteY1" fmla="*/ 4757173 h 4757173"/>
              <a:gd name="connsiteX2" fmla="*/ 1028636 w 4933493"/>
              <a:gd name="connsiteY2" fmla="*/ 4312005 h 4757173"/>
              <a:gd name="connsiteX3" fmla="*/ 2423798 w 4933493"/>
              <a:gd name="connsiteY3" fmla="*/ 4060845 h 4757173"/>
              <a:gd name="connsiteX4" fmla="*/ 4230039 w 4933493"/>
              <a:gd name="connsiteY4" fmla="*/ 2063104 h 4757173"/>
              <a:gd name="connsiteX5" fmla="*/ 4932711 w 4933493"/>
              <a:gd name="connsiteY5" fmla="*/ 411639 h 4757173"/>
              <a:gd name="connsiteX6" fmla="*/ 4121255 w 4933493"/>
              <a:gd name="connsiteY6" fmla="*/ 0 h 4757173"/>
              <a:gd name="connsiteX7" fmla="*/ 3725213 w 4933493"/>
              <a:gd name="connsiteY7" fmla="*/ 1253478 h 4757173"/>
              <a:gd name="connsiteX8" fmla="*/ 3725213 w 4933493"/>
              <a:gd name="connsiteY8" fmla="*/ 1605903 h 4757173"/>
              <a:gd name="connsiteX9" fmla="*/ 3069493 w 4933493"/>
              <a:gd name="connsiteY9" fmla="*/ 2783994 h 4757173"/>
              <a:gd name="connsiteX10" fmla="*/ 2648888 w 4933493"/>
              <a:gd name="connsiteY10" fmla="*/ 3034653 h 4757173"/>
              <a:gd name="connsiteX11" fmla="*/ 2270396 w 4933493"/>
              <a:gd name="connsiteY11" fmla="*/ 3205601 h 4757173"/>
              <a:gd name="connsiteX12" fmla="*/ 1324913 w 4933493"/>
              <a:gd name="connsiteY12" fmla="*/ 3387078 h 4757173"/>
              <a:gd name="connsiteX13" fmla="*/ 373917 w 4933493"/>
              <a:gd name="connsiteY13" fmla="*/ 3742511 h 4757173"/>
              <a:gd name="connsiteX14" fmla="*/ 5953 w 4933493"/>
              <a:gd name="connsiteY14" fmla="*/ 4384194 h 4757173"/>
              <a:gd name="connsiteX0" fmla="*/ 5953 w 4933493"/>
              <a:gd name="connsiteY0" fmla="*/ 4384194 h 4757173"/>
              <a:gd name="connsiteX1" fmla="*/ 583468 w 4933493"/>
              <a:gd name="connsiteY1" fmla="*/ 4757173 h 4757173"/>
              <a:gd name="connsiteX2" fmla="*/ 1028636 w 4933493"/>
              <a:gd name="connsiteY2" fmla="*/ 4312005 h 4757173"/>
              <a:gd name="connsiteX3" fmla="*/ 2423798 w 4933493"/>
              <a:gd name="connsiteY3" fmla="*/ 4060845 h 4757173"/>
              <a:gd name="connsiteX4" fmla="*/ 4230039 w 4933493"/>
              <a:gd name="connsiteY4" fmla="*/ 2063104 h 4757173"/>
              <a:gd name="connsiteX5" fmla="*/ 4932711 w 4933493"/>
              <a:gd name="connsiteY5" fmla="*/ 411639 h 4757173"/>
              <a:gd name="connsiteX6" fmla="*/ 4121255 w 4933493"/>
              <a:gd name="connsiteY6" fmla="*/ 0 h 4757173"/>
              <a:gd name="connsiteX7" fmla="*/ 3725213 w 4933493"/>
              <a:gd name="connsiteY7" fmla="*/ 1253478 h 4757173"/>
              <a:gd name="connsiteX8" fmla="*/ 3725213 w 4933493"/>
              <a:gd name="connsiteY8" fmla="*/ 1605903 h 4757173"/>
              <a:gd name="connsiteX9" fmla="*/ 3069493 w 4933493"/>
              <a:gd name="connsiteY9" fmla="*/ 2783994 h 4757173"/>
              <a:gd name="connsiteX10" fmla="*/ 2648888 w 4933493"/>
              <a:gd name="connsiteY10" fmla="*/ 3034653 h 4757173"/>
              <a:gd name="connsiteX11" fmla="*/ 2270396 w 4933493"/>
              <a:gd name="connsiteY11" fmla="*/ 3205601 h 4757173"/>
              <a:gd name="connsiteX12" fmla="*/ 1324913 w 4933493"/>
              <a:gd name="connsiteY12" fmla="*/ 3387078 h 4757173"/>
              <a:gd name="connsiteX13" fmla="*/ 373917 w 4933493"/>
              <a:gd name="connsiteY13" fmla="*/ 3742511 h 4757173"/>
              <a:gd name="connsiteX14" fmla="*/ 5953 w 4933493"/>
              <a:gd name="connsiteY14" fmla="*/ 4384194 h 4757173"/>
              <a:gd name="connsiteX0" fmla="*/ 5953 w 4932711"/>
              <a:gd name="connsiteY0" fmla="*/ 4384194 h 4757173"/>
              <a:gd name="connsiteX1" fmla="*/ 583468 w 4932711"/>
              <a:gd name="connsiteY1" fmla="*/ 4757173 h 4757173"/>
              <a:gd name="connsiteX2" fmla="*/ 1028636 w 4932711"/>
              <a:gd name="connsiteY2" fmla="*/ 4312005 h 4757173"/>
              <a:gd name="connsiteX3" fmla="*/ 2423798 w 4932711"/>
              <a:gd name="connsiteY3" fmla="*/ 4060845 h 4757173"/>
              <a:gd name="connsiteX4" fmla="*/ 4230039 w 4932711"/>
              <a:gd name="connsiteY4" fmla="*/ 2063104 h 4757173"/>
              <a:gd name="connsiteX5" fmla="*/ 4932711 w 4932711"/>
              <a:gd name="connsiteY5" fmla="*/ 411639 h 4757173"/>
              <a:gd name="connsiteX6" fmla="*/ 4121255 w 4932711"/>
              <a:gd name="connsiteY6" fmla="*/ 0 h 4757173"/>
              <a:gd name="connsiteX7" fmla="*/ 3725213 w 4932711"/>
              <a:gd name="connsiteY7" fmla="*/ 1253478 h 4757173"/>
              <a:gd name="connsiteX8" fmla="*/ 3725213 w 4932711"/>
              <a:gd name="connsiteY8" fmla="*/ 1605903 h 4757173"/>
              <a:gd name="connsiteX9" fmla="*/ 3069493 w 4932711"/>
              <a:gd name="connsiteY9" fmla="*/ 2783994 h 4757173"/>
              <a:gd name="connsiteX10" fmla="*/ 2648888 w 4932711"/>
              <a:gd name="connsiteY10" fmla="*/ 3034653 h 4757173"/>
              <a:gd name="connsiteX11" fmla="*/ 2270396 w 4932711"/>
              <a:gd name="connsiteY11" fmla="*/ 3205601 h 4757173"/>
              <a:gd name="connsiteX12" fmla="*/ 1324913 w 4932711"/>
              <a:gd name="connsiteY12" fmla="*/ 3387078 h 4757173"/>
              <a:gd name="connsiteX13" fmla="*/ 373917 w 4932711"/>
              <a:gd name="connsiteY13" fmla="*/ 3742511 h 4757173"/>
              <a:gd name="connsiteX14" fmla="*/ 5953 w 4932711"/>
              <a:gd name="connsiteY14" fmla="*/ 4384194 h 4757173"/>
              <a:gd name="connsiteX0" fmla="*/ 5953 w 4932711"/>
              <a:gd name="connsiteY0" fmla="*/ 4384194 h 4757173"/>
              <a:gd name="connsiteX1" fmla="*/ 583468 w 4932711"/>
              <a:gd name="connsiteY1" fmla="*/ 4757173 h 4757173"/>
              <a:gd name="connsiteX2" fmla="*/ 1028636 w 4932711"/>
              <a:gd name="connsiteY2" fmla="*/ 4312005 h 4757173"/>
              <a:gd name="connsiteX3" fmla="*/ 2423798 w 4932711"/>
              <a:gd name="connsiteY3" fmla="*/ 4060845 h 4757173"/>
              <a:gd name="connsiteX4" fmla="*/ 4230039 w 4932711"/>
              <a:gd name="connsiteY4" fmla="*/ 2063104 h 4757173"/>
              <a:gd name="connsiteX5" fmla="*/ 4932711 w 4932711"/>
              <a:gd name="connsiteY5" fmla="*/ 411639 h 4757173"/>
              <a:gd name="connsiteX6" fmla="*/ 4121255 w 4932711"/>
              <a:gd name="connsiteY6" fmla="*/ 0 h 4757173"/>
              <a:gd name="connsiteX7" fmla="*/ 3725213 w 4932711"/>
              <a:gd name="connsiteY7" fmla="*/ 1253478 h 4757173"/>
              <a:gd name="connsiteX8" fmla="*/ 3668063 w 4932711"/>
              <a:gd name="connsiteY8" fmla="*/ 1624953 h 4757173"/>
              <a:gd name="connsiteX9" fmla="*/ 3069493 w 4932711"/>
              <a:gd name="connsiteY9" fmla="*/ 2783994 h 4757173"/>
              <a:gd name="connsiteX10" fmla="*/ 2648888 w 4932711"/>
              <a:gd name="connsiteY10" fmla="*/ 3034653 h 4757173"/>
              <a:gd name="connsiteX11" fmla="*/ 2270396 w 4932711"/>
              <a:gd name="connsiteY11" fmla="*/ 3205601 h 4757173"/>
              <a:gd name="connsiteX12" fmla="*/ 1324913 w 4932711"/>
              <a:gd name="connsiteY12" fmla="*/ 3387078 h 4757173"/>
              <a:gd name="connsiteX13" fmla="*/ 373917 w 4932711"/>
              <a:gd name="connsiteY13" fmla="*/ 3742511 h 4757173"/>
              <a:gd name="connsiteX14" fmla="*/ 5953 w 4932711"/>
              <a:gd name="connsiteY14" fmla="*/ 4384194 h 4757173"/>
              <a:gd name="connsiteX0" fmla="*/ 5953 w 4932711"/>
              <a:gd name="connsiteY0" fmla="*/ 4384194 h 4757173"/>
              <a:gd name="connsiteX1" fmla="*/ 583468 w 4932711"/>
              <a:gd name="connsiteY1" fmla="*/ 4757173 h 4757173"/>
              <a:gd name="connsiteX2" fmla="*/ 1028636 w 4932711"/>
              <a:gd name="connsiteY2" fmla="*/ 4312005 h 4757173"/>
              <a:gd name="connsiteX3" fmla="*/ 2423798 w 4932711"/>
              <a:gd name="connsiteY3" fmla="*/ 4060845 h 4757173"/>
              <a:gd name="connsiteX4" fmla="*/ 4230039 w 4932711"/>
              <a:gd name="connsiteY4" fmla="*/ 2063104 h 4757173"/>
              <a:gd name="connsiteX5" fmla="*/ 4932711 w 4932711"/>
              <a:gd name="connsiteY5" fmla="*/ 411639 h 4757173"/>
              <a:gd name="connsiteX6" fmla="*/ 4121255 w 4932711"/>
              <a:gd name="connsiteY6" fmla="*/ 0 h 4757173"/>
              <a:gd name="connsiteX7" fmla="*/ 3725213 w 4932711"/>
              <a:gd name="connsiteY7" fmla="*/ 1253478 h 4757173"/>
              <a:gd name="connsiteX8" fmla="*/ 3668063 w 4932711"/>
              <a:gd name="connsiteY8" fmla="*/ 1624953 h 4757173"/>
              <a:gd name="connsiteX9" fmla="*/ 3069493 w 4932711"/>
              <a:gd name="connsiteY9" fmla="*/ 2783994 h 4757173"/>
              <a:gd name="connsiteX10" fmla="*/ 2648888 w 4932711"/>
              <a:gd name="connsiteY10" fmla="*/ 3034653 h 4757173"/>
              <a:gd name="connsiteX11" fmla="*/ 2270396 w 4932711"/>
              <a:gd name="connsiteY11" fmla="*/ 3205601 h 4757173"/>
              <a:gd name="connsiteX12" fmla="*/ 1324913 w 4932711"/>
              <a:gd name="connsiteY12" fmla="*/ 3387078 h 4757173"/>
              <a:gd name="connsiteX13" fmla="*/ 373917 w 4932711"/>
              <a:gd name="connsiteY13" fmla="*/ 3742511 h 4757173"/>
              <a:gd name="connsiteX14" fmla="*/ 5953 w 4932711"/>
              <a:gd name="connsiteY14" fmla="*/ 4384194 h 4757173"/>
              <a:gd name="connsiteX0" fmla="*/ 5953 w 4932711"/>
              <a:gd name="connsiteY0" fmla="*/ 4384194 h 4757173"/>
              <a:gd name="connsiteX1" fmla="*/ 583468 w 4932711"/>
              <a:gd name="connsiteY1" fmla="*/ 4757173 h 4757173"/>
              <a:gd name="connsiteX2" fmla="*/ 1028636 w 4932711"/>
              <a:gd name="connsiteY2" fmla="*/ 4312005 h 4757173"/>
              <a:gd name="connsiteX3" fmla="*/ 2423798 w 4932711"/>
              <a:gd name="connsiteY3" fmla="*/ 4060845 h 4757173"/>
              <a:gd name="connsiteX4" fmla="*/ 4230039 w 4932711"/>
              <a:gd name="connsiteY4" fmla="*/ 2063104 h 4757173"/>
              <a:gd name="connsiteX5" fmla="*/ 4932711 w 4932711"/>
              <a:gd name="connsiteY5" fmla="*/ 411639 h 4757173"/>
              <a:gd name="connsiteX6" fmla="*/ 4121255 w 4932711"/>
              <a:gd name="connsiteY6" fmla="*/ 0 h 4757173"/>
              <a:gd name="connsiteX7" fmla="*/ 3868088 w 4932711"/>
              <a:gd name="connsiteY7" fmla="*/ 824853 h 4757173"/>
              <a:gd name="connsiteX8" fmla="*/ 3668063 w 4932711"/>
              <a:gd name="connsiteY8" fmla="*/ 1624953 h 4757173"/>
              <a:gd name="connsiteX9" fmla="*/ 3069493 w 4932711"/>
              <a:gd name="connsiteY9" fmla="*/ 2783994 h 4757173"/>
              <a:gd name="connsiteX10" fmla="*/ 2648888 w 4932711"/>
              <a:gd name="connsiteY10" fmla="*/ 3034653 h 4757173"/>
              <a:gd name="connsiteX11" fmla="*/ 2270396 w 4932711"/>
              <a:gd name="connsiteY11" fmla="*/ 3205601 h 4757173"/>
              <a:gd name="connsiteX12" fmla="*/ 1324913 w 4932711"/>
              <a:gd name="connsiteY12" fmla="*/ 3387078 h 4757173"/>
              <a:gd name="connsiteX13" fmla="*/ 373917 w 4932711"/>
              <a:gd name="connsiteY13" fmla="*/ 3742511 h 4757173"/>
              <a:gd name="connsiteX14" fmla="*/ 5953 w 4932711"/>
              <a:gd name="connsiteY14" fmla="*/ 4384194 h 4757173"/>
              <a:gd name="connsiteX0" fmla="*/ 5953 w 4932711"/>
              <a:gd name="connsiteY0" fmla="*/ 4384194 h 4757173"/>
              <a:gd name="connsiteX1" fmla="*/ 583468 w 4932711"/>
              <a:gd name="connsiteY1" fmla="*/ 4757173 h 4757173"/>
              <a:gd name="connsiteX2" fmla="*/ 1028636 w 4932711"/>
              <a:gd name="connsiteY2" fmla="*/ 4312005 h 4757173"/>
              <a:gd name="connsiteX3" fmla="*/ 2423798 w 4932711"/>
              <a:gd name="connsiteY3" fmla="*/ 4060845 h 4757173"/>
              <a:gd name="connsiteX4" fmla="*/ 4230039 w 4932711"/>
              <a:gd name="connsiteY4" fmla="*/ 2063104 h 4757173"/>
              <a:gd name="connsiteX5" fmla="*/ 4932711 w 4932711"/>
              <a:gd name="connsiteY5" fmla="*/ 411639 h 4757173"/>
              <a:gd name="connsiteX6" fmla="*/ 4121255 w 4932711"/>
              <a:gd name="connsiteY6" fmla="*/ 0 h 4757173"/>
              <a:gd name="connsiteX7" fmla="*/ 3868088 w 4932711"/>
              <a:gd name="connsiteY7" fmla="*/ 824853 h 4757173"/>
              <a:gd name="connsiteX8" fmla="*/ 3668063 w 4932711"/>
              <a:gd name="connsiteY8" fmla="*/ 1624953 h 4757173"/>
              <a:gd name="connsiteX9" fmla="*/ 3069493 w 4932711"/>
              <a:gd name="connsiteY9" fmla="*/ 2783994 h 4757173"/>
              <a:gd name="connsiteX10" fmla="*/ 2648888 w 4932711"/>
              <a:gd name="connsiteY10" fmla="*/ 3034653 h 4757173"/>
              <a:gd name="connsiteX11" fmla="*/ 2270396 w 4932711"/>
              <a:gd name="connsiteY11" fmla="*/ 3205601 h 4757173"/>
              <a:gd name="connsiteX12" fmla="*/ 1324913 w 4932711"/>
              <a:gd name="connsiteY12" fmla="*/ 3387078 h 4757173"/>
              <a:gd name="connsiteX13" fmla="*/ 373917 w 4932711"/>
              <a:gd name="connsiteY13" fmla="*/ 3742511 h 4757173"/>
              <a:gd name="connsiteX14" fmla="*/ 5953 w 4932711"/>
              <a:gd name="connsiteY14" fmla="*/ 4384194 h 4757173"/>
              <a:gd name="connsiteX0" fmla="*/ 5953 w 4932711"/>
              <a:gd name="connsiteY0" fmla="*/ 4384194 h 4757173"/>
              <a:gd name="connsiteX1" fmla="*/ 583468 w 4932711"/>
              <a:gd name="connsiteY1" fmla="*/ 4757173 h 4757173"/>
              <a:gd name="connsiteX2" fmla="*/ 1028636 w 4932711"/>
              <a:gd name="connsiteY2" fmla="*/ 4312005 h 4757173"/>
              <a:gd name="connsiteX3" fmla="*/ 2423798 w 4932711"/>
              <a:gd name="connsiteY3" fmla="*/ 4060845 h 4757173"/>
              <a:gd name="connsiteX4" fmla="*/ 4230039 w 4932711"/>
              <a:gd name="connsiteY4" fmla="*/ 2063104 h 4757173"/>
              <a:gd name="connsiteX5" fmla="*/ 4932711 w 4932711"/>
              <a:gd name="connsiteY5" fmla="*/ 411639 h 4757173"/>
              <a:gd name="connsiteX6" fmla="*/ 4121255 w 4932711"/>
              <a:gd name="connsiteY6" fmla="*/ 0 h 4757173"/>
              <a:gd name="connsiteX7" fmla="*/ 3868088 w 4932711"/>
              <a:gd name="connsiteY7" fmla="*/ 824853 h 4757173"/>
              <a:gd name="connsiteX8" fmla="*/ 3668063 w 4932711"/>
              <a:gd name="connsiteY8" fmla="*/ 1624953 h 4757173"/>
              <a:gd name="connsiteX9" fmla="*/ 3069493 w 4932711"/>
              <a:gd name="connsiteY9" fmla="*/ 2783994 h 4757173"/>
              <a:gd name="connsiteX10" fmla="*/ 2648888 w 4932711"/>
              <a:gd name="connsiteY10" fmla="*/ 3034653 h 4757173"/>
              <a:gd name="connsiteX11" fmla="*/ 2270396 w 4932711"/>
              <a:gd name="connsiteY11" fmla="*/ 3205601 h 4757173"/>
              <a:gd name="connsiteX12" fmla="*/ 1324913 w 4932711"/>
              <a:gd name="connsiteY12" fmla="*/ 3387078 h 4757173"/>
              <a:gd name="connsiteX13" fmla="*/ 373917 w 4932711"/>
              <a:gd name="connsiteY13" fmla="*/ 3742511 h 4757173"/>
              <a:gd name="connsiteX14" fmla="*/ 5953 w 4932711"/>
              <a:gd name="connsiteY14" fmla="*/ 4384194 h 4757173"/>
              <a:gd name="connsiteX0" fmla="*/ 5953 w 4932711"/>
              <a:gd name="connsiteY0" fmla="*/ 4403244 h 4776223"/>
              <a:gd name="connsiteX1" fmla="*/ 583468 w 4932711"/>
              <a:gd name="connsiteY1" fmla="*/ 4776223 h 4776223"/>
              <a:gd name="connsiteX2" fmla="*/ 1028636 w 4932711"/>
              <a:gd name="connsiteY2" fmla="*/ 4331055 h 4776223"/>
              <a:gd name="connsiteX3" fmla="*/ 2423798 w 4932711"/>
              <a:gd name="connsiteY3" fmla="*/ 4079895 h 4776223"/>
              <a:gd name="connsiteX4" fmla="*/ 4230039 w 4932711"/>
              <a:gd name="connsiteY4" fmla="*/ 2082154 h 4776223"/>
              <a:gd name="connsiteX5" fmla="*/ 4932711 w 4932711"/>
              <a:gd name="connsiteY5" fmla="*/ 430689 h 4776223"/>
              <a:gd name="connsiteX6" fmla="*/ 4102205 w 4932711"/>
              <a:gd name="connsiteY6" fmla="*/ 0 h 4776223"/>
              <a:gd name="connsiteX7" fmla="*/ 3868088 w 4932711"/>
              <a:gd name="connsiteY7" fmla="*/ 843903 h 4776223"/>
              <a:gd name="connsiteX8" fmla="*/ 3668063 w 4932711"/>
              <a:gd name="connsiteY8" fmla="*/ 1644003 h 4776223"/>
              <a:gd name="connsiteX9" fmla="*/ 3069493 w 4932711"/>
              <a:gd name="connsiteY9" fmla="*/ 2803044 h 4776223"/>
              <a:gd name="connsiteX10" fmla="*/ 2648888 w 4932711"/>
              <a:gd name="connsiteY10" fmla="*/ 3053703 h 4776223"/>
              <a:gd name="connsiteX11" fmla="*/ 2270396 w 4932711"/>
              <a:gd name="connsiteY11" fmla="*/ 3224651 h 4776223"/>
              <a:gd name="connsiteX12" fmla="*/ 1324913 w 4932711"/>
              <a:gd name="connsiteY12" fmla="*/ 3406128 h 4776223"/>
              <a:gd name="connsiteX13" fmla="*/ 373917 w 4932711"/>
              <a:gd name="connsiteY13" fmla="*/ 3761561 h 4776223"/>
              <a:gd name="connsiteX14" fmla="*/ 5953 w 4932711"/>
              <a:gd name="connsiteY14" fmla="*/ 4403244 h 4776223"/>
              <a:gd name="connsiteX0" fmla="*/ 5953 w 4932711"/>
              <a:gd name="connsiteY0" fmla="*/ 4403244 h 4776223"/>
              <a:gd name="connsiteX1" fmla="*/ 583468 w 4932711"/>
              <a:gd name="connsiteY1" fmla="*/ 4776223 h 4776223"/>
              <a:gd name="connsiteX2" fmla="*/ 1028636 w 4932711"/>
              <a:gd name="connsiteY2" fmla="*/ 4331055 h 4776223"/>
              <a:gd name="connsiteX3" fmla="*/ 2423798 w 4932711"/>
              <a:gd name="connsiteY3" fmla="*/ 4079895 h 4776223"/>
              <a:gd name="connsiteX4" fmla="*/ 4230039 w 4932711"/>
              <a:gd name="connsiteY4" fmla="*/ 2082154 h 4776223"/>
              <a:gd name="connsiteX5" fmla="*/ 4932711 w 4932711"/>
              <a:gd name="connsiteY5" fmla="*/ 430689 h 4776223"/>
              <a:gd name="connsiteX6" fmla="*/ 4102205 w 4932711"/>
              <a:gd name="connsiteY6" fmla="*/ 0 h 4776223"/>
              <a:gd name="connsiteX7" fmla="*/ 3868088 w 4932711"/>
              <a:gd name="connsiteY7" fmla="*/ 843903 h 4776223"/>
              <a:gd name="connsiteX8" fmla="*/ 3668063 w 4932711"/>
              <a:gd name="connsiteY8" fmla="*/ 1644003 h 4776223"/>
              <a:gd name="connsiteX9" fmla="*/ 3069493 w 4932711"/>
              <a:gd name="connsiteY9" fmla="*/ 2803044 h 4776223"/>
              <a:gd name="connsiteX10" fmla="*/ 2648888 w 4932711"/>
              <a:gd name="connsiteY10" fmla="*/ 3053703 h 4776223"/>
              <a:gd name="connsiteX11" fmla="*/ 2270396 w 4932711"/>
              <a:gd name="connsiteY11" fmla="*/ 3224651 h 4776223"/>
              <a:gd name="connsiteX12" fmla="*/ 1324913 w 4932711"/>
              <a:gd name="connsiteY12" fmla="*/ 3406128 h 4776223"/>
              <a:gd name="connsiteX13" fmla="*/ 373917 w 4932711"/>
              <a:gd name="connsiteY13" fmla="*/ 3761561 h 4776223"/>
              <a:gd name="connsiteX14" fmla="*/ 5953 w 4932711"/>
              <a:gd name="connsiteY14" fmla="*/ 4403244 h 4776223"/>
              <a:gd name="connsiteX0" fmla="*/ 5953 w 4932711"/>
              <a:gd name="connsiteY0" fmla="*/ 4403244 h 4776223"/>
              <a:gd name="connsiteX1" fmla="*/ 583468 w 4932711"/>
              <a:gd name="connsiteY1" fmla="*/ 4776223 h 4776223"/>
              <a:gd name="connsiteX2" fmla="*/ 1028636 w 4932711"/>
              <a:gd name="connsiteY2" fmla="*/ 4331055 h 4776223"/>
              <a:gd name="connsiteX3" fmla="*/ 2423798 w 4932711"/>
              <a:gd name="connsiteY3" fmla="*/ 4079895 h 4776223"/>
              <a:gd name="connsiteX4" fmla="*/ 4230039 w 4932711"/>
              <a:gd name="connsiteY4" fmla="*/ 2082154 h 4776223"/>
              <a:gd name="connsiteX5" fmla="*/ 4932711 w 4932711"/>
              <a:gd name="connsiteY5" fmla="*/ 430689 h 4776223"/>
              <a:gd name="connsiteX6" fmla="*/ 4102205 w 4932711"/>
              <a:gd name="connsiteY6" fmla="*/ 0 h 4776223"/>
              <a:gd name="connsiteX7" fmla="*/ 3868088 w 4932711"/>
              <a:gd name="connsiteY7" fmla="*/ 843903 h 4776223"/>
              <a:gd name="connsiteX8" fmla="*/ 3629963 w 4932711"/>
              <a:gd name="connsiteY8" fmla="*/ 1663053 h 4776223"/>
              <a:gd name="connsiteX9" fmla="*/ 3069493 w 4932711"/>
              <a:gd name="connsiteY9" fmla="*/ 2803044 h 4776223"/>
              <a:gd name="connsiteX10" fmla="*/ 2648888 w 4932711"/>
              <a:gd name="connsiteY10" fmla="*/ 3053703 h 4776223"/>
              <a:gd name="connsiteX11" fmla="*/ 2270396 w 4932711"/>
              <a:gd name="connsiteY11" fmla="*/ 3224651 h 4776223"/>
              <a:gd name="connsiteX12" fmla="*/ 1324913 w 4932711"/>
              <a:gd name="connsiteY12" fmla="*/ 3406128 h 4776223"/>
              <a:gd name="connsiteX13" fmla="*/ 373917 w 4932711"/>
              <a:gd name="connsiteY13" fmla="*/ 3761561 h 4776223"/>
              <a:gd name="connsiteX14" fmla="*/ 5953 w 4932711"/>
              <a:gd name="connsiteY14" fmla="*/ 4403244 h 4776223"/>
              <a:gd name="connsiteX0" fmla="*/ 5953 w 4932711"/>
              <a:gd name="connsiteY0" fmla="*/ 4403244 h 4776223"/>
              <a:gd name="connsiteX1" fmla="*/ 583468 w 4932711"/>
              <a:gd name="connsiteY1" fmla="*/ 4776223 h 4776223"/>
              <a:gd name="connsiteX2" fmla="*/ 1028636 w 4932711"/>
              <a:gd name="connsiteY2" fmla="*/ 4331055 h 4776223"/>
              <a:gd name="connsiteX3" fmla="*/ 2423798 w 4932711"/>
              <a:gd name="connsiteY3" fmla="*/ 4079895 h 4776223"/>
              <a:gd name="connsiteX4" fmla="*/ 4230039 w 4932711"/>
              <a:gd name="connsiteY4" fmla="*/ 2082154 h 4776223"/>
              <a:gd name="connsiteX5" fmla="*/ 4932711 w 4932711"/>
              <a:gd name="connsiteY5" fmla="*/ 430689 h 4776223"/>
              <a:gd name="connsiteX6" fmla="*/ 4102205 w 4932711"/>
              <a:gd name="connsiteY6" fmla="*/ 0 h 4776223"/>
              <a:gd name="connsiteX7" fmla="*/ 3868088 w 4932711"/>
              <a:gd name="connsiteY7" fmla="*/ 843903 h 4776223"/>
              <a:gd name="connsiteX8" fmla="*/ 3629963 w 4932711"/>
              <a:gd name="connsiteY8" fmla="*/ 1663053 h 4776223"/>
              <a:gd name="connsiteX9" fmla="*/ 3012343 w 4932711"/>
              <a:gd name="connsiteY9" fmla="*/ 2803044 h 4776223"/>
              <a:gd name="connsiteX10" fmla="*/ 2648888 w 4932711"/>
              <a:gd name="connsiteY10" fmla="*/ 3053703 h 4776223"/>
              <a:gd name="connsiteX11" fmla="*/ 2270396 w 4932711"/>
              <a:gd name="connsiteY11" fmla="*/ 3224651 h 4776223"/>
              <a:gd name="connsiteX12" fmla="*/ 1324913 w 4932711"/>
              <a:gd name="connsiteY12" fmla="*/ 3406128 h 4776223"/>
              <a:gd name="connsiteX13" fmla="*/ 373917 w 4932711"/>
              <a:gd name="connsiteY13" fmla="*/ 3761561 h 4776223"/>
              <a:gd name="connsiteX14" fmla="*/ 5953 w 4932711"/>
              <a:gd name="connsiteY14" fmla="*/ 4403244 h 4776223"/>
              <a:gd name="connsiteX0" fmla="*/ 5953 w 4932711"/>
              <a:gd name="connsiteY0" fmla="*/ 4403244 h 4776223"/>
              <a:gd name="connsiteX1" fmla="*/ 583468 w 4932711"/>
              <a:gd name="connsiteY1" fmla="*/ 4776223 h 4776223"/>
              <a:gd name="connsiteX2" fmla="*/ 1028636 w 4932711"/>
              <a:gd name="connsiteY2" fmla="*/ 4331055 h 4776223"/>
              <a:gd name="connsiteX3" fmla="*/ 2423798 w 4932711"/>
              <a:gd name="connsiteY3" fmla="*/ 4079895 h 4776223"/>
              <a:gd name="connsiteX4" fmla="*/ 4230039 w 4932711"/>
              <a:gd name="connsiteY4" fmla="*/ 2082154 h 4776223"/>
              <a:gd name="connsiteX5" fmla="*/ 4932711 w 4932711"/>
              <a:gd name="connsiteY5" fmla="*/ 430689 h 4776223"/>
              <a:gd name="connsiteX6" fmla="*/ 4102205 w 4932711"/>
              <a:gd name="connsiteY6" fmla="*/ 0 h 4776223"/>
              <a:gd name="connsiteX7" fmla="*/ 3868088 w 4932711"/>
              <a:gd name="connsiteY7" fmla="*/ 843903 h 4776223"/>
              <a:gd name="connsiteX8" fmla="*/ 3629963 w 4932711"/>
              <a:gd name="connsiteY8" fmla="*/ 1663053 h 4776223"/>
              <a:gd name="connsiteX9" fmla="*/ 3477563 w 4932711"/>
              <a:gd name="connsiteY9" fmla="*/ 2263129 h 4776223"/>
              <a:gd name="connsiteX10" fmla="*/ 3012343 w 4932711"/>
              <a:gd name="connsiteY10" fmla="*/ 2803044 h 4776223"/>
              <a:gd name="connsiteX11" fmla="*/ 2648888 w 4932711"/>
              <a:gd name="connsiteY11" fmla="*/ 3053703 h 4776223"/>
              <a:gd name="connsiteX12" fmla="*/ 2270396 w 4932711"/>
              <a:gd name="connsiteY12" fmla="*/ 3224651 h 4776223"/>
              <a:gd name="connsiteX13" fmla="*/ 1324913 w 4932711"/>
              <a:gd name="connsiteY13" fmla="*/ 3406128 h 4776223"/>
              <a:gd name="connsiteX14" fmla="*/ 373917 w 4932711"/>
              <a:gd name="connsiteY14" fmla="*/ 3761561 h 4776223"/>
              <a:gd name="connsiteX15" fmla="*/ 5953 w 4932711"/>
              <a:gd name="connsiteY15" fmla="*/ 4403244 h 4776223"/>
              <a:gd name="connsiteX0" fmla="*/ 5953 w 4932711"/>
              <a:gd name="connsiteY0" fmla="*/ 4403244 h 4776223"/>
              <a:gd name="connsiteX1" fmla="*/ 583468 w 4932711"/>
              <a:gd name="connsiteY1" fmla="*/ 4776223 h 4776223"/>
              <a:gd name="connsiteX2" fmla="*/ 1028636 w 4932711"/>
              <a:gd name="connsiteY2" fmla="*/ 4331055 h 4776223"/>
              <a:gd name="connsiteX3" fmla="*/ 2423798 w 4932711"/>
              <a:gd name="connsiteY3" fmla="*/ 4079895 h 4776223"/>
              <a:gd name="connsiteX4" fmla="*/ 4230039 w 4932711"/>
              <a:gd name="connsiteY4" fmla="*/ 2082154 h 4776223"/>
              <a:gd name="connsiteX5" fmla="*/ 4932711 w 4932711"/>
              <a:gd name="connsiteY5" fmla="*/ 430689 h 4776223"/>
              <a:gd name="connsiteX6" fmla="*/ 4102205 w 4932711"/>
              <a:gd name="connsiteY6" fmla="*/ 0 h 4776223"/>
              <a:gd name="connsiteX7" fmla="*/ 3868088 w 4932711"/>
              <a:gd name="connsiteY7" fmla="*/ 843903 h 4776223"/>
              <a:gd name="connsiteX8" fmla="*/ 3629963 w 4932711"/>
              <a:gd name="connsiteY8" fmla="*/ 1663053 h 4776223"/>
              <a:gd name="connsiteX9" fmla="*/ 3477563 w 4932711"/>
              <a:gd name="connsiteY9" fmla="*/ 2263129 h 4776223"/>
              <a:gd name="connsiteX10" fmla="*/ 3012343 w 4932711"/>
              <a:gd name="connsiteY10" fmla="*/ 2803044 h 4776223"/>
              <a:gd name="connsiteX11" fmla="*/ 2648888 w 4932711"/>
              <a:gd name="connsiteY11" fmla="*/ 3053703 h 4776223"/>
              <a:gd name="connsiteX12" fmla="*/ 2270396 w 4932711"/>
              <a:gd name="connsiteY12" fmla="*/ 3224651 h 4776223"/>
              <a:gd name="connsiteX13" fmla="*/ 1324913 w 4932711"/>
              <a:gd name="connsiteY13" fmla="*/ 3406128 h 4776223"/>
              <a:gd name="connsiteX14" fmla="*/ 373917 w 4932711"/>
              <a:gd name="connsiteY14" fmla="*/ 3761561 h 4776223"/>
              <a:gd name="connsiteX15" fmla="*/ 5953 w 4932711"/>
              <a:gd name="connsiteY15" fmla="*/ 4403244 h 4776223"/>
              <a:gd name="connsiteX0" fmla="*/ 5953 w 4932711"/>
              <a:gd name="connsiteY0" fmla="*/ 4403244 h 4776223"/>
              <a:gd name="connsiteX1" fmla="*/ 583468 w 4932711"/>
              <a:gd name="connsiteY1" fmla="*/ 4776223 h 4776223"/>
              <a:gd name="connsiteX2" fmla="*/ 1028636 w 4932711"/>
              <a:gd name="connsiteY2" fmla="*/ 4331055 h 4776223"/>
              <a:gd name="connsiteX3" fmla="*/ 2423798 w 4932711"/>
              <a:gd name="connsiteY3" fmla="*/ 4079895 h 4776223"/>
              <a:gd name="connsiteX4" fmla="*/ 4230039 w 4932711"/>
              <a:gd name="connsiteY4" fmla="*/ 2082154 h 4776223"/>
              <a:gd name="connsiteX5" fmla="*/ 4932711 w 4932711"/>
              <a:gd name="connsiteY5" fmla="*/ 430689 h 4776223"/>
              <a:gd name="connsiteX6" fmla="*/ 4102205 w 4932711"/>
              <a:gd name="connsiteY6" fmla="*/ 0 h 4776223"/>
              <a:gd name="connsiteX7" fmla="*/ 3868088 w 4932711"/>
              <a:gd name="connsiteY7" fmla="*/ 843903 h 4776223"/>
              <a:gd name="connsiteX8" fmla="*/ 3629963 w 4932711"/>
              <a:gd name="connsiteY8" fmla="*/ 1663053 h 4776223"/>
              <a:gd name="connsiteX9" fmla="*/ 3477563 w 4932711"/>
              <a:gd name="connsiteY9" fmla="*/ 2263129 h 4776223"/>
              <a:gd name="connsiteX10" fmla="*/ 3012343 w 4932711"/>
              <a:gd name="connsiteY10" fmla="*/ 2803044 h 4776223"/>
              <a:gd name="connsiteX11" fmla="*/ 2648888 w 4932711"/>
              <a:gd name="connsiteY11" fmla="*/ 3053703 h 4776223"/>
              <a:gd name="connsiteX12" fmla="*/ 2270396 w 4932711"/>
              <a:gd name="connsiteY12" fmla="*/ 3224651 h 4776223"/>
              <a:gd name="connsiteX13" fmla="*/ 1324913 w 4932711"/>
              <a:gd name="connsiteY13" fmla="*/ 3406128 h 4776223"/>
              <a:gd name="connsiteX14" fmla="*/ 373917 w 4932711"/>
              <a:gd name="connsiteY14" fmla="*/ 3761561 h 4776223"/>
              <a:gd name="connsiteX15" fmla="*/ 5953 w 4932711"/>
              <a:gd name="connsiteY15" fmla="*/ 4403244 h 4776223"/>
              <a:gd name="connsiteX0" fmla="*/ 5953 w 4932711"/>
              <a:gd name="connsiteY0" fmla="*/ 4403244 h 4776223"/>
              <a:gd name="connsiteX1" fmla="*/ 583468 w 4932711"/>
              <a:gd name="connsiteY1" fmla="*/ 4776223 h 4776223"/>
              <a:gd name="connsiteX2" fmla="*/ 1028636 w 4932711"/>
              <a:gd name="connsiteY2" fmla="*/ 4331055 h 4776223"/>
              <a:gd name="connsiteX3" fmla="*/ 2423798 w 4932711"/>
              <a:gd name="connsiteY3" fmla="*/ 4079895 h 4776223"/>
              <a:gd name="connsiteX4" fmla="*/ 4230039 w 4932711"/>
              <a:gd name="connsiteY4" fmla="*/ 2082154 h 4776223"/>
              <a:gd name="connsiteX5" fmla="*/ 4932711 w 4932711"/>
              <a:gd name="connsiteY5" fmla="*/ 430689 h 4776223"/>
              <a:gd name="connsiteX6" fmla="*/ 4102205 w 4932711"/>
              <a:gd name="connsiteY6" fmla="*/ 0 h 4776223"/>
              <a:gd name="connsiteX7" fmla="*/ 3868088 w 4932711"/>
              <a:gd name="connsiteY7" fmla="*/ 843903 h 4776223"/>
              <a:gd name="connsiteX8" fmla="*/ 3629963 w 4932711"/>
              <a:gd name="connsiteY8" fmla="*/ 1663053 h 4776223"/>
              <a:gd name="connsiteX9" fmla="*/ 3477563 w 4932711"/>
              <a:gd name="connsiteY9" fmla="*/ 2263129 h 4776223"/>
              <a:gd name="connsiteX10" fmla="*/ 3012343 w 4932711"/>
              <a:gd name="connsiteY10" fmla="*/ 2803044 h 4776223"/>
              <a:gd name="connsiteX11" fmla="*/ 2648888 w 4932711"/>
              <a:gd name="connsiteY11" fmla="*/ 3053703 h 4776223"/>
              <a:gd name="connsiteX12" fmla="*/ 2270396 w 4932711"/>
              <a:gd name="connsiteY12" fmla="*/ 3224651 h 4776223"/>
              <a:gd name="connsiteX13" fmla="*/ 1324913 w 4932711"/>
              <a:gd name="connsiteY13" fmla="*/ 3406128 h 4776223"/>
              <a:gd name="connsiteX14" fmla="*/ 373917 w 4932711"/>
              <a:gd name="connsiteY14" fmla="*/ 3761561 h 4776223"/>
              <a:gd name="connsiteX15" fmla="*/ 5953 w 4932711"/>
              <a:gd name="connsiteY15" fmla="*/ 4403244 h 4776223"/>
              <a:gd name="connsiteX0" fmla="*/ 5953 w 4923186"/>
              <a:gd name="connsiteY0" fmla="*/ 4439401 h 4812380"/>
              <a:gd name="connsiteX1" fmla="*/ 583468 w 4923186"/>
              <a:gd name="connsiteY1" fmla="*/ 4812380 h 4812380"/>
              <a:gd name="connsiteX2" fmla="*/ 1028636 w 4923186"/>
              <a:gd name="connsiteY2" fmla="*/ 4367212 h 4812380"/>
              <a:gd name="connsiteX3" fmla="*/ 2423798 w 4923186"/>
              <a:gd name="connsiteY3" fmla="*/ 4116052 h 4812380"/>
              <a:gd name="connsiteX4" fmla="*/ 4230039 w 4923186"/>
              <a:gd name="connsiteY4" fmla="*/ 2118311 h 4812380"/>
              <a:gd name="connsiteX5" fmla="*/ 4923186 w 4923186"/>
              <a:gd name="connsiteY5" fmla="*/ 47746 h 4812380"/>
              <a:gd name="connsiteX6" fmla="*/ 4102205 w 4923186"/>
              <a:gd name="connsiteY6" fmla="*/ 36157 h 4812380"/>
              <a:gd name="connsiteX7" fmla="*/ 3868088 w 4923186"/>
              <a:gd name="connsiteY7" fmla="*/ 880060 h 4812380"/>
              <a:gd name="connsiteX8" fmla="*/ 3629963 w 4923186"/>
              <a:gd name="connsiteY8" fmla="*/ 1699210 h 4812380"/>
              <a:gd name="connsiteX9" fmla="*/ 3477563 w 4923186"/>
              <a:gd name="connsiteY9" fmla="*/ 2299286 h 4812380"/>
              <a:gd name="connsiteX10" fmla="*/ 3012343 w 4923186"/>
              <a:gd name="connsiteY10" fmla="*/ 2839201 h 4812380"/>
              <a:gd name="connsiteX11" fmla="*/ 2648888 w 4923186"/>
              <a:gd name="connsiteY11" fmla="*/ 3089860 h 4812380"/>
              <a:gd name="connsiteX12" fmla="*/ 2270396 w 4923186"/>
              <a:gd name="connsiteY12" fmla="*/ 3260808 h 4812380"/>
              <a:gd name="connsiteX13" fmla="*/ 1324913 w 4923186"/>
              <a:gd name="connsiteY13" fmla="*/ 3442285 h 4812380"/>
              <a:gd name="connsiteX14" fmla="*/ 373917 w 4923186"/>
              <a:gd name="connsiteY14" fmla="*/ 3797718 h 4812380"/>
              <a:gd name="connsiteX15" fmla="*/ 5953 w 4923186"/>
              <a:gd name="connsiteY15" fmla="*/ 4439401 h 4812380"/>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4230039 w 4923186"/>
              <a:gd name="connsiteY4" fmla="*/ 2367904 h 5061973"/>
              <a:gd name="connsiteX5" fmla="*/ 4923186 w 4923186"/>
              <a:gd name="connsiteY5" fmla="*/ 297339 h 5061973"/>
              <a:gd name="connsiteX6" fmla="*/ 4206980 w 4923186"/>
              <a:gd name="connsiteY6" fmla="*/ 0 h 5061973"/>
              <a:gd name="connsiteX7" fmla="*/ 3868088 w 4923186"/>
              <a:gd name="connsiteY7" fmla="*/ 1129653 h 5061973"/>
              <a:gd name="connsiteX8" fmla="*/ 3629963 w 4923186"/>
              <a:gd name="connsiteY8" fmla="*/ 1948803 h 5061973"/>
              <a:gd name="connsiteX9" fmla="*/ 3477563 w 4923186"/>
              <a:gd name="connsiteY9" fmla="*/ 2548879 h 5061973"/>
              <a:gd name="connsiteX10" fmla="*/ 3012343 w 4923186"/>
              <a:gd name="connsiteY10" fmla="*/ 3088794 h 5061973"/>
              <a:gd name="connsiteX11" fmla="*/ 2648888 w 4923186"/>
              <a:gd name="connsiteY11" fmla="*/ 3339453 h 5061973"/>
              <a:gd name="connsiteX12" fmla="*/ 2270396 w 4923186"/>
              <a:gd name="connsiteY12" fmla="*/ 3510401 h 5061973"/>
              <a:gd name="connsiteX13" fmla="*/ 1324913 w 4923186"/>
              <a:gd name="connsiteY13" fmla="*/ 3691878 h 5061973"/>
              <a:gd name="connsiteX14" fmla="*/ 373917 w 4923186"/>
              <a:gd name="connsiteY14" fmla="*/ 4047311 h 5061973"/>
              <a:gd name="connsiteX15" fmla="*/ 5953 w 4923186"/>
              <a:gd name="connsiteY15"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4230039 w 4923186"/>
              <a:gd name="connsiteY4" fmla="*/ 2367904 h 5061973"/>
              <a:gd name="connsiteX5" fmla="*/ 4923186 w 4923186"/>
              <a:gd name="connsiteY5" fmla="*/ 297339 h 5061973"/>
              <a:gd name="connsiteX6" fmla="*/ 4206980 w 4923186"/>
              <a:gd name="connsiteY6" fmla="*/ 0 h 5061973"/>
              <a:gd name="connsiteX7" fmla="*/ 3868088 w 4923186"/>
              <a:gd name="connsiteY7" fmla="*/ 1129653 h 5061973"/>
              <a:gd name="connsiteX8" fmla="*/ 3668063 w 4923186"/>
              <a:gd name="connsiteY8" fmla="*/ 1941183 h 5061973"/>
              <a:gd name="connsiteX9" fmla="*/ 3477563 w 4923186"/>
              <a:gd name="connsiteY9" fmla="*/ 2548879 h 5061973"/>
              <a:gd name="connsiteX10" fmla="*/ 3012343 w 4923186"/>
              <a:gd name="connsiteY10" fmla="*/ 3088794 h 5061973"/>
              <a:gd name="connsiteX11" fmla="*/ 2648888 w 4923186"/>
              <a:gd name="connsiteY11" fmla="*/ 3339453 h 5061973"/>
              <a:gd name="connsiteX12" fmla="*/ 2270396 w 4923186"/>
              <a:gd name="connsiteY12" fmla="*/ 3510401 h 5061973"/>
              <a:gd name="connsiteX13" fmla="*/ 1324913 w 4923186"/>
              <a:gd name="connsiteY13" fmla="*/ 3691878 h 5061973"/>
              <a:gd name="connsiteX14" fmla="*/ 373917 w 4923186"/>
              <a:gd name="connsiteY14" fmla="*/ 4047311 h 5061973"/>
              <a:gd name="connsiteX15" fmla="*/ 5953 w 4923186"/>
              <a:gd name="connsiteY15"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4230039 w 4923186"/>
              <a:gd name="connsiteY4" fmla="*/ 2367904 h 5061973"/>
              <a:gd name="connsiteX5" fmla="*/ 4923186 w 4923186"/>
              <a:gd name="connsiteY5" fmla="*/ 297339 h 5061973"/>
              <a:gd name="connsiteX6" fmla="*/ 4206980 w 4923186"/>
              <a:gd name="connsiteY6" fmla="*/ 0 h 5061973"/>
              <a:gd name="connsiteX7" fmla="*/ 3868088 w 4923186"/>
              <a:gd name="connsiteY7" fmla="*/ 1129653 h 5061973"/>
              <a:gd name="connsiteX8" fmla="*/ 3668063 w 4923186"/>
              <a:gd name="connsiteY8" fmla="*/ 1941183 h 5061973"/>
              <a:gd name="connsiteX9" fmla="*/ 3477563 w 4923186"/>
              <a:gd name="connsiteY9" fmla="*/ 2548879 h 5061973"/>
              <a:gd name="connsiteX10" fmla="*/ 3012343 w 4923186"/>
              <a:gd name="connsiteY10" fmla="*/ 3088794 h 5061973"/>
              <a:gd name="connsiteX11" fmla="*/ 2648888 w 4923186"/>
              <a:gd name="connsiteY11" fmla="*/ 3339453 h 5061973"/>
              <a:gd name="connsiteX12" fmla="*/ 2270396 w 4923186"/>
              <a:gd name="connsiteY12" fmla="*/ 3510401 h 5061973"/>
              <a:gd name="connsiteX13" fmla="*/ 1324913 w 4923186"/>
              <a:gd name="connsiteY13" fmla="*/ 3691878 h 5061973"/>
              <a:gd name="connsiteX14" fmla="*/ 373917 w 4923186"/>
              <a:gd name="connsiteY14" fmla="*/ 4047311 h 5061973"/>
              <a:gd name="connsiteX15" fmla="*/ 5953 w 4923186"/>
              <a:gd name="connsiteY15"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4230039 w 4923186"/>
              <a:gd name="connsiteY4" fmla="*/ 2367904 h 5061973"/>
              <a:gd name="connsiteX5" fmla="*/ 4923186 w 4923186"/>
              <a:gd name="connsiteY5" fmla="*/ 297339 h 5061973"/>
              <a:gd name="connsiteX6" fmla="*/ 4206980 w 4923186"/>
              <a:gd name="connsiteY6" fmla="*/ 0 h 5061973"/>
              <a:gd name="connsiteX7" fmla="*/ 3868088 w 4923186"/>
              <a:gd name="connsiteY7" fmla="*/ 1129653 h 5061973"/>
              <a:gd name="connsiteX8" fmla="*/ 3668063 w 4923186"/>
              <a:gd name="connsiteY8" fmla="*/ 1941183 h 5061973"/>
              <a:gd name="connsiteX9" fmla="*/ 3477563 w 4923186"/>
              <a:gd name="connsiteY9" fmla="*/ 2548879 h 5061973"/>
              <a:gd name="connsiteX10" fmla="*/ 3012343 w 4923186"/>
              <a:gd name="connsiteY10" fmla="*/ 3088794 h 5061973"/>
              <a:gd name="connsiteX11" fmla="*/ 2648888 w 4923186"/>
              <a:gd name="connsiteY11" fmla="*/ 3339453 h 5061973"/>
              <a:gd name="connsiteX12" fmla="*/ 2270396 w 4923186"/>
              <a:gd name="connsiteY12" fmla="*/ 3510401 h 5061973"/>
              <a:gd name="connsiteX13" fmla="*/ 1324913 w 4923186"/>
              <a:gd name="connsiteY13" fmla="*/ 3691878 h 5061973"/>
              <a:gd name="connsiteX14" fmla="*/ 373917 w 4923186"/>
              <a:gd name="connsiteY14" fmla="*/ 4047311 h 5061973"/>
              <a:gd name="connsiteX15" fmla="*/ 5953 w 4923186"/>
              <a:gd name="connsiteY15"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4230039 w 4923186"/>
              <a:gd name="connsiteY4" fmla="*/ 2367904 h 5061973"/>
              <a:gd name="connsiteX5" fmla="*/ 4923186 w 4923186"/>
              <a:gd name="connsiteY5" fmla="*/ 297339 h 5061973"/>
              <a:gd name="connsiteX6" fmla="*/ 4206980 w 4923186"/>
              <a:gd name="connsiteY6" fmla="*/ 0 h 5061973"/>
              <a:gd name="connsiteX7" fmla="*/ 4050968 w 4923186"/>
              <a:gd name="connsiteY7" fmla="*/ 504815 h 5061973"/>
              <a:gd name="connsiteX8" fmla="*/ 3868088 w 4923186"/>
              <a:gd name="connsiteY8" fmla="*/ 1129653 h 5061973"/>
              <a:gd name="connsiteX9" fmla="*/ 3668063 w 4923186"/>
              <a:gd name="connsiteY9" fmla="*/ 1941183 h 5061973"/>
              <a:gd name="connsiteX10" fmla="*/ 3477563 w 4923186"/>
              <a:gd name="connsiteY10" fmla="*/ 2548879 h 5061973"/>
              <a:gd name="connsiteX11" fmla="*/ 3012343 w 4923186"/>
              <a:gd name="connsiteY11" fmla="*/ 3088794 h 5061973"/>
              <a:gd name="connsiteX12" fmla="*/ 2648888 w 4923186"/>
              <a:gd name="connsiteY12" fmla="*/ 3339453 h 5061973"/>
              <a:gd name="connsiteX13" fmla="*/ 2270396 w 4923186"/>
              <a:gd name="connsiteY13" fmla="*/ 3510401 h 5061973"/>
              <a:gd name="connsiteX14" fmla="*/ 1324913 w 4923186"/>
              <a:gd name="connsiteY14" fmla="*/ 3691878 h 5061973"/>
              <a:gd name="connsiteX15" fmla="*/ 373917 w 4923186"/>
              <a:gd name="connsiteY15" fmla="*/ 4047311 h 5061973"/>
              <a:gd name="connsiteX16" fmla="*/ 5953 w 4923186"/>
              <a:gd name="connsiteY16"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4230039 w 4923186"/>
              <a:gd name="connsiteY4" fmla="*/ 2367904 h 5061973"/>
              <a:gd name="connsiteX5" fmla="*/ 4923186 w 4923186"/>
              <a:gd name="connsiteY5" fmla="*/ 297339 h 5061973"/>
              <a:gd name="connsiteX6" fmla="*/ 4206980 w 4923186"/>
              <a:gd name="connsiteY6" fmla="*/ 0 h 5061973"/>
              <a:gd name="connsiteX7" fmla="*/ 4050968 w 4923186"/>
              <a:gd name="connsiteY7" fmla="*/ 504815 h 5061973"/>
              <a:gd name="connsiteX8" fmla="*/ 3868088 w 4923186"/>
              <a:gd name="connsiteY8" fmla="*/ 1129653 h 5061973"/>
              <a:gd name="connsiteX9" fmla="*/ 3668063 w 4923186"/>
              <a:gd name="connsiteY9" fmla="*/ 1941183 h 5061973"/>
              <a:gd name="connsiteX10" fmla="*/ 3477563 w 4923186"/>
              <a:gd name="connsiteY10" fmla="*/ 2548879 h 5061973"/>
              <a:gd name="connsiteX11" fmla="*/ 3012343 w 4923186"/>
              <a:gd name="connsiteY11" fmla="*/ 3088794 h 5061973"/>
              <a:gd name="connsiteX12" fmla="*/ 2648888 w 4923186"/>
              <a:gd name="connsiteY12" fmla="*/ 3339453 h 5061973"/>
              <a:gd name="connsiteX13" fmla="*/ 2270396 w 4923186"/>
              <a:gd name="connsiteY13" fmla="*/ 3510401 h 5061973"/>
              <a:gd name="connsiteX14" fmla="*/ 1324913 w 4923186"/>
              <a:gd name="connsiteY14" fmla="*/ 3691878 h 5061973"/>
              <a:gd name="connsiteX15" fmla="*/ 373917 w 4923186"/>
              <a:gd name="connsiteY15" fmla="*/ 4047311 h 5061973"/>
              <a:gd name="connsiteX16" fmla="*/ 5953 w 4923186"/>
              <a:gd name="connsiteY16"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70396 w 4923186"/>
              <a:gd name="connsiteY14" fmla="*/ 3510401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94459 w 4923186"/>
              <a:gd name="connsiteY14" fmla="*/ 3558527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94459 w 4923186"/>
              <a:gd name="connsiteY14" fmla="*/ 3558527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94459 w 4923186"/>
              <a:gd name="connsiteY14" fmla="*/ 3558527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94459 w 4923186"/>
              <a:gd name="connsiteY14" fmla="*/ 3558527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94459 w 4923186"/>
              <a:gd name="connsiteY14" fmla="*/ 3558527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94459 w 4923186"/>
              <a:gd name="connsiteY14" fmla="*/ 3558527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94459 w 4923186"/>
              <a:gd name="connsiteY14" fmla="*/ 3558527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94459 w 4923186"/>
              <a:gd name="connsiteY14" fmla="*/ 3558527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953 w 4923186"/>
              <a:gd name="connsiteY0" fmla="*/ 4688994 h 5061973"/>
              <a:gd name="connsiteX1" fmla="*/ 583468 w 4923186"/>
              <a:gd name="connsiteY1" fmla="*/ 5061973 h 5061973"/>
              <a:gd name="connsiteX2" fmla="*/ 1028636 w 4923186"/>
              <a:gd name="connsiteY2" fmla="*/ 4616805 h 5061973"/>
              <a:gd name="connsiteX3" fmla="*/ 2423798 w 4923186"/>
              <a:gd name="connsiteY3" fmla="*/ 4365645 h 5061973"/>
              <a:gd name="connsiteX4" fmla="*/ 3708068 w 4923186"/>
              <a:gd name="connsiteY4" fmla="*/ 3621395 h 5061973"/>
              <a:gd name="connsiteX5" fmla="*/ 4230039 w 4923186"/>
              <a:gd name="connsiteY5" fmla="*/ 2367904 h 5061973"/>
              <a:gd name="connsiteX6" fmla="*/ 4923186 w 4923186"/>
              <a:gd name="connsiteY6" fmla="*/ 297339 h 5061973"/>
              <a:gd name="connsiteX7" fmla="*/ 4206980 w 4923186"/>
              <a:gd name="connsiteY7" fmla="*/ 0 h 5061973"/>
              <a:gd name="connsiteX8" fmla="*/ 4050968 w 4923186"/>
              <a:gd name="connsiteY8" fmla="*/ 504815 h 5061973"/>
              <a:gd name="connsiteX9" fmla="*/ 3868088 w 4923186"/>
              <a:gd name="connsiteY9" fmla="*/ 1129653 h 5061973"/>
              <a:gd name="connsiteX10" fmla="*/ 3668063 w 4923186"/>
              <a:gd name="connsiteY10" fmla="*/ 1941183 h 5061973"/>
              <a:gd name="connsiteX11" fmla="*/ 3477563 w 4923186"/>
              <a:gd name="connsiteY11" fmla="*/ 2548879 h 5061973"/>
              <a:gd name="connsiteX12" fmla="*/ 3012343 w 4923186"/>
              <a:gd name="connsiteY12" fmla="*/ 3088794 h 5061973"/>
              <a:gd name="connsiteX13" fmla="*/ 2648888 w 4923186"/>
              <a:gd name="connsiteY13" fmla="*/ 3339453 h 5061973"/>
              <a:gd name="connsiteX14" fmla="*/ 2294459 w 4923186"/>
              <a:gd name="connsiteY14" fmla="*/ 3558527 h 5061973"/>
              <a:gd name="connsiteX15" fmla="*/ 1324913 w 4923186"/>
              <a:gd name="connsiteY15" fmla="*/ 3691878 h 5061973"/>
              <a:gd name="connsiteX16" fmla="*/ 373917 w 4923186"/>
              <a:gd name="connsiteY16" fmla="*/ 4047311 h 5061973"/>
              <a:gd name="connsiteX17" fmla="*/ 5953 w 4923186"/>
              <a:gd name="connsiteY17" fmla="*/ 4688994 h 5061973"/>
              <a:gd name="connsiteX0" fmla="*/ 5480 w 4922713"/>
              <a:gd name="connsiteY0" fmla="*/ 4688994 h 5061973"/>
              <a:gd name="connsiteX1" fmla="*/ 582995 w 4922713"/>
              <a:gd name="connsiteY1" fmla="*/ 5061973 h 5061973"/>
              <a:gd name="connsiteX2" fmla="*/ 1028163 w 4922713"/>
              <a:gd name="connsiteY2" fmla="*/ 4616805 h 5061973"/>
              <a:gd name="connsiteX3" fmla="*/ 2423325 w 4922713"/>
              <a:gd name="connsiteY3" fmla="*/ 4365645 h 5061973"/>
              <a:gd name="connsiteX4" fmla="*/ 3707595 w 4922713"/>
              <a:gd name="connsiteY4" fmla="*/ 3621395 h 5061973"/>
              <a:gd name="connsiteX5" fmla="*/ 4229566 w 4922713"/>
              <a:gd name="connsiteY5" fmla="*/ 2367904 h 5061973"/>
              <a:gd name="connsiteX6" fmla="*/ 4922713 w 4922713"/>
              <a:gd name="connsiteY6" fmla="*/ 297339 h 5061973"/>
              <a:gd name="connsiteX7" fmla="*/ 4206507 w 4922713"/>
              <a:gd name="connsiteY7" fmla="*/ 0 h 5061973"/>
              <a:gd name="connsiteX8" fmla="*/ 4050495 w 4922713"/>
              <a:gd name="connsiteY8" fmla="*/ 504815 h 5061973"/>
              <a:gd name="connsiteX9" fmla="*/ 3867615 w 4922713"/>
              <a:gd name="connsiteY9" fmla="*/ 1129653 h 5061973"/>
              <a:gd name="connsiteX10" fmla="*/ 3667590 w 4922713"/>
              <a:gd name="connsiteY10" fmla="*/ 1941183 h 5061973"/>
              <a:gd name="connsiteX11" fmla="*/ 3477090 w 4922713"/>
              <a:gd name="connsiteY11" fmla="*/ 2548879 h 5061973"/>
              <a:gd name="connsiteX12" fmla="*/ 3011870 w 4922713"/>
              <a:gd name="connsiteY12" fmla="*/ 3088794 h 5061973"/>
              <a:gd name="connsiteX13" fmla="*/ 2648415 w 4922713"/>
              <a:gd name="connsiteY13" fmla="*/ 3339453 h 5061973"/>
              <a:gd name="connsiteX14" fmla="*/ 2293986 w 4922713"/>
              <a:gd name="connsiteY14" fmla="*/ 3558527 h 5061973"/>
              <a:gd name="connsiteX15" fmla="*/ 1324440 w 4922713"/>
              <a:gd name="connsiteY15" fmla="*/ 3691878 h 5061973"/>
              <a:gd name="connsiteX16" fmla="*/ 390112 w 4922713"/>
              <a:gd name="connsiteY16" fmla="*/ 4068742 h 5061973"/>
              <a:gd name="connsiteX17" fmla="*/ 5480 w 4922713"/>
              <a:gd name="connsiteY17" fmla="*/ 4688994 h 5061973"/>
              <a:gd name="connsiteX0" fmla="*/ 5480 w 4922713"/>
              <a:gd name="connsiteY0" fmla="*/ 4688994 h 5061973"/>
              <a:gd name="connsiteX1" fmla="*/ 582995 w 4922713"/>
              <a:gd name="connsiteY1" fmla="*/ 5061973 h 5061973"/>
              <a:gd name="connsiteX2" fmla="*/ 1028163 w 4922713"/>
              <a:gd name="connsiteY2" fmla="*/ 4616805 h 5061973"/>
              <a:gd name="connsiteX3" fmla="*/ 2423325 w 4922713"/>
              <a:gd name="connsiteY3" fmla="*/ 4365645 h 5061973"/>
              <a:gd name="connsiteX4" fmla="*/ 3707595 w 4922713"/>
              <a:gd name="connsiteY4" fmla="*/ 3621395 h 5061973"/>
              <a:gd name="connsiteX5" fmla="*/ 4229566 w 4922713"/>
              <a:gd name="connsiteY5" fmla="*/ 2367904 h 5061973"/>
              <a:gd name="connsiteX6" fmla="*/ 4922713 w 4922713"/>
              <a:gd name="connsiteY6" fmla="*/ 297339 h 5061973"/>
              <a:gd name="connsiteX7" fmla="*/ 4206507 w 4922713"/>
              <a:gd name="connsiteY7" fmla="*/ 0 h 5061973"/>
              <a:gd name="connsiteX8" fmla="*/ 4050495 w 4922713"/>
              <a:gd name="connsiteY8" fmla="*/ 504815 h 5061973"/>
              <a:gd name="connsiteX9" fmla="*/ 3867615 w 4922713"/>
              <a:gd name="connsiteY9" fmla="*/ 1129653 h 5061973"/>
              <a:gd name="connsiteX10" fmla="*/ 3667590 w 4922713"/>
              <a:gd name="connsiteY10" fmla="*/ 1941183 h 5061973"/>
              <a:gd name="connsiteX11" fmla="*/ 3477090 w 4922713"/>
              <a:gd name="connsiteY11" fmla="*/ 2548879 h 5061973"/>
              <a:gd name="connsiteX12" fmla="*/ 3011870 w 4922713"/>
              <a:gd name="connsiteY12" fmla="*/ 3088794 h 5061973"/>
              <a:gd name="connsiteX13" fmla="*/ 2648415 w 4922713"/>
              <a:gd name="connsiteY13" fmla="*/ 3339453 h 5061973"/>
              <a:gd name="connsiteX14" fmla="*/ 2293986 w 4922713"/>
              <a:gd name="connsiteY14" fmla="*/ 3558527 h 5061973"/>
              <a:gd name="connsiteX15" fmla="*/ 1324440 w 4922713"/>
              <a:gd name="connsiteY15" fmla="*/ 3691878 h 5061973"/>
              <a:gd name="connsiteX16" fmla="*/ 390112 w 4922713"/>
              <a:gd name="connsiteY16" fmla="*/ 4068742 h 5061973"/>
              <a:gd name="connsiteX17" fmla="*/ 5480 w 4922713"/>
              <a:gd name="connsiteY17" fmla="*/ 4688994 h 5061973"/>
              <a:gd name="connsiteX0" fmla="*/ 5480 w 4922713"/>
              <a:gd name="connsiteY0" fmla="*/ 4688994 h 5061973"/>
              <a:gd name="connsiteX1" fmla="*/ 582995 w 4922713"/>
              <a:gd name="connsiteY1" fmla="*/ 5061973 h 5061973"/>
              <a:gd name="connsiteX2" fmla="*/ 1028163 w 4922713"/>
              <a:gd name="connsiteY2" fmla="*/ 4616805 h 5061973"/>
              <a:gd name="connsiteX3" fmla="*/ 2423325 w 4922713"/>
              <a:gd name="connsiteY3" fmla="*/ 4365645 h 5061973"/>
              <a:gd name="connsiteX4" fmla="*/ 3707595 w 4922713"/>
              <a:gd name="connsiteY4" fmla="*/ 3621395 h 5061973"/>
              <a:gd name="connsiteX5" fmla="*/ 4229566 w 4922713"/>
              <a:gd name="connsiteY5" fmla="*/ 2367904 h 5061973"/>
              <a:gd name="connsiteX6" fmla="*/ 4922713 w 4922713"/>
              <a:gd name="connsiteY6" fmla="*/ 297339 h 5061973"/>
              <a:gd name="connsiteX7" fmla="*/ 4206507 w 4922713"/>
              <a:gd name="connsiteY7" fmla="*/ 0 h 5061973"/>
              <a:gd name="connsiteX8" fmla="*/ 4050495 w 4922713"/>
              <a:gd name="connsiteY8" fmla="*/ 504815 h 5061973"/>
              <a:gd name="connsiteX9" fmla="*/ 3867615 w 4922713"/>
              <a:gd name="connsiteY9" fmla="*/ 1129653 h 5061973"/>
              <a:gd name="connsiteX10" fmla="*/ 3667590 w 4922713"/>
              <a:gd name="connsiteY10" fmla="*/ 1941183 h 5061973"/>
              <a:gd name="connsiteX11" fmla="*/ 3477090 w 4922713"/>
              <a:gd name="connsiteY11" fmla="*/ 2548879 h 5061973"/>
              <a:gd name="connsiteX12" fmla="*/ 3011870 w 4922713"/>
              <a:gd name="connsiteY12" fmla="*/ 3088794 h 5061973"/>
              <a:gd name="connsiteX13" fmla="*/ 2648415 w 4922713"/>
              <a:gd name="connsiteY13" fmla="*/ 3339453 h 5061973"/>
              <a:gd name="connsiteX14" fmla="*/ 2293986 w 4922713"/>
              <a:gd name="connsiteY14" fmla="*/ 3558527 h 5061973"/>
              <a:gd name="connsiteX15" fmla="*/ 1324440 w 4922713"/>
              <a:gd name="connsiteY15" fmla="*/ 3691878 h 5061973"/>
              <a:gd name="connsiteX16" fmla="*/ 390112 w 4922713"/>
              <a:gd name="connsiteY16" fmla="*/ 4068742 h 5061973"/>
              <a:gd name="connsiteX17" fmla="*/ 5480 w 4922713"/>
              <a:gd name="connsiteY17" fmla="*/ 4688994 h 5061973"/>
              <a:gd name="connsiteX0" fmla="*/ 4932 w 4922165"/>
              <a:gd name="connsiteY0" fmla="*/ 4688994 h 5061973"/>
              <a:gd name="connsiteX1" fmla="*/ 582447 w 4922165"/>
              <a:gd name="connsiteY1" fmla="*/ 5061973 h 5061973"/>
              <a:gd name="connsiteX2" fmla="*/ 1027615 w 4922165"/>
              <a:gd name="connsiteY2" fmla="*/ 4616805 h 5061973"/>
              <a:gd name="connsiteX3" fmla="*/ 2422777 w 4922165"/>
              <a:gd name="connsiteY3" fmla="*/ 4365645 h 5061973"/>
              <a:gd name="connsiteX4" fmla="*/ 3707047 w 4922165"/>
              <a:gd name="connsiteY4" fmla="*/ 3621395 h 5061973"/>
              <a:gd name="connsiteX5" fmla="*/ 4229018 w 4922165"/>
              <a:gd name="connsiteY5" fmla="*/ 2367904 h 5061973"/>
              <a:gd name="connsiteX6" fmla="*/ 4922165 w 4922165"/>
              <a:gd name="connsiteY6" fmla="*/ 297339 h 5061973"/>
              <a:gd name="connsiteX7" fmla="*/ 4205959 w 4922165"/>
              <a:gd name="connsiteY7" fmla="*/ 0 h 5061973"/>
              <a:gd name="connsiteX8" fmla="*/ 4049947 w 4922165"/>
              <a:gd name="connsiteY8" fmla="*/ 504815 h 5061973"/>
              <a:gd name="connsiteX9" fmla="*/ 3867067 w 4922165"/>
              <a:gd name="connsiteY9" fmla="*/ 1129653 h 5061973"/>
              <a:gd name="connsiteX10" fmla="*/ 3667042 w 4922165"/>
              <a:gd name="connsiteY10" fmla="*/ 1941183 h 5061973"/>
              <a:gd name="connsiteX11" fmla="*/ 3476542 w 4922165"/>
              <a:gd name="connsiteY11" fmla="*/ 2548879 h 5061973"/>
              <a:gd name="connsiteX12" fmla="*/ 3011322 w 4922165"/>
              <a:gd name="connsiteY12" fmla="*/ 3088794 h 5061973"/>
              <a:gd name="connsiteX13" fmla="*/ 2647867 w 4922165"/>
              <a:gd name="connsiteY13" fmla="*/ 3339453 h 5061973"/>
              <a:gd name="connsiteX14" fmla="*/ 2293438 w 4922165"/>
              <a:gd name="connsiteY14" fmla="*/ 3558527 h 5061973"/>
              <a:gd name="connsiteX15" fmla="*/ 1323892 w 4922165"/>
              <a:gd name="connsiteY15" fmla="*/ 3691878 h 5061973"/>
              <a:gd name="connsiteX16" fmla="*/ 389564 w 4922165"/>
              <a:gd name="connsiteY16" fmla="*/ 4068742 h 5061973"/>
              <a:gd name="connsiteX17" fmla="*/ 4932 w 4922165"/>
              <a:gd name="connsiteY17" fmla="*/ 4688994 h 5061973"/>
              <a:gd name="connsiteX0" fmla="*/ 4932 w 4922165"/>
              <a:gd name="connsiteY0" fmla="*/ 4688994 h 5045304"/>
              <a:gd name="connsiteX1" fmla="*/ 594353 w 4922165"/>
              <a:gd name="connsiteY1" fmla="*/ 5045304 h 5045304"/>
              <a:gd name="connsiteX2" fmla="*/ 1027615 w 4922165"/>
              <a:gd name="connsiteY2" fmla="*/ 4616805 h 5045304"/>
              <a:gd name="connsiteX3" fmla="*/ 2422777 w 4922165"/>
              <a:gd name="connsiteY3" fmla="*/ 4365645 h 5045304"/>
              <a:gd name="connsiteX4" fmla="*/ 3707047 w 4922165"/>
              <a:gd name="connsiteY4" fmla="*/ 3621395 h 5045304"/>
              <a:gd name="connsiteX5" fmla="*/ 4229018 w 4922165"/>
              <a:gd name="connsiteY5" fmla="*/ 2367904 h 5045304"/>
              <a:gd name="connsiteX6" fmla="*/ 4922165 w 4922165"/>
              <a:gd name="connsiteY6" fmla="*/ 297339 h 5045304"/>
              <a:gd name="connsiteX7" fmla="*/ 4205959 w 4922165"/>
              <a:gd name="connsiteY7" fmla="*/ 0 h 5045304"/>
              <a:gd name="connsiteX8" fmla="*/ 4049947 w 4922165"/>
              <a:gd name="connsiteY8" fmla="*/ 504815 h 5045304"/>
              <a:gd name="connsiteX9" fmla="*/ 3867067 w 4922165"/>
              <a:gd name="connsiteY9" fmla="*/ 1129653 h 5045304"/>
              <a:gd name="connsiteX10" fmla="*/ 3667042 w 4922165"/>
              <a:gd name="connsiteY10" fmla="*/ 1941183 h 5045304"/>
              <a:gd name="connsiteX11" fmla="*/ 3476542 w 4922165"/>
              <a:gd name="connsiteY11" fmla="*/ 2548879 h 5045304"/>
              <a:gd name="connsiteX12" fmla="*/ 3011322 w 4922165"/>
              <a:gd name="connsiteY12" fmla="*/ 3088794 h 5045304"/>
              <a:gd name="connsiteX13" fmla="*/ 2647867 w 4922165"/>
              <a:gd name="connsiteY13" fmla="*/ 3339453 h 5045304"/>
              <a:gd name="connsiteX14" fmla="*/ 2293438 w 4922165"/>
              <a:gd name="connsiteY14" fmla="*/ 3558527 h 5045304"/>
              <a:gd name="connsiteX15" fmla="*/ 1323892 w 4922165"/>
              <a:gd name="connsiteY15" fmla="*/ 3691878 h 5045304"/>
              <a:gd name="connsiteX16" fmla="*/ 389564 w 4922165"/>
              <a:gd name="connsiteY16" fmla="*/ 4068742 h 5045304"/>
              <a:gd name="connsiteX17" fmla="*/ 4932 w 4922165"/>
              <a:gd name="connsiteY17" fmla="*/ 4688994 h 5045304"/>
              <a:gd name="connsiteX0" fmla="*/ 4932 w 4922165"/>
              <a:gd name="connsiteY0" fmla="*/ 4688994 h 5045304"/>
              <a:gd name="connsiteX1" fmla="*/ 594353 w 4922165"/>
              <a:gd name="connsiteY1" fmla="*/ 5045304 h 5045304"/>
              <a:gd name="connsiteX2" fmla="*/ 1034759 w 4922165"/>
              <a:gd name="connsiteY2" fmla="*/ 4654905 h 5045304"/>
              <a:gd name="connsiteX3" fmla="*/ 2422777 w 4922165"/>
              <a:gd name="connsiteY3" fmla="*/ 4365645 h 5045304"/>
              <a:gd name="connsiteX4" fmla="*/ 3707047 w 4922165"/>
              <a:gd name="connsiteY4" fmla="*/ 3621395 h 5045304"/>
              <a:gd name="connsiteX5" fmla="*/ 4229018 w 4922165"/>
              <a:gd name="connsiteY5" fmla="*/ 2367904 h 5045304"/>
              <a:gd name="connsiteX6" fmla="*/ 4922165 w 4922165"/>
              <a:gd name="connsiteY6" fmla="*/ 297339 h 5045304"/>
              <a:gd name="connsiteX7" fmla="*/ 4205959 w 4922165"/>
              <a:gd name="connsiteY7" fmla="*/ 0 h 5045304"/>
              <a:gd name="connsiteX8" fmla="*/ 4049947 w 4922165"/>
              <a:gd name="connsiteY8" fmla="*/ 504815 h 5045304"/>
              <a:gd name="connsiteX9" fmla="*/ 3867067 w 4922165"/>
              <a:gd name="connsiteY9" fmla="*/ 1129653 h 5045304"/>
              <a:gd name="connsiteX10" fmla="*/ 3667042 w 4922165"/>
              <a:gd name="connsiteY10" fmla="*/ 1941183 h 5045304"/>
              <a:gd name="connsiteX11" fmla="*/ 3476542 w 4922165"/>
              <a:gd name="connsiteY11" fmla="*/ 2548879 h 5045304"/>
              <a:gd name="connsiteX12" fmla="*/ 3011322 w 4922165"/>
              <a:gd name="connsiteY12" fmla="*/ 3088794 h 5045304"/>
              <a:gd name="connsiteX13" fmla="*/ 2647867 w 4922165"/>
              <a:gd name="connsiteY13" fmla="*/ 3339453 h 5045304"/>
              <a:gd name="connsiteX14" fmla="*/ 2293438 w 4922165"/>
              <a:gd name="connsiteY14" fmla="*/ 3558527 h 5045304"/>
              <a:gd name="connsiteX15" fmla="*/ 1323892 w 4922165"/>
              <a:gd name="connsiteY15" fmla="*/ 3691878 h 5045304"/>
              <a:gd name="connsiteX16" fmla="*/ 389564 w 4922165"/>
              <a:gd name="connsiteY16" fmla="*/ 4068742 h 5045304"/>
              <a:gd name="connsiteX17" fmla="*/ 4932 w 4922165"/>
              <a:gd name="connsiteY17" fmla="*/ 4688994 h 5045304"/>
              <a:gd name="connsiteX0" fmla="*/ 4932 w 4922165"/>
              <a:gd name="connsiteY0" fmla="*/ 4688994 h 5045304"/>
              <a:gd name="connsiteX1" fmla="*/ 594353 w 4922165"/>
              <a:gd name="connsiteY1" fmla="*/ 5045304 h 5045304"/>
              <a:gd name="connsiteX2" fmla="*/ 1034759 w 4922165"/>
              <a:gd name="connsiteY2" fmla="*/ 4654905 h 5045304"/>
              <a:gd name="connsiteX3" fmla="*/ 2422777 w 4922165"/>
              <a:gd name="connsiteY3" fmla="*/ 4365645 h 5045304"/>
              <a:gd name="connsiteX4" fmla="*/ 3707047 w 4922165"/>
              <a:gd name="connsiteY4" fmla="*/ 3621395 h 5045304"/>
              <a:gd name="connsiteX5" fmla="*/ 4229018 w 4922165"/>
              <a:gd name="connsiteY5" fmla="*/ 2367904 h 5045304"/>
              <a:gd name="connsiteX6" fmla="*/ 4922165 w 4922165"/>
              <a:gd name="connsiteY6" fmla="*/ 297339 h 5045304"/>
              <a:gd name="connsiteX7" fmla="*/ 4205959 w 4922165"/>
              <a:gd name="connsiteY7" fmla="*/ 0 h 5045304"/>
              <a:gd name="connsiteX8" fmla="*/ 4049947 w 4922165"/>
              <a:gd name="connsiteY8" fmla="*/ 504815 h 5045304"/>
              <a:gd name="connsiteX9" fmla="*/ 3867067 w 4922165"/>
              <a:gd name="connsiteY9" fmla="*/ 1129653 h 5045304"/>
              <a:gd name="connsiteX10" fmla="*/ 3667042 w 4922165"/>
              <a:gd name="connsiteY10" fmla="*/ 1941183 h 5045304"/>
              <a:gd name="connsiteX11" fmla="*/ 3476542 w 4922165"/>
              <a:gd name="connsiteY11" fmla="*/ 2548879 h 5045304"/>
              <a:gd name="connsiteX12" fmla="*/ 3011322 w 4922165"/>
              <a:gd name="connsiteY12" fmla="*/ 3088794 h 5045304"/>
              <a:gd name="connsiteX13" fmla="*/ 2647867 w 4922165"/>
              <a:gd name="connsiteY13" fmla="*/ 3339453 h 5045304"/>
              <a:gd name="connsiteX14" fmla="*/ 2293438 w 4922165"/>
              <a:gd name="connsiteY14" fmla="*/ 3558527 h 5045304"/>
              <a:gd name="connsiteX15" fmla="*/ 1323892 w 4922165"/>
              <a:gd name="connsiteY15" fmla="*/ 3691878 h 5045304"/>
              <a:gd name="connsiteX16" fmla="*/ 389564 w 4922165"/>
              <a:gd name="connsiteY16" fmla="*/ 4068742 h 5045304"/>
              <a:gd name="connsiteX17" fmla="*/ 4932 w 4922165"/>
              <a:gd name="connsiteY17" fmla="*/ 4688994 h 5045304"/>
              <a:gd name="connsiteX0" fmla="*/ 4932 w 4922165"/>
              <a:gd name="connsiteY0" fmla="*/ 4688994 h 5045304"/>
              <a:gd name="connsiteX1" fmla="*/ 594353 w 4922165"/>
              <a:gd name="connsiteY1" fmla="*/ 5045304 h 5045304"/>
              <a:gd name="connsiteX2" fmla="*/ 1034759 w 4922165"/>
              <a:gd name="connsiteY2" fmla="*/ 4654905 h 5045304"/>
              <a:gd name="connsiteX3" fmla="*/ 2422777 w 4922165"/>
              <a:gd name="connsiteY3" fmla="*/ 4365645 h 5045304"/>
              <a:gd name="connsiteX4" fmla="*/ 3707047 w 4922165"/>
              <a:gd name="connsiteY4" fmla="*/ 3621395 h 5045304"/>
              <a:gd name="connsiteX5" fmla="*/ 4229018 w 4922165"/>
              <a:gd name="connsiteY5" fmla="*/ 2367904 h 5045304"/>
              <a:gd name="connsiteX6" fmla="*/ 4922165 w 4922165"/>
              <a:gd name="connsiteY6" fmla="*/ 297339 h 5045304"/>
              <a:gd name="connsiteX7" fmla="*/ 4205959 w 4922165"/>
              <a:gd name="connsiteY7" fmla="*/ 0 h 5045304"/>
              <a:gd name="connsiteX8" fmla="*/ 4049947 w 4922165"/>
              <a:gd name="connsiteY8" fmla="*/ 504815 h 5045304"/>
              <a:gd name="connsiteX9" fmla="*/ 3867067 w 4922165"/>
              <a:gd name="connsiteY9" fmla="*/ 1129653 h 5045304"/>
              <a:gd name="connsiteX10" fmla="*/ 3667042 w 4922165"/>
              <a:gd name="connsiteY10" fmla="*/ 1941183 h 5045304"/>
              <a:gd name="connsiteX11" fmla="*/ 3476542 w 4922165"/>
              <a:gd name="connsiteY11" fmla="*/ 2548879 h 5045304"/>
              <a:gd name="connsiteX12" fmla="*/ 3011322 w 4922165"/>
              <a:gd name="connsiteY12" fmla="*/ 3088794 h 5045304"/>
              <a:gd name="connsiteX13" fmla="*/ 2647867 w 4922165"/>
              <a:gd name="connsiteY13" fmla="*/ 3339453 h 5045304"/>
              <a:gd name="connsiteX14" fmla="*/ 2293438 w 4922165"/>
              <a:gd name="connsiteY14" fmla="*/ 3558527 h 5045304"/>
              <a:gd name="connsiteX15" fmla="*/ 1323892 w 4922165"/>
              <a:gd name="connsiteY15" fmla="*/ 3691878 h 5045304"/>
              <a:gd name="connsiteX16" fmla="*/ 389564 w 4922165"/>
              <a:gd name="connsiteY16" fmla="*/ 4068742 h 5045304"/>
              <a:gd name="connsiteX17" fmla="*/ 4932 w 4922165"/>
              <a:gd name="connsiteY17" fmla="*/ 4688994 h 5045304"/>
              <a:gd name="connsiteX0" fmla="*/ 4932 w 4922165"/>
              <a:gd name="connsiteY0" fmla="*/ 4688994 h 5045304"/>
              <a:gd name="connsiteX1" fmla="*/ 594353 w 4922165"/>
              <a:gd name="connsiteY1" fmla="*/ 5045304 h 5045304"/>
              <a:gd name="connsiteX2" fmla="*/ 1034759 w 4922165"/>
              <a:gd name="connsiteY2" fmla="*/ 4654905 h 5045304"/>
              <a:gd name="connsiteX3" fmla="*/ 2422777 w 4922165"/>
              <a:gd name="connsiteY3" fmla="*/ 4365645 h 5045304"/>
              <a:gd name="connsiteX4" fmla="*/ 3707047 w 4922165"/>
              <a:gd name="connsiteY4" fmla="*/ 3621395 h 5045304"/>
              <a:gd name="connsiteX5" fmla="*/ 4229018 w 4922165"/>
              <a:gd name="connsiteY5" fmla="*/ 2367904 h 5045304"/>
              <a:gd name="connsiteX6" fmla="*/ 4922165 w 4922165"/>
              <a:gd name="connsiteY6" fmla="*/ 297339 h 5045304"/>
              <a:gd name="connsiteX7" fmla="*/ 4205959 w 4922165"/>
              <a:gd name="connsiteY7" fmla="*/ 0 h 5045304"/>
              <a:gd name="connsiteX8" fmla="*/ 4049947 w 4922165"/>
              <a:gd name="connsiteY8" fmla="*/ 504815 h 5045304"/>
              <a:gd name="connsiteX9" fmla="*/ 3867067 w 4922165"/>
              <a:gd name="connsiteY9" fmla="*/ 1129653 h 5045304"/>
              <a:gd name="connsiteX10" fmla="*/ 3667042 w 4922165"/>
              <a:gd name="connsiteY10" fmla="*/ 1941183 h 5045304"/>
              <a:gd name="connsiteX11" fmla="*/ 3476542 w 4922165"/>
              <a:gd name="connsiteY11" fmla="*/ 2548879 h 5045304"/>
              <a:gd name="connsiteX12" fmla="*/ 3011322 w 4922165"/>
              <a:gd name="connsiteY12" fmla="*/ 3088794 h 5045304"/>
              <a:gd name="connsiteX13" fmla="*/ 2647867 w 4922165"/>
              <a:gd name="connsiteY13" fmla="*/ 3339453 h 5045304"/>
              <a:gd name="connsiteX14" fmla="*/ 2293438 w 4922165"/>
              <a:gd name="connsiteY14" fmla="*/ 3558527 h 5045304"/>
              <a:gd name="connsiteX15" fmla="*/ 1323892 w 4922165"/>
              <a:gd name="connsiteY15" fmla="*/ 3691878 h 5045304"/>
              <a:gd name="connsiteX16" fmla="*/ 389564 w 4922165"/>
              <a:gd name="connsiteY16" fmla="*/ 4068742 h 5045304"/>
              <a:gd name="connsiteX17" fmla="*/ 4932 w 4922165"/>
              <a:gd name="connsiteY17" fmla="*/ 4688994 h 5045304"/>
              <a:gd name="connsiteX0" fmla="*/ 4932 w 4922165"/>
              <a:gd name="connsiteY0" fmla="*/ 4688994 h 5045304"/>
              <a:gd name="connsiteX1" fmla="*/ 594353 w 4922165"/>
              <a:gd name="connsiteY1" fmla="*/ 5045304 h 5045304"/>
              <a:gd name="connsiteX2" fmla="*/ 1034759 w 4922165"/>
              <a:gd name="connsiteY2" fmla="*/ 4654905 h 5045304"/>
              <a:gd name="connsiteX3" fmla="*/ 2422777 w 4922165"/>
              <a:gd name="connsiteY3" fmla="*/ 4365645 h 5045304"/>
              <a:gd name="connsiteX4" fmla="*/ 3707047 w 4922165"/>
              <a:gd name="connsiteY4" fmla="*/ 3621395 h 5045304"/>
              <a:gd name="connsiteX5" fmla="*/ 4229018 w 4922165"/>
              <a:gd name="connsiteY5" fmla="*/ 2367904 h 5045304"/>
              <a:gd name="connsiteX6" fmla="*/ 4922165 w 4922165"/>
              <a:gd name="connsiteY6" fmla="*/ 297339 h 5045304"/>
              <a:gd name="connsiteX7" fmla="*/ 4205959 w 4922165"/>
              <a:gd name="connsiteY7" fmla="*/ 0 h 5045304"/>
              <a:gd name="connsiteX8" fmla="*/ 4049947 w 4922165"/>
              <a:gd name="connsiteY8" fmla="*/ 504815 h 5045304"/>
              <a:gd name="connsiteX9" fmla="*/ 3867067 w 4922165"/>
              <a:gd name="connsiteY9" fmla="*/ 1129653 h 5045304"/>
              <a:gd name="connsiteX10" fmla="*/ 3667042 w 4922165"/>
              <a:gd name="connsiteY10" fmla="*/ 1941183 h 5045304"/>
              <a:gd name="connsiteX11" fmla="*/ 3476542 w 4922165"/>
              <a:gd name="connsiteY11" fmla="*/ 2548879 h 5045304"/>
              <a:gd name="connsiteX12" fmla="*/ 3011322 w 4922165"/>
              <a:gd name="connsiteY12" fmla="*/ 3088794 h 5045304"/>
              <a:gd name="connsiteX13" fmla="*/ 2647867 w 4922165"/>
              <a:gd name="connsiteY13" fmla="*/ 3339453 h 5045304"/>
              <a:gd name="connsiteX14" fmla="*/ 2293438 w 4922165"/>
              <a:gd name="connsiteY14" fmla="*/ 3558527 h 5045304"/>
              <a:gd name="connsiteX15" fmla="*/ 1323892 w 4922165"/>
              <a:gd name="connsiteY15" fmla="*/ 3691878 h 5045304"/>
              <a:gd name="connsiteX16" fmla="*/ 389564 w 4922165"/>
              <a:gd name="connsiteY16" fmla="*/ 4068742 h 5045304"/>
              <a:gd name="connsiteX17" fmla="*/ 4932 w 4922165"/>
              <a:gd name="connsiteY17" fmla="*/ 4688994 h 5045304"/>
              <a:gd name="connsiteX0" fmla="*/ 4932 w 4922165"/>
              <a:gd name="connsiteY0" fmla="*/ 4688994 h 5045304"/>
              <a:gd name="connsiteX1" fmla="*/ 594353 w 4922165"/>
              <a:gd name="connsiteY1" fmla="*/ 5045304 h 5045304"/>
              <a:gd name="connsiteX2" fmla="*/ 1034759 w 4922165"/>
              <a:gd name="connsiteY2" fmla="*/ 4654905 h 5045304"/>
              <a:gd name="connsiteX3" fmla="*/ 2422777 w 4922165"/>
              <a:gd name="connsiteY3" fmla="*/ 4365645 h 5045304"/>
              <a:gd name="connsiteX4" fmla="*/ 3707047 w 4922165"/>
              <a:gd name="connsiteY4" fmla="*/ 3621395 h 5045304"/>
              <a:gd name="connsiteX5" fmla="*/ 4229018 w 4922165"/>
              <a:gd name="connsiteY5" fmla="*/ 2367904 h 5045304"/>
              <a:gd name="connsiteX6" fmla="*/ 4922165 w 4922165"/>
              <a:gd name="connsiteY6" fmla="*/ 297339 h 5045304"/>
              <a:gd name="connsiteX7" fmla="*/ 4205959 w 4922165"/>
              <a:gd name="connsiteY7" fmla="*/ 0 h 5045304"/>
              <a:gd name="connsiteX8" fmla="*/ 4049947 w 4922165"/>
              <a:gd name="connsiteY8" fmla="*/ 504815 h 5045304"/>
              <a:gd name="connsiteX9" fmla="*/ 3867067 w 4922165"/>
              <a:gd name="connsiteY9" fmla="*/ 1129653 h 5045304"/>
              <a:gd name="connsiteX10" fmla="*/ 3667042 w 4922165"/>
              <a:gd name="connsiteY10" fmla="*/ 1941183 h 5045304"/>
              <a:gd name="connsiteX11" fmla="*/ 3476542 w 4922165"/>
              <a:gd name="connsiteY11" fmla="*/ 2548879 h 5045304"/>
              <a:gd name="connsiteX12" fmla="*/ 3011322 w 4922165"/>
              <a:gd name="connsiteY12" fmla="*/ 3088794 h 5045304"/>
              <a:gd name="connsiteX13" fmla="*/ 2647867 w 4922165"/>
              <a:gd name="connsiteY13" fmla="*/ 3339453 h 5045304"/>
              <a:gd name="connsiteX14" fmla="*/ 2293438 w 4922165"/>
              <a:gd name="connsiteY14" fmla="*/ 3558527 h 5045304"/>
              <a:gd name="connsiteX15" fmla="*/ 1323892 w 4922165"/>
              <a:gd name="connsiteY15" fmla="*/ 3691878 h 5045304"/>
              <a:gd name="connsiteX16" fmla="*/ 389564 w 4922165"/>
              <a:gd name="connsiteY16" fmla="*/ 4068742 h 5045304"/>
              <a:gd name="connsiteX17" fmla="*/ 4932 w 4922165"/>
              <a:gd name="connsiteY17" fmla="*/ 4688994 h 5045304"/>
              <a:gd name="connsiteX0" fmla="*/ 4932 w 4922165"/>
              <a:gd name="connsiteY0" fmla="*/ 4688994 h 5045304"/>
              <a:gd name="connsiteX1" fmla="*/ 594353 w 4922165"/>
              <a:gd name="connsiteY1" fmla="*/ 5045304 h 5045304"/>
              <a:gd name="connsiteX2" fmla="*/ 1034759 w 4922165"/>
              <a:gd name="connsiteY2" fmla="*/ 4654905 h 5045304"/>
              <a:gd name="connsiteX3" fmla="*/ 2422777 w 4922165"/>
              <a:gd name="connsiteY3" fmla="*/ 4365645 h 5045304"/>
              <a:gd name="connsiteX4" fmla="*/ 3707047 w 4922165"/>
              <a:gd name="connsiteY4" fmla="*/ 3621395 h 5045304"/>
              <a:gd name="connsiteX5" fmla="*/ 4229018 w 4922165"/>
              <a:gd name="connsiteY5" fmla="*/ 2367904 h 5045304"/>
              <a:gd name="connsiteX6" fmla="*/ 4922165 w 4922165"/>
              <a:gd name="connsiteY6" fmla="*/ 297339 h 5045304"/>
              <a:gd name="connsiteX7" fmla="*/ 4205959 w 4922165"/>
              <a:gd name="connsiteY7" fmla="*/ 0 h 5045304"/>
              <a:gd name="connsiteX8" fmla="*/ 4049947 w 4922165"/>
              <a:gd name="connsiteY8" fmla="*/ 504815 h 5045304"/>
              <a:gd name="connsiteX9" fmla="*/ 3867067 w 4922165"/>
              <a:gd name="connsiteY9" fmla="*/ 1129653 h 5045304"/>
              <a:gd name="connsiteX10" fmla="*/ 3667042 w 4922165"/>
              <a:gd name="connsiteY10" fmla="*/ 1941183 h 5045304"/>
              <a:gd name="connsiteX11" fmla="*/ 3476542 w 4922165"/>
              <a:gd name="connsiteY11" fmla="*/ 2548879 h 5045304"/>
              <a:gd name="connsiteX12" fmla="*/ 3011322 w 4922165"/>
              <a:gd name="connsiteY12" fmla="*/ 3088794 h 5045304"/>
              <a:gd name="connsiteX13" fmla="*/ 2647867 w 4922165"/>
              <a:gd name="connsiteY13" fmla="*/ 3339453 h 5045304"/>
              <a:gd name="connsiteX14" fmla="*/ 2293438 w 4922165"/>
              <a:gd name="connsiteY14" fmla="*/ 3558527 h 5045304"/>
              <a:gd name="connsiteX15" fmla="*/ 1323892 w 4922165"/>
              <a:gd name="connsiteY15" fmla="*/ 3691878 h 5045304"/>
              <a:gd name="connsiteX16" fmla="*/ 389564 w 4922165"/>
              <a:gd name="connsiteY16" fmla="*/ 4068742 h 5045304"/>
              <a:gd name="connsiteX17" fmla="*/ 4932 w 4922165"/>
              <a:gd name="connsiteY17" fmla="*/ 4688994 h 5045304"/>
              <a:gd name="connsiteX0" fmla="*/ 4932 w 4922165"/>
              <a:gd name="connsiteY0" fmla="*/ 4688994 h 5045304"/>
              <a:gd name="connsiteX1" fmla="*/ 594353 w 4922165"/>
              <a:gd name="connsiteY1" fmla="*/ 5045304 h 5045304"/>
              <a:gd name="connsiteX2" fmla="*/ 1034759 w 4922165"/>
              <a:gd name="connsiteY2" fmla="*/ 4654905 h 5045304"/>
              <a:gd name="connsiteX3" fmla="*/ 2422777 w 4922165"/>
              <a:gd name="connsiteY3" fmla="*/ 4365645 h 5045304"/>
              <a:gd name="connsiteX4" fmla="*/ 3707047 w 4922165"/>
              <a:gd name="connsiteY4" fmla="*/ 3621395 h 5045304"/>
              <a:gd name="connsiteX5" fmla="*/ 4229018 w 4922165"/>
              <a:gd name="connsiteY5" fmla="*/ 2367904 h 5045304"/>
              <a:gd name="connsiteX6" fmla="*/ 4922165 w 4922165"/>
              <a:gd name="connsiteY6" fmla="*/ 297339 h 5045304"/>
              <a:gd name="connsiteX7" fmla="*/ 4205959 w 4922165"/>
              <a:gd name="connsiteY7" fmla="*/ 0 h 5045304"/>
              <a:gd name="connsiteX8" fmla="*/ 4049947 w 4922165"/>
              <a:gd name="connsiteY8" fmla="*/ 504815 h 5045304"/>
              <a:gd name="connsiteX9" fmla="*/ 3867067 w 4922165"/>
              <a:gd name="connsiteY9" fmla="*/ 1129653 h 5045304"/>
              <a:gd name="connsiteX10" fmla="*/ 3667042 w 4922165"/>
              <a:gd name="connsiteY10" fmla="*/ 1941183 h 5045304"/>
              <a:gd name="connsiteX11" fmla="*/ 3476542 w 4922165"/>
              <a:gd name="connsiteY11" fmla="*/ 2548879 h 5045304"/>
              <a:gd name="connsiteX12" fmla="*/ 3011322 w 4922165"/>
              <a:gd name="connsiteY12" fmla="*/ 3088794 h 5045304"/>
              <a:gd name="connsiteX13" fmla="*/ 2647867 w 4922165"/>
              <a:gd name="connsiteY13" fmla="*/ 3339453 h 5045304"/>
              <a:gd name="connsiteX14" fmla="*/ 2293438 w 4922165"/>
              <a:gd name="connsiteY14" fmla="*/ 3558527 h 5045304"/>
              <a:gd name="connsiteX15" fmla="*/ 1323892 w 4922165"/>
              <a:gd name="connsiteY15" fmla="*/ 3691878 h 5045304"/>
              <a:gd name="connsiteX16" fmla="*/ 389564 w 4922165"/>
              <a:gd name="connsiteY16" fmla="*/ 4068742 h 5045304"/>
              <a:gd name="connsiteX17" fmla="*/ 4932 w 4922165"/>
              <a:gd name="connsiteY17" fmla="*/ 4688994 h 5045304"/>
              <a:gd name="connsiteX0" fmla="*/ 4830 w 4926826"/>
              <a:gd name="connsiteY0" fmla="*/ 4693756 h 5045304"/>
              <a:gd name="connsiteX1" fmla="*/ 599014 w 4926826"/>
              <a:gd name="connsiteY1" fmla="*/ 5045304 h 5045304"/>
              <a:gd name="connsiteX2" fmla="*/ 1039420 w 4926826"/>
              <a:gd name="connsiteY2" fmla="*/ 4654905 h 5045304"/>
              <a:gd name="connsiteX3" fmla="*/ 2427438 w 4926826"/>
              <a:gd name="connsiteY3" fmla="*/ 4365645 h 5045304"/>
              <a:gd name="connsiteX4" fmla="*/ 3711708 w 4926826"/>
              <a:gd name="connsiteY4" fmla="*/ 3621395 h 5045304"/>
              <a:gd name="connsiteX5" fmla="*/ 4233679 w 4926826"/>
              <a:gd name="connsiteY5" fmla="*/ 2367904 h 5045304"/>
              <a:gd name="connsiteX6" fmla="*/ 4926826 w 4926826"/>
              <a:gd name="connsiteY6" fmla="*/ 297339 h 5045304"/>
              <a:gd name="connsiteX7" fmla="*/ 4210620 w 4926826"/>
              <a:gd name="connsiteY7" fmla="*/ 0 h 5045304"/>
              <a:gd name="connsiteX8" fmla="*/ 4054608 w 4926826"/>
              <a:gd name="connsiteY8" fmla="*/ 504815 h 5045304"/>
              <a:gd name="connsiteX9" fmla="*/ 3871728 w 4926826"/>
              <a:gd name="connsiteY9" fmla="*/ 1129653 h 5045304"/>
              <a:gd name="connsiteX10" fmla="*/ 3671703 w 4926826"/>
              <a:gd name="connsiteY10" fmla="*/ 1941183 h 5045304"/>
              <a:gd name="connsiteX11" fmla="*/ 3481203 w 4926826"/>
              <a:gd name="connsiteY11" fmla="*/ 2548879 h 5045304"/>
              <a:gd name="connsiteX12" fmla="*/ 3015983 w 4926826"/>
              <a:gd name="connsiteY12" fmla="*/ 3088794 h 5045304"/>
              <a:gd name="connsiteX13" fmla="*/ 2652528 w 4926826"/>
              <a:gd name="connsiteY13" fmla="*/ 3339453 h 5045304"/>
              <a:gd name="connsiteX14" fmla="*/ 2298099 w 4926826"/>
              <a:gd name="connsiteY14" fmla="*/ 3558527 h 5045304"/>
              <a:gd name="connsiteX15" fmla="*/ 1328553 w 4926826"/>
              <a:gd name="connsiteY15" fmla="*/ 3691878 h 5045304"/>
              <a:gd name="connsiteX16" fmla="*/ 394225 w 4926826"/>
              <a:gd name="connsiteY16" fmla="*/ 4068742 h 5045304"/>
              <a:gd name="connsiteX17" fmla="*/ 4830 w 4926826"/>
              <a:gd name="connsiteY17" fmla="*/ 4693756 h 5045304"/>
              <a:gd name="connsiteX0" fmla="*/ 3847 w 4925843"/>
              <a:gd name="connsiteY0" fmla="*/ 4693756 h 5045304"/>
              <a:gd name="connsiteX1" fmla="*/ 598031 w 4925843"/>
              <a:gd name="connsiteY1" fmla="*/ 5045304 h 5045304"/>
              <a:gd name="connsiteX2" fmla="*/ 1038437 w 4925843"/>
              <a:gd name="connsiteY2" fmla="*/ 4654905 h 5045304"/>
              <a:gd name="connsiteX3" fmla="*/ 2426455 w 4925843"/>
              <a:gd name="connsiteY3" fmla="*/ 4365645 h 5045304"/>
              <a:gd name="connsiteX4" fmla="*/ 3710725 w 4925843"/>
              <a:gd name="connsiteY4" fmla="*/ 3621395 h 5045304"/>
              <a:gd name="connsiteX5" fmla="*/ 4232696 w 4925843"/>
              <a:gd name="connsiteY5" fmla="*/ 2367904 h 5045304"/>
              <a:gd name="connsiteX6" fmla="*/ 4925843 w 4925843"/>
              <a:gd name="connsiteY6" fmla="*/ 297339 h 5045304"/>
              <a:gd name="connsiteX7" fmla="*/ 4209637 w 4925843"/>
              <a:gd name="connsiteY7" fmla="*/ 0 h 5045304"/>
              <a:gd name="connsiteX8" fmla="*/ 4053625 w 4925843"/>
              <a:gd name="connsiteY8" fmla="*/ 504815 h 5045304"/>
              <a:gd name="connsiteX9" fmla="*/ 3870745 w 4925843"/>
              <a:gd name="connsiteY9" fmla="*/ 1129653 h 5045304"/>
              <a:gd name="connsiteX10" fmla="*/ 3670720 w 4925843"/>
              <a:gd name="connsiteY10" fmla="*/ 1941183 h 5045304"/>
              <a:gd name="connsiteX11" fmla="*/ 3480220 w 4925843"/>
              <a:gd name="connsiteY11" fmla="*/ 2548879 h 5045304"/>
              <a:gd name="connsiteX12" fmla="*/ 3015000 w 4925843"/>
              <a:gd name="connsiteY12" fmla="*/ 3088794 h 5045304"/>
              <a:gd name="connsiteX13" fmla="*/ 2651545 w 4925843"/>
              <a:gd name="connsiteY13" fmla="*/ 3339453 h 5045304"/>
              <a:gd name="connsiteX14" fmla="*/ 2297116 w 4925843"/>
              <a:gd name="connsiteY14" fmla="*/ 3558527 h 5045304"/>
              <a:gd name="connsiteX15" fmla="*/ 1327570 w 4925843"/>
              <a:gd name="connsiteY15" fmla="*/ 3691878 h 5045304"/>
              <a:gd name="connsiteX16" fmla="*/ 393242 w 4925843"/>
              <a:gd name="connsiteY16" fmla="*/ 4068742 h 5045304"/>
              <a:gd name="connsiteX17" fmla="*/ 3847 w 4925843"/>
              <a:gd name="connsiteY17" fmla="*/ 4693756 h 5045304"/>
              <a:gd name="connsiteX0" fmla="*/ 8024 w 4930020"/>
              <a:gd name="connsiteY0" fmla="*/ 4693756 h 5045304"/>
              <a:gd name="connsiteX1" fmla="*/ 602208 w 4930020"/>
              <a:gd name="connsiteY1" fmla="*/ 5045304 h 5045304"/>
              <a:gd name="connsiteX2" fmla="*/ 1042614 w 4930020"/>
              <a:gd name="connsiteY2" fmla="*/ 4654905 h 5045304"/>
              <a:gd name="connsiteX3" fmla="*/ 2430632 w 4930020"/>
              <a:gd name="connsiteY3" fmla="*/ 4365645 h 5045304"/>
              <a:gd name="connsiteX4" fmla="*/ 3714902 w 4930020"/>
              <a:gd name="connsiteY4" fmla="*/ 3621395 h 5045304"/>
              <a:gd name="connsiteX5" fmla="*/ 4236873 w 4930020"/>
              <a:gd name="connsiteY5" fmla="*/ 2367904 h 5045304"/>
              <a:gd name="connsiteX6" fmla="*/ 4930020 w 4930020"/>
              <a:gd name="connsiteY6" fmla="*/ 297339 h 5045304"/>
              <a:gd name="connsiteX7" fmla="*/ 4213814 w 4930020"/>
              <a:gd name="connsiteY7" fmla="*/ 0 h 5045304"/>
              <a:gd name="connsiteX8" fmla="*/ 4057802 w 4930020"/>
              <a:gd name="connsiteY8" fmla="*/ 504815 h 5045304"/>
              <a:gd name="connsiteX9" fmla="*/ 3874922 w 4930020"/>
              <a:gd name="connsiteY9" fmla="*/ 1129653 h 5045304"/>
              <a:gd name="connsiteX10" fmla="*/ 3674897 w 4930020"/>
              <a:gd name="connsiteY10" fmla="*/ 1941183 h 5045304"/>
              <a:gd name="connsiteX11" fmla="*/ 3484397 w 4930020"/>
              <a:gd name="connsiteY11" fmla="*/ 2548879 h 5045304"/>
              <a:gd name="connsiteX12" fmla="*/ 3019177 w 4930020"/>
              <a:gd name="connsiteY12" fmla="*/ 3088794 h 5045304"/>
              <a:gd name="connsiteX13" fmla="*/ 2655722 w 4930020"/>
              <a:gd name="connsiteY13" fmla="*/ 3339453 h 5045304"/>
              <a:gd name="connsiteX14" fmla="*/ 2301293 w 4930020"/>
              <a:gd name="connsiteY14" fmla="*/ 3558527 h 5045304"/>
              <a:gd name="connsiteX15" fmla="*/ 1331747 w 4930020"/>
              <a:gd name="connsiteY15" fmla="*/ 3691878 h 5045304"/>
              <a:gd name="connsiteX16" fmla="*/ 397419 w 4930020"/>
              <a:gd name="connsiteY16" fmla="*/ 4068742 h 5045304"/>
              <a:gd name="connsiteX17" fmla="*/ 264947 w 4930020"/>
              <a:gd name="connsiteY17" fmla="*/ 4218136 h 5045304"/>
              <a:gd name="connsiteX18" fmla="*/ 8024 w 4930020"/>
              <a:gd name="connsiteY18" fmla="*/ 4693756 h 5045304"/>
              <a:gd name="connsiteX0" fmla="*/ 8024 w 4930020"/>
              <a:gd name="connsiteY0" fmla="*/ 4693756 h 5045304"/>
              <a:gd name="connsiteX1" fmla="*/ 602208 w 4930020"/>
              <a:gd name="connsiteY1" fmla="*/ 5045304 h 5045304"/>
              <a:gd name="connsiteX2" fmla="*/ 1042614 w 4930020"/>
              <a:gd name="connsiteY2" fmla="*/ 4654905 h 5045304"/>
              <a:gd name="connsiteX3" fmla="*/ 2430632 w 4930020"/>
              <a:gd name="connsiteY3" fmla="*/ 4365645 h 5045304"/>
              <a:gd name="connsiteX4" fmla="*/ 3714902 w 4930020"/>
              <a:gd name="connsiteY4" fmla="*/ 3621395 h 5045304"/>
              <a:gd name="connsiteX5" fmla="*/ 4236873 w 4930020"/>
              <a:gd name="connsiteY5" fmla="*/ 2367904 h 5045304"/>
              <a:gd name="connsiteX6" fmla="*/ 4930020 w 4930020"/>
              <a:gd name="connsiteY6" fmla="*/ 297339 h 5045304"/>
              <a:gd name="connsiteX7" fmla="*/ 4213814 w 4930020"/>
              <a:gd name="connsiteY7" fmla="*/ 0 h 5045304"/>
              <a:gd name="connsiteX8" fmla="*/ 4057802 w 4930020"/>
              <a:gd name="connsiteY8" fmla="*/ 504815 h 5045304"/>
              <a:gd name="connsiteX9" fmla="*/ 3874922 w 4930020"/>
              <a:gd name="connsiteY9" fmla="*/ 1129653 h 5045304"/>
              <a:gd name="connsiteX10" fmla="*/ 3674897 w 4930020"/>
              <a:gd name="connsiteY10" fmla="*/ 1941183 h 5045304"/>
              <a:gd name="connsiteX11" fmla="*/ 3484397 w 4930020"/>
              <a:gd name="connsiteY11" fmla="*/ 2548879 h 5045304"/>
              <a:gd name="connsiteX12" fmla="*/ 3019177 w 4930020"/>
              <a:gd name="connsiteY12" fmla="*/ 3088794 h 5045304"/>
              <a:gd name="connsiteX13" fmla="*/ 2655722 w 4930020"/>
              <a:gd name="connsiteY13" fmla="*/ 3339453 h 5045304"/>
              <a:gd name="connsiteX14" fmla="*/ 2301293 w 4930020"/>
              <a:gd name="connsiteY14" fmla="*/ 3558527 h 5045304"/>
              <a:gd name="connsiteX15" fmla="*/ 1331747 w 4930020"/>
              <a:gd name="connsiteY15" fmla="*/ 3691878 h 5045304"/>
              <a:gd name="connsiteX16" fmla="*/ 397419 w 4930020"/>
              <a:gd name="connsiteY16" fmla="*/ 4068742 h 5045304"/>
              <a:gd name="connsiteX17" fmla="*/ 264947 w 4930020"/>
              <a:gd name="connsiteY17" fmla="*/ 4218136 h 5045304"/>
              <a:gd name="connsiteX18" fmla="*/ 8024 w 4930020"/>
              <a:gd name="connsiteY18" fmla="*/ 4693756 h 5045304"/>
              <a:gd name="connsiteX0" fmla="*/ 8024 w 4930020"/>
              <a:gd name="connsiteY0" fmla="*/ 4693756 h 5045304"/>
              <a:gd name="connsiteX1" fmla="*/ 602208 w 4930020"/>
              <a:gd name="connsiteY1" fmla="*/ 5045304 h 5045304"/>
              <a:gd name="connsiteX2" fmla="*/ 1042614 w 4930020"/>
              <a:gd name="connsiteY2" fmla="*/ 4654905 h 5045304"/>
              <a:gd name="connsiteX3" fmla="*/ 2430632 w 4930020"/>
              <a:gd name="connsiteY3" fmla="*/ 4365645 h 5045304"/>
              <a:gd name="connsiteX4" fmla="*/ 3714902 w 4930020"/>
              <a:gd name="connsiteY4" fmla="*/ 3621395 h 5045304"/>
              <a:gd name="connsiteX5" fmla="*/ 4236873 w 4930020"/>
              <a:gd name="connsiteY5" fmla="*/ 2367904 h 5045304"/>
              <a:gd name="connsiteX6" fmla="*/ 4930020 w 4930020"/>
              <a:gd name="connsiteY6" fmla="*/ 297339 h 5045304"/>
              <a:gd name="connsiteX7" fmla="*/ 4213814 w 4930020"/>
              <a:gd name="connsiteY7" fmla="*/ 0 h 5045304"/>
              <a:gd name="connsiteX8" fmla="*/ 4057802 w 4930020"/>
              <a:gd name="connsiteY8" fmla="*/ 504815 h 5045304"/>
              <a:gd name="connsiteX9" fmla="*/ 3874922 w 4930020"/>
              <a:gd name="connsiteY9" fmla="*/ 1129653 h 5045304"/>
              <a:gd name="connsiteX10" fmla="*/ 3674897 w 4930020"/>
              <a:gd name="connsiteY10" fmla="*/ 1941183 h 5045304"/>
              <a:gd name="connsiteX11" fmla="*/ 3484397 w 4930020"/>
              <a:gd name="connsiteY11" fmla="*/ 2548879 h 5045304"/>
              <a:gd name="connsiteX12" fmla="*/ 3019177 w 4930020"/>
              <a:gd name="connsiteY12" fmla="*/ 3088794 h 5045304"/>
              <a:gd name="connsiteX13" fmla="*/ 2655722 w 4930020"/>
              <a:gd name="connsiteY13" fmla="*/ 3339453 h 5045304"/>
              <a:gd name="connsiteX14" fmla="*/ 2301293 w 4930020"/>
              <a:gd name="connsiteY14" fmla="*/ 3558527 h 5045304"/>
              <a:gd name="connsiteX15" fmla="*/ 1331747 w 4930020"/>
              <a:gd name="connsiteY15" fmla="*/ 3691878 h 5045304"/>
              <a:gd name="connsiteX16" fmla="*/ 464094 w 4930020"/>
              <a:gd name="connsiteY16" fmla="*/ 4049692 h 5045304"/>
              <a:gd name="connsiteX17" fmla="*/ 264947 w 4930020"/>
              <a:gd name="connsiteY17" fmla="*/ 4218136 h 5045304"/>
              <a:gd name="connsiteX18" fmla="*/ 8024 w 4930020"/>
              <a:gd name="connsiteY18" fmla="*/ 4693756 h 5045304"/>
              <a:gd name="connsiteX0" fmla="*/ 8024 w 4930020"/>
              <a:gd name="connsiteY0" fmla="*/ 4693756 h 5045304"/>
              <a:gd name="connsiteX1" fmla="*/ 602208 w 4930020"/>
              <a:gd name="connsiteY1" fmla="*/ 5045304 h 5045304"/>
              <a:gd name="connsiteX2" fmla="*/ 1042614 w 4930020"/>
              <a:gd name="connsiteY2" fmla="*/ 4654905 h 5045304"/>
              <a:gd name="connsiteX3" fmla="*/ 2430632 w 4930020"/>
              <a:gd name="connsiteY3" fmla="*/ 4365645 h 5045304"/>
              <a:gd name="connsiteX4" fmla="*/ 3714902 w 4930020"/>
              <a:gd name="connsiteY4" fmla="*/ 3621395 h 5045304"/>
              <a:gd name="connsiteX5" fmla="*/ 4236873 w 4930020"/>
              <a:gd name="connsiteY5" fmla="*/ 2367904 h 5045304"/>
              <a:gd name="connsiteX6" fmla="*/ 4930020 w 4930020"/>
              <a:gd name="connsiteY6" fmla="*/ 297339 h 5045304"/>
              <a:gd name="connsiteX7" fmla="*/ 4213814 w 4930020"/>
              <a:gd name="connsiteY7" fmla="*/ 0 h 5045304"/>
              <a:gd name="connsiteX8" fmla="*/ 4057802 w 4930020"/>
              <a:gd name="connsiteY8" fmla="*/ 504815 h 5045304"/>
              <a:gd name="connsiteX9" fmla="*/ 3874922 w 4930020"/>
              <a:gd name="connsiteY9" fmla="*/ 1129653 h 5045304"/>
              <a:gd name="connsiteX10" fmla="*/ 3674897 w 4930020"/>
              <a:gd name="connsiteY10" fmla="*/ 1941183 h 5045304"/>
              <a:gd name="connsiteX11" fmla="*/ 3484397 w 4930020"/>
              <a:gd name="connsiteY11" fmla="*/ 2548879 h 5045304"/>
              <a:gd name="connsiteX12" fmla="*/ 3019177 w 4930020"/>
              <a:gd name="connsiteY12" fmla="*/ 3088794 h 5045304"/>
              <a:gd name="connsiteX13" fmla="*/ 2655722 w 4930020"/>
              <a:gd name="connsiteY13" fmla="*/ 3339453 h 5045304"/>
              <a:gd name="connsiteX14" fmla="*/ 2301293 w 4930020"/>
              <a:gd name="connsiteY14" fmla="*/ 3558527 h 5045304"/>
              <a:gd name="connsiteX15" fmla="*/ 1331747 w 4930020"/>
              <a:gd name="connsiteY15" fmla="*/ 3691878 h 5045304"/>
              <a:gd name="connsiteX16" fmla="*/ 464094 w 4930020"/>
              <a:gd name="connsiteY16" fmla="*/ 4049692 h 5045304"/>
              <a:gd name="connsiteX17" fmla="*/ 264947 w 4930020"/>
              <a:gd name="connsiteY17" fmla="*/ 4218136 h 5045304"/>
              <a:gd name="connsiteX18" fmla="*/ 8024 w 4930020"/>
              <a:gd name="connsiteY18" fmla="*/ 4693756 h 5045304"/>
              <a:gd name="connsiteX0" fmla="*/ 8024 w 4930020"/>
              <a:gd name="connsiteY0" fmla="*/ 4693756 h 5045304"/>
              <a:gd name="connsiteX1" fmla="*/ 602208 w 4930020"/>
              <a:gd name="connsiteY1" fmla="*/ 5045304 h 5045304"/>
              <a:gd name="connsiteX2" fmla="*/ 1042614 w 4930020"/>
              <a:gd name="connsiteY2" fmla="*/ 4654905 h 5045304"/>
              <a:gd name="connsiteX3" fmla="*/ 2430632 w 4930020"/>
              <a:gd name="connsiteY3" fmla="*/ 4365645 h 5045304"/>
              <a:gd name="connsiteX4" fmla="*/ 3714902 w 4930020"/>
              <a:gd name="connsiteY4" fmla="*/ 3621395 h 5045304"/>
              <a:gd name="connsiteX5" fmla="*/ 4236873 w 4930020"/>
              <a:gd name="connsiteY5" fmla="*/ 2367904 h 5045304"/>
              <a:gd name="connsiteX6" fmla="*/ 4930020 w 4930020"/>
              <a:gd name="connsiteY6" fmla="*/ 297339 h 5045304"/>
              <a:gd name="connsiteX7" fmla="*/ 4213814 w 4930020"/>
              <a:gd name="connsiteY7" fmla="*/ 0 h 5045304"/>
              <a:gd name="connsiteX8" fmla="*/ 4057802 w 4930020"/>
              <a:gd name="connsiteY8" fmla="*/ 504815 h 5045304"/>
              <a:gd name="connsiteX9" fmla="*/ 3874922 w 4930020"/>
              <a:gd name="connsiteY9" fmla="*/ 1129653 h 5045304"/>
              <a:gd name="connsiteX10" fmla="*/ 3674897 w 4930020"/>
              <a:gd name="connsiteY10" fmla="*/ 1941183 h 5045304"/>
              <a:gd name="connsiteX11" fmla="*/ 3484397 w 4930020"/>
              <a:gd name="connsiteY11" fmla="*/ 2548879 h 5045304"/>
              <a:gd name="connsiteX12" fmla="*/ 3019177 w 4930020"/>
              <a:gd name="connsiteY12" fmla="*/ 3088794 h 5045304"/>
              <a:gd name="connsiteX13" fmla="*/ 2655722 w 4930020"/>
              <a:gd name="connsiteY13" fmla="*/ 3339453 h 5045304"/>
              <a:gd name="connsiteX14" fmla="*/ 2301293 w 4930020"/>
              <a:gd name="connsiteY14" fmla="*/ 3558527 h 5045304"/>
              <a:gd name="connsiteX15" fmla="*/ 1331747 w 4930020"/>
              <a:gd name="connsiteY15" fmla="*/ 3691878 h 5045304"/>
              <a:gd name="connsiteX16" fmla="*/ 464094 w 4930020"/>
              <a:gd name="connsiteY16" fmla="*/ 4049692 h 5045304"/>
              <a:gd name="connsiteX17" fmla="*/ 264947 w 4930020"/>
              <a:gd name="connsiteY17" fmla="*/ 4218136 h 5045304"/>
              <a:gd name="connsiteX18" fmla="*/ 8024 w 4930020"/>
              <a:gd name="connsiteY18" fmla="*/ 4693756 h 5045304"/>
              <a:gd name="connsiteX0" fmla="*/ 8024 w 4930020"/>
              <a:gd name="connsiteY0" fmla="*/ 4693756 h 5045304"/>
              <a:gd name="connsiteX1" fmla="*/ 602208 w 4930020"/>
              <a:gd name="connsiteY1" fmla="*/ 5045304 h 5045304"/>
              <a:gd name="connsiteX2" fmla="*/ 1042614 w 4930020"/>
              <a:gd name="connsiteY2" fmla="*/ 4654905 h 5045304"/>
              <a:gd name="connsiteX3" fmla="*/ 2430632 w 4930020"/>
              <a:gd name="connsiteY3" fmla="*/ 4365645 h 5045304"/>
              <a:gd name="connsiteX4" fmla="*/ 3714902 w 4930020"/>
              <a:gd name="connsiteY4" fmla="*/ 3621395 h 5045304"/>
              <a:gd name="connsiteX5" fmla="*/ 4236873 w 4930020"/>
              <a:gd name="connsiteY5" fmla="*/ 2367904 h 5045304"/>
              <a:gd name="connsiteX6" fmla="*/ 4930020 w 4930020"/>
              <a:gd name="connsiteY6" fmla="*/ 297339 h 5045304"/>
              <a:gd name="connsiteX7" fmla="*/ 4213814 w 4930020"/>
              <a:gd name="connsiteY7" fmla="*/ 0 h 5045304"/>
              <a:gd name="connsiteX8" fmla="*/ 4057802 w 4930020"/>
              <a:gd name="connsiteY8" fmla="*/ 504815 h 5045304"/>
              <a:gd name="connsiteX9" fmla="*/ 3874922 w 4930020"/>
              <a:gd name="connsiteY9" fmla="*/ 1129653 h 5045304"/>
              <a:gd name="connsiteX10" fmla="*/ 3674897 w 4930020"/>
              <a:gd name="connsiteY10" fmla="*/ 1941183 h 5045304"/>
              <a:gd name="connsiteX11" fmla="*/ 3484397 w 4930020"/>
              <a:gd name="connsiteY11" fmla="*/ 2548879 h 5045304"/>
              <a:gd name="connsiteX12" fmla="*/ 3019177 w 4930020"/>
              <a:gd name="connsiteY12" fmla="*/ 3088794 h 5045304"/>
              <a:gd name="connsiteX13" fmla="*/ 2655722 w 4930020"/>
              <a:gd name="connsiteY13" fmla="*/ 3339453 h 5045304"/>
              <a:gd name="connsiteX14" fmla="*/ 2301293 w 4930020"/>
              <a:gd name="connsiteY14" fmla="*/ 3558527 h 5045304"/>
              <a:gd name="connsiteX15" fmla="*/ 1331747 w 4930020"/>
              <a:gd name="connsiteY15" fmla="*/ 3691878 h 5045304"/>
              <a:gd name="connsiteX16" fmla="*/ 464094 w 4930020"/>
              <a:gd name="connsiteY16" fmla="*/ 4049692 h 5045304"/>
              <a:gd name="connsiteX17" fmla="*/ 264947 w 4930020"/>
              <a:gd name="connsiteY17" fmla="*/ 4218136 h 5045304"/>
              <a:gd name="connsiteX18" fmla="*/ 8024 w 4930020"/>
              <a:gd name="connsiteY18" fmla="*/ 4693756 h 5045304"/>
              <a:gd name="connsiteX0" fmla="*/ 8024 w 4930020"/>
              <a:gd name="connsiteY0" fmla="*/ 4693756 h 5045304"/>
              <a:gd name="connsiteX1" fmla="*/ 602208 w 4930020"/>
              <a:gd name="connsiteY1" fmla="*/ 5045304 h 5045304"/>
              <a:gd name="connsiteX2" fmla="*/ 1042614 w 4930020"/>
              <a:gd name="connsiteY2" fmla="*/ 4654905 h 5045304"/>
              <a:gd name="connsiteX3" fmla="*/ 2430632 w 4930020"/>
              <a:gd name="connsiteY3" fmla="*/ 4365645 h 5045304"/>
              <a:gd name="connsiteX4" fmla="*/ 3714902 w 4930020"/>
              <a:gd name="connsiteY4" fmla="*/ 3621395 h 5045304"/>
              <a:gd name="connsiteX5" fmla="*/ 4236873 w 4930020"/>
              <a:gd name="connsiteY5" fmla="*/ 2367904 h 5045304"/>
              <a:gd name="connsiteX6" fmla="*/ 4930020 w 4930020"/>
              <a:gd name="connsiteY6" fmla="*/ 297339 h 5045304"/>
              <a:gd name="connsiteX7" fmla="*/ 4213814 w 4930020"/>
              <a:gd name="connsiteY7" fmla="*/ 0 h 5045304"/>
              <a:gd name="connsiteX8" fmla="*/ 4057802 w 4930020"/>
              <a:gd name="connsiteY8" fmla="*/ 504815 h 5045304"/>
              <a:gd name="connsiteX9" fmla="*/ 3874922 w 4930020"/>
              <a:gd name="connsiteY9" fmla="*/ 1129653 h 5045304"/>
              <a:gd name="connsiteX10" fmla="*/ 3674897 w 4930020"/>
              <a:gd name="connsiteY10" fmla="*/ 1941183 h 5045304"/>
              <a:gd name="connsiteX11" fmla="*/ 3484397 w 4930020"/>
              <a:gd name="connsiteY11" fmla="*/ 2548879 h 5045304"/>
              <a:gd name="connsiteX12" fmla="*/ 3019177 w 4930020"/>
              <a:gd name="connsiteY12" fmla="*/ 3088794 h 5045304"/>
              <a:gd name="connsiteX13" fmla="*/ 2655722 w 4930020"/>
              <a:gd name="connsiteY13" fmla="*/ 3339453 h 5045304"/>
              <a:gd name="connsiteX14" fmla="*/ 2301293 w 4930020"/>
              <a:gd name="connsiteY14" fmla="*/ 3558527 h 5045304"/>
              <a:gd name="connsiteX15" fmla="*/ 1331747 w 4930020"/>
              <a:gd name="connsiteY15" fmla="*/ 3691878 h 5045304"/>
              <a:gd name="connsiteX16" fmla="*/ 464094 w 4930020"/>
              <a:gd name="connsiteY16" fmla="*/ 4049692 h 5045304"/>
              <a:gd name="connsiteX17" fmla="*/ 264947 w 4930020"/>
              <a:gd name="connsiteY17" fmla="*/ 4218136 h 5045304"/>
              <a:gd name="connsiteX18" fmla="*/ 8024 w 4930020"/>
              <a:gd name="connsiteY18" fmla="*/ 4693756 h 5045304"/>
              <a:gd name="connsiteX0" fmla="*/ 8494 w 4930490"/>
              <a:gd name="connsiteY0" fmla="*/ 4693756 h 5045304"/>
              <a:gd name="connsiteX1" fmla="*/ 602678 w 4930490"/>
              <a:gd name="connsiteY1" fmla="*/ 5045304 h 5045304"/>
              <a:gd name="connsiteX2" fmla="*/ 1043084 w 4930490"/>
              <a:gd name="connsiteY2" fmla="*/ 4654905 h 5045304"/>
              <a:gd name="connsiteX3" fmla="*/ 2431102 w 4930490"/>
              <a:gd name="connsiteY3" fmla="*/ 4365645 h 5045304"/>
              <a:gd name="connsiteX4" fmla="*/ 3715372 w 4930490"/>
              <a:gd name="connsiteY4" fmla="*/ 3621395 h 5045304"/>
              <a:gd name="connsiteX5" fmla="*/ 4237343 w 4930490"/>
              <a:gd name="connsiteY5" fmla="*/ 2367904 h 5045304"/>
              <a:gd name="connsiteX6" fmla="*/ 4930490 w 4930490"/>
              <a:gd name="connsiteY6" fmla="*/ 297339 h 5045304"/>
              <a:gd name="connsiteX7" fmla="*/ 4214284 w 4930490"/>
              <a:gd name="connsiteY7" fmla="*/ 0 h 5045304"/>
              <a:gd name="connsiteX8" fmla="*/ 4058272 w 4930490"/>
              <a:gd name="connsiteY8" fmla="*/ 504815 h 5045304"/>
              <a:gd name="connsiteX9" fmla="*/ 3875392 w 4930490"/>
              <a:gd name="connsiteY9" fmla="*/ 1129653 h 5045304"/>
              <a:gd name="connsiteX10" fmla="*/ 3675367 w 4930490"/>
              <a:gd name="connsiteY10" fmla="*/ 1941183 h 5045304"/>
              <a:gd name="connsiteX11" fmla="*/ 3484867 w 4930490"/>
              <a:gd name="connsiteY11" fmla="*/ 2548879 h 5045304"/>
              <a:gd name="connsiteX12" fmla="*/ 3019647 w 4930490"/>
              <a:gd name="connsiteY12" fmla="*/ 3088794 h 5045304"/>
              <a:gd name="connsiteX13" fmla="*/ 2656192 w 4930490"/>
              <a:gd name="connsiteY13" fmla="*/ 3339453 h 5045304"/>
              <a:gd name="connsiteX14" fmla="*/ 2301763 w 4930490"/>
              <a:gd name="connsiteY14" fmla="*/ 3558527 h 5045304"/>
              <a:gd name="connsiteX15" fmla="*/ 1332217 w 4930490"/>
              <a:gd name="connsiteY15" fmla="*/ 3691878 h 5045304"/>
              <a:gd name="connsiteX16" fmla="*/ 464564 w 4930490"/>
              <a:gd name="connsiteY16" fmla="*/ 4049692 h 5045304"/>
              <a:gd name="connsiteX17" fmla="*/ 265417 w 4930490"/>
              <a:gd name="connsiteY17" fmla="*/ 4218136 h 5045304"/>
              <a:gd name="connsiteX18" fmla="*/ 8494 w 4930490"/>
              <a:gd name="connsiteY18" fmla="*/ 4693756 h 5045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30490" h="5045304">
                <a:moveTo>
                  <a:pt x="8494" y="4693756"/>
                </a:moveTo>
                <a:lnTo>
                  <a:pt x="602678" y="5045304"/>
                </a:lnTo>
                <a:cubicBezTo>
                  <a:pt x="670857" y="4959078"/>
                  <a:pt x="738347" y="4768181"/>
                  <a:pt x="1043084" y="4654905"/>
                </a:cubicBezTo>
                <a:cubicBezTo>
                  <a:pt x="1347821" y="4541629"/>
                  <a:pt x="1985721" y="4537897"/>
                  <a:pt x="2431102" y="4365645"/>
                </a:cubicBezTo>
                <a:cubicBezTo>
                  <a:pt x="2876483" y="4193393"/>
                  <a:pt x="3414332" y="3954352"/>
                  <a:pt x="3715372" y="3621395"/>
                </a:cubicBezTo>
                <a:cubicBezTo>
                  <a:pt x="4016412" y="3288438"/>
                  <a:pt x="4018313" y="2913023"/>
                  <a:pt x="4237343" y="2367904"/>
                </a:cubicBezTo>
                <a:cubicBezTo>
                  <a:pt x="4756761" y="1214438"/>
                  <a:pt x="4821621" y="639602"/>
                  <a:pt x="4930490" y="297339"/>
                </a:cubicBezTo>
                <a:cubicBezTo>
                  <a:pt x="4576478" y="128615"/>
                  <a:pt x="4499186" y="98153"/>
                  <a:pt x="4214284" y="0"/>
                </a:cubicBezTo>
                <a:cubicBezTo>
                  <a:pt x="4171784" y="209839"/>
                  <a:pt x="4114754" y="316540"/>
                  <a:pt x="4058272" y="504815"/>
                </a:cubicBezTo>
                <a:cubicBezTo>
                  <a:pt x="4001790" y="693090"/>
                  <a:pt x="3935399" y="890259"/>
                  <a:pt x="3875392" y="1129653"/>
                </a:cubicBezTo>
                <a:cubicBezTo>
                  <a:pt x="3833699" y="1306284"/>
                  <a:pt x="3767525" y="1558395"/>
                  <a:pt x="3675367" y="1941183"/>
                </a:cubicBezTo>
                <a:cubicBezTo>
                  <a:pt x="3612820" y="2199946"/>
                  <a:pt x="3606854" y="2301731"/>
                  <a:pt x="3484867" y="2548879"/>
                </a:cubicBezTo>
                <a:cubicBezTo>
                  <a:pt x="3381930" y="2738877"/>
                  <a:pt x="3154585" y="2912582"/>
                  <a:pt x="3019647" y="3088794"/>
                </a:cubicBezTo>
                <a:lnTo>
                  <a:pt x="2656192" y="3339453"/>
                </a:lnTo>
                <a:lnTo>
                  <a:pt x="2301763" y="3558527"/>
                </a:lnTo>
                <a:cubicBezTo>
                  <a:pt x="2022696" y="3691209"/>
                  <a:pt x="1647378" y="3631386"/>
                  <a:pt x="1332217" y="3691878"/>
                </a:cubicBezTo>
                <a:cubicBezTo>
                  <a:pt x="981880" y="3830994"/>
                  <a:pt x="607731" y="3982014"/>
                  <a:pt x="464564" y="4049692"/>
                </a:cubicBezTo>
                <a:cubicBezTo>
                  <a:pt x="347089" y="4106049"/>
                  <a:pt x="327935" y="4147304"/>
                  <a:pt x="265417" y="4218136"/>
                </a:cubicBezTo>
                <a:cubicBezTo>
                  <a:pt x="183849" y="4317542"/>
                  <a:pt x="-46922" y="4555498"/>
                  <a:pt x="8494" y="4693756"/>
                </a:cubicBezTo>
                <a:close/>
              </a:path>
            </a:pathLst>
          </a:custGeom>
          <a:solidFill>
            <a:srgbClr val="99FF99">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grpSp>
        <p:nvGrpSpPr>
          <p:cNvPr id="29" name="日本海側"/>
          <p:cNvGrpSpPr/>
          <p:nvPr/>
        </p:nvGrpSpPr>
        <p:grpSpPr>
          <a:xfrm>
            <a:off x="3513260" y="1382836"/>
            <a:ext cx="4383393" cy="4797192"/>
            <a:chOff x="5210384" y="2379763"/>
            <a:chExt cx="5665601" cy="6200442"/>
          </a:xfrm>
        </p:grpSpPr>
        <p:sp>
          <p:nvSpPr>
            <p:cNvPr id="30" name="二等辺三角形 29"/>
            <p:cNvSpPr/>
            <p:nvPr/>
          </p:nvSpPr>
          <p:spPr>
            <a:xfrm rot="1984308">
              <a:off x="9569450" y="2379763"/>
              <a:ext cx="1306535" cy="1000175"/>
            </a:xfrm>
            <a:prstGeom prst="triangle">
              <a:avLst>
                <a:gd name="adj" fmla="val 47328"/>
              </a:avLst>
            </a:prstGeom>
            <a:solidFill>
              <a:srgbClr val="FF9999">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31" name="二等辺三角形 30"/>
            <p:cNvSpPr/>
            <p:nvPr/>
          </p:nvSpPr>
          <p:spPr>
            <a:xfrm rot="11976160">
              <a:off x="5210384" y="7725882"/>
              <a:ext cx="996504" cy="854323"/>
            </a:xfrm>
            <a:prstGeom prst="triangle">
              <a:avLst/>
            </a:prstGeom>
            <a:solidFill>
              <a:srgbClr val="FF9999">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grpSp>
      <p:sp>
        <p:nvSpPr>
          <p:cNvPr id="32" name="フリーフォーム 31"/>
          <p:cNvSpPr/>
          <p:nvPr/>
        </p:nvSpPr>
        <p:spPr>
          <a:xfrm>
            <a:off x="3825351" y="1939026"/>
            <a:ext cx="3655088" cy="3702293"/>
          </a:xfrm>
          <a:custGeom>
            <a:avLst/>
            <a:gdLst>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3193576 w 4271749"/>
              <a:gd name="connsiteY26" fmla="*/ 2784143 h 4380932"/>
              <a:gd name="connsiteX27" fmla="*/ 3630305 w 4271749"/>
              <a:gd name="connsiteY27" fmla="*/ 2060812 h 4380932"/>
              <a:gd name="connsiteX28" fmla="*/ 3562066 w 4271749"/>
              <a:gd name="connsiteY28" fmla="*/ 150126 h 4380932"/>
              <a:gd name="connsiteX29" fmla="*/ 3766782 w 4271749"/>
              <a:gd name="connsiteY29" fmla="*/ 0 h 4380932"/>
              <a:gd name="connsiteX30" fmla="*/ 4271749 w 4271749"/>
              <a:gd name="connsiteY30" fmla="*/ 245660 h 4380932"/>
              <a:gd name="connsiteX31" fmla="*/ 4053385 w 4271749"/>
              <a:gd name="connsiteY31" fmla="*/ 859809 h 4380932"/>
              <a:gd name="connsiteX32" fmla="*/ 4135272 w 4271749"/>
              <a:gd name="connsiteY32" fmla="*/ 2210938 h 4380932"/>
              <a:gd name="connsiteX33" fmla="*/ 3070746 w 4271749"/>
              <a:gd name="connsiteY33" fmla="*/ 3289111 h 4380932"/>
              <a:gd name="connsiteX34" fmla="*/ 3070746 w 4271749"/>
              <a:gd name="connsiteY34" fmla="*/ 3357349 h 4380932"/>
              <a:gd name="connsiteX35" fmla="*/ 2811439 w 4271749"/>
              <a:gd name="connsiteY35" fmla="*/ 3302758 h 4380932"/>
              <a:gd name="connsiteX36" fmla="*/ 1733266 w 4271749"/>
              <a:gd name="connsiteY36" fmla="*/ 3643952 h 4380932"/>
              <a:gd name="connsiteX37" fmla="*/ 600502 w 4271749"/>
              <a:gd name="connsiteY37" fmla="*/ 3889612 h 4380932"/>
              <a:gd name="connsiteX38" fmla="*/ 368490 w 4271749"/>
              <a:gd name="connsiteY38" fmla="*/ 4380932 h 4380932"/>
              <a:gd name="connsiteX39" fmla="*/ 0 w 4271749"/>
              <a:gd name="connsiteY39" fmla="*/ 4189863 h 4380932"/>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2647666 w 4271749"/>
              <a:gd name="connsiteY26" fmla="*/ 2961564 h 4380932"/>
              <a:gd name="connsiteX27" fmla="*/ 3193576 w 4271749"/>
              <a:gd name="connsiteY27" fmla="*/ 2784143 h 4380932"/>
              <a:gd name="connsiteX28" fmla="*/ 3630305 w 4271749"/>
              <a:gd name="connsiteY28" fmla="*/ 2060812 h 4380932"/>
              <a:gd name="connsiteX29" fmla="*/ 3562066 w 4271749"/>
              <a:gd name="connsiteY29" fmla="*/ 150126 h 4380932"/>
              <a:gd name="connsiteX30" fmla="*/ 3766782 w 4271749"/>
              <a:gd name="connsiteY30" fmla="*/ 0 h 4380932"/>
              <a:gd name="connsiteX31" fmla="*/ 4271749 w 4271749"/>
              <a:gd name="connsiteY31" fmla="*/ 245660 h 4380932"/>
              <a:gd name="connsiteX32" fmla="*/ 4053385 w 4271749"/>
              <a:gd name="connsiteY32" fmla="*/ 859809 h 4380932"/>
              <a:gd name="connsiteX33" fmla="*/ 4135272 w 4271749"/>
              <a:gd name="connsiteY33" fmla="*/ 2210938 h 4380932"/>
              <a:gd name="connsiteX34" fmla="*/ 3070746 w 4271749"/>
              <a:gd name="connsiteY34" fmla="*/ 3289111 h 4380932"/>
              <a:gd name="connsiteX35" fmla="*/ 3070746 w 4271749"/>
              <a:gd name="connsiteY35" fmla="*/ 3357349 h 4380932"/>
              <a:gd name="connsiteX36" fmla="*/ 2811439 w 4271749"/>
              <a:gd name="connsiteY36" fmla="*/ 3302758 h 4380932"/>
              <a:gd name="connsiteX37" fmla="*/ 1733266 w 4271749"/>
              <a:gd name="connsiteY37" fmla="*/ 3643952 h 4380932"/>
              <a:gd name="connsiteX38" fmla="*/ 600502 w 4271749"/>
              <a:gd name="connsiteY38" fmla="*/ 3889612 h 4380932"/>
              <a:gd name="connsiteX39" fmla="*/ 368490 w 4271749"/>
              <a:gd name="connsiteY39" fmla="*/ 4380932 h 4380932"/>
              <a:gd name="connsiteX40" fmla="*/ 0 w 4271749"/>
              <a:gd name="connsiteY40" fmla="*/ 4189863 h 4380932"/>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2647666 w 4271749"/>
              <a:gd name="connsiteY26" fmla="*/ 2961564 h 4380932"/>
              <a:gd name="connsiteX27" fmla="*/ 3193576 w 4271749"/>
              <a:gd name="connsiteY27" fmla="*/ 2784143 h 4380932"/>
              <a:gd name="connsiteX28" fmla="*/ 3452884 w 4271749"/>
              <a:gd name="connsiteY28" fmla="*/ 2361063 h 4380932"/>
              <a:gd name="connsiteX29" fmla="*/ 3630305 w 4271749"/>
              <a:gd name="connsiteY29" fmla="*/ 2060812 h 4380932"/>
              <a:gd name="connsiteX30" fmla="*/ 3562066 w 4271749"/>
              <a:gd name="connsiteY30" fmla="*/ 150126 h 4380932"/>
              <a:gd name="connsiteX31" fmla="*/ 3766782 w 4271749"/>
              <a:gd name="connsiteY31" fmla="*/ 0 h 4380932"/>
              <a:gd name="connsiteX32" fmla="*/ 4271749 w 4271749"/>
              <a:gd name="connsiteY32" fmla="*/ 245660 h 4380932"/>
              <a:gd name="connsiteX33" fmla="*/ 4053385 w 4271749"/>
              <a:gd name="connsiteY33" fmla="*/ 859809 h 4380932"/>
              <a:gd name="connsiteX34" fmla="*/ 4135272 w 4271749"/>
              <a:gd name="connsiteY34" fmla="*/ 2210938 h 4380932"/>
              <a:gd name="connsiteX35" fmla="*/ 3070746 w 4271749"/>
              <a:gd name="connsiteY35" fmla="*/ 3289111 h 4380932"/>
              <a:gd name="connsiteX36" fmla="*/ 3070746 w 4271749"/>
              <a:gd name="connsiteY36" fmla="*/ 3357349 h 4380932"/>
              <a:gd name="connsiteX37" fmla="*/ 2811439 w 4271749"/>
              <a:gd name="connsiteY37" fmla="*/ 3302758 h 4380932"/>
              <a:gd name="connsiteX38" fmla="*/ 1733266 w 4271749"/>
              <a:gd name="connsiteY38" fmla="*/ 3643952 h 4380932"/>
              <a:gd name="connsiteX39" fmla="*/ 600502 w 4271749"/>
              <a:gd name="connsiteY39" fmla="*/ 3889612 h 4380932"/>
              <a:gd name="connsiteX40" fmla="*/ 368490 w 4271749"/>
              <a:gd name="connsiteY40" fmla="*/ 4380932 h 4380932"/>
              <a:gd name="connsiteX41" fmla="*/ 0 w 4271749"/>
              <a:gd name="connsiteY41" fmla="*/ 4189863 h 4380932"/>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2647666 w 4271749"/>
              <a:gd name="connsiteY26" fmla="*/ 2961564 h 4380932"/>
              <a:gd name="connsiteX27" fmla="*/ 3193576 w 4271749"/>
              <a:gd name="connsiteY27" fmla="*/ 2784143 h 4380932"/>
              <a:gd name="connsiteX28" fmla="*/ 3452884 w 4271749"/>
              <a:gd name="connsiteY28" fmla="*/ 2361063 h 4380932"/>
              <a:gd name="connsiteX29" fmla="*/ 3630305 w 4271749"/>
              <a:gd name="connsiteY29" fmla="*/ 2060812 h 4380932"/>
              <a:gd name="connsiteX30" fmla="*/ 3616657 w 4271749"/>
              <a:gd name="connsiteY30" fmla="*/ 1514902 h 4380932"/>
              <a:gd name="connsiteX31" fmla="*/ 3562066 w 4271749"/>
              <a:gd name="connsiteY31" fmla="*/ 150126 h 4380932"/>
              <a:gd name="connsiteX32" fmla="*/ 3766782 w 4271749"/>
              <a:gd name="connsiteY32" fmla="*/ 0 h 4380932"/>
              <a:gd name="connsiteX33" fmla="*/ 4271749 w 4271749"/>
              <a:gd name="connsiteY33" fmla="*/ 245660 h 4380932"/>
              <a:gd name="connsiteX34" fmla="*/ 4053385 w 4271749"/>
              <a:gd name="connsiteY34" fmla="*/ 859809 h 4380932"/>
              <a:gd name="connsiteX35" fmla="*/ 4135272 w 4271749"/>
              <a:gd name="connsiteY35" fmla="*/ 2210938 h 4380932"/>
              <a:gd name="connsiteX36" fmla="*/ 3070746 w 4271749"/>
              <a:gd name="connsiteY36" fmla="*/ 3289111 h 4380932"/>
              <a:gd name="connsiteX37" fmla="*/ 3070746 w 4271749"/>
              <a:gd name="connsiteY37" fmla="*/ 3357349 h 4380932"/>
              <a:gd name="connsiteX38" fmla="*/ 2811439 w 4271749"/>
              <a:gd name="connsiteY38" fmla="*/ 3302758 h 4380932"/>
              <a:gd name="connsiteX39" fmla="*/ 1733266 w 4271749"/>
              <a:gd name="connsiteY39" fmla="*/ 3643952 h 4380932"/>
              <a:gd name="connsiteX40" fmla="*/ 600502 w 4271749"/>
              <a:gd name="connsiteY40" fmla="*/ 3889612 h 4380932"/>
              <a:gd name="connsiteX41" fmla="*/ 368490 w 4271749"/>
              <a:gd name="connsiteY41" fmla="*/ 4380932 h 4380932"/>
              <a:gd name="connsiteX42" fmla="*/ 0 w 4271749"/>
              <a:gd name="connsiteY42" fmla="*/ 4189863 h 4380932"/>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2647666 w 4271749"/>
              <a:gd name="connsiteY26" fmla="*/ 2961564 h 4380932"/>
              <a:gd name="connsiteX27" fmla="*/ 3193576 w 4271749"/>
              <a:gd name="connsiteY27" fmla="*/ 2784143 h 4380932"/>
              <a:gd name="connsiteX28" fmla="*/ 3452884 w 4271749"/>
              <a:gd name="connsiteY28" fmla="*/ 2361063 h 4380932"/>
              <a:gd name="connsiteX29" fmla="*/ 3630305 w 4271749"/>
              <a:gd name="connsiteY29" fmla="*/ 2060812 h 4380932"/>
              <a:gd name="connsiteX30" fmla="*/ 3616657 w 4271749"/>
              <a:gd name="connsiteY30" fmla="*/ 1514902 h 4380932"/>
              <a:gd name="connsiteX31" fmla="*/ 3603009 w 4271749"/>
              <a:gd name="connsiteY31" fmla="*/ 696036 h 4380932"/>
              <a:gd name="connsiteX32" fmla="*/ 3562066 w 4271749"/>
              <a:gd name="connsiteY32" fmla="*/ 150126 h 4380932"/>
              <a:gd name="connsiteX33" fmla="*/ 3766782 w 4271749"/>
              <a:gd name="connsiteY33" fmla="*/ 0 h 4380932"/>
              <a:gd name="connsiteX34" fmla="*/ 4271749 w 4271749"/>
              <a:gd name="connsiteY34" fmla="*/ 245660 h 4380932"/>
              <a:gd name="connsiteX35" fmla="*/ 4053385 w 4271749"/>
              <a:gd name="connsiteY35" fmla="*/ 859809 h 4380932"/>
              <a:gd name="connsiteX36" fmla="*/ 4135272 w 4271749"/>
              <a:gd name="connsiteY36" fmla="*/ 2210938 h 4380932"/>
              <a:gd name="connsiteX37" fmla="*/ 3070746 w 4271749"/>
              <a:gd name="connsiteY37" fmla="*/ 3289111 h 4380932"/>
              <a:gd name="connsiteX38" fmla="*/ 3070746 w 4271749"/>
              <a:gd name="connsiteY38" fmla="*/ 3357349 h 4380932"/>
              <a:gd name="connsiteX39" fmla="*/ 2811439 w 4271749"/>
              <a:gd name="connsiteY39" fmla="*/ 3302758 h 4380932"/>
              <a:gd name="connsiteX40" fmla="*/ 1733266 w 4271749"/>
              <a:gd name="connsiteY40" fmla="*/ 3643952 h 4380932"/>
              <a:gd name="connsiteX41" fmla="*/ 600502 w 4271749"/>
              <a:gd name="connsiteY41" fmla="*/ 3889612 h 4380932"/>
              <a:gd name="connsiteX42" fmla="*/ 368490 w 4271749"/>
              <a:gd name="connsiteY42" fmla="*/ 4380932 h 4380932"/>
              <a:gd name="connsiteX43" fmla="*/ 0 w 4271749"/>
              <a:gd name="connsiteY43" fmla="*/ 4189863 h 4380932"/>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2647666 w 4271749"/>
              <a:gd name="connsiteY26" fmla="*/ 2961564 h 4380932"/>
              <a:gd name="connsiteX27" fmla="*/ 3193576 w 4271749"/>
              <a:gd name="connsiteY27" fmla="*/ 2784143 h 4380932"/>
              <a:gd name="connsiteX28" fmla="*/ 3452884 w 4271749"/>
              <a:gd name="connsiteY28" fmla="*/ 2361063 h 4380932"/>
              <a:gd name="connsiteX29" fmla="*/ 3630305 w 4271749"/>
              <a:gd name="connsiteY29" fmla="*/ 2060812 h 4380932"/>
              <a:gd name="connsiteX30" fmla="*/ 3616657 w 4271749"/>
              <a:gd name="connsiteY30" fmla="*/ 1514902 h 4380932"/>
              <a:gd name="connsiteX31" fmla="*/ 3603009 w 4271749"/>
              <a:gd name="connsiteY31" fmla="*/ 696036 h 4380932"/>
              <a:gd name="connsiteX32" fmla="*/ 3562066 w 4271749"/>
              <a:gd name="connsiteY32" fmla="*/ 150126 h 4380932"/>
              <a:gd name="connsiteX33" fmla="*/ 3766782 w 4271749"/>
              <a:gd name="connsiteY33" fmla="*/ 0 h 4380932"/>
              <a:gd name="connsiteX34" fmla="*/ 4271749 w 4271749"/>
              <a:gd name="connsiteY34" fmla="*/ 245660 h 4380932"/>
              <a:gd name="connsiteX35" fmla="*/ 4053385 w 4271749"/>
              <a:gd name="connsiteY35" fmla="*/ 859809 h 4380932"/>
              <a:gd name="connsiteX36" fmla="*/ 4135272 w 4271749"/>
              <a:gd name="connsiteY36" fmla="*/ 2210938 h 4380932"/>
              <a:gd name="connsiteX37" fmla="*/ 3070746 w 4271749"/>
              <a:gd name="connsiteY37" fmla="*/ 3289111 h 4380932"/>
              <a:gd name="connsiteX38" fmla="*/ 3070746 w 4271749"/>
              <a:gd name="connsiteY38" fmla="*/ 3357349 h 4380932"/>
              <a:gd name="connsiteX39" fmla="*/ 2811439 w 4271749"/>
              <a:gd name="connsiteY39" fmla="*/ 3302758 h 4380932"/>
              <a:gd name="connsiteX40" fmla="*/ 2006221 w 4271749"/>
              <a:gd name="connsiteY40" fmla="*/ 3562066 h 4380932"/>
              <a:gd name="connsiteX41" fmla="*/ 1733266 w 4271749"/>
              <a:gd name="connsiteY41" fmla="*/ 3643952 h 4380932"/>
              <a:gd name="connsiteX42" fmla="*/ 600502 w 4271749"/>
              <a:gd name="connsiteY42" fmla="*/ 3889612 h 4380932"/>
              <a:gd name="connsiteX43" fmla="*/ 368490 w 4271749"/>
              <a:gd name="connsiteY43" fmla="*/ 4380932 h 4380932"/>
              <a:gd name="connsiteX44" fmla="*/ 0 w 4271749"/>
              <a:gd name="connsiteY44" fmla="*/ 4189863 h 4380932"/>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2647666 w 4271749"/>
              <a:gd name="connsiteY26" fmla="*/ 2961564 h 4380932"/>
              <a:gd name="connsiteX27" fmla="*/ 3193576 w 4271749"/>
              <a:gd name="connsiteY27" fmla="*/ 2784143 h 4380932"/>
              <a:gd name="connsiteX28" fmla="*/ 3452884 w 4271749"/>
              <a:gd name="connsiteY28" fmla="*/ 2361063 h 4380932"/>
              <a:gd name="connsiteX29" fmla="*/ 3630305 w 4271749"/>
              <a:gd name="connsiteY29" fmla="*/ 2060812 h 4380932"/>
              <a:gd name="connsiteX30" fmla="*/ 3616657 w 4271749"/>
              <a:gd name="connsiteY30" fmla="*/ 1514902 h 4380932"/>
              <a:gd name="connsiteX31" fmla="*/ 3603009 w 4271749"/>
              <a:gd name="connsiteY31" fmla="*/ 696036 h 4380932"/>
              <a:gd name="connsiteX32" fmla="*/ 3562066 w 4271749"/>
              <a:gd name="connsiteY32" fmla="*/ 150126 h 4380932"/>
              <a:gd name="connsiteX33" fmla="*/ 3766782 w 4271749"/>
              <a:gd name="connsiteY33" fmla="*/ 0 h 4380932"/>
              <a:gd name="connsiteX34" fmla="*/ 4271749 w 4271749"/>
              <a:gd name="connsiteY34" fmla="*/ 245660 h 4380932"/>
              <a:gd name="connsiteX35" fmla="*/ 4053385 w 4271749"/>
              <a:gd name="connsiteY35" fmla="*/ 859809 h 4380932"/>
              <a:gd name="connsiteX36" fmla="*/ 4135272 w 4271749"/>
              <a:gd name="connsiteY36" fmla="*/ 2210938 h 4380932"/>
              <a:gd name="connsiteX37" fmla="*/ 3070746 w 4271749"/>
              <a:gd name="connsiteY37" fmla="*/ 3289111 h 4380932"/>
              <a:gd name="connsiteX38" fmla="*/ 3070746 w 4271749"/>
              <a:gd name="connsiteY38" fmla="*/ 3357349 h 4380932"/>
              <a:gd name="connsiteX39" fmla="*/ 2811439 w 4271749"/>
              <a:gd name="connsiteY39" fmla="*/ 3302758 h 4380932"/>
              <a:gd name="connsiteX40" fmla="*/ 2006221 w 4271749"/>
              <a:gd name="connsiteY40" fmla="*/ 3562066 h 4380932"/>
              <a:gd name="connsiteX41" fmla="*/ 1733266 w 4271749"/>
              <a:gd name="connsiteY41" fmla="*/ 3643952 h 4380932"/>
              <a:gd name="connsiteX42" fmla="*/ 1282890 w 4271749"/>
              <a:gd name="connsiteY42" fmla="*/ 3753135 h 4380932"/>
              <a:gd name="connsiteX43" fmla="*/ 600502 w 4271749"/>
              <a:gd name="connsiteY43" fmla="*/ 3889612 h 4380932"/>
              <a:gd name="connsiteX44" fmla="*/ 368490 w 4271749"/>
              <a:gd name="connsiteY44" fmla="*/ 4380932 h 4380932"/>
              <a:gd name="connsiteX45" fmla="*/ 0 w 4271749"/>
              <a:gd name="connsiteY45" fmla="*/ 4189863 h 4380932"/>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2647666 w 4271749"/>
              <a:gd name="connsiteY26" fmla="*/ 2961564 h 4380932"/>
              <a:gd name="connsiteX27" fmla="*/ 3193576 w 4271749"/>
              <a:gd name="connsiteY27" fmla="*/ 2784143 h 4380932"/>
              <a:gd name="connsiteX28" fmla="*/ 3452884 w 4271749"/>
              <a:gd name="connsiteY28" fmla="*/ 2361063 h 4380932"/>
              <a:gd name="connsiteX29" fmla="*/ 3630305 w 4271749"/>
              <a:gd name="connsiteY29" fmla="*/ 2060812 h 4380932"/>
              <a:gd name="connsiteX30" fmla="*/ 3616657 w 4271749"/>
              <a:gd name="connsiteY30" fmla="*/ 1514902 h 4380932"/>
              <a:gd name="connsiteX31" fmla="*/ 3603009 w 4271749"/>
              <a:gd name="connsiteY31" fmla="*/ 696036 h 4380932"/>
              <a:gd name="connsiteX32" fmla="*/ 3562066 w 4271749"/>
              <a:gd name="connsiteY32" fmla="*/ 150126 h 4380932"/>
              <a:gd name="connsiteX33" fmla="*/ 3766782 w 4271749"/>
              <a:gd name="connsiteY33" fmla="*/ 0 h 4380932"/>
              <a:gd name="connsiteX34" fmla="*/ 4271749 w 4271749"/>
              <a:gd name="connsiteY34" fmla="*/ 245660 h 4380932"/>
              <a:gd name="connsiteX35" fmla="*/ 4053385 w 4271749"/>
              <a:gd name="connsiteY35" fmla="*/ 859809 h 4380932"/>
              <a:gd name="connsiteX36" fmla="*/ 4135272 w 4271749"/>
              <a:gd name="connsiteY36" fmla="*/ 2210938 h 4380932"/>
              <a:gd name="connsiteX37" fmla="*/ 3070746 w 4271749"/>
              <a:gd name="connsiteY37" fmla="*/ 3289111 h 4380932"/>
              <a:gd name="connsiteX38" fmla="*/ 3070746 w 4271749"/>
              <a:gd name="connsiteY38" fmla="*/ 3357349 h 4380932"/>
              <a:gd name="connsiteX39" fmla="*/ 2811439 w 4271749"/>
              <a:gd name="connsiteY39" fmla="*/ 3302758 h 4380932"/>
              <a:gd name="connsiteX40" fmla="*/ 2006221 w 4271749"/>
              <a:gd name="connsiteY40" fmla="*/ 3562066 h 4380932"/>
              <a:gd name="connsiteX41" fmla="*/ 1733266 w 4271749"/>
              <a:gd name="connsiteY41" fmla="*/ 3643952 h 4380932"/>
              <a:gd name="connsiteX42" fmla="*/ 1282890 w 4271749"/>
              <a:gd name="connsiteY42" fmla="*/ 3753135 h 4380932"/>
              <a:gd name="connsiteX43" fmla="*/ 600502 w 4271749"/>
              <a:gd name="connsiteY43" fmla="*/ 3889612 h 4380932"/>
              <a:gd name="connsiteX44" fmla="*/ 368490 w 4271749"/>
              <a:gd name="connsiteY44" fmla="*/ 4380932 h 4380932"/>
              <a:gd name="connsiteX45" fmla="*/ 0 w 4271749"/>
              <a:gd name="connsiteY45" fmla="*/ 4189863 h 4380932"/>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2647666 w 4271749"/>
              <a:gd name="connsiteY26" fmla="*/ 2961564 h 4380932"/>
              <a:gd name="connsiteX27" fmla="*/ 3193576 w 4271749"/>
              <a:gd name="connsiteY27" fmla="*/ 2784143 h 4380932"/>
              <a:gd name="connsiteX28" fmla="*/ 3452884 w 4271749"/>
              <a:gd name="connsiteY28" fmla="*/ 2361063 h 4380932"/>
              <a:gd name="connsiteX29" fmla="*/ 3630305 w 4271749"/>
              <a:gd name="connsiteY29" fmla="*/ 2060812 h 4380932"/>
              <a:gd name="connsiteX30" fmla="*/ 3616657 w 4271749"/>
              <a:gd name="connsiteY30" fmla="*/ 1514902 h 4380932"/>
              <a:gd name="connsiteX31" fmla="*/ 3603009 w 4271749"/>
              <a:gd name="connsiteY31" fmla="*/ 696036 h 4380932"/>
              <a:gd name="connsiteX32" fmla="*/ 3562066 w 4271749"/>
              <a:gd name="connsiteY32" fmla="*/ 150126 h 4380932"/>
              <a:gd name="connsiteX33" fmla="*/ 3766782 w 4271749"/>
              <a:gd name="connsiteY33" fmla="*/ 0 h 4380932"/>
              <a:gd name="connsiteX34" fmla="*/ 4271749 w 4271749"/>
              <a:gd name="connsiteY34" fmla="*/ 245660 h 4380932"/>
              <a:gd name="connsiteX35" fmla="*/ 4053385 w 4271749"/>
              <a:gd name="connsiteY35" fmla="*/ 859809 h 4380932"/>
              <a:gd name="connsiteX36" fmla="*/ 4135272 w 4271749"/>
              <a:gd name="connsiteY36" fmla="*/ 2210938 h 4380932"/>
              <a:gd name="connsiteX37" fmla="*/ 3070746 w 4271749"/>
              <a:gd name="connsiteY37" fmla="*/ 3289111 h 4380932"/>
              <a:gd name="connsiteX38" fmla="*/ 3070746 w 4271749"/>
              <a:gd name="connsiteY38" fmla="*/ 3357349 h 4380932"/>
              <a:gd name="connsiteX39" fmla="*/ 2811439 w 4271749"/>
              <a:gd name="connsiteY39" fmla="*/ 3302758 h 4380932"/>
              <a:gd name="connsiteX40" fmla="*/ 2006221 w 4271749"/>
              <a:gd name="connsiteY40" fmla="*/ 3562066 h 4380932"/>
              <a:gd name="connsiteX41" fmla="*/ 1733266 w 4271749"/>
              <a:gd name="connsiteY41" fmla="*/ 3643952 h 4380932"/>
              <a:gd name="connsiteX42" fmla="*/ 1282890 w 4271749"/>
              <a:gd name="connsiteY42" fmla="*/ 3753135 h 4380932"/>
              <a:gd name="connsiteX43" fmla="*/ 600502 w 4271749"/>
              <a:gd name="connsiteY43" fmla="*/ 3889612 h 4380932"/>
              <a:gd name="connsiteX44" fmla="*/ 368490 w 4271749"/>
              <a:gd name="connsiteY44" fmla="*/ 4380932 h 4380932"/>
              <a:gd name="connsiteX45" fmla="*/ 0 w 4271749"/>
              <a:gd name="connsiteY45" fmla="*/ 4189863 h 4380932"/>
              <a:gd name="connsiteX0" fmla="*/ 0 w 4271749"/>
              <a:gd name="connsiteY0" fmla="*/ 4189863 h 4380932"/>
              <a:gd name="connsiteX1" fmla="*/ 0 w 4271749"/>
              <a:gd name="connsiteY1" fmla="*/ 4189863 h 4380932"/>
              <a:gd name="connsiteX2" fmla="*/ 13648 w 4271749"/>
              <a:gd name="connsiteY2" fmla="*/ 4067033 h 4380932"/>
              <a:gd name="connsiteX3" fmla="*/ 68239 w 4271749"/>
              <a:gd name="connsiteY3" fmla="*/ 3985146 h 4380932"/>
              <a:gd name="connsiteX4" fmla="*/ 95535 w 4271749"/>
              <a:gd name="connsiteY4" fmla="*/ 3944203 h 4380932"/>
              <a:gd name="connsiteX5" fmla="*/ 150126 w 4271749"/>
              <a:gd name="connsiteY5" fmla="*/ 3862317 h 4380932"/>
              <a:gd name="connsiteX6" fmla="*/ 177421 w 4271749"/>
              <a:gd name="connsiteY6" fmla="*/ 3780430 h 4380932"/>
              <a:gd name="connsiteX7" fmla="*/ 272955 w 4271749"/>
              <a:gd name="connsiteY7" fmla="*/ 3657600 h 4380932"/>
              <a:gd name="connsiteX8" fmla="*/ 300251 w 4271749"/>
              <a:gd name="connsiteY8" fmla="*/ 3616657 h 4380932"/>
              <a:gd name="connsiteX9" fmla="*/ 341194 w 4271749"/>
              <a:gd name="connsiteY9" fmla="*/ 3603009 h 4380932"/>
              <a:gd name="connsiteX10" fmla="*/ 477672 w 4271749"/>
              <a:gd name="connsiteY10" fmla="*/ 3521123 h 4380932"/>
              <a:gd name="connsiteX11" fmla="*/ 559558 w 4271749"/>
              <a:gd name="connsiteY11" fmla="*/ 3493827 h 4380932"/>
              <a:gd name="connsiteX12" fmla="*/ 846161 w 4271749"/>
              <a:gd name="connsiteY12" fmla="*/ 3466532 h 4380932"/>
              <a:gd name="connsiteX13" fmla="*/ 1009935 w 4271749"/>
              <a:gd name="connsiteY13" fmla="*/ 3452884 h 4380932"/>
              <a:gd name="connsiteX14" fmla="*/ 1091821 w 4271749"/>
              <a:gd name="connsiteY14" fmla="*/ 3411940 h 4380932"/>
              <a:gd name="connsiteX15" fmla="*/ 1173708 w 4271749"/>
              <a:gd name="connsiteY15" fmla="*/ 3384645 h 4380932"/>
              <a:gd name="connsiteX16" fmla="*/ 1214651 w 4271749"/>
              <a:gd name="connsiteY16" fmla="*/ 3370997 h 4380932"/>
              <a:gd name="connsiteX17" fmla="*/ 1337481 w 4271749"/>
              <a:gd name="connsiteY17" fmla="*/ 3316406 h 4380932"/>
              <a:gd name="connsiteX18" fmla="*/ 1378424 w 4271749"/>
              <a:gd name="connsiteY18" fmla="*/ 3302758 h 4380932"/>
              <a:gd name="connsiteX19" fmla="*/ 1610436 w 4271749"/>
              <a:gd name="connsiteY19" fmla="*/ 3275463 h 4380932"/>
              <a:gd name="connsiteX20" fmla="*/ 1665027 w 4271749"/>
              <a:gd name="connsiteY20" fmla="*/ 3261815 h 4380932"/>
              <a:gd name="connsiteX21" fmla="*/ 1746914 w 4271749"/>
              <a:gd name="connsiteY21" fmla="*/ 3234520 h 4380932"/>
              <a:gd name="connsiteX22" fmla="*/ 1883391 w 4271749"/>
              <a:gd name="connsiteY22" fmla="*/ 3220872 h 4380932"/>
              <a:gd name="connsiteX23" fmla="*/ 1965278 w 4271749"/>
              <a:gd name="connsiteY23" fmla="*/ 3193576 h 4380932"/>
              <a:gd name="connsiteX24" fmla="*/ 2006221 w 4271749"/>
              <a:gd name="connsiteY24" fmla="*/ 3179929 h 4380932"/>
              <a:gd name="connsiteX25" fmla="*/ 2101755 w 4271749"/>
              <a:gd name="connsiteY25" fmla="*/ 3152633 h 4380932"/>
              <a:gd name="connsiteX26" fmla="*/ 2647666 w 4271749"/>
              <a:gd name="connsiteY26" fmla="*/ 2961564 h 4380932"/>
              <a:gd name="connsiteX27" fmla="*/ 3193576 w 4271749"/>
              <a:gd name="connsiteY27" fmla="*/ 2784143 h 4380932"/>
              <a:gd name="connsiteX28" fmla="*/ 3452884 w 4271749"/>
              <a:gd name="connsiteY28" fmla="*/ 2361063 h 4380932"/>
              <a:gd name="connsiteX29" fmla="*/ 3630305 w 4271749"/>
              <a:gd name="connsiteY29" fmla="*/ 2060812 h 4380932"/>
              <a:gd name="connsiteX30" fmla="*/ 3616657 w 4271749"/>
              <a:gd name="connsiteY30" fmla="*/ 1514902 h 4380932"/>
              <a:gd name="connsiteX31" fmla="*/ 3603009 w 4271749"/>
              <a:gd name="connsiteY31" fmla="*/ 696036 h 4380932"/>
              <a:gd name="connsiteX32" fmla="*/ 3562066 w 4271749"/>
              <a:gd name="connsiteY32" fmla="*/ 150126 h 4380932"/>
              <a:gd name="connsiteX33" fmla="*/ 3766782 w 4271749"/>
              <a:gd name="connsiteY33" fmla="*/ 0 h 4380932"/>
              <a:gd name="connsiteX34" fmla="*/ 4271749 w 4271749"/>
              <a:gd name="connsiteY34" fmla="*/ 245660 h 4380932"/>
              <a:gd name="connsiteX35" fmla="*/ 4053385 w 4271749"/>
              <a:gd name="connsiteY35" fmla="*/ 859809 h 4380932"/>
              <a:gd name="connsiteX36" fmla="*/ 4135272 w 4271749"/>
              <a:gd name="connsiteY36" fmla="*/ 2210938 h 4380932"/>
              <a:gd name="connsiteX37" fmla="*/ 3070746 w 4271749"/>
              <a:gd name="connsiteY37" fmla="*/ 3289111 h 4380932"/>
              <a:gd name="connsiteX38" fmla="*/ 3070746 w 4271749"/>
              <a:gd name="connsiteY38" fmla="*/ 3357349 h 4380932"/>
              <a:gd name="connsiteX39" fmla="*/ 2811439 w 4271749"/>
              <a:gd name="connsiteY39" fmla="*/ 3302758 h 4380932"/>
              <a:gd name="connsiteX40" fmla="*/ 2006221 w 4271749"/>
              <a:gd name="connsiteY40" fmla="*/ 3562066 h 4380932"/>
              <a:gd name="connsiteX41" fmla="*/ 1733266 w 4271749"/>
              <a:gd name="connsiteY41" fmla="*/ 3643952 h 4380932"/>
              <a:gd name="connsiteX42" fmla="*/ 1282890 w 4271749"/>
              <a:gd name="connsiteY42" fmla="*/ 3753135 h 4380932"/>
              <a:gd name="connsiteX43" fmla="*/ 687588 w 4271749"/>
              <a:gd name="connsiteY43" fmla="*/ 3950572 h 4380932"/>
              <a:gd name="connsiteX44" fmla="*/ 368490 w 4271749"/>
              <a:gd name="connsiteY44" fmla="*/ 4380932 h 4380932"/>
              <a:gd name="connsiteX45" fmla="*/ 0 w 4271749"/>
              <a:gd name="connsiteY45" fmla="*/ 4189863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0369 w 4306583"/>
              <a:gd name="connsiteY4" fmla="*/ 3944203 h 4380932"/>
              <a:gd name="connsiteX5" fmla="*/ 184960 w 4306583"/>
              <a:gd name="connsiteY5" fmla="*/ 3862317 h 4380932"/>
              <a:gd name="connsiteX6" fmla="*/ 212255 w 4306583"/>
              <a:gd name="connsiteY6" fmla="*/ 3780430 h 4380932"/>
              <a:gd name="connsiteX7" fmla="*/ 307789 w 4306583"/>
              <a:gd name="connsiteY7" fmla="*/ 3657600 h 4380932"/>
              <a:gd name="connsiteX8" fmla="*/ 335085 w 4306583"/>
              <a:gd name="connsiteY8" fmla="*/ 3616657 h 4380932"/>
              <a:gd name="connsiteX9" fmla="*/ 376028 w 4306583"/>
              <a:gd name="connsiteY9" fmla="*/ 3603009 h 4380932"/>
              <a:gd name="connsiteX10" fmla="*/ 512506 w 4306583"/>
              <a:gd name="connsiteY10" fmla="*/ 3521123 h 4380932"/>
              <a:gd name="connsiteX11" fmla="*/ 594392 w 4306583"/>
              <a:gd name="connsiteY11" fmla="*/ 3493827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0369 w 4306583"/>
              <a:gd name="connsiteY4" fmla="*/ 3944203 h 4380932"/>
              <a:gd name="connsiteX5" fmla="*/ 184960 w 4306583"/>
              <a:gd name="connsiteY5" fmla="*/ 3862317 h 4380932"/>
              <a:gd name="connsiteX6" fmla="*/ 212255 w 4306583"/>
              <a:gd name="connsiteY6" fmla="*/ 3780430 h 4380932"/>
              <a:gd name="connsiteX7" fmla="*/ 307789 w 4306583"/>
              <a:gd name="connsiteY7" fmla="*/ 3657600 h 4380932"/>
              <a:gd name="connsiteX8" fmla="*/ 335085 w 4306583"/>
              <a:gd name="connsiteY8" fmla="*/ 3616657 h 4380932"/>
              <a:gd name="connsiteX9" fmla="*/ 410862 w 4306583"/>
              <a:gd name="connsiteY9" fmla="*/ 3620426 h 4380932"/>
              <a:gd name="connsiteX10" fmla="*/ 512506 w 4306583"/>
              <a:gd name="connsiteY10" fmla="*/ 3521123 h 4380932"/>
              <a:gd name="connsiteX11" fmla="*/ 594392 w 4306583"/>
              <a:gd name="connsiteY11" fmla="*/ 3493827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0369 w 4306583"/>
              <a:gd name="connsiteY4" fmla="*/ 3944203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10862 w 4306583"/>
              <a:gd name="connsiteY9" fmla="*/ 3620426 h 4380932"/>
              <a:gd name="connsiteX10" fmla="*/ 512506 w 4306583"/>
              <a:gd name="connsiteY10" fmla="*/ 3521123 h 4380932"/>
              <a:gd name="connsiteX11" fmla="*/ 594392 w 4306583"/>
              <a:gd name="connsiteY11" fmla="*/ 3493827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0369 w 4306583"/>
              <a:gd name="connsiteY4" fmla="*/ 3944203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10862 w 4306583"/>
              <a:gd name="connsiteY9" fmla="*/ 3620426 h 4380932"/>
              <a:gd name="connsiteX10" fmla="*/ 512506 w 4306583"/>
              <a:gd name="connsiteY10" fmla="*/ 3521123 h 4380932"/>
              <a:gd name="connsiteX11" fmla="*/ 594392 w 4306583"/>
              <a:gd name="connsiteY11" fmla="*/ 3493827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9078 w 4306583"/>
              <a:gd name="connsiteY4" fmla="*/ 3996455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10862 w 4306583"/>
              <a:gd name="connsiteY9" fmla="*/ 3620426 h 4380932"/>
              <a:gd name="connsiteX10" fmla="*/ 512506 w 4306583"/>
              <a:gd name="connsiteY10" fmla="*/ 3521123 h 4380932"/>
              <a:gd name="connsiteX11" fmla="*/ 594392 w 4306583"/>
              <a:gd name="connsiteY11" fmla="*/ 3493827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9078 w 4306583"/>
              <a:gd name="connsiteY4" fmla="*/ 3996455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71822 w 4306583"/>
              <a:gd name="connsiteY9" fmla="*/ 3646552 h 4380932"/>
              <a:gd name="connsiteX10" fmla="*/ 512506 w 4306583"/>
              <a:gd name="connsiteY10" fmla="*/ 3521123 h 4380932"/>
              <a:gd name="connsiteX11" fmla="*/ 594392 w 4306583"/>
              <a:gd name="connsiteY11" fmla="*/ 3493827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9078 w 4306583"/>
              <a:gd name="connsiteY4" fmla="*/ 3996455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71822 w 4306583"/>
              <a:gd name="connsiteY9" fmla="*/ 3646552 h 4380932"/>
              <a:gd name="connsiteX10" fmla="*/ 512506 w 4306583"/>
              <a:gd name="connsiteY10" fmla="*/ 3521123 h 4380932"/>
              <a:gd name="connsiteX11" fmla="*/ 594392 w 4306583"/>
              <a:gd name="connsiteY11" fmla="*/ 3493827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9078 w 4306583"/>
              <a:gd name="connsiteY4" fmla="*/ 3996455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63114 w 4306583"/>
              <a:gd name="connsiteY9" fmla="*/ 3620426 h 4380932"/>
              <a:gd name="connsiteX10" fmla="*/ 512506 w 4306583"/>
              <a:gd name="connsiteY10" fmla="*/ 3521123 h 4380932"/>
              <a:gd name="connsiteX11" fmla="*/ 594392 w 4306583"/>
              <a:gd name="connsiteY11" fmla="*/ 3493827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9078 w 4306583"/>
              <a:gd name="connsiteY4" fmla="*/ 3996455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63114 w 4306583"/>
              <a:gd name="connsiteY9" fmla="*/ 3620426 h 4380932"/>
              <a:gd name="connsiteX10" fmla="*/ 512506 w 4306583"/>
              <a:gd name="connsiteY10" fmla="*/ 3521123 h 4380932"/>
              <a:gd name="connsiteX11" fmla="*/ 655352 w 4306583"/>
              <a:gd name="connsiteY11" fmla="*/ 3476410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9078 w 4306583"/>
              <a:gd name="connsiteY4" fmla="*/ 3996455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28280 w 4306583"/>
              <a:gd name="connsiteY9" fmla="*/ 3576883 h 4380932"/>
              <a:gd name="connsiteX10" fmla="*/ 512506 w 4306583"/>
              <a:gd name="connsiteY10" fmla="*/ 3521123 h 4380932"/>
              <a:gd name="connsiteX11" fmla="*/ 655352 w 4306583"/>
              <a:gd name="connsiteY11" fmla="*/ 3476410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9078 w 4306583"/>
              <a:gd name="connsiteY4" fmla="*/ 3996455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28280 w 4306583"/>
              <a:gd name="connsiteY9" fmla="*/ 3576883 h 4380932"/>
              <a:gd name="connsiteX10" fmla="*/ 512506 w 4306583"/>
              <a:gd name="connsiteY10" fmla="*/ 3521123 h 4380932"/>
              <a:gd name="connsiteX11" fmla="*/ 655352 w 4306583"/>
              <a:gd name="connsiteY11" fmla="*/ 3476410 h 4380932"/>
              <a:gd name="connsiteX12" fmla="*/ 880995 w 4306583"/>
              <a:gd name="connsiteY12" fmla="*/ 3466532 h 4380932"/>
              <a:gd name="connsiteX13" fmla="*/ 1044769 w 4306583"/>
              <a:gd name="connsiteY13" fmla="*/ 3452884 h 4380932"/>
              <a:gd name="connsiteX14" fmla="*/ 1126655 w 4306583"/>
              <a:gd name="connsiteY14" fmla="*/ 3411940 h 4380932"/>
              <a:gd name="connsiteX15" fmla="*/ 1208542 w 4306583"/>
              <a:gd name="connsiteY15" fmla="*/ 3384645 h 4380932"/>
              <a:gd name="connsiteX16" fmla="*/ 1249485 w 4306583"/>
              <a:gd name="connsiteY16" fmla="*/ 3370997 h 4380932"/>
              <a:gd name="connsiteX17" fmla="*/ 1372315 w 4306583"/>
              <a:gd name="connsiteY17" fmla="*/ 3316406 h 4380932"/>
              <a:gd name="connsiteX18" fmla="*/ 1413258 w 4306583"/>
              <a:gd name="connsiteY18" fmla="*/ 3302758 h 4380932"/>
              <a:gd name="connsiteX19" fmla="*/ 1645270 w 4306583"/>
              <a:gd name="connsiteY19" fmla="*/ 3275463 h 4380932"/>
              <a:gd name="connsiteX20" fmla="*/ 1699861 w 4306583"/>
              <a:gd name="connsiteY20" fmla="*/ 3261815 h 4380932"/>
              <a:gd name="connsiteX21" fmla="*/ 1781748 w 4306583"/>
              <a:gd name="connsiteY21" fmla="*/ 3234520 h 4380932"/>
              <a:gd name="connsiteX22" fmla="*/ 1918225 w 4306583"/>
              <a:gd name="connsiteY22" fmla="*/ 3220872 h 4380932"/>
              <a:gd name="connsiteX23" fmla="*/ 2000112 w 4306583"/>
              <a:gd name="connsiteY23" fmla="*/ 3193576 h 4380932"/>
              <a:gd name="connsiteX24" fmla="*/ 2041055 w 4306583"/>
              <a:gd name="connsiteY24" fmla="*/ 3179929 h 4380932"/>
              <a:gd name="connsiteX25" fmla="*/ 2136589 w 4306583"/>
              <a:gd name="connsiteY25" fmla="*/ 3152633 h 4380932"/>
              <a:gd name="connsiteX26" fmla="*/ 2682500 w 4306583"/>
              <a:gd name="connsiteY26" fmla="*/ 2961564 h 4380932"/>
              <a:gd name="connsiteX27" fmla="*/ 3228410 w 4306583"/>
              <a:gd name="connsiteY27" fmla="*/ 2784143 h 4380932"/>
              <a:gd name="connsiteX28" fmla="*/ 3487718 w 4306583"/>
              <a:gd name="connsiteY28" fmla="*/ 2361063 h 4380932"/>
              <a:gd name="connsiteX29" fmla="*/ 3665139 w 4306583"/>
              <a:gd name="connsiteY29" fmla="*/ 2060812 h 4380932"/>
              <a:gd name="connsiteX30" fmla="*/ 3651491 w 4306583"/>
              <a:gd name="connsiteY30" fmla="*/ 1514902 h 4380932"/>
              <a:gd name="connsiteX31" fmla="*/ 3637843 w 4306583"/>
              <a:gd name="connsiteY31" fmla="*/ 696036 h 4380932"/>
              <a:gd name="connsiteX32" fmla="*/ 3596900 w 4306583"/>
              <a:gd name="connsiteY32" fmla="*/ 150126 h 4380932"/>
              <a:gd name="connsiteX33" fmla="*/ 3801616 w 4306583"/>
              <a:gd name="connsiteY33" fmla="*/ 0 h 4380932"/>
              <a:gd name="connsiteX34" fmla="*/ 4306583 w 4306583"/>
              <a:gd name="connsiteY34" fmla="*/ 245660 h 4380932"/>
              <a:gd name="connsiteX35" fmla="*/ 4088219 w 4306583"/>
              <a:gd name="connsiteY35" fmla="*/ 859809 h 4380932"/>
              <a:gd name="connsiteX36" fmla="*/ 4170106 w 4306583"/>
              <a:gd name="connsiteY36" fmla="*/ 2210938 h 4380932"/>
              <a:gd name="connsiteX37" fmla="*/ 3105580 w 4306583"/>
              <a:gd name="connsiteY37" fmla="*/ 3289111 h 4380932"/>
              <a:gd name="connsiteX38" fmla="*/ 3105580 w 4306583"/>
              <a:gd name="connsiteY38" fmla="*/ 3357349 h 4380932"/>
              <a:gd name="connsiteX39" fmla="*/ 2846273 w 4306583"/>
              <a:gd name="connsiteY39" fmla="*/ 3302758 h 4380932"/>
              <a:gd name="connsiteX40" fmla="*/ 2041055 w 4306583"/>
              <a:gd name="connsiteY40" fmla="*/ 3562066 h 4380932"/>
              <a:gd name="connsiteX41" fmla="*/ 1768100 w 4306583"/>
              <a:gd name="connsiteY41" fmla="*/ 3643952 h 4380932"/>
              <a:gd name="connsiteX42" fmla="*/ 1317724 w 4306583"/>
              <a:gd name="connsiteY42" fmla="*/ 3753135 h 4380932"/>
              <a:gd name="connsiteX43" fmla="*/ 722422 w 4306583"/>
              <a:gd name="connsiteY43" fmla="*/ 3950572 h 4380932"/>
              <a:gd name="connsiteX44" fmla="*/ 403324 w 4306583"/>
              <a:gd name="connsiteY44" fmla="*/ 4380932 h 4380932"/>
              <a:gd name="connsiteX45" fmla="*/ 0 w 4306583"/>
              <a:gd name="connsiteY45"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9078 w 4306583"/>
              <a:gd name="connsiteY4" fmla="*/ 3996455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428280 w 4306583"/>
              <a:gd name="connsiteY9" fmla="*/ 3576883 h 4380932"/>
              <a:gd name="connsiteX10" fmla="*/ 655352 w 4306583"/>
              <a:gd name="connsiteY10" fmla="*/ 3476410 h 4380932"/>
              <a:gd name="connsiteX11" fmla="*/ 880995 w 4306583"/>
              <a:gd name="connsiteY11" fmla="*/ 3466532 h 4380932"/>
              <a:gd name="connsiteX12" fmla="*/ 1044769 w 4306583"/>
              <a:gd name="connsiteY12" fmla="*/ 3452884 h 4380932"/>
              <a:gd name="connsiteX13" fmla="*/ 1126655 w 4306583"/>
              <a:gd name="connsiteY13" fmla="*/ 3411940 h 4380932"/>
              <a:gd name="connsiteX14" fmla="*/ 1208542 w 4306583"/>
              <a:gd name="connsiteY14" fmla="*/ 3384645 h 4380932"/>
              <a:gd name="connsiteX15" fmla="*/ 1249485 w 4306583"/>
              <a:gd name="connsiteY15" fmla="*/ 3370997 h 4380932"/>
              <a:gd name="connsiteX16" fmla="*/ 1372315 w 4306583"/>
              <a:gd name="connsiteY16" fmla="*/ 3316406 h 4380932"/>
              <a:gd name="connsiteX17" fmla="*/ 1413258 w 4306583"/>
              <a:gd name="connsiteY17" fmla="*/ 3302758 h 4380932"/>
              <a:gd name="connsiteX18" fmla="*/ 1645270 w 4306583"/>
              <a:gd name="connsiteY18" fmla="*/ 3275463 h 4380932"/>
              <a:gd name="connsiteX19" fmla="*/ 1699861 w 4306583"/>
              <a:gd name="connsiteY19" fmla="*/ 3261815 h 4380932"/>
              <a:gd name="connsiteX20" fmla="*/ 1781748 w 4306583"/>
              <a:gd name="connsiteY20" fmla="*/ 3234520 h 4380932"/>
              <a:gd name="connsiteX21" fmla="*/ 1918225 w 4306583"/>
              <a:gd name="connsiteY21" fmla="*/ 3220872 h 4380932"/>
              <a:gd name="connsiteX22" fmla="*/ 2000112 w 4306583"/>
              <a:gd name="connsiteY22" fmla="*/ 3193576 h 4380932"/>
              <a:gd name="connsiteX23" fmla="*/ 2041055 w 4306583"/>
              <a:gd name="connsiteY23" fmla="*/ 3179929 h 4380932"/>
              <a:gd name="connsiteX24" fmla="*/ 2136589 w 4306583"/>
              <a:gd name="connsiteY24" fmla="*/ 3152633 h 4380932"/>
              <a:gd name="connsiteX25" fmla="*/ 2682500 w 4306583"/>
              <a:gd name="connsiteY25" fmla="*/ 2961564 h 4380932"/>
              <a:gd name="connsiteX26" fmla="*/ 3228410 w 4306583"/>
              <a:gd name="connsiteY26" fmla="*/ 2784143 h 4380932"/>
              <a:gd name="connsiteX27" fmla="*/ 3487718 w 4306583"/>
              <a:gd name="connsiteY27" fmla="*/ 2361063 h 4380932"/>
              <a:gd name="connsiteX28" fmla="*/ 3665139 w 4306583"/>
              <a:gd name="connsiteY28" fmla="*/ 2060812 h 4380932"/>
              <a:gd name="connsiteX29" fmla="*/ 3651491 w 4306583"/>
              <a:gd name="connsiteY29" fmla="*/ 1514902 h 4380932"/>
              <a:gd name="connsiteX30" fmla="*/ 3637843 w 4306583"/>
              <a:gd name="connsiteY30" fmla="*/ 696036 h 4380932"/>
              <a:gd name="connsiteX31" fmla="*/ 3596900 w 4306583"/>
              <a:gd name="connsiteY31" fmla="*/ 150126 h 4380932"/>
              <a:gd name="connsiteX32" fmla="*/ 3801616 w 4306583"/>
              <a:gd name="connsiteY32" fmla="*/ 0 h 4380932"/>
              <a:gd name="connsiteX33" fmla="*/ 4306583 w 4306583"/>
              <a:gd name="connsiteY33" fmla="*/ 245660 h 4380932"/>
              <a:gd name="connsiteX34" fmla="*/ 4088219 w 4306583"/>
              <a:gd name="connsiteY34" fmla="*/ 859809 h 4380932"/>
              <a:gd name="connsiteX35" fmla="*/ 4170106 w 4306583"/>
              <a:gd name="connsiteY35" fmla="*/ 2210938 h 4380932"/>
              <a:gd name="connsiteX36" fmla="*/ 3105580 w 4306583"/>
              <a:gd name="connsiteY36" fmla="*/ 3289111 h 4380932"/>
              <a:gd name="connsiteX37" fmla="*/ 3105580 w 4306583"/>
              <a:gd name="connsiteY37" fmla="*/ 3357349 h 4380932"/>
              <a:gd name="connsiteX38" fmla="*/ 2846273 w 4306583"/>
              <a:gd name="connsiteY38" fmla="*/ 3302758 h 4380932"/>
              <a:gd name="connsiteX39" fmla="*/ 2041055 w 4306583"/>
              <a:gd name="connsiteY39" fmla="*/ 3562066 h 4380932"/>
              <a:gd name="connsiteX40" fmla="*/ 1768100 w 4306583"/>
              <a:gd name="connsiteY40" fmla="*/ 3643952 h 4380932"/>
              <a:gd name="connsiteX41" fmla="*/ 1317724 w 4306583"/>
              <a:gd name="connsiteY41" fmla="*/ 3753135 h 4380932"/>
              <a:gd name="connsiteX42" fmla="*/ 722422 w 4306583"/>
              <a:gd name="connsiteY42" fmla="*/ 3950572 h 4380932"/>
              <a:gd name="connsiteX43" fmla="*/ 403324 w 4306583"/>
              <a:gd name="connsiteY43" fmla="*/ 4380932 h 4380932"/>
              <a:gd name="connsiteX44" fmla="*/ 0 w 4306583"/>
              <a:gd name="connsiteY44" fmla="*/ 4294365 h 4380932"/>
              <a:gd name="connsiteX0" fmla="*/ 0 w 4306583"/>
              <a:gd name="connsiteY0" fmla="*/ 4294365 h 4380932"/>
              <a:gd name="connsiteX1" fmla="*/ 34834 w 4306583"/>
              <a:gd name="connsiteY1" fmla="*/ 4189863 h 4380932"/>
              <a:gd name="connsiteX2" fmla="*/ 48482 w 4306583"/>
              <a:gd name="connsiteY2" fmla="*/ 4067033 h 4380932"/>
              <a:gd name="connsiteX3" fmla="*/ 103073 w 4306583"/>
              <a:gd name="connsiteY3" fmla="*/ 3985146 h 4380932"/>
              <a:gd name="connsiteX4" fmla="*/ 139078 w 4306583"/>
              <a:gd name="connsiteY4" fmla="*/ 3996455 h 4380932"/>
              <a:gd name="connsiteX5" fmla="*/ 184960 w 4306583"/>
              <a:gd name="connsiteY5" fmla="*/ 3862317 h 4380932"/>
              <a:gd name="connsiteX6" fmla="*/ 212255 w 4306583"/>
              <a:gd name="connsiteY6" fmla="*/ 3780430 h 4380932"/>
              <a:gd name="connsiteX7" fmla="*/ 325206 w 4306583"/>
              <a:gd name="connsiteY7" fmla="*/ 3718560 h 4380932"/>
              <a:gd name="connsiteX8" fmla="*/ 335085 w 4306583"/>
              <a:gd name="connsiteY8" fmla="*/ 3616657 h 4380932"/>
              <a:gd name="connsiteX9" fmla="*/ 655352 w 4306583"/>
              <a:gd name="connsiteY9" fmla="*/ 3476410 h 4380932"/>
              <a:gd name="connsiteX10" fmla="*/ 880995 w 4306583"/>
              <a:gd name="connsiteY10" fmla="*/ 3466532 h 4380932"/>
              <a:gd name="connsiteX11" fmla="*/ 1044769 w 4306583"/>
              <a:gd name="connsiteY11" fmla="*/ 3452884 h 4380932"/>
              <a:gd name="connsiteX12" fmla="*/ 1126655 w 4306583"/>
              <a:gd name="connsiteY12" fmla="*/ 3411940 h 4380932"/>
              <a:gd name="connsiteX13" fmla="*/ 1208542 w 4306583"/>
              <a:gd name="connsiteY13" fmla="*/ 3384645 h 4380932"/>
              <a:gd name="connsiteX14" fmla="*/ 1249485 w 4306583"/>
              <a:gd name="connsiteY14" fmla="*/ 3370997 h 4380932"/>
              <a:gd name="connsiteX15" fmla="*/ 1372315 w 4306583"/>
              <a:gd name="connsiteY15" fmla="*/ 3316406 h 4380932"/>
              <a:gd name="connsiteX16" fmla="*/ 1413258 w 4306583"/>
              <a:gd name="connsiteY16" fmla="*/ 3302758 h 4380932"/>
              <a:gd name="connsiteX17" fmla="*/ 1645270 w 4306583"/>
              <a:gd name="connsiteY17" fmla="*/ 3275463 h 4380932"/>
              <a:gd name="connsiteX18" fmla="*/ 1699861 w 4306583"/>
              <a:gd name="connsiteY18" fmla="*/ 3261815 h 4380932"/>
              <a:gd name="connsiteX19" fmla="*/ 1781748 w 4306583"/>
              <a:gd name="connsiteY19" fmla="*/ 3234520 h 4380932"/>
              <a:gd name="connsiteX20" fmla="*/ 1918225 w 4306583"/>
              <a:gd name="connsiteY20" fmla="*/ 3220872 h 4380932"/>
              <a:gd name="connsiteX21" fmla="*/ 2000112 w 4306583"/>
              <a:gd name="connsiteY21" fmla="*/ 3193576 h 4380932"/>
              <a:gd name="connsiteX22" fmla="*/ 2041055 w 4306583"/>
              <a:gd name="connsiteY22" fmla="*/ 3179929 h 4380932"/>
              <a:gd name="connsiteX23" fmla="*/ 2136589 w 4306583"/>
              <a:gd name="connsiteY23" fmla="*/ 3152633 h 4380932"/>
              <a:gd name="connsiteX24" fmla="*/ 2682500 w 4306583"/>
              <a:gd name="connsiteY24" fmla="*/ 2961564 h 4380932"/>
              <a:gd name="connsiteX25" fmla="*/ 3228410 w 4306583"/>
              <a:gd name="connsiteY25" fmla="*/ 2784143 h 4380932"/>
              <a:gd name="connsiteX26" fmla="*/ 3487718 w 4306583"/>
              <a:gd name="connsiteY26" fmla="*/ 2361063 h 4380932"/>
              <a:gd name="connsiteX27" fmla="*/ 3665139 w 4306583"/>
              <a:gd name="connsiteY27" fmla="*/ 2060812 h 4380932"/>
              <a:gd name="connsiteX28" fmla="*/ 3651491 w 4306583"/>
              <a:gd name="connsiteY28" fmla="*/ 1514902 h 4380932"/>
              <a:gd name="connsiteX29" fmla="*/ 3637843 w 4306583"/>
              <a:gd name="connsiteY29" fmla="*/ 696036 h 4380932"/>
              <a:gd name="connsiteX30" fmla="*/ 3596900 w 4306583"/>
              <a:gd name="connsiteY30" fmla="*/ 150126 h 4380932"/>
              <a:gd name="connsiteX31" fmla="*/ 3801616 w 4306583"/>
              <a:gd name="connsiteY31" fmla="*/ 0 h 4380932"/>
              <a:gd name="connsiteX32" fmla="*/ 4306583 w 4306583"/>
              <a:gd name="connsiteY32" fmla="*/ 245660 h 4380932"/>
              <a:gd name="connsiteX33" fmla="*/ 4088219 w 4306583"/>
              <a:gd name="connsiteY33" fmla="*/ 859809 h 4380932"/>
              <a:gd name="connsiteX34" fmla="*/ 4170106 w 4306583"/>
              <a:gd name="connsiteY34" fmla="*/ 2210938 h 4380932"/>
              <a:gd name="connsiteX35" fmla="*/ 3105580 w 4306583"/>
              <a:gd name="connsiteY35" fmla="*/ 3289111 h 4380932"/>
              <a:gd name="connsiteX36" fmla="*/ 3105580 w 4306583"/>
              <a:gd name="connsiteY36" fmla="*/ 3357349 h 4380932"/>
              <a:gd name="connsiteX37" fmla="*/ 2846273 w 4306583"/>
              <a:gd name="connsiteY37" fmla="*/ 3302758 h 4380932"/>
              <a:gd name="connsiteX38" fmla="*/ 2041055 w 4306583"/>
              <a:gd name="connsiteY38" fmla="*/ 3562066 h 4380932"/>
              <a:gd name="connsiteX39" fmla="*/ 1768100 w 4306583"/>
              <a:gd name="connsiteY39" fmla="*/ 3643952 h 4380932"/>
              <a:gd name="connsiteX40" fmla="*/ 1317724 w 4306583"/>
              <a:gd name="connsiteY40" fmla="*/ 3753135 h 4380932"/>
              <a:gd name="connsiteX41" fmla="*/ 722422 w 4306583"/>
              <a:gd name="connsiteY41" fmla="*/ 3950572 h 4380932"/>
              <a:gd name="connsiteX42" fmla="*/ 403324 w 4306583"/>
              <a:gd name="connsiteY42" fmla="*/ 4380932 h 4380932"/>
              <a:gd name="connsiteX43" fmla="*/ 0 w 4306583"/>
              <a:gd name="connsiteY43" fmla="*/ 4294365 h 4380932"/>
              <a:gd name="connsiteX0" fmla="*/ 325206 w 4306583"/>
              <a:gd name="connsiteY0" fmla="*/ 3718560 h 4380932"/>
              <a:gd name="connsiteX1" fmla="*/ 335085 w 4306583"/>
              <a:gd name="connsiteY1" fmla="*/ 3616657 h 4380932"/>
              <a:gd name="connsiteX2" fmla="*/ 655352 w 4306583"/>
              <a:gd name="connsiteY2" fmla="*/ 3476410 h 4380932"/>
              <a:gd name="connsiteX3" fmla="*/ 880995 w 4306583"/>
              <a:gd name="connsiteY3" fmla="*/ 3466532 h 4380932"/>
              <a:gd name="connsiteX4" fmla="*/ 1044769 w 4306583"/>
              <a:gd name="connsiteY4" fmla="*/ 3452884 h 4380932"/>
              <a:gd name="connsiteX5" fmla="*/ 1126655 w 4306583"/>
              <a:gd name="connsiteY5" fmla="*/ 3411940 h 4380932"/>
              <a:gd name="connsiteX6" fmla="*/ 1208542 w 4306583"/>
              <a:gd name="connsiteY6" fmla="*/ 3384645 h 4380932"/>
              <a:gd name="connsiteX7" fmla="*/ 1249485 w 4306583"/>
              <a:gd name="connsiteY7" fmla="*/ 3370997 h 4380932"/>
              <a:gd name="connsiteX8" fmla="*/ 1372315 w 4306583"/>
              <a:gd name="connsiteY8" fmla="*/ 3316406 h 4380932"/>
              <a:gd name="connsiteX9" fmla="*/ 1413258 w 4306583"/>
              <a:gd name="connsiteY9" fmla="*/ 3302758 h 4380932"/>
              <a:gd name="connsiteX10" fmla="*/ 1645270 w 4306583"/>
              <a:gd name="connsiteY10" fmla="*/ 3275463 h 4380932"/>
              <a:gd name="connsiteX11" fmla="*/ 1699861 w 4306583"/>
              <a:gd name="connsiteY11" fmla="*/ 3261815 h 4380932"/>
              <a:gd name="connsiteX12" fmla="*/ 1781748 w 4306583"/>
              <a:gd name="connsiteY12" fmla="*/ 3234520 h 4380932"/>
              <a:gd name="connsiteX13" fmla="*/ 1918225 w 4306583"/>
              <a:gd name="connsiteY13" fmla="*/ 3220872 h 4380932"/>
              <a:gd name="connsiteX14" fmla="*/ 2000112 w 4306583"/>
              <a:gd name="connsiteY14" fmla="*/ 3193576 h 4380932"/>
              <a:gd name="connsiteX15" fmla="*/ 2041055 w 4306583"/>
              <a:gd name="connsiteY15" fmla="*/ 3179929 h 4380932"/>
              <a:gd name="connsiteX16" fmla="*/ 2136589 w 4306583"/>
              <a:gd name="connsiteY16" fmla="*/ 3152633 h 4380932"/>
              <a:gd name="connsiteX17" fmla="*/ 2682500 w 4306583"/>
              <a:gd name="connsiteY17" fmla="*/ 2961564 h 4380932"/>
              <a:gd name="connsiteX18" fmla="*/ 3228410 w 4306583"/>
              <a:gd name="connsiteY18" fmla="*/ 2784143 h 4380932"/>
              <a:gd name="connsiteX19" fmla="*/ 3487718 w 4306583"/>
              <a:gd name="connsiteY19" fmla="*/ 2361063 h 4380932"/>
              <a:gd name="connsiteX20" fmla="*/ 3665139 w 4306583"/>
              <a:gd name="connsiteY20" fmla="*/ 2060812 h 4380932"/>
              <a:gd name="connsiteX21" fmla="*/ 3651491 w 4306583"/>
              <a:gd name="connsiteY21" fmla="*/ 1514902 h 4380932"/>
              <a:gd name="connsiteX22" fmla="*/ 3637843 w 4306583"/>
              <a:gd name="connsiteY22" fmla="*/ 696036 h 4380932"/>
              <a:gd name="connsiteX23" fmla="*/ 3596900 w 4306583"/>
              <a:gd name="connsiteY23" fmla="*/ 150126 h 4380932"/>
              <a:gd name="connsiteX24" fmla="*/ 3801616 w 4306583"/>
              <a:gd name="connsiteY24" fmla="*/ 0 h 4380932"/>
              <a:gd name="connsiteX25" fmla="*/ 4306583 w 4306583"/>
              <a:gd name="connsiteY25" fmla="*/ 245660 h 4380932"/>
              <a:gd name="connsiteX26" fmla="*/ 4088219 w 4306583"/>
              <a:gd name="connsiteY26" fmla="*/ 859809 h 4380932"/>
              <a:gd name="connsiteX27" fmla="*/ 4170106 w 4306583"/>
              <a:gd name="connsiteY27" fmla="*/ 2210938 h 4380932"/>
              <a:gd name="connsiteX28" fmla="*/ 3105580 w 4306583"/>
              <a:gd name="connsiteY28" fmla="*/ 3289111 h 4380932"/>
              <a:gd name="connsiteX29" fmla="*/ 3105580 w 4306583"/>
              <a:gd name="connsiteY29" fmla="*/ 3357349 h 4380932"/>
              <a:gd name="connsiteX30" fmla="*/ 2846273 w 4306583"/>
              <a:gd name="connsiteY30" fmla="*/ 3302758 h 4380932"/>
              <a:gd name="connsiteX31" fmla="*/ 2041055 w 4306583"/>
              <a:gd name="connsiteY31" fmla="*/ 3562066 h 4380932"/>
              <a:gd name="connsiteX32" fmla="*/ 1768100 w 4306583"/>
              <a:gd name="connsiteY32" fmla="*/ 3643952 h 4380932"/>
              <a:gd name="connsiteX33" fmla="*/ 1317724 w 4306583"/>
              <a:gd name="connsiteY33" fmla="*/ 3753135 h 4380932"/>
              <a:gd name="connsiteX34" fmla="*/ 722422 w 4306583"/>
              <a:gd name="connsiteY34" fmla="*/ 3950572 h 4380932"/>
              <a:gd name="connsiteX35" fmla="*/ 403324 w 4306583"/>
              <a:gd name="connsiteY35" fmla="*/ 4380932 h 4380932"/>
              <a:gd name="connsiteX36" fmla="*/ 0 w 4306583"/>
              <a:gd name="connsiteY36" fmla="*/ 4294365 h 4380932"/>
              <a:gd name="connsiteX37" fmla="*/ 34834 w 4306583"/>
              <a:gd name="connsiteY37" fmla="*/ 4189863 h 4380932"/>
              <a:gd name="connsiteX38" fmla="*/ 48482 w 4306583"/>
              <a:gd name="connsiteY38" fmla="*/ 4067033 h 4380932"/>
              <a:gd name="connsiteX39" fmla="*/ 103073 w 4306583"/>
              <a:gd name="connsiteY39" fmla="*/ 3985146 h 4380932"/>
              <a:gd name="connsiteX40" fmla="*/ 139078 w 4306583"/>
              <a:gd name="connsiteY40" fmla="*/ 3996455 h 4380932"/>
              <a:gd name="connsiteX41" fmla="*/ 184960 w 4306583"/>
              <a:gd name="connsiteY41" fmla="*/ 3862317 h 4380932"/>
              <a:gd name="connsiteX42" fmla="*/ 303695 w 4306583"/>
              <a:gd name="connsiteY42" fmla="*/ 3871870 h 4380932"/>
              <a:gd name="connsiteX0" fmla="*/ 335085 w 4306583"/>
              <a:gd name="connsiteY0" fmla="*/ 3616657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596900 w 4306583"/>
              <a:gd name="connsiteY22" fmla="*/ 150126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48482 w 4306583"/>
              <a:gd name="connsiteY37" fmla="*/ 4067033 h 4380932"/>
              <a:gd name="connsiteX38" fmla="*/ 103073 w 4306583"/>
              <a:gd name="connsiteY38" fmla="*/ 3985146 h 4380932"/>
              <a:gd name="connsiteX39" fmla="*/ 139078 w 4306583"/>
              <a:gd name="connsiteY39" fmla="*/ 3996455 h 4380932"/>
              <a:gd name="connsiteX40" fmla="*/ 184960 w 4306583"/>
              <a:gd name="connsiteY40" fmla="*/ 3862317 h 4380932"/>
              <a:gd name="connsiteX41" fmla="*/ 303695 w 4306583"/>
              <a:gd name="connsiteY41" fmla="*/ 3871870 h 4380932"/>
              <a:gd name="connsiteX0" fmla="*/ 335085 w 4306583"/>
              <a:gd name="connsiteY0" fmla="*/ 3616657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596900 w 4306583"/>
              <a:gd name="connsiteY22" fmla="*/ 150126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48482 w 4306583"/>
              <a:gd name="connsiteY37" fmla="*/ 4067033 h 4380932"/>
              <a:gd name="connsiteX38" fmla="*/ 103073 w 4306583"/>
              <a:gd name="connsiteY38" fmla="*/ 3985146 h 4380932"/>
              <a:gd name="connsiteX39" fmla="*/ 184960 w 4306583"/>
              <a:gd name="connsiteY39" fmla="*/ 3862317 h 4380932"/>
              <a:gd name="connsiteX40" fmla="*/ 303695 w 4306583"/>
              <a:gd name="connsiteY40" fmla="*/ 3871870 h 4380932"/>
              <a:gd name="connsiteX0" fmla="*/ 335085 w 4306583"/>
              <a:gd name="connsiteY0" fmla="*/ 3616657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596900 w 4306583"/>
              <a:gd name="connsiteY22" fmla="*/ 150126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84960 w 4306583"/>
              <a:gd name="connsiteY38" fmla="*/ 3862317 h 4380932"/>
              <a:gd name="connsiteX39" fmla="*/ 303695 w 4306583"/>
              <a:gd name="connsiteY39" fmla="*/ 3871870 h 4380932"/>
              <a:gd name="connsiteX0" fmla="*/ 335085 w 4306583"/>
              <a:gd name="connsiteY0" fmla="*/ 3616657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596900 w 4306583"/>
              <a:gd name="connsiteY22" fmla="*/ 150126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84960 w 4306583"/>
              <a:gd name="connsiteY38" fmla="*/ 3862317 h 4380932"/>
              <a:gd name="connsiteX39" fmla="*/ 277570 w 4306583"/>
              <a:gd name="connsiteY39" fmla="*/ 3749950 h 4380932"/>
              <a:gd name="connsiteX0" fmla="*/ 335085 w 4306583"/>
              <a:gd name="connsiteY0" fmla="*/ 3616657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596900 w 4306583"/>
              <a:gd name="connsiteY22" fmla="*/ 150126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84960 w 4306583"/>
              <a:gd name="connsiteY38" fmla="*/ 3862317 h 4380932"/>
              <a:gd name="connsiteX39" fmla="*/ 277570 w 4306583"/>
              <a:gd name="connsiteY39" fmla="*/ 3749950 h 4380932"/>
              <a:gd name="connsiteX0" fmla="*/ 335085 w 4306583"/>
              <a:gd name="connsiteY0" fmla="*/ 3616657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596900 w 4306583"/>
              <a:gd name="connsiteY22" fmla="*/ 150126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84960 w 4306583"/>
              <a:gd name="connsiteY38" fmla="*/ 3862317 h 4380932"/>
              <a:gd name="connsiteX39" fmla="*/ 294987 w 4306583"/>
              <a:gd name="connsiteY39" fmla="*/ 3628030 h 4380932"/>
              <a:gd name="connsiteX0" fmla="*/ 335085 w 4306583"/>
              <a:gd name="connsiteY0" fmla="*/ 3616657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596900 w 4306583"/>
              <a:gd name="connsiteY22" fmla="*/ 150126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294987 w 4306583"/>
              <a:gd name="connsiteY39" fmla="*/ 3628030 h 4380932"/>
              <a:gd name="connsiteX0" fmla="*/ 335085 w 4306583"/>
              <a:gd name="connsiteY0" fmla="*/ 3616657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294987 w 4306583"/>
              <a:gd name="connsiteY39" fmla="*/ 3628030 h 4380932"/>
              <a:gd name="connsiteX0" fmla="*/ 335085 w 4306583"/>
              <a:gd name="connsiteY0" fmla="*/ 3616657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425615 w 4306583"/>
              <a:gd name="connsiteY39" fmla="*/ 3671573 h 4380932"/>
              <a:gd name="connsiteX0" fmla="*/ 535382 w 4306583"/>
              <a:gd name="connsiteY0" fmla="*/ 3625365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425615 w 4306583"/>
              <a:gd name="connsiteY39" fmla="*/ 3671573 h 4380932"/>
              <a:gd name="connsiteX0" fmla="*/ 535382 w 4306583"/>
              <a:gd name="connsiteY0" fmla="*/ 3625365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425615 w 4306583"/>
              <a:gd name="connsiteY39" fmla="*/ 3671573 h 4380932"/>
              <a:gd name="connsiteX0" fmla="*/ 535382 w 4306583"/>
              <a:gd name="connsiteY0" fmla="*/ 3625365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399489 w 4306583"/>
              <a:gd name="connsiteY39" fmla="*/ 3723824 h 4380932"/>
              <a:gd name="connsiteX0" fmla="*/ 561508 w 4306583"/>
              <a:gd name="connsiteY0" fmla="*/ 3555696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399489 w 4306583"/>
              <a:gd name="connsiteY39" fmla="*/ 3723824 h 4380932"/>
              <a:gd name="connsiteX0" fmla="*/ 509257 w 4306583"/>
              <a:gd name="connsiteY0" fmla="*/ 3564404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399489 w 4306583"/>
              <a:gd name="connsiteY39" fmla="*/ 3723824 h 4380932"/>
              <a:gd name="connsiteX0" fmla="*/ 509257 w 4306583"/>
              <a:gd name="connsiteY0" fmla="*/ 3564404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434324 w 4306583"/>
              <a:gd name="connsiteY39" fmla="*/ 3680281 h 4380932"/>
              <a:gd name="connsiteX0" fmla="*/ 509257 w 4306583"/>
              <a:gd name="connsiteY0" fmla="*/ 3564404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150125 w 4306583"/>
              <a:gd name="connsiteY38" fmla="*/ 3853608 h 4380932"/>
              <a:gd name="connsiteX39" fmla="*/ 556244 w 4306583"/>
              <a:gd name="connsiteY39" fmla="*/ 3549652 h 4380932"/>
              <a:gd name="connsiteX0" fmla="*/ 509257 w 4306583"/>
              <a:gd name="connsiteY0" fmla="*/ 3564404 h 4380932"/>
              <a:gd name="connsiteX1" fmla="*/ 655352 w 4306583"/>
              <a:gd name="connsiteY1" fmla="*/ 3476410 h 4380932"/>
              <a:gd name="connsiteX2" fmla="*/ 880995 w 4306583"/>
              <a:gd name="connsiteY2" fmla="*/ 3466532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280754 w 4306583"/>
              <a:gd name="connsiteY38" fmla="*/ 3792648 h 4380932"/>
              <a:gd name="connsiteX39" fmla="*/ 556244 w 4306583"/>
              <a:gd name="connsiteY39" fmla="*/ 3549652 h 4380932"/>
              <a:gd name="connsiteX0" fmla="*/ 509257 w 4306583"/>
              <a:gd name="connsiteY0" fmla="*/ 3564404 h 4380932"/>
              <a:gd name="connsiteX1" fmla="*/ 655352 w 4306583"/>
              <a:gd name="connsiteY1" fmla="*/ 3476410 h 4380932"/>
              <a:gd name="connsiteX2" fmla="*/ 1037405 w 4306583"/>
              <a:gd name="connsiteY2" fmla="*/ 3394343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249485 w 4306583"/>
              <a:gd name="connsiteY6" fmla="*/ 3370997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280754 w 4306583"/>
              <a:gd name="connsiteY38" fmla="*/ 3792648 h 4380932"/>
              <a:gd name="connsiteX39" fmla="*/ 556244 w 4306583"/>
              <a:gd name="connsiteY39" fmla="*/ 3549652 h 4380932"/>
              <a:gd name="connsiteX0" fmla="*/ 509257 w 4306583"/>
              <a:gd name="connsiteY0" fmla="*/ 3564404 h 4380932"/>
              <a:gd name="connsiteX1" fmla="*/ 655352 w 4306583"/>
              <a:gd name="connsiteY1" fmla="*/ 3476410 h 4380932"/>
              <a:gd name="connsiteX2" fmla="*/ 1037405 w 4306583"/>
              <a:gd name="connsiteY2" fmla="*/ 3394343 h 4380932"/>
              <a:gd name="connsiteX3" fmla="*/ 1044769 w 4306583"/>
              <a:gd name="connsiteY3" fmla="*/ 3452884 h 4380932"/>
              <a:gd name="connsiteX4" fmla="*/ 1126655 w 4306583"/>
              <a:gd name="connsiteY4" fmla="*/ 3411940 h 4380932"/>
              <a:gd name="connsiteX5" fmla="*/ 1208542 w 4306583"/>
              <a:gd name="connsiteY5" fmla="*/ 3384645 h 4380932"/>
              <a:gd name="connsiteX6" fmla="*/ 1333706 w 4306583"/>
              <a:gd name="connsiteY6" fmla="*/ 3310839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280754 w 4306583"/>
              <a:gd name="connsiteY38" fmla="*/ 3792648 h 4380932"/>
              <a:gd name="connsiteX39" fmla="*/ 556244 w 4306583"/>
              <a:gd name="connsiteY39" fmla="*/ 3549652 h 4380932"/>
              <a:gd name="connsiteX0" fmla="*/ 509257 w 4306583"/>
              <a:gd name="connsiteY0" fmla="*/ 3564404 h 4380932"/>
              <a:gd name="connsiteX1" fmla="*/ 655352 w 4306583"/>
              <a:gd name="connsiteY1" fmla="*/ 3476410 h 4380932"/>
              <a:gd name="connsiteX2" fmla="*/ 1037405 w 4306583"/>
              <a:gd name="connsiteY2" fmla="*/ 3394343 h 4380932"/>
              <a:gd name="connsiteX3" fmla="*/ 1044769 w 4306583"/>
              <a:gd name="connsiteY3" fmla="*/ 3452884 h 4380932"/>
              <a:gd name="connsiteX4" fmla="*/ 1126655 w 4306583"/>
              <a:gd name="connsiteY4" fmla="*/ 3411940 h 4380932"/>
              <a:gd name="connsiteX5" fmla="*/ 1064163 w 4306583"/>
              <a:gd name="connsiteY5" fmla="*/ 3336518 h 4380932"/>
              <a:gd name="connsiteX6" fmla="*/ 1333706 w 4306583"/>
              <a:gd name="connsiteY6" fmla="*/ 3310839 h 4380932"/>
              <a:gd name="connsiteX7" fmla="*/ 1372315 w 4306583"/>
              <a:gd name="connsiteY7" fmla="*/ 3316406 h 4380932"/>
              <a:gd name="connsiteX8" fmla="*/ 1413258 w 4306583"/>
              <a:gd name="connsiteY8" fmla="*/ 3302758 h 4380932"/>
              <a:gd name="connsiteX9" fmla="*/ 1645270 w 4306583"/>
              <a:gd name="connsiteY9" fmla="*/ 3275463 h 4380932"/>
              <a:gd name="connsiteX10" fmla="*/ 1699861 w 4306583"/>
              <a:gd name="connsiteY10" fmla="*/ 3261815 h 4380932"/>
              <a:gd name="connsiteX11" fmla="*/ 1781748 w 4306583"/>
              <a:gd name="connsiteY11" fmla="*/ 3234520 h 4380932"/>
              <a:gd name="connsiteX12" fmla="*/ 1918225 w 4306583"/>
              <a:gd name="connsiteY12" fmla="*/ 3220872 h 4380932"/>
              <a:gd name="connsiteX13" fmla="*/ 2000112 w 4306583"/>
              <a:gd name="connsiteY13" fmla="*/ 3193576 h 4380932"/>
              <a:gd name="connsiteX14" fmla="*/ 2041055 w 4306583"/>
              <a:gd name="connsiteY14" fmla="*/ 3179929 h 4380932"/>
              <a:gd name="connsiteX15" fmla="*/ 2136589 w 4306583"/>
              <a:gd name="connsiteY15" fmla="*/ 3152633 h 4380932"/>
              <a:gd name="connsiteX16" fmla="*/ 2682500 w 4306583"/>
              <a:gd name="connsiteY16" fmla="*/ 2961564 h 4380932"/>
              <a:gd name="connsiteX17" fmla="*/ 3228410 w 4306583"/>
              <a:gd name="connsiteY17" fmla="*/ 2784143 h 4380932"/>
              <a:gd name="connsiteX18" fmla="*/ 3487718 w 4306583"/>
              <a:gd name="connsiteY18" fmla="*/ 2361063 h 4380932"/>
              <a:gd name="connsiteX19" fmla="*/ 3665139 w 4306583"/>
              <a:gd name="connsiteY19" fmla="*/ 2060812 h 4380932"/>
              <a:gd name="connsiteX20" fmla="*/ 3651491 w 4306583"/>
              <a:gd name="connsiteY20" fmla="*/ 1514902 h 4380932"/>
              <a:gd name="connsiteX21" fmla="*/ 3637843 w 4306583"/>
              <a:gd name="connsiteY21" fmla="*/ 696036 h 4380932"/>
              <a:gd name="connsiteX22" fmla="*/ 3718820 w 4306583"/>
              <a:gd name="connsiteY22" fmla="*/ 202378 h 4380932"/>
              <a:gd name="connsiteX23" fmla="*/ 3801616 w 4306583"/>
              <a:gd name="connsiteY23" fmla="*/ 0 h 4380932"/>
              <a:gd name="connsiteX24" fmla="*/ 4306583 w 4306583"/>
              <a:gd name="connsiteY24" fmla="*/ 245660 h 4380932"/>
              <a:gd name="connsiteX25" fmla="*/ 4088219 w 4306583"/>
              <a:gd name="connsiteY25" fmla="*/ 859809 h 4380932"/>
              <a:gd name="connsiteX26" fmla="*/ 4170106 w 4306583"/>
              <a:gd name="connsiteY26" fmla="*/ 2210938 h 4380932"/>
              <a:gd name="connsiteX27" fmla="*/ 3105580 w 4306583"/>
              <a:gd name="connsiteY27" fmla="*/ 3289111 h 4380932"/>
              <a:gd name="connsiteX28" fmla="*/ 3105580 w 4306583"/>
              <a:gd name="connsiteY28" fmla="*/ 3357349 h 4380932"/>
              <a:gd name="connsiteX29" fmla="*/ 2846273 w 4306583"/>
              <a:gd name="connsiteY29" fmla="*/ 3302758 h 4380932"/>
              <a:gd name="connsiteX30" fmla="*/ 2041055 w 4306583"/>
              <a:gd name="connsiteY30" fmla="*/ 3562066 h 4380932"/>
              <a:gd name="connsiteX31" fmla="*/ 1768100 w 4306583"/>
              <a:gd name="connsiteY31" fmla="*/ 3643952 h 4380932"/>
              <a:gd name="connsiteX32" fmla="*/ 1317724 w 4306583"/>
              <a:gd name="connsiteY32" fmla="*/ 3753135 h 4380932"/>
              <a:gd name="connsiteX33" fmla="*/ 722422 w 4306583"/>
              <a:gd name="connsiteY33" fmla="*/ 3950572 h 4380932"/>
              <a:gd name="connsiteX34" fmla="*/ 403324 w 4306583"/>
              <a:gd name="connsiteY34" fmla="*/ 4380932 h 4380932"/>
              <a:gd name="connsiteX35" fmla="*/ 0 w 4306583"/>
              <a:gd name="connsiteY35" fmla="*/ 4294365 h 4380932"/>
              <a:gd name="connsiteX36" fmla="*/ 34834 w 4306583"/>
              <a:gd name="connsiteY36" fmla="*/ 4189863 h 4380932"/>
              <a:gd name="connsiteX37" fmla="*/ 103073 w 4306583"/>
              <a:gd name="connsiteY37" fmla="*/ 3985146 h 4380932"/>
              <a:gd name="connsiteX38" fmla="*/ 280754 w 4306583"/>
              <a:gd name="connsiteY38" fmla="*/ 3792648 h 4380932"/>
              <a:gd name="connsiteX39" fmla="*/ 556244 w 4306583"/>
              <a:gd name="connsiteY39" fmla="*/ 3549652 h 4380932"/>
              <a:gd name="connsiteX0" fmla="*/ 509257 w 4306583"/>
              <a:gd name="connsiteY0" fmla="*/ 3564404 h 4380932"/>
              <a:gd name="connsiteX1" fmla="*/ 655352 w 4306583"/>
              <a:gd name="connsiteY1" fmla="*/ 3476410 h 4380932"/>
              <a:gd name="connsiteX2" fmla="*/ 1037405 w 4306583"/>
              <a:gd name="connsiteY2" fmla="*/ 3394343 h 4380932"/>
              <a:gd name="connsiteX3" fmla="*/ 1126655 w 4306583"/>
              <a:gd name="connsiteY3" fmla="*/ 3411940 h 4380932"/>
              <a:gd name="connsiteX4" fmla="*/ 1064163 w 4306583"/>
              <a:gd name="connsiteY4" fmla="*/ 3336518 h 4380932"/>
              <a:gd name="connsiteX5" fmla="*/ 1333706 w 4306583"/>
              <a:gd name="connsiteY5" fmla="*/ 3310839 h 4380932"/>
              <a:gd name="connsiteX6" fmla="*/ 1372315 w 4306583"/>
              <a:gd name="connsiteY6" fmla="*/ 3316406 h 4380932"/>
              <a:gd name="connsiteX7" fmla="*/ 1413258 w 4306583"/>
              <a:gd name="connsiteY7" fmla="*/ 3302758 h 4380932"/>
              <a:gd name="connsiteX8" fmla="*/ 1645270 w 4306583"/>
              <a:gd name="connsiteY8" fmla="*/ 3275463 h 4380932"/>
              <a:gd name="connsiteX9" fmla="*/ 1699861 w 4306583"/>
              <a:gd name="connsiteY9" fmla="*/ 3261815 h 4380932"/>
              <a:gd name="connsiteX10" fmla="*/ 1781748 w 4306583"/>
              <a:gd name="connsiteY10" fmla="*/ 3234520 h 4380932"/>
              <a:gd name="connsiteX11" fmla="*/ 1918225 w 4306583"/>
              <a:gd name="connsiteY11" fmla="*/ 3220872 h 4380932"/>
              <a:gd name="connsiteX12" fmla="*/ 2000112 w 4306583"/>
              <a:gd name="connsiteY12" fmla="*/ 3193576 h 4380932"/>
              <a:gd name="connsiteX13" fmla="*/ 2041055 w 4306583"/>
              <a:gd name="connsiteY13" fmla="*/ 3179929 h 4380932"/>
              <a:gd name="connsiteX14" fmla="*/ 2136589 w 4306583"/>
              <a:gd name="connsiteY14" fmla="*/ 3152633 h 4380932"/>
              <a:gd name="connsiteX15" fmla="*/ 2682500 w 4306583"/>
              <a:gd name="connsiteY15" fmla="*/ 2961564 h 4380932"/>
              <a:gd name="connsiteX16" fmla="*/ 3228410 w 4306583"/>
              <a:gd name="connsiteY16" fmla="*/ 2784143 h 4380932"/>
              <a:gd name="connsiteX17" fmla="*/ 3487718 w 4306583"/>
              <a:gd name="connsiteY17" fmla="*/ 2361063 h 4380932"/>
              <a:gd name="connsiteX18" fmla="*/ 3665139 w 4306583"/>
              <a:gd name="connsiteY18" fmla="*/ 2060812 h 4380932"/>
              <a:gd name="connsiteX19" fmla="*/ 3651491 w 4306583"/>
              <a:gd name="connsiteY19" fmla="*/ 1514902 h 4380932"/>
              <a:gd name="connsiteX20" fmla="*/ 3637843 w 4306583"/>
              <a:gd name="connsiteY20" fmla="*/ 696036 h 4380932"/>
              <a:gd name="connsiteX21" fmla="*/ 3718820 w 4306583"/>
              <a:gd name="connsiteY21" fmla="*/ 202378 h 4380932"/>
              <a:gd name="connsiteX22" fmla="*/ 3801616 w 4306583"/>
              <a:gd name="connsiteY22" fmla="*/ 0 h 4380932"/>
              <a:gd name="connsiteX23" fmla="*/ 4306583 w 4306583"/>
              <a:gd name="connsiteY23" fmla="*/ 245660 h 4380932"/>
              <a:gd name="connsiteX24" fmla="*/ 4088219 w 4306583"/>
              <a:gd name="connsiteY24" fmla="*/ 859809 h 4380932"/>
              <a:gd name="connsiteX25" fmla="*/ 4170106 w 4306583"/>
              <a:gd name="connsiteY25" fmla="*/ 2210938 h 4380932"/>
              <a:gd name="connsiteX26" fmla="*/ 3105580 w 4306583"/>
              <a:gd name="connsiteY26" fmla="*/ 3289111 h 4380932"/>
              <a:gd name="connsiteX27" fmla="*/ 3105580 w 4306583"/>
              <a:gd name="connsiteY27" fmla="*/ 3357349 h 4380932"/>
              <a:gd name="connsiteX28" fmla="*/ 2846273 w 4306583"/>
              <a:gd name="connsiteY28" fmla="*/ 3302758 h 4380932"/>
              <a:gd name="connsiteX29" fmla="*/ 2041055 w 4306583"/>
              <a:gd name="connsiteY29" fmla="*/ 3562066 h 4380932"/>
              <a:gd name="connsiteX30" fmla="*/ 1768100 w 4306583"/>
              <a:gd name="connsiteY30" fmla="*/ 3643952 h 4380932"/>
              <a:gd name="connsiteX31" fmla="*/ 1317724 w 4306583"/>
              <a:gd name="connsiteY31" fmla="*/ 3753135 h 4380932"/>
              <a:gd name="connsiteX32" fmla="*/ 722422 w 4306583"/>
              <a:gd name="connsiteY32" fmla="*/ 3950572 h 4380932"/>
              <a:gd name="connsiteX33" fmla="*/ 403324 w 4306583"/>
              <a:gd name="connsiteY33" fmla="*/ 4380932 h 4380932"/>
              <a:gd name="connsiteX34" fmla="*/ 0 w 4306583"/>
              <a:gd name="connsiteY34" fmla="*/ 4294365 h 4380932"/>
              <a:gd name="connsiteX35" fmla="*/ 34834 w 4306583"/>
              <a:gd name="connsiteY35" fmla="*/ 4189863 h 4380932"/>
              <a:gd name="connsiteX36" fmla="*/ 103073 w 4306583"/>
              <a:gd name="connsiteY36" fmla="*/ 3985146 h 4380932"/>
              <a:gd name="connsiteX37" fmla="*/ 280754 w 4306583"/>
              <a:gd name="connsiteY37" fmla="*/ 3792648 h 4380932"/>
              <a:gd name="connsiteX38" fmla="*/ 556244 w 4306583"/>
              <a:gd name="connsiteY38" fmla="*/ 3549652 h 4380932"/>
              <a:gd name="connsiteX0" fmla="*/ 509257 w 4306583"/>
              <a:gd name="connsiteY0" fmla="*/ 3564404 h 4380932"/>
              <a:gd name="connsiteX1" fmla="*/ 655352 w 4306583"/>
              <a:gd name="connsiteY1" fmla="*/ 3476410 h 4380932"/>
              <a:gd name="connsiteX2" fmla="*/ 1037405 w 4306583"/>
              <a:gd name="connsiteY2" fmla="*/ 3394343 h 4380932"/>
              <a:gd name="connsiteX3" fmla="*/ 1126655 w 4306583"/>
              <a:gd name="connsiteY3" fmla="*/ 3411940 h 4380932"/>
              <a:gd name="connsiteX4" fmla="*/ 1333706 w 4306583"/>
              <a:gd name="connsiteY4" fmla="*/ 3310839 h 4380932"/>
              <a:gd name="connsiteX5" fmla="*/ 1372315 w 4306583"/>
              <a:gd name="connsiteY5" fmla="*/ 3316406 h 4380932"/>
              <a:gd name="connsiteX6" fmla="*/ 1413258 w 4306583"/>
              <a:gd name="connsiteY6" fmla="*/ 3302758 h 4380932"/>
              <a:gd name="connsiteX7" fmla="*/ 1645270 w 4306583"/>
              <a:gd name="connsiteY7" fmla="*/ 3275463 h 4380932"/>
              <a:gd name="connsiteX8" fmla="*/ 1699861 w 4306583"/>
              <a:gd name="connsiteY8" fmla="*/ 3261815 h 4380932"/>
              <a:gd name="connsiteX9" fmla="*/ 1781748 w 4306583"/>
              <a:gd name="connsiteY9" fmla="*/ 3234520 h 4380932"/>
              <a:gd name="connsiteX10" fmla="*/ 1918225 w 4306583"/>
              <a:gd name="connsiteY10" fmla="*/ 3220872 h 4380932"/>
              <a:gd name="connsiteX11" fmla="*/ 2000112 w 4306583"/>
              <a:gd name="connsiteY11" fmla="*/ 3193576 h 4380932"/>
              <a:gd name="connsiteX12" fmla="*/ 2041055 w 4306583"/>
              <a:gd name="connsiteY12" fmla="*/ 3179929 h 4380932"/>
              <a:gd name="connsiteX13" fmla="*/ 2136589 w 4306583"/>
              <a:gd name="connsiteY13" fmla="*/ 3152633 h 4380932"/>
              <a:gd name="connsiteX14" fmla="*/ 2682500 w 4306583"/>
              <a:gd name="connsiteY14" fmla="*/ 2961564 h 4380932"/>
              <a:gd name="connsiteX15" fmla="*/ 3228410 w 4306583"/>
              <a:gd name="connsiteY15" fmla="*/ 2784143 h 4380932"/>
              <a:gd name="connsiteX16" fmla="*/ 3487718 w 4306583"/>
              <a:gd name="connsiteY16" fmla="*/ 2361063 h 4380932"/>
              <a:gd name="connsiteX17" fmla="*/ 3665139 w 4306583"/>
              <a:gd name="connsiteY17" fmla="*/ 2060812 h 4380932"/>
              <a:gd name="connsiteX18" fmla="*/ 3651491 w 4306583"/>
              <a:gd name="connsiteY18" fmla="*/ 1514902 h 4380932"/>
              <a:gd name="connsiteX19" fmla="*/ 3637843 w 4306583"/>
              <a:gd name="connsiteY19" fmla="*/ 696036 h 4380932"/>
              <a:gd name="connsiteX20" fmla="*/ 3718820 w 4306583"/>
              <a:gd name="connsiteY20" fmla="*/ 202378 h 4380932"/>
              <a:gd name="connsiteX21" fmla="*/ 3801616 w 4306583"/>
              <a:gd name="connsiteY21" fmla="*/ 0 h 4380932"/>
              <a:gd name="connsiteX22" fmla="*/ 4306583 w 4306583"/>
              <a:gd name="connsiteY22" fmla="*/ 245660 h 4380932"/>
              <a:gd name="connsiteX23" fmla="*/ 4088219 w 4306583"/>
              <a:gd name="connsiteY23" fmla="*/ 859809 h 4380932"/>
              <a:gd name="connsiteX24" fmla="*/ 4170106 w 4306583"/>
              <a:gd name="connsiteY24" fmla="*/ 2210938 h 4380932"/>
              <a:gd name="connsiteX25" fmla="*/ 3105580 w 4306583"/>
              <a:gd name="connsiteY25" fmla="*/ 3289111 h 4380932"/>
              <a:gd name="connsiteX26" fmla="*/ 3105580 w 4306583"/>
              <a:gd name="connsiteY26" fmla="*/ 3357349 h 4380932"/>
              <a:gd name="connsiteX27" fmla="*/ 2846273 w 4306583"/>
              <a:gd name="connsiteY27" fmla="*/ 3302758 h 4380932"/>
              <a:gd name="connsiteX28" fmla="*/ 2041055 w 4306583"/>
              <a:gd name="connsiteY28" fmla="*/ 3562066 h 4380932"/>
              <a:gd name="connsiteX29" fmla="*/ 1768100 w 4306583"/>
              <a:gd name="connsiteY29" fmla="*/ 3643952 h 4380932"/>
              <a:gd name="connsiteX30" fmla="*/ 1317724 w 4306583"/>
              <a:gd name="connsiteY30" fmla="*/ 3753135 h 4380932"/>
              <a:gd name="connsiteX31" fmla="*/ 722422 w 4306583"/>
              <a:gd name="connsiteY31" fmla="*/ 3950572 h 4380932"/>
              <a:gd name="connsiteX32" fmla="*/ 403324 w 4306583"/>
              <a:gd name="connsiteY32" fmla="*/ 4380932 h 4380932"/>
              <a:gd name="connsiteX33" fmla="*/ 0 w 4306583"/>
              <a:gd name="connsiteY33" fmla="*/ 4294365 h 4380932"/>
              <a:gd name="connsiteX34" fmla="*/ 34834 w 4306583"/>
              <a:gd name="connsiteY34" fmla="*/ 4189863 h 4380932"/>
              <a:gd name="connsiteX35" fmla="*/ 103073 w 4306583"/>
              <a:gd name="connsiteY35" fmla="*/ 3985146 h 4380932"/>
              <a:gd name="connsiteX36" fmla="*/ 280754 w 4306583"/>
              <a:gd name="connsiteY36" fmla="*/ 3792648 h 4380932"/>
              <a:gd name="connsiteX37" fmla="*/ 556244 w 4306583"/>
              <a:gd name="connsiteY37" fmla="*/ 3549652 h 4380932"/>
              <a:gd name="connsiteX0" fmla="*/ 509257 w 4306583"/>
              <a:gd name="connsiteY0" fmla="*/ 3564404 h 4380932"/>
              <a:gd name="connsiteX1" fmla="*/ 655352 w 4306583"/>
              <a:gd name="connsiteY1" fmla="*/ 3476410 h 4380932"/>
              <a:gd name="connsiteX2" fmla="*/ 1037405 w 4306583"/>
              <a:gd name="connsiteY2" fmla="*/ 3394343 h 4380932"/>
              <a:gd name="connsiteX3" fmla="*/ 1333706 w 4306583"/>
              <a:gd name="connsiteY3" fmla="*/ 3310839 h 4380932"/>
              <a:gd name="connsiteX4" fmla="*/ 1372315 w 4306583"/>
              <a:gd name="connsiteY4" fmla="*/ 3316406 h 4380932"/>
              <a:gd name="connsiteX5" fmla="*/ 1413258 w 4306583"/>
              <a:gd name="connsiteY5" fmla="*/ 3302758 h 4380932"/>
              <a:gd name="connsiteX6" fmla="*/ 1645270 w 4306583"/>
              <a:gd name="connsiteY6" fmla="*/ 3275463 h 4380932"/>
              <a:gd name="connsiteX7" fmla="*/ 1699861 w 4306583"/>
              <a:gd name="connsiteY7" fmla="*/ 3261815 h 4380932"/>
              <a:gd name="connsiteX8" fmla="*/ 1781748 w 4306583"/>
              <a:gd name="connsiteY8" fmla="*/ 3234520 h 4380932"/>
              <a:gd name="connsiteX9" fmla="*/ 1918225 w 4306583"/>
              <a:gd name="connsiteY9" fmla="*/ 3220872 h 4380932"/>
              <a:gd name="connsiteX10" fmla="*/ 2000112 w 4306583"/>
              <a:gd name="connsiteY10" fmla="*/ 3193576 h 4380932"/>
              <a:gd name="connsiteX11" fmla="*/ 2041055 w 4306583"/>
              <a:gd name="connsiteY11" fmla="*/ 3179929 h 4380932"/>
              <a:gd name="connsiteX12" fmla="*/ 2136589 w 4306583"/>
              <a:gd name="connsiteY12" fmla="*/ 3152633 h 4380932"/>
              <a:gd name="connsiteX13" fmla="*/ 2682500 w 4306583"/>
              <a:gd name="connsiteY13" fmla="*/ 2961564 h 4380932"/>
              <a:gd name="connsiteX14" fmla="*/ 3228410 w 4306583"/>
              <a:gd name="connsiteY14" fmla="*/ 2784143 h 4380932"/>
              <a:gd name="connsiteX15" fmla="*/ 3487718 w 4306583"/>
              <a:gd name="connsiteY15" fmla="*/ 2361063 h 4380932"/>
              <a:gd name="connsiteX16" fmla="*/ 3665139 w 4306583"/>
              <a:gd name="connsiteY16" fmla="*/ 2060812 h 4380932"/>
              <a:gd name="connsiteX17" fmla="*/ 3651491 w 4306583"/>
              <a:gd name="connsiteY17" fmla="*/ 1514902 h 4380932"/>
              <a:gd name="connsiteX18" fmla="*/ 3637843 w 4306583"/>
              <a:gd name="connsiteY18" fmla="*/ 696036 h 4380932"/>
              <a:gd name="connsiteX19" fmla="*/ 3718820 w 4306583"/>
              <a:gd name="connsiteY19" fmla="*/ 202378 h 4380932"/>
              <a:gd name="connsiteX20" fmla="*/ 3801616 w 4306583"/>
              <a:gd name="connsiteY20" fmla="*/ 0 h 4380932"/>
              <a:gd name="connsiteX21" fmla="*/ 4306583 w 4306583"/>
              <a:gd name="connsiteY21" fmla="*/ 245660 h 4380932"/>
              <a:gd name="connsiteX22" fmla="*/ 4088219 w 4306583"/>
              <a:gd name="connsiteY22" fmla="*/ 859809 h 4380932"/>
              <a:gd name="connsiteX23" fmla="*/ 4170106 w 4306583"/>
              <a:gd name="connsiteY23" fmla="*/ 2210938 h 4380932"/>
              <a:gd name="connsiteX24" fmla="*/ 3105580 w 4306583"/>
              <a:gd name="connsiteY24" fmla="*/ 3289111 h 4380932"/>
              <a:gd name="connsiteX25" fmla="*/ 3105580 w 4306583"/>
              <a:gd name="connsiteY25" fmla="*/ 3357349 h 4380932"/>
              <a:gd name="connsiteX26" fmla="*/ 2846273 w 4306583"/>
              <a:gd name="connsiteY26" fmla="*/ 3302758 h 4380932"/>
              <a:gd name="connsiteX27" fmla="*/ 2041055 w 4306583"/>
              <a:gd name="connsiteY27" fmla="*/ 3562066 h 4380932"/>
              <a:gd name="connsiteX28" fmla="*/ 1768100 w 4306583"/>
              <a:gd name="connsiteY28" fmla="*/ 3643952 h 4380932"/>
              <a:gd name="connsiteX29" fmla="*/ 1317724 w 4306583"/>
              <a:gd name="connsiteY29" fmla="*/ 3753135 h 4380932"/>
              <a:gd name="connsiteX30" fmla="*/ 722422 w 4306583"/>
              <a:gd name="connsiteY30" fmla="*/ 3950572 h 4380932"/>
              <a:gd name="connsiteX31" fmla="*/ 403324 w 4306583"/>
              <a:gd name="connsiteY31" fmla="*/ 4380932 h 4380932"/>
              <a:gd name="connsiteX32" fmla="*/ 0 w 4306583"/>
              <a:gd name="connsiteY32" fmla="*/ 4294365 h 4380932"/>
              <a:gd name="connsiteX33" fmla="*/ 34834 w 4306583"/>
              <a:gd name="connsiteY33" fmla="*/ 4189863 h 4380932"/>
              <a:gd name="connsiteX34" fmla="*/ 103073 w 4306583"/>
              <a:gd name="connsiteY34" fmla="*/ 3985146 h 4380932"/>
              <a:gd name="connsiteX35" fmla="*/ 280754 w 4306583"/>
              <a:gd name="connsiteY35" fmla="*/ 3792648 h 4380932"/>
              <a:gd name="connsiteX36" fmla="*/ 556244 w 4306583"/>
              <a:gd name="connsiteY36" fmla="*/ 3549652 h 4380932"/>
              <a:gd name="connsiteX0" fmla="*/ 509257 w 4306583"/>
              <a:gd name="connsiteY0" fmla="*/ 3564404 h 4380932"/>
              <a:gd name="connsiteX1" fmla="*/ 655352 w 4306583"/>
              <a:gd name="connsiteY1" fmla="*/ 3476410 h 4380932"/>
              <a:gd name="connsiteX2" fmla="*/ 1037405 w 4306583"/>
              <a:gd name="connsiteY2" fmla="*/ 3394343 h 4380932"/>
              <a:gd name="connsiteX3" fmla="*/ 1333706 w 4306583"/>
              <a:gd name="connsiteY3" fmla="*/ 3310839 h 4380932"/>
              <a:gd name="connsiteX4" fmla="*/ 1372315 w 4306583"/>
              <a:gd name="connsiteY4" fmla="*/ 3316406 h 4380932"/>
              <a:gd name="connsiteX5" fmla="*/ 1645270 w 4306583"/>
              <a:gd name="connsiteY5" fmla="*/ 3275463 h 4380932"/>
              <a:gd name="connsiteX6" fmla="*/ 1699861 w 4306583"/>
              <a:gd name="connsiteY6" fmla="*/ 3261815 h 4380932"/>
              <a:gd name="connsiteX7" fmla="*/ 1781748 w 4306583"/>
              <a:gd name="connsiteY7" fmla="*/ 3234520 h 4380932"/>
              <a:gd name="connsiteX8" fmla="*/ 1918225 w 4306583"/>
              <a:gd name="connsiteY8" fmla="*/ 3220872 h 4380932"/>
              <a:gd name="connsiteX9" fmla="*/ 2000112 w 4306583"/>
              <a:gd name="connsiteY9" fmla="*/ 3193576 h 4380932"/>
              <a:gd name="connsiteX10" fmla="*/ 2041055 w 4306583"/>
              <a:gd name="connsiteY10" fmla="*/ 3179929 h 4380932"/>
              <a:gd name="connsiteX11" fmla="*/ 2136589 w 4306583"/>
              <a:gd name="connsiteY11" fmla="*/ 3152633 h 4380932"/>
              <a:gd name="connsiteX12" fmla="*/ 2682500 w 4306583"/>
              <a:gd name="connsiteY12" fmla="*/ 2961564 h 4380932"/>
              <a:gd name="connsiteX13" fmla="*/ 3228410 w 4306583"/>
              <a:gd name="connsiteY13" fmla="*/ 2784143 h 4380932"/>
              <a:gd name="connsiteX14" fmla="*/ 3487718 w 4306583"/>
              <a:gd name="connsiteY14" fmla="*/ 2361063 h 4380932"/>
              <a:gd name="connsiteX15" fmla="*/ 3665139 w 4306583"/>
              <a:gd name="connsiteY15" fmla="*/ 2060812 h 4380932"/>
              <a:gd name="connsiteX16" fmla="*/ 3651491 w 4306583"/>
              <a:gd name="connsiteY16" fmla="*/ 1514902 h 4380932"/>
              <a:gd name="connsiteX17" fmla="*/ 3637843 w 4306583"/>
              <a:gd name="connsiteY17" fmla="*/ 696036 h 4380932"/>
              <a:gd name="connsiteX18" fmla="*/ 3718820 w 4306583"/>
              <a:gd name="connsiteY18" fmla="*/ 202378 h 4380932"/>
              <a:gd name="connsiteX19" fmla="*/ 3801616 w 4306583"/>
              <a:gd name="connsiteY19" fmla="*/ 0 h 4380932"/>
              <a:gd name="connsiteX20" fmla="*/ 4306583 w 4306583"/>
              <a:gd name="connsiteY20" fmla="*/ 245660 h 4380932"/>
              <a:gd name="connsiteX21" fmla="*/ 408821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62066 h 4380932"/>
              <a:gd name="connsiteX27" fmla="*/ 1768100 w 4306583"/>
              <a:gd name="connsiteY27" fmla="*/ 3643952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37405 w 4306583"/>
              <a:gd name="connsiteY2" fmla="*/ 3394343 h 4380932"/>
              <a:gd name="connsiteX3" fmla="*/ 1333706 w 4306583"/>
              <a:gd name="connsiteY3" fmla="*/ 3310839 h 4380932"/>
              <a:gd name="connsiteX4" fmla="*/ 1645270 w 4306583"/>
              <a:gd name="connsiteY4" fmla="*/ 3275463 h 4380932"/>
              <a:gd name="connsiteX5" fmla="*/ 1699861 w 4306583"/>
              <a:gd name="connsiteY5" fmla="*/ 3261815 h 4380932"/>
              <a:gd name="connsiteX6" fmla="*/ 1781748 w 4306583"/>
              <a:gd name="connsiteY6" fmla="*/ 3234520 h 4380932"/>
              <a:gd name="connsiteX7" fmla="*/ 1918225 w 4306583"/>
              <a:gd name="connsiteY7" fmla="*/ 3220872 h 4380932"/>
              <a:gd name="connsiteX8" fmla="*/ 2000112 w 4306583"/>
              <a:gd name="connsiteY8" fmla="*/ 3193576 h 4380932"/>
              <a:gd name="connsiteX9" fmla="*/ 2041055 w 4306583"/>
              <a:gd name="connsiteY9" fmla="*/ 3179929 h 4380932"/>
              <a:gd name="connsiteX10" fmla="*/ 2136589 w 4306583"/>
              <a:gd name="connsiteY10" fmla="*/ 3152633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310839 h 4380932"/>
              <a:gd name="connsiteX4" fmla="*/ 1645270 w 4306583"/>
              <a:gd name="connsiteY4" fmla="*/ 3275463 h 4380932"/>
              <a:gd name="connsiteX5" fmla="*/ 1699861 w 4306583"/>
              <a:gd name="connsiteY5" fmla="*/ 3261815 h 4380932"/>
              <a:gd name="connsiteX6" fmla="*/ 1781748 w 4306583"/>
              <a:gd name="connsiteY6" fmla="*/ 3234520 h 4380932"/>
              <a:gd name="connsiteX7" fmla="*/ 1918225 w 4306583"/>
              <a:gd name="connsiteY7" fmla="*/ 3220872 h 4380932"/>
              <a:gd name="connsiteX8" fmla="*/ 2000112 w 4306583"/>
              <a:gd name="connsiteY8" fmla="*/ 3193576 h 4380932"/>
              <a:gd name="connsiteX9" fmla="*/ 2041055 w 4306583"/>
              <a:gd name="connsiteY9" fmla="*/ 3179929 h 4380932"/>
              <a:gd name="connsiteX10" fmla="*/ 2136589 w 4306583"/>
              <a:gd name="connsiteY10" fmla="*/ 3152633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645270 w 4306583"/>
              <a:gd name="connsiteY4" fmla="*/ 3275463 h 4380932"/>
              <a:gd name="connsiteX5" fmla="*/ 1699861 w 4306583"/>
              <a:gd name="connsiteY5" fmla="*/ 3261815 h 4380932"/>
              <a:gd name="connsiteX6" fmla="*/ 1781748 w 4306583"/>
              <a:gd name="connsiteY6" fmla="*/ 3234520 h 4380932"/>
              <a:gd name="connsiteX7" fmla="*/ 1918225 w 4306583"/>
              <a:gd name="connsiteY7" fmla="*/ 3220872 h 4380932"/>
              <a:gd name="connsiteX8" fmla="*/ 2000112 w 4306583"/>
              <a:gd name="connsiteY8" fmla="*/ 3193576 h 4380932"/>
              <a:gd name="connsiteX9" fmla="*/ 2041055 w 4306583"/>
              <a:gd name="connsiteY9" fmla="*/ 3179929 h 4380932"/>
              <a:gd name="connsiteX10" fmla="*/ 2136589 w 4306583"/>
              <a:gd name="connsiteY10" fmla="*/ 3152633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645270 w 4306583"/>
              <a:gd name="connsiteY4" fmla="*/ 3275463 h 4380932"/>
              <a:gd name="connsiteX5" fmla="*/ 1699861 w 4306583"/>
              <a:gd name="connsiteY5" fmla="*/ 3261815 h 4380932"/>
              <a:gd name="connsiteX6" fmla="*/ 1781748 w 4306583"/>
              <a:gd name="connsiteY6" fmla="*/ 3210457 h 4380932"/>
              <a:gd name="connsiteX7" fmla="*/ 1918225 w 4306583"/>
              <a:gd name="connsiteY7" fmla="*/ 3220872 h 4380932"/>
              <a:gd name="connsiteX8" fmla="*/ 2000112 w 4306583"/>
              <a:gd name="connsiteY8" fmla="*/ 3193576 h 4380932"/>
              <a:gd name="connsiteX9" fmla="*/ 2041055 w 4306583"/>
              <a:gd name="connsiteY9" fmla="*/ 3179929 h 4380932"/>
              <a:gd name="connsiteX10" fmla="*/ 2136589 w 4306583"/>
              <a:gd name="connsiteY10" fmla="*/ 3152633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645270 w 4306583"/>
              <a:gd name="connsiteY4" fmla="*/ 3275463 h 4380932"/>
              <a:gd name="connsiteX5" fmla="*/ 1699861 w 4306583"/>
              <a:gd name="connsiteY5" fmla="*/ 3261815 h 4380932"/>
              <a:gd name="connsiteX6" fmla="*/ 1781748 w 4306583"/>
              <a:gd name="connsiteY6" fmla="*/ 3210457 h 4380932"/>
              <a:gd name="connsiteX7" fmla="*/ 1918225 w 4306583"/>
              <a:gd name="connsiteY7" fmla="*/ 3220872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645270 w 4306583"/>
              <a:gd name="connsiteY4" fmla="*/ 3275463 h 4380932"/>
              <a:gd name="connsiteX5" fmla="*/ 1615640 w 4306583"/>
              <a:gd name="connsiteY5" fmla="*/ 3237752 h 4380932"/>
              <a:gd name="connsiteX6" fmla="*/ 1781748 w 4306583"/>
              <a:gd name="connsiteY6" fmla="*/ 3210457 h 4380932"/>
              <a:gd name="connsiteX7" fmla="*/ 1918225 w 4306583"/>
              <a:gd name="connsiteY7" fmla="*/ 3220872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645270 w 4306583"/>
              <a:gd name="connsiteY4" fmla="*/ 3275463 h 4380932"/>
              <a:gd name="connsiteX5" fmla="*/ 1615640 w 4306583"/>
              <a:gd name="connsiteY5" fmla="*/ 3237752 h 4380932"/>
              <a:gd name="connsiteX6" fmla="*/ 1781748 w 4306583"/>
              <a:gd name="connsiteY6" fmla="*/ 3210457 h 4380932"/>
              <a:gd name="connsiteX7" fmla="*/ 1918225 w 4306583"/>
              <a:gd name="connsiteY7" fmla="*/ 3220872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615640 w 4306583"/>
              <a:gd name="connsiteY5" fmla="*/ 3237752 h 4380932"/>
              <a:gd name="connsiteX6" fmla="*/ 1781748 w 4306583"/>
              <a:gd name="connsiteY6" fmla="*/ 3210457 h 4380932"/>
              <a:gd name="connsiteX7" fmla="*/ 1918225 w 4306583"/>
              <a:gd name="connsiteY7" fmla="*/ 3220872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1918225 w 4306583"/>
              <a:gd name="connsiteY7" fmla="*/ 3220872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88219 w 4306583"/>
              <a:gd name="connsiteY20" fmla="*/ 859809 h 4380932"/>
              <a:gd name="connsiteX21" fmla="*/ 4170106 w 4306583"/>
              <a:gd name="connsiteY21" fmla="*/ 2210938 h 4380932"/>
              <a:gd name="connsiteX22" fmla="*/ 3105580 w 4306583"/>
              <a:gd name="connsiteY22" fmla="*/ 3289111 h 4380932"/>
              <a:gd name="connsiteX23" fmla="*/ 3105580 w 4306583"/>
              <a:gd name="connsiteY23" fmla="*/ 3357349 h 4380932"/>
              <a:gd name="connsiteX24" fmla="*/ 2846273 w 4306583"/>
              <a:gd name="connsiteY24" fmla="*/ 3302758 h 4380932"/>
              <a:gd name="connsiteX25" fmla="*/ 2041055 w 4306583"/>
              <a:gd name="connsiteY25" fmla="*/ 3562066 h 4380932"/>
              <a:gd name="connsiteX26" fmla="*/ 1768100 w 4306583"/>
              <a:gd name="connsiteY26" fmla="*/ 3643952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171101 w 4306583"/>
              <a:gd name="connsiteY20" fmla="*/ 649264 h 4380932"/>
              <a:gd name="connsiteX21" fmla="*/ 408821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62066 h 4380932"/>
              <a:gd name="connsiteX27" fmla="*/ 1768100 w 4306583"/>
              <a:gd name="connsiteY27" fmla="*/ 3643952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8821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62066 h 4380932"/>
              <a:gd name="connsiteX27" fmla="*/ 1768100 w 4306583"/>
              <a:gd name="connsiteY27" fmla="*/ 3643952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62066 h 4380932"/>
              <a:gd name="connsiteX27" fmla="*/ 1768100 w 4306583"/>
              <a:gd name="connsiteY27" fmla="*/ 3643952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62066 h 4380932"/>
              <a:gd name="connsiteX27" fmla="*/ 1768100 w 4306583"/>
              <a:gd name="connsiteY27" fmla="*/ 3643952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62066 h 4380932"/>
              <a:gd name="connsiteX27" fmla="*/ 1730000 w 4306583"/>
              <a:gd name="connsiteY27" fmla="*/ 3520127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62066 h 4380932"/>
              <a:gd name="connsiteX27" fmla="*/ 1730000 w 4306583"/>
              <a:gd name="connsiteY27" fmla="*/ 3520127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62066 h 4380932"/>
              <a:gd name="connsiteX27" fmla="*/ 1730000 w 4306583"/>
              <a:gd name="connsiteY27" fmla="*/ 3520127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23966 h 4380932"/>
              <a:gd name="connsiteX27" fmla="*/ 1730000 w 4306583"/>
              <a:gd name="connsiteY27" fmla="*/ 3520127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23966 h 4380932"/>
              <a:gd name="connsiteX27" fmla="*/ 1749050 w 4306583"/>
              <a:gd name="connsiteY27" fmla="*/ 3548702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3105580 w 4306583"/>
              <a:gd name="connsiteY23" fmla="*/ 3289111 h 4380932"/>
              <a:gd name="connsiteX24" fmla="*/ 3105580 w 4306583"/>
              <a:gd name="connsiteY24" fmla="*/ 3357349 h 4380932"/>
              <a:gd name="connsiteX25" fmla="*/ 2846273 w 4306583"/>
              <a:gd name="connsiteY25" fmla="*/ 3302758 h 4380932"/>
              <a:gd name="connsiteX26" fmla="*/ 2041055 w 4306583"/>
              <a:gd name="connsiteY26" fmla="*/ 3523966 h 4380932"/>
              <a:gd name="connsiteX27" fmla="*/ 1749050 w 4306583"/>
              <a:gd name="connsiteY27" fmla="*/ 3548702 h 4380932"/>
              <a:gd name="connsiteX28" fmla="*/ 1656501 w 4306583"/>
              <a:gd name="connsiteY28" fmla="*/ 3582964 h 4380932"/>
              <a:gd name="connsiteX29" fmla="*/ 1317724 w 4306583"/>
              <a:gd name="connsiteY29" fmla="*/ 3753135 h 4380932"/>
              <a:gd name="connsiteX30" fmla="*/ 722422 w 4306583"/>
              <a:gd name="connsiteY30" fmla="*/ 3950572 h 4380932"/>
              <a:gd name="connsiteX31" fmla="*/ 403324 w 4306583"/>
              <a:gd name="connsiteY31" fmla="*/ 4380932 h 4380932"/>
              <a:gd name="connsiteX32" fmla="*/ 0 w 4306583"/>
              <a:gd name="connsiteY32" fmla="*/ 4294365 h 4380932"/>
              <a:gd name="connsiteX33" fmla="*/ 34834 w 4306583"/>
              <a:gd name="connsiteY33" fmla="*/ 4189863 h 4380932"/>
              <a:gd name="connsiteX34" fmla="*/ 103073 w 4306583"/>
              <a:gd name="connsiteY34" fmla="*/ 3985146 h 4380932"/>
              <a:gd name="connsiteX35" fmla="*/ 280754 w 4306583"/>
              <a:gd name="connsiteY35" fmla="*/ 3792648 h 4380932"/>
              <a:gd name="connsiteX36" fmla="*/ 556244 w 4306583"/>
              <a:gd name="connsiteY36"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3105580 w 4306583"/>
              <a:gd name="connsiteY23" fmla="*/ 3289111 h 4380932"/>
              <a:gd name="connsiteX24" fmla="*/ 2846273 w 4306583"/>
              <a:gd name="connsiteY24" fmla="*/ 3302758 h 4380932"/>
              <a:gd name="connsiteX25" fmla="*/ 2041055 w 4306583"/>
              <a:gd name="connsiteY25" fmla="*/ 3523966 h 4380932"/>
              <a:gd name="connsiteX26" fmla="*/ 1749050 w 4306583"/>
              <a:gd name="connsiteY26" fmla="*/ 3548702 h 4380932"/>
              <a:gd name="connsiteX27" fmla="*/ 1656501 w 4306583"/>
              <a:gd name="connsiteY27" fmla="*/ 3582964 h 4380932"/>
              <a:gd name="connsiteX28" fmla="*/ 1317724 w 4306583"/>
              <a:gd name="connsiteY28" fmla="*/ 3753135 h 4380932"/>
              <a:gd name="connsiteX29" fmla="*/ 722422 w 4306583"/>
              <a:gd name="connsiteY29" fmla="*/ 3950572 h 4380932"/>
              <a:gd name="connsiteX30" fmla="*/ 403324 w 4306583"/>
              <a:gd name="connsiteY30" fmla="*/ 4380932 h 4380932"/>
              <a:gd name="connsiteX31" fmla="*/ 0 w 4306583"/>
              <a:gd name="connsiteY31" fmla="*/ 4294365 h 4380932"/>
              <a:gd name="connsiteX32" fmla="*/ 34834 w 4306583"/>
              <a:gd name="connsiteY32" fmla="*/ 4189863 h 4380932"/>
              <a:gd name="connsiteX33" fmla="*/ 103073 w 4306583"/>
              <a:gd name="connsiteY33" fmla="*/ 3985146 h 4380932"/>
              <a:gd name="connsiteX34" fmla="*/ 280754 w 4306583"/>
              <a:gd name="connsiteY34" fmla="*/ 3792648 h 4380932"/>
              <a:gd name="connsiteX35" fmla="*/ 556244 w 4306583"/>
              <a:gd name="connsiteY35"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031069 w 4306583"/>
              <a:gd name="connsiteY21" fmla="*/ 859809 h 4380932"/>
              <a:gd name="connsiteX22" fmla="*/ 4170106 w 4306583"/>
              <a:gd name="connsiteY22" fmla="*/ 2210938 h 4380932"/>
              <a:gd name="connsiteX23" fmla="*/ 2846273 w 4306583"/>
              <a:gd name="connsiteY23" fmla="*/ 3302758 h 4380932"/>
              <a:gd name="connsiteX24" fmla="*/ 2041055 w 4306583"/>
              <a:gd name="connsiteY24" fmla="*/ 3523966 h 4380932"/>
              <a:gd name="connsiteX25" fmla="*/ 1749050 w 4306583"/>
              <a:gd name="connsiteY25" fmla="*/ 3548702 h 4380932"/>
              <a:gd name="connsiteX26" fmla="*/ 1656501 w 4306583"/>
              <a:gd name="connsiteY26" fmla="*/ 3582964 h 4380932"/>
              <a:gd name="connsiteX27" fmla="*/ 1317724 w 4306583"/>
              <a:gd name="connsiteY27" fmla="*/ 3753135 h 4380932"/>
              <a:gd name="connsiteX28" fmla="*/ 722422 w 4306583"/>
              <a:gd name="connsiteY28" fmla="*/ 3950572 h 4380932"/>
              <a:gd name="connsiteX29" fmla="*/ 403324 w 4306583"/>
              <a:gd name="connsiteY29" fmla="*/ 4380932 h 4380932"/>
              <a:gd name="connsiteX30" fmla="*/ 0 w 4306583"/>
              <a:gd name="connsiteY30" fmla="*/ 4294365 h 4380932"/>
              <a:gd name="connsiteX31" fmla="*/ 34834 w 4306583"/>
              <a:gd name="connsiteY31" fmla="*/ 4189863 h 4380932"/>
              <a:gd name="connsiteX32" fmla="*/ 103073 w 4306583"/>
              <a:gd name="connsiteY32" fmla="*/ 3985146 h 4380932"/>
              <a:gd name="connsiteX33" fmla="*/ 280754 w 4306583"/>
              <a:gd name="connsiteY33" fmla="*/ 3792648 h 4380932"/>
              <a:gd name="connsiteX34" fmla="*/ 556244 w 4306583"/>
              <a:gd name="connsiteY34"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718820 w 4306583"/>
              <a:gd name="connsiteY17" fmla="*/ 202378 h 4380932"/>
              <a:gd name="connsiteX18" fmla="*/ 3801616 w 4306583"/>
              <a:gd name="connsiteY18" fmla="*/ 0 h 4380932"/>
              <a:gd name="connsiteX19" fmla="*/ 4306583 w 4306583"/>
              <a:gd name="connsiteY19" fmla="*/ 245660 h 4380932"/>
              <a:gd name="connsiteX20" fmla="*/ 4056801 w 4306583"/>
              <a:gd name="connsiteY20" fmla="*/ 620689 h 4380932"/>
              <a:gd name="connsiteX21" fmla="*/ 4170106 w 4306583"/>
              <a:gd name="connsiteY21" fmla="*/ 2210938 h 4380932"/>
              <a:gd name="connsiteX22" fmla="*/ 2846273 w 4306583"/>
              <a:gd name="connsiteY22" fmla="*/ 3302758 h 4380932"/>
              <a:gd name="connsiteX23" fmla="*/ 2041055 w 4306583"/>
              <a:gd name="connsiteY23" fmla="*/ 3523966 h 4380932"/>
              <a:gd name="connsiteX24" fmla="*/ 1749050 w 4306583"/>
              <a:gd name="connsiteY24" fmla="*/ 3548702 h 4380932"/>
              <a:gd name="connsiteX25" fmla="*/ 1656501 w 4306583"/>
              <a:gd name="connsiteY25" fmla="*/ 3582964 h 4380932"/>
              <a:gd name="connsiteX26" fmla="*/ 1317724 w 4306583"/>
              <a:gd name="connsiteY26" fmla="*/ 3753135 h 4380932"/>
              <a:gd name="connsiteX27" fmla="*/ 722422 w 4306583"/>
              <a:gd name="connsiteY27" fmla="*/ 3950572 h 4380932"/>
              <a:gd name="connsiteX28" fmla="*/ 403324 w 4306583"/>
              <a:gd name="connsiteY28" fmla="*/ 4380932 h 4380932"/>
              <a:gd name="connsiteX29" fmla="*/ 0 w 4306583"/>
              <a:gd name="connsiteY29" fmla="*/ 4294365 h 4380932"/>
              <a:gd name="connsiteX30" fmla="*/ 34834 w 4306583"/>
              <a:gd name="connsiteY30" fmla="*/ 4189863 h 4380932"/>
              <a:gd name="connsiteX31" fmla="*/ 103073 w 4306583"/>
              <a:gd name="connsiteY31" fmla="*/ 3985146 h 4380932"/>
              <a:gd name="connsiteX32" fmla="*/ 280754 w 4306583"/>
              <a:gd name="connsiteY32" fmla="*/ 3792648 h 4380932"/>
              <a:gd name="connsiteX33" fmla="*/ 556244 w 4306583"/>
              <a:gd name="connsiteY33"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228410 w 4306583"/>
              <a:gd name="connsiteY12" fmla="*/ 2784143 h 4380932"/>
              <a:gd name="connsiteX13" fmla="*/ 3487718 w 4306583"/>
              <a:gd name="connsiteY13" fmla="*/ 2361063 h 4380932"/>
              <a:gd name="connsiteX14" fmla="*/ 3665139 w 4306583"/>
              <a:gd name="connsiteY14" fmla="*/ 2060812 h 4380932"/>
              <a:gd name="connsiteX15" fmla="*/ 3651491 w 4306583"/>
              <a:gd name="connsiteY15" fmla="*/ 1514902 h 4380932"/>
              <a:gd name="connsiteX16" fmla="*/ 3637843 w 4306583"/>
              <a:gd name="connsiteY16" fmla="*/ 696036 h 4380932"/>
              <a:gd name="connsiteX17" fmla="*/ 3801616 w 4306583"/>
              <a:gd name="connsiteY17" fmla="*/ 0 h 4380932"/>
              <a:gd name="connsiteX18" fmla="*/ 4306583 w 4306583"/>
              <a:gd name="connsiteY18" fmla="*/ 245660 h 4380932"/>
              <a:gd name="connsiteX19" fmla="*/ 4056801 w 4306583"/>
              <a:gd name="connsiteY19" fmla="*/ 620689 h 4380932"/>
              <a:gd name="connsiteX20" fmla="*/ 4170106 w 4306583"/>
              <a:gd name="connsiteY20" fmla="*/ 2210938 h 4380932"/>
              <a:gd name="connsiteX21" fmla="*/ 2846273 w 4306583"/>
              <a:gd name="connsiteY21" fmla="*/ 3302758 h 4380932"/>
              <a:gd name="connsiteX22" fmla="*/ 2041055 w 4306583"/>
              <a:gd name="connsiteY22" fmla="*/ 3523966 h 4380932"/>
              <a:gd name="connsiteX23" fmla="*/ 1749050 w 4306583"/>
              <a:gd name="connsiteY23" fmla="*/ 3548702 h 4380932"/>
              <a:gd name="connsiteX24" fmla="*/ 1656501 w 4306583"/>
              <a:gd name="connsiteY24" fmla="*/ 3582964 h 4380932"/>
              <a:gd name="connsiteX25" fmla="*/ 1317724 w 4306583"/>
              <a:gd name="connsiteY25" fmla="*/ 3753135 h 4380932"/>
              <a:gd name="connsiteX26" fmla="*/ 722422 w 4306583"/>
              <a:gd name="connsiteY26" fmla="*/ 3950572 h 4380932"/>
              <a:gd name="connsiteX27" fmla="*/ 403324 w 4306583"/>
              <a:gd name="connsiteY27" fmla="*/ 4380932 h 4380932"/>
              <a:gd name="connsiteX28" fmla="*/ 0 w 4306583"/>
              <a:gd name="connsiteY28" fmla="*/ 4294365 h 4380932"/>
              <a:gd name="connsiteX29" fmla="*/ 34834 w 4306583"/>
              <a:gd name="connsiteY29" fmla="*/ 4189863 h 4380932"/>
              <a:gd name="connsiteX30" fmla="*/ 103073 w 4306583"/>
              <a:gd name="connsiteY30" fmla="*/ 3985146 h 4380932"/>
              <a:gd name="connsiteX31" fmla="*/ 280754 w 4306583"/>
              <a:gd name="connsiteY31" fmla="*/ 3792648 h 4380932"/>
              <a:gd name="connsiteX32" fmla="*/ 556244 w 4306583"/>
              <a:gd name="connsiteY32"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041055 w 4306583"/>
              <a:gd name="connsiteY9" fmla="*/ 3179929 h 4380932"/>
              <a:gd name="connsiteX10" fmla="*/ 2148620 w 4306583"/>
              <a:gd name="connsiteY10" fmla="*/ 3128570 h 4380932"/>
              <a:gd name="connsiteX11" fmla="*/ 2682500 w 4306583"/>
              <a:gd name="connsiteY11" fmla="*/ 2961564 h 4380932"/>
              <a:gd name="connsiteX12" fmla="*/ 3487718 w 4306583"/>
              <a:gd name="connsiteY12" fmla="*/ 2361063 h 4380932"/>
              <a:gd name="connsiteX13" fmla="*/ 3665139 w 4306583"/>
              <a:gd name="connsiteY13" fmla="*/ 2060812 h 4380932"/>
              <a:gd name="connsiteX14" fmla="*/ 3651491 w 4306583"/>
              <a:gd name="connsiteY14" fmla="*/ 1514902 h 4380932"/>
              <a:gd name="connsiteX15" fmla="*/ 3637843 w 4306583"/>
              <a:gd name="connsiteY15" fmla="*/ 696036 h 4380932"/>
              <a:gd name="connsiteX16" fmla="*/ 3801616 w 4306583"/>
              <a:gd name="connsiteY16" fmla="*/ 0 h 4380932"/>
              <a:gd name="connsiteX17" fmla="*/ 4306583 w 4306583"/>
              <a:gd name="connsiteY17" fmla="*/ 245660 h 4380932"/>
              <a:gd name="connsiteX18" fmla="*/ 4056801 w 4306583"/>
              <a:gd name="connsiteY18" fmla="*/ 620689 h 4380932"/>
              <a:gd name="connsiteX19" fmla="*/ 4170106 w 4306583"/>
              <a:gd name="connsiteY19" fmla="*/ 2210938 h 4380932"/>
              <a:gd name="connsiteX20" fmla="*/ 2846273 w 4306583"/>
              <a:gd name="connsiteY20" fmla="*/ 3302758 h 4380932"/>
              <a:gd name="connsiteX21" fmla="*/ 2041055 w 4306583"/>
              <a:gd name="connsiteY21" fmla="*/ 3523966 h 4380932"/>
              <a:gd name="connsiteX22" fmla="*/ 1749050 w 4306583"/>
              <a:gd name="connsiteY22" fmla="*/ 3548702 h 4380932"/>
              <a:gd name="connsiteX23" fmla="*/ 1656501 w 4306583"/>
              <a:gd name="connsiteY23" fmla="*/ 3582964 h 4380932"/>
              <a:gd name="connsiteX24" fmla="*/ 1317724 w 4306583"/>
              <a:gd name="connsiteY24" fmla="*/ 3753135 h 4380932"/>
              <a:gd name="connsiteX25" fmla="*/ 722422 w 4306583"/>
              <a:gd name="connsiteY25" fmla="*/ 3950572 h 4380932"/>
              <a:gd name="connsiteX26" fmla="*/ 403324 w 4306583"/>
              <a:gd name="connsiteY26" fmla="*/ 4380932 h 4380932"/>
              <a:gd name="connsiteX27" fmla="*/ 0 w 4306583"/>
              <a:gd name="connsiteY27" fmla="*/ 4294365 h 4380932"/>
              <a:gd name="connsiteX28" fmla="*/ 34834 w 4306583"/>
              <a:gd name="connsiteY28" fmla="*/ 4189863 h 4380932"/>
              <a:gd name="connsiteX29" fmla="*/ 103073 w 4306583"/>
              <a:gd name="connsiteY29" fmla="*/ 3985146 h 4380932"/>
              <a:gd name="connsiteX30" fmla="*/ 280754 w 4306583"/>
              <a:gd name="connsiteY30" fmla="*/ 3792648 h 4380932"/>
              <a:gd name="connsiteX31" fmla="*/ 556244 w 4306583"/>
              <a:gd name="connsiteY31"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1781748 w 4306583"/>
              <a:gd name="connsiteY6" fmla="*/ 3210457 h 4380932"/>
              <a:gd name="connsiteX7" fmla="*/ 2048853 w 4306583"/>
              <a:gd name="connsiteY7" fmla="*/ 3168621 h 4380932"/>
              <a:gd name="connsiteX8" fmla="*/ 2000112 w 4306583"/>
              <a:gd name="connsiteY8" fmla="*/ 3193576 h 4380932"/>
              <a:gd name="connsiteX9" fmla="*/ 2148620 w 4306583"/>
              <a:gd name="connsiteY9" fmla="*/ 3128570 h 4380932"/>
              <a:gd name="connsiteX10" fmla="*/ 2682500 w 4306583"/>
              <a:gd name="connsiteY10" fmla="*/ 2961564 h 4380932"/>
              <a:gd name="connsiteX11" fmla="*/ 3487718 w 4306583"/>
              <a:gd name="connsiteY11" fmla="*/ 2361063 h 4380932"/>
              <a:gd name="connsiteX12" fmla="*/ 3665139 w 4306583"/>
              <a:gd name="connsiteY12" fmla="*/ 2060812 h 4380932"/>
              <a:gd name="connsiteX13" fmla="*/ 3651491 w 4306583"/>
              <a:gd name="connsiteY13" fmla="*/ 1514902 h 4380932"/>
              <a:gd name="connsiteX14" fmla="*/ 3637843 w 4306583"/>
              <a:gd name="connsiteY14" fmla="*/ 696036 h 4380932"/>
              <a:gd name="connsiteX15" fmla="*/ 3801616 w 4306583"/>
              <a:gd name="connsiteY15" fmla="*/ 0 h 4380932"/>
              <a:gd name="connsiteX16" fmla="*/ 4306583 w 4306583"/>
              <a:gd name="connsiteY16" fmla="*/ 245660 h 4380932"/>
              <a:gd name="connsiteX17" fmla="*/ 4056801 w 4306583"/>
              <a:gd name="connsiteY17" fmla="*/ 620689 h 4380932"/>
              <a:gd name="connsiteX18" fmla="*/ 4170106 w 4306583"/>
              <a:gd name="connsiteY18" fmla="*/ 2210938 h 4380932"/>
              <a:gd name="connsiteX19" fmla="*/ 2846273 w 4306583"/>
              <a:gd name="connsiteY19" fmla="*/ 3302758 h 4380932"/>
              <a:gd name="connsiteX20" fmla="*/ 2041055 w 4306583"/>
              <a:gd name="connsiteY20" fmla="*/ 3523966 h 4380932"/>
              <a:gd name="connsiteX21" fmla="*/ 1749050 w 4306583"/>
              <a:gd name="connsiteY21" fmla="*/ 3548702 h 4380932"/>
              <a:gd name="connsiteX22" fmla="*/ 1656501 w 4306583"/>
              <a:gd name="connsiteY22" fmla="*/ 3582964 h 4380932"/>
              <a:gd name="connsiteX23" fmla="*/ 1317724 w 4306583"/>
              <a:gd name="connsiteY23" fmla="*/ 3753135 h 4380932"/>
              <a:gd name="connsiteX24" fmla="*/ 722422 w 4306583"/>
              <a:gd name="connsiteY24" fmla="*/ 3950572 h 4380932"/>
              <a:gd name="connsiteX25" fmla="*/ 403324 w 4306583"/>
              <a:gd name="connsiteY25" fmla="*/ 4380932 h 4380932"/>
              <a:gd name="connsiteX26" fmla="*/ 0 w 4306583"/>
              <a:gd name="connsiteY26" fmla="*/ 4294365 h 4380932"/>
              <a:gd name="connsiteX27" fmla="*/ 34834 w 4306583"/>
              <a:gd name="connsiteY27" fmla="*/ 4189863 h 4380932"/>
              <a:gd name="connsiteX28" fmla="*/ 103073 w 4306583"/>
              <a:gd name="connsiteY28" fmla="*/ 3985146 h 4380932"/>
              <a:gd name="connsiteX29" fmla="*/ 280754 w 4306583"/>
              <a:gd name="connsiteY29" fmla="*/ 3792648 h 4380932"/>
              <a:gd name="connsiteX30" fmla="*/ 556244 w 4306583"/>
              <a:gd name="connsiteY30"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2048853 w 4306583"/>
              <a:gd name="connsiteY6" fmla="*/ 3168621 h 4380932"/>
              <a:gd name="connsiteX7" fmla="*/ 2000112 w 4306583"/>
              <a:gd name="connsiteY7" fmla="*/ 3193576 h 4380932"/>
              <a:gd name="connsiteX8" fmla="*/ 2148620 w 4306583"/>
              <a:gd name="connsiteY8" fmla="*/ 3128570 h 4380932"/>
              <a:gd name="connsiteX9" fmla="*/ 2682500 w 4306583"/>
              <a:gd name="connsiteY9" fmla="*/ 2961564 h 4380932"/>
              <a:gd name="connsiteX10" fmla="*/ 3487718 w 4306583"/>
              <a:gd name="connsiteY10" fmla="*/ 2361063 h 4380932"/>
              <a:gd name="connsiteX11" fmla="*/ 3665139 w 4306583"/>
              <a:gd name="connsiteY11" fmla="*/ 2060812 h 4380932"/>
              <a:gd name="connsiteX12" fmla="*/ 3651491 w 4306583"/>
              <a:gd name="connsiteY12" fmla="*/ 1514902 h 4380932"/>
              <a:gd name="connsiteX13" fmla="*/ 3637843 w 4306583"/>
              <a:gd name="connsiteY13" fmla="*/ 696036 h 4380932"/>
              <a:gd name="connsiteX14" fmla="*/ 3801616 w 4306583"/>
              <a:gd name="connsiteY14" fmla="*/ 0 h 4380932"/>
              <a:gd name="connsiteX15" fmla="*/ 4306583 w 4306583"/>
              <a:gd name="connsiteY15" fmla="*/ 245660 h 4380932"/>
              <a:gd name="connsiteX16" fmla="*/ 4056801 w 4306583"/>
              <a:gd name="connsiteY16" fmla="*/ 620689 h 4380932"/>
              <a:gd name="connsiteX17" fmla="*/ 4170106 w 4306583"/>
              <a:gd name="connsiteY17" fmla="*/ 2210938 h 4380932"/>
              <a:gd name="connsiteX18" fmla="*/ 2846273 w 4306583"/>
              <a:gd name="connsiteY18" fmla="*/ 3302758 h 4380932"/>
              <a:gd name="connsiteX19" fmla="*/ 2041055 w 4306583"/>
              <a:gd name="connsiteY19" fmla="*/ 3523966 h 4380932"/>
              <a:gd name="connsiteX20" fmla="*/ 1749050 w 4306583"/>
              <a:gd name="connsiteY20" fmla="*/ 3548702 h 4380932"/>
              <a:gd name="connsiteX21" fmla="*/ 1656501 w 4306583"/>
              <a:gd name="connsiteY21" fmla="*/ 3582964 h 4380932"/>
              <a:gd name="connsiteX22" fmla="*/ 1317724 w 4306583"/>
              <a:gd name="connsiteY22" fmla="*/ 3753135 h 4380932"/>
              <a:gd name="connsiteX23" fmla="*/ 722422 w 4306583"/>
              <a:gd name="connsiteY23" fmla="*/ 3950572 h 4380932"/>
              <a:gd name="connsiteX24" fmla="*/ 403324 w 4306583"/>
              <a:gd name="connsiteY24" fmla="*/ 4380932 h 4380932"/>
              <a:gd name="connsiteX25" fmla="*/ 0 w 4306583"/>
              <a:gd name="connsiteY25" fmla="*/ 4294365 h 4380932"/>
              <a:gd name="connsiteX26" fmla="*/ 34834 w 4306583"/>
              <a:gd name="connsiteY26" fmla="*/ 4189863 h 4380932"/>
              <a:gd name="connsiteX27" fmla="*/ 103073 w 4306583"/>
              <a:gd name="connsiteY27" fmla="*/ 3985146 h 4380932"/>
              <a:gd name="connsiteX28" fmla="*/ 280754 w 4306583"/>
              <a:gd name="connsiteY28" fmla="*/ 3792648 h 4380932"/>
              <a:gd name="connsiteX29" fmla="*/ 556244 w 4306583"/>
              <a:gd name="connsiteY29"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2048853 w 4306583"/>
              <a:gd name="connsiteY6" fmla="*/ 3168621 h 4380932"/>
              <a:gd name="connsiteX7" fmla="*/ 2148620 w 4306583"/>
              <a:gd name="connsiteY7" fmla="*/ 3128570 h 4380932"/>
              <a:gd name="connsiteX8" fmla="*/ 2682500 w 4306583"/>
              <a:gd name="connsiteY8" fmla="*/ 2961564 h 4380932"/>
              <a:gd name="connsiteX9" fmla="*/ 3487718 w 4306583"/>
              <a:gd name="connsiteY9" fmla="*/ 2361063 h 4380932"/>
              <a:gd name="connsiteX10" fmla="*/ 3665139 w 4306583"/>
              <a:gd name="connsiteY10" fmla="*/ 2060812 h 4380932"/>
              <a:gd name="connsiteX11" fmla="*/ 3651491 w 4306583"/>
              <a:gd name="connsiteY11" fmla="*/ 1514902 h 4380932"/>
              <a:gd name="connsiteX12" fmla="*/ 3637843 w 4306583"/>
              <a:gd name="connsiteY12" fmla="*/ 696036 h 4380932"/>
              <a:gd name="connsiteX13" fmla="*/ 3801616 w 4306583"/>
              <a:gd name="connsiteY13" fmla="*/ 0 h 4380932"/>
              <a:gd name="connsiteX14" fmla="*/ 4306583 w 4306583"/>
              <a:gd name="connsiteY14" fmla="*/ 245660 h 4380932"/>
              <a:gd name="connsiteX15" fmla="*/ 4056801 w 4306583"/>
              <a:gd name="connsiteY15" fmla="*/ 620689 h 4380932"/>
              <a:gd name="connsiteX16" fmla="*/ 4170106 w 4306583"/>
              <a:gd name="connsiteY16" fmla="*/ 2210938 h 4380932"/>
              <a:gd name="connsiteX17" fmla="*/ 2846273 w 4306583"/>
              <a:gd name="connsiteY17" fmla="*/ 3302758 h 4380932"/>
              <a:gd name="connsiteX18" fmla="*/ 2041055 w 4306583"/>
              <a:gd name="connsiteY18" fmla="*/ 3523966 h 4380932"/>
              <a:gd name="connsiteX19" fmla="*/ 1749050 w 4306583"/>
              <a:gd name="connsiteY19" fmla="*/ 3548702 h 4380932"/>
              <a:gd name="connsiteX20" fmla="*/ 1656501 w 4306583"/>
              <a:gd name="connsiteY20" fmla="*/ 3582964 h 4380932"/>
              <a:gd name="connsiteX21" fmla="*/ 1317724 w 4306583"/>
              <a:gd name="connsiteY21" fmla="*/ 3753135 h 4380932"/>
              <a:gd name="connsiteX22" fmla="*/ 722422 w 4306583"/>
              <a:gd name="connsiteY22" fmla="*/ 3950572 h 4380932"/>
              <a:gd name="connsiteX23" fmla="*/ 403324 w 4306583"/>
              <a:gd name="connsiteY23" fmla="*/ 4380932 h 4380932"/>
              <a:gd name="connsiteX24" fmla="*/ 0 w 4306583"/>
              <a:gd name="connsiteY24" fmla="*/ 4294365 h 4380932"/>
              <a:gd name="connsiteX25" fmla="*/ 34834 w 4306583"/>
              <a:gd name="connsiteY25" fmla="*/ 4189863 h 4380932"/>
              <a:gd name="connsiteX26" fmla="*/ 103073 w 4306583"/>
              <a:gd name="connsiteY26" fmla="*/ 3985146 h 4380932"/>
              <a:gd name="connsiteX27" fmla="*/ 280754 w 4306583"/>
              <a:gd name="connsiteY27" fmla="*/ 3792648 h 4380932"/>
              <a:gd name="connsiteX28" fmla="*/ 556244 w 4306583"/>
              <a:gd name="connsiteY28" fmla="*/ 3549652 h 4380932"/>
              <a:gd name="connsiteX0" fmla="*/ 509257 w 4306583"/>
              <a:gd name="connsiteY0" fmla="*/ 3564404 h 4380932"/>
              <a:gd name="connsiteX1" fmla="*/ 655352 w 4306583"/>
              <a:gd name="connsiteY1" fmla="*/ 3476410 h 4380932"/>
              <a:gd name="connsiteX2" fmla="*/ 1001310 w 4306583"/>
              <a:gd name="connsiteY2" fmla="*/ 3358248 h 4380932"/>
              <a:gd name="connsiteX3" fmla="*/ 1333706 w 4306583"/>
              <a:gd name="connsiteY3" fmla="*/ 3286776 h 4380932"/>
              <a:gd name="connsiteX4" fmla="*/ 1532058 w 4306583"/>
              <a:gd name="connsiteY4" fmla="*/ 3249338 h 4380932"/>
              <a:gd name="connsiteX5" fmla="*/ 1737560 w 4306583"/>
              <a:gd name="connsiteY5" fmla="*/ 3211626 h 4380932"/>
              <a:gd name="connsiteX6" fmla="*/ 2048853 w 4306583"/>
              <a:gd name="connsiteY6" fmla="*/ 3168621 h 4380932"/>
              <a:gd name="connsiteX7" fmla="*/ 2148620 w 4306583"/>
              <a:gd name="connsiteY7" fmla="*/ 3128570 h 4380932"/>
              <a:gd name="connsiteX8" fmla="*/ 2682500 w 4306583"/>
              <a:gd name="connsiteY8" fmla="*/ 2961564 h 4380932"/>
              <a:gd name="connsiteX9" fmla="*/ 3487718 w 4306583"/>
              <a:gd name="connsiteY9" fmla="*/ 2361063 h 4380932"/>
              <a:gd name="connsiteX10" fmla="*/ 3665139 w 4306583"/>
              <a:gd name="connsiteY10" fmla="*/ 2060812 h 4380932"/>
              <a:gd name="connsiteX11" fmla="*/ 3651491 w 4306583"/>
              <a:gd name="connsiteY11" fmla="*/ 1514902 h 4380932"/>
              <a:gd name="connsiteX12" fmla="*/ 3637843 w 4306583"/>
              <a:gd name="connsiteY12" fmla="*/ 696036 h 4380932"/>
              <a:gd name="connsiteX13" fmla="*/ 3801616 w 4306583"/>
              <a:gd name="connsiteY13" fmla="*/ 0 h 4380932"/>
              <a:gd name="connsiteX14" fmla="*/ 4306583 w 4306583"/>
              <a:gd name="connsiteY14" fmla="*/ 245660 h 4380932"/>
              <a:gd name="connsiteX15" fmla="*/ 4056801 w 4306583"/>
              <a:gd name="connsiteY15" fmla="*/ 620689 h 4380932"/>
              <a:gd name="connsiteX16" fmla="*/ 4170106 w 4306583"/>
              <a:gd name="connsiteY16" fmla="*/ 2210938 h 4380932"/>
              <a:gd name="connsiteX17" fmla="*/ 2846273 w 4306583"/>
              <a:gd name="connsiteY17" fmla="*/ 3302758 h 4380932"/>
              <a:gd name="connsiteX18" fmla="*/ 2041055 w 4306583"/>
              <a:gd name="connsiteY18" fmla="*/ 3523966 h 4380932"/>
              <a:gd name="connsiteX19" fmla="*/ 1749050 w 4306583"/>
              <a:gd name="connsiteY19" fmla="*/ 3548702 h 4380932"/>
              <a:gd name="connsiteX20" fmla="*/ 1656501 w 4306583"/>
              <a:gd name="connsiteY20" fmla="*/ 3582964 h 4380932"/>
              <a:gd name="connsiteX21" fmla="*/ 1317724 w 4306583"/>
              <a:gd name="connsiteY21" fmla="*/ 3753135 h 4380932"/>
              <a:gd name="connsiteX22" fmla="*/ 722422 w 4306583"/>
              <a:gd name="connsiteY22" fmla="*/ 3950572 h 4380932"/>
              <a:gd name="connsiteX23" fmla="*/ 403324 w 4306583"/>
              <a:gd name="connsiteY23" fmla="*/ 4380932 h 4380932"/>
              <a:gd name="connsiteX24" fmla="*/ 0 w 4306583"/>
              <a:gd name="connsiteY24" fmla="*/ 4294365 h 4380932"/>
              <a:gd name="connsiteX25" fmla="*/ 34834 w 4306583"/>
              <a:gd name="connsiteY25" fmla="*/ 4189863 h 4380932"/>
              <a:gd name="connsiteX26" fmla="*/ 103073 w 4306583"/>
              <a:gd name="connsiteY26" fmla="*/ 3985146 h 4380932"/>
              <a:gd name="connsiteX27" fmla="*/ 280754 w 4306583"/>
              <a:gd name="connsiteY27" fmla="*/ 3792648 h 4380932"/>
              <a:gd name="connsiteX0" fmla="*/ 509257 w 4306583"/>
              <a:gd name="connsiteY0" fmla="*/ 3564404 h 4380932"/>
              <a:gd name="connsiteX1" fmla="*/ 1001310 w 4306583"/>
              <a:gd name="connsiteY1" fmla="*/ 3358248 h 4380932"/>
              <a:gd name="connsiteX2" fmla="*/ 1333706 w 4306583"/>
              <a:gd name="connsiteY2" fmla="*/ 3286776 h 4380932"/>
              <a:gd name="connsiteX3" fmla="*/ 1532058 w 4306583"/>
              <a:gd name="connsiteY3" fmla="*/ 3249338 h 4380932"/>
              <a:gd name="connsiteX4" fmla="*/ 1737560 w 4306583"/>
              <a:gd name="connsiteY4" fmla="*/ 3211626 h 4380932"/>
              <a:gd name="connsiteX5" fmla="*/ 2048853 w 4306583"/>
              <a:gd name="connsiteY5" fmla="*/ 3168621 h 4380932"/>
              <a:gd name="connsiteX6" fmla="*/ 2148620 w 4306583"/>
              <a:gd name="connsiteY6" fmla="*/ 3128570 h 4380932"/>
              <a:gd name="connsiteX7" fmla="*/ 2682500 w 4306583"/>
              <a:gd name="connsiteY7" fmla="*/ 2961564 h 4380932"/>
              <a:gd name="connsiteX8" fmla="*/ 3487718 w 4306583"/>
              <a:gd name="connsiteY8" fmla="*/ 2361063 h 4380932"/>
              <a:gd name="connsiteX9" fmla="*/ 3665139 w 4306583"/>
              <a:gd name="connsiteY9" fmla="*/ 2060812 h 4380932"/>
              <a:gd name="connsiteX10" fmla="*/ 3651491 w 4306583"/>
              <a:gd name="connsiteY10" fmla="*/ 1514902 h 4380932"/>
              <a:gd name="connsiteX11" fmla="*/ 3637843 w 4306583"/>
              <a:gd name="connsiteY11" fmla="*/ 696036 h 4380932"/>
              <a:gd name="connsiteX12" fmla="*/ 3801616 w 4306583"/>
              <a:gd name="connsiteY12" fmla="*/ 0 h 4380932"/>
              <a:gd name="connsiteX13" fmla="*/ 4306583 w 4306583"/>
              <a:gd name="connsiteY13" fmla="*/ 245660 h 4380932"/>
              <a:gd name="connsiteX14" fmla="*/ 4056801 w 4306583"/>
              <a:gd name="connsiteY14" fmla="*/ 620689 h 4380932"/>
              <a:gd name="connsiteX15" fmla="*/ 4170106 w 4306583"/>
              <a:gd name="connsiteY15" fmla="*/ 2210938 h 4380932"/>
              <a:gd name="connsiteX16" fmla="*/ 2846273 w 4306583"/>
              <a:gd name="connsiteY16" fmla="*/ 3302758 h 4380932"/>
              <a:gd name="connsiteX17" fmla="*/ 2041055 w 4306583"/>
              <a:gd name="connsiteY17" fmla="*/ 3523966 h 4380932"/>
              <a:gd name="connsiteX18" fmla="*/ 1749050 w 4306583"/>
              <a:gd name="connsiteY18" fmla="*/ 3548702 h 4380932"/>
              <a:gd name="connsiteX19" fmla="*/ 1656501 w 4306583"/>
              <a:gd name="connsiteY19" fmla="*/ 3582964 h 4380932"/>
              <a:gd name="connsiteX20" fmla="*/ 1317724 w 4306583"/>
              <a:gd name="connsiteY20" fmla="*/ 3753135 h 4380932"/>
              <a:gd name="connsiteX21" fmla="*/ 722422 w 4306583"/>
              <a:gd name="connsiteY21" fmla="*/ 3950572 h 4380932"/>
              <a:gd name="connsiteX22" fmla="*/ 403324 w 4306583"/>
              <a:gd name="connsiteY22" fmla="*/ 4380932 h 4380932"/>
              <a:gd name="connsiteX23" fmla="*/ 0 w 4306583"/>
              <a:gd name="connsiteY23" fmla="*/ 4294365 h 4380932"/>
              <a:gd name="connsiteX24" fmla="*/ 34834 w 4306583"/>
              <a:gd name="connsiteY24" fmla="*/ 4189863 h 4380932"/>
              <a:gd name="connsiteX25" fmla="*/ 103073 w 4306583"/>
              <a:gd name="connsiteY25" fmla="*/ 3985146 h 4380932"/>
              <a:gd name="connsiteX26" fmla="*/ 280754 w 4306583"/>
              <a:gd name="connsiteY26" fmla="*/ 3792648 h 4380932"/>
              <a:gd name="connsiteX0" fmla="*/ 509257 w 4306583"/>
              <a:gd name="connsiteY0" fmla="*/ 3564404 h 4380932"/>
              <a:gd name="connsiteX1" fmla="*/ 1001310 w 4306583"/>
              <a:gd name="connsiteY1" fmla="*/ 3358248 h 4380932"/>
              <a:gd name="connsiteX2" fmla="*/ 1333706 w 4306583"/>
              <a:gd name="connsiteY2" fmla="*/ 3286776 h 4380932"/>
              <a:gd name="connsiteX3" fmla="*/ 1737560 w 4306583"/>
              <a:gd name="connsiteY3" fmla="*/ 3211626 h 4380932"/>
              <a:gd name="connsiteX4" fmla="*/ 2048853 w 4306583"/>
              <a:gd name="connsiteY4" fmla="*/ 3168621 h 4380932"/>
              <a:gd name="connsiteX5" fmla="*/ 2148620 w 4306583"/>
              <a:gd name="connsiteY5" fmla="*/ 3128570 h 4380932"/>
              <a:gd name="connsiteX6" fmla="*/ 2682500 w 4306583"/>
              <a:gd name="connsiteY6" fmla="*/ 2961564 h 4380932"/>
              <a:gd name="connsiteX7" fmla="*/ 3487718 w 4306583"/>
              <a:gd name="connsiteY7" fmla="*/ 2361063 h 4380932"/>
              <a:gd name="connsiteX8" fmla="*/ 3665139 w 4306583"/>
              <a:gd name="connsiteY8" fmla="*/ 2060812 h 4380932"/>
              <a:gd name="connsiteX9" fmla="*/ 3651491 w 4306583"/>
              <a:gd name="connsiteY9" fmla="*/ 1514902 h 4380932"/>
              <a:gd name="connsiteX10" fmla="*/ 3637843 w 4306583"/>
              <a:gd name="connsiteY10" fmla="*/ 696036 h 4380932"/>
              <a:gd name="connsiteX11" fmla="*/ 3801616 w 4306583"/>
              <a:gd name="connsiteY11" fmla="*/ 0 h 4380932"/>
              <a:gd name="connsiteX12" fmla="*/ 4306583 w 4306583"/>
              <a:gd name="connsiteY12" fmla="*/ 245660 h 4380932"/>
              <a:gd name="connsiteX13" fmla="*/ 4056801 w 4306583"/>
              <a:gd name="connsiteY13" fmla="*/ 620689 h 4380932"/>
              <a:gd name="connsiteX14" fmla="*/ 4170106 w 4306583"/>
              <a:gd name="connsiteY14" fmla="*/ 2210938 h 4380932"/>
              <a:gd name="connsiteX15" fmla="*/ 2846273 w 4306583"/>
              <a:gd name="connsiteY15" fmla="*/ 3302758 h 4380932"/>
              <a:gd name="connsiteX16" fmla="*/ 2041055 w 4306583"/>
              <a:gd name="connsiteY16" fmla="*/ 3523966 h 4380932"/>
              <a:gd name="connsiteX17" fmla="*/ 1749050 w 4306583"/>
              <a:gd name="connsiteY17" fmla="*/ 3548702 h 4380932"/>
              <a:gd name="connsiteX18" fmla="*/ 1656501 w 4306583"/>
              <a:gd name="connsiteY18" fmla="*/ 3582964 h 4380932"/>
              <a:gd name="connsiteX19" fmla="*/ 1317724 w 4306583"/>
              <a:gd name="connsiteY19" fmla="*/ 3753135 h 4380932"/>
              <a:gd name="connsiteX20" fmla="*/ 722422 w 4306583"/>
              <a:gd name="connsiteY20" fmla="*/ 3950572 h 4380932"/>
              <a:gd name="connsiteX21" fmla="*/ 403324 w 4306583"/>
              <a:gd name="connsiteY21" fmla="*/ 4380932 h 4380932"/>
              <a:gd name="connsiteX22" fmla="*/ 0 w 4306583"/>
              <a:gd name="connsiteY22" fmla="*/ 4294365 h 4380932"/>
              <a:gd name="connsiteX23" fmla="*/ 34834 w 4306583"/>
              <a:gd name="connsiteY23" fmla="*/ 4189863 h 4380932"/>
              <a:gd name="connsiteX24" fmla="*/ 103073 w 4306583"/>
              <a:gd name="connsiteY24" fmla="*/ 3985146 h 4380932"/>
              <a:gd name="connsiteX25" fmla="*/ 280754 w 4306583"/>
              <a:gd name="connsiteY25" fmla="*/ 3792648 h 4380932"/>
              <a:gd name="connsiteX0" fmla="*/ 509257 w 4306583"/>
              <a:gd name="connsiteY0" fmla="*/ 3564404 h 4380932"/>
              <a:gd name="connsiteX1" fmla="*/ 1001310 w 4306583"/>
              <a:gd name="connsiteY1" fmla="*/ 3358248 h 4380932"/>
              <a:gd name="connsiteX2" fmla="*/ 1333706 w 4306583"/>
              <a:gd name="connsiteY2" fmla="*/ 3286776 h 4380932"/>
              <a:gd name="connsiteX3" fmla="*/ 1737560 w 4306583"/>
              <a:gd name="connsiteY3" fmla="*/ 3211626 h 4380932"/>
              <a:gd name="connsiteX4" fmla="*/ 2148620 w 4306583"/>
              <a:gd name="connsiteY4" fmla="*/ 3128570 h 4380932"/>
              <a:gd name="connsiteX5" fmla="*/ 2682500 w 4306583"/>
              <a:gd name="connsiteY5" fmla="*/ 2961564 h 4380932"/>
              <a:gd name="connsiteX6" fmla="*/ 3487718 w 4306583"/>
              <a:gd name="connsiteY6" fmla="*/ 2361063 h 4380932"/>
              <a:gd name="connsiteX7" fmla="*/ 3665139 w 4306583"/>
              <a:gd name="connsiteY7" fmla="*/ 2060812 h 4380932"/>
              <a:gd name="connsiteX8" fmla="*/ 3651491 w 4306583"/>
              <a:gd name="connsiteY8" fmla="*/ 1514902 h 4380932"/>
              <a:gd name="connsiteX9" fmla="*/ 3637843 w 4306583"/>
              <a:gd name="connsiteY9" fmla="*/ 696036 h 4380932"/>
              <a:gd name="connsiteX10" fmla="*/ 3801616 w 4306583"/>
              <a:gd name="connsiteY10" fmla="*/ 0 h 4380932"/>
              <a:gd name="connsiteX11" fmla="*/ 4306583 w 4306583"/>
              <a:gd name="connsiteY11" fmla="*/ 245660 h 4380932"/>
              <a:gd name="connsiteX12" fmla="*/ 4056801 w 4306583"/>
              <a:gd name="connsiteY12" fmla="*/ 620689 h 4380932"/>
              <a:gd name="connsiteX13" fmla="*/ 4170106 w 4306583"/>
              <a:gd name="connsiteY13" fmla="*/ 2210938 h 4380932"/>
              <a:gd name="connsiteX14" fmla="*/ 2846273 w 4306583"/>
              <a:gd name="connsiteY14" fmla="*/ 3302758 h 4380932"/>
              <a:gd name="connsiteX15" fmla="*/ 2041055 w 4306583"/>
              <a:gd name="connsiteY15" fmla="*/ 3523966 h 4380932"/>
              <a:gd name="connsiteX16" fmla="*/ 1749050 w 4306583"/>
              <a:gd name="connsiteY16" fmla="*/ 3548702 h 4380932"/>
              <a:gd name="connsiteX17" fmla="*/ 1656501 w 4306583"/>
              <a:gd name="connsiteY17" fmla="*/ 3582964 h 4380932"/>
              <a:gd name="connsiteX18" fmla="*/ 1317724 w 4306583"/>
              <a:gd name="connsiteY18" fmla="*/ 3753135 h 4380932"/>
              <a:gd name="connsiteX19" fmla="*/ 722422 w 4306583"/>
              <a:gd name="connsiteY19" fmla="*/ 3950572 h 4380932"/>
              <a:gd name="connsiteX20" fmla="*/ 403324 w 4306583"/>
              <a:gd name="connsiteY20" fmla="*/ 4380932 h 4380932"/>
              <a:gd name="connsiteX21" fmla="*/ 0 w 4306583"/>
              <a:gd name="connsiteY21" fmla="*/ 4294365 h 4380932"/>
              <a:gd name="connsiteX22" fmla="*/ 34834 w 4306583"/>
              <a:gd name="connsiteY22" fmla="*/ 4189863 h 4380932"/>
              <a:gd name="connsiteX23" fmla="*/ 103073 w 4306583"/>
              <a:gd name="connsiteY23" fmla="*/ 3985146 h 4380932"/>
              <a:gd name="connsiteX24" fmla="*/ 280754 w 4306583"/>
              <a:gd name="connsiteY24" fmla="*/ 3792648 h 4380932"/>
              <a:gd name="connsiteX0" fmla="*/ 509257 w 4306583"/>
              <a:gd name="connsiteY0" fmla="*/ 3564404 h 4380932"/>
              <a:gd name="connsiteX1" fmla="*/ 1001310 w 4306583"/>
              <a:gd name="connsiteY1" fmla="*/ 3358248 h 4380932"/>
              <a:gd name="connsiteX2" fmla="*/ 1333706 w 4306583"/>
              <a:gd name="connsiteY2" fmla="*/ 3286776 h 4380932"/>
              <a:gd name="connsiteX3" fmla="*/ 1737560 w 4306583"/>
              <a:gd name="connsiteY3" fmla="*/ 3211626 h 4380932"/>
              <a:gd name="connsiteX4" fmla="*/ 2148620 w 4306583"/>
              <a:gd name="connsiteY4" fmla="*/ 3128570 h 4380932"/>
              <a:gd name="connsiteX5" fmla="*/ 2682500 w 4306583"/>
              <a:gd name="connsiteY5" fmla="*/ 2961564 h 4380932"/>
              <a:gd name="connsiteX6" fmla="*/ 3487718 w 4306583"/>
              <a:gd name="connsiteY6" fmla="*/ 2361063 h 4380932"/>
              <a:gd name="connsiteX7" fmla="*/ 3665139 w 4306583"/>
              <a:gd name="connsiteY7" fmla="*/ 2060812 h 4380932"/>
              <a:gd name="connsiteX8" fmla="*/ 3651491 w 4306583"/>
              <a:gd name="connsiteY8" fmla="*/ 1514902 h 4380932"/>
              <a:gd name="connsiteX9" fmla="*/ 3637843 w 4306583"/>
              <a:gd name="connsiteY9" fmla="*/ 696036 h 4380932"/>
              <a:gd name="connsiteX10" fmla="*/ 3801616 w 4306583"/>
              <a:gd name="connsiteY10" fmla="*/ 0 h 4380932"/>
              <a:gd name="connsiteX11" fmla="*/ 4306583 w 4306583"/>
              <a:gd name="connsiteY11" fmla="*/ 245660 h 4380932"/>
              <a:gd name="connsiteX12" fmla="*/ 4056801 w 4306583"/>
              <a:gd name="connsiteY12" fmla="*/ 620689 h 4380932"/>
              <a:gd name="connsiteX13" fmla="*/ 4170106 w 4306583"/>
              <a:gd name="connsiteY13" fmla="*/ 2210938 h 4380932"/>
              <a:gd name="connsiteX14" fmla="*/ 2846273 w 4306583"/>
              <a:gd name="connsiteY14" fmla="*/ 3302758 h 4380932"/>
              <a:gd name="connsiteX15" fmla="*/ 2041055 w 4306583"/>
              <a:gd name="connsiteY15" fmla="*/ 3523966 h 4380932"/>
              <a:gd name="connsiteX16" fmla="*/ 1749050 w 4306583"/>
              <a:gd name="connsiteY16" fmla="*/ 3548702 h 4380932"/>
              <a:gd name="connsiteX17" fmla="*/ 1656501 w 4306583"/>
              <a:gd name="connsiteY17" fmla="*/ 3582964 h 4380932"/>
              <a:gd name="connsiteX18" fmla="*/ 1317724 w 4306583"/>
              <a:gd name="connsiteY18" fmla="*/ 3753135 h 4380932"/>
              <a:gd name="connsiteX19" fmla="*/ 722422 w 4306583"/>
              <a:gd name="connsiteY19" fmla="*/ 3950572 h 4380932"/>
              <a:gd name="connsiteX20" fmla="*/ 403324 w 4306583"/>
              <a:gd name="connsiteY20" fmla="*/ 4380932 h 4380932"/>
              <a:gd name="connsiteX21" fmla="*/ 0 w 4306583"/>
              <a:gd name="connsiteY21" fmla="*/ 4294365 h 4380932"/>
              <a:gd name="connsiteX22" fmla="*/ 34834 w 4306583"/>
              <a:gd name="connsiteY22" fmla="*/ 4189863 h 4380932"/>
              <a:gd name="connsiteX23" fmla="*/ 280754 w 4306583"/>
              <a:gd name="connsiteY23"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666356 w 4307800"/>
              <a:gd name="connsiteY7" fmla="*/ 2060812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50267 w 4307800"/>
              <a:gd name="connsiteY16" fmla="*/ 3548702 h 4380932"/>
              <a:gd name="connsiteX17" fmla="*/ 1657718 w 4307800"/>
              <a:gd name="connsiteY17" fmla="*/ 3582964 h 4380932"/>
              <a:gd name="connsiteX18" fmla="*/ 1318941 w 4307800"/>
              <a:gd name="connsiteY18" fmla="*/ 3753135 h 4380932"/>
              <a:gd name="connsiteX19" fmla="*/ 723639 w 4307800"/>
              <a:gd name="connsiteY19" fmla="*/ 3950572 h 4380932"/>
              <a:gd name="connsiteX20" fmla="*/ 404541 w 4307800"/>
              <a:gd name="connsiteY20" fmla="*/ 4380932 h 4380932"/>
              <a:gd name="connsiteX21" fmla="*/ 1217 w 4307800"/>
              <a:gd name="connsiteY21" fmla="*/ 4294365 h 4380932"/>
              <a:gd name="connsiteX22" fmla="*/ 281971 w 4307800"/>
              <a:gd name="connsiteY22"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666356 w 4307800"/>
              <a:gd name="connsiteY7" fmla="*/ 2060812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50267 w 4307800"/>
              <a:gd name="connsiteY16" fmla="*/ 3548702 h 4380932"/>
              <a:gd name="connsiteX17" fmla="*/ 1318941 w 4307800"/>
              <a:gd name="connsiteY17" fmla="*/ 3753135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666356 w 4307800"/>
              <a:gd name="connsiteY7" fmla="*/ 2060812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318941 w 4307800"/>
              <a:gd name="connsiteY17" fmla="*/ 3753135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666356 w 4307800"/>
              <a:gd name="connsiteY7" fmla="*/ 2060812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318941 w 4307800"/>
              <a:gd name="connsiteY17" fmla="*/ 3753135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666356 w 4307800"/>
              <a:gd name="connsiteY7" fmla="*/ 2060812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666356 w 4307800"/>
              <a:gd name="connsiteY7" fmla="*/ 2060812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666356 w 4307800"/>
              <a:gd name="connsiteY7" fmla="*/ 2060812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666356 w 4307800"/>
              <a:gd name="connsiteY7" fmla="*/ 2060812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666356 w 4307800"/>
              <a:gd name="connsiteY7" fmla="*/ 2060812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552056 w 4307800"/>
              <a:gd name="connsiteY7" fmla="*/ 2013187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552056 w 4307800"/>
              <a:gd name="connsiteY7" fmla="*/ 2013187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552056 w 4307800"/>
              <a:gd name="connsiteY7" fmla="*/ 2013187 h 4380932"/>
              <a:gd name="connsiteX8" fmla="*/ 3652708 w 4307800"/>
              <a:gd name="connsiteY8" fmla="*/ 1514902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552056 w 4307800"/>
              <a:gd name="connsiteY7" fmla="*/ 2013187 h 4380932"/>
              <a:gd name="connsiteX8" fmla="*/ 3652708 w 4307800"/>
              <a:gd name="connsiteY8" fmla="*/ 1372027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552056 w 4307800"/>
              <a:gd name="connsiteY7" fmla="*/ 2013187 h 4380932"/>
              <a:gd name="connsiteX8" fmla="*/ 3652708 w 4307800"/>
              <a:gd name="connsiteY8" fmla="*/ 1372027 h 4380932"/>
              <a:gd name="connsiteX9" fmla="*/ 3639060 w 4307800"/>
              <a:gd name="connsiteY9" fmla="*/ 696036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88935 w 4307800"/>
              <a:gd name="connsiteY6" fmla="*/ 23610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10474 w 4307800"/>
              <a:gd name="connsiteY0" fmla="*/ 3564404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792648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58018 w 4307800"/>
              <a:gd name="connsiteY12" fmla="*/ 620689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171323 w 4307800"/>
              <a:gd name="connsiteY13" fmla="*/ 2210938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552056 w 4307800"/>
              <a:gd name="connsiteY7" fmla="*/ 2013187 h 4380932"/>
              <a:gd name="connsiteX8" fmla="*/ 3652708 w 4307800"/>
              <a:gd name="connsiteY8" fmla="*/ 1372027 h 4380932"/>
              <a:gd name="connsiteX9" fmla="*/ 3658110 w 4307800"/>
              <a:gd name="connsiteY9" fmla="*/ 476961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441310 w 4307800"/>
              <a:gd name="connsiteY6" fmla="*/ 2399163 h 4380932"/>
              <a:gd name="connsiteX7" fmla="*/ 3652708 w 4307800"/>
              <a:gd name="connsiteY7" fmla="*/ 13720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652708 w 4307800"/>
              <a:gd name="connsiteY6" fmla="*/ 1372027 h 4380932"/>
              <a:gd name="connsiteX7" fmla="*/ 3658110 w 4307800"/>
              <a:gd name="connsiteY7" fmla="*/ 476961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38868 w 4307800"/>
              <a:gd name="connsiteY6" fmla="*/ 2087539 h 4380932"/>
              <a:gd name="connsiteX7" fmla="*/ 3652708 w 4307800"/>
              <a:gd name="connsiteY7" fmla="*/ 13720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05543 w 4307800"/>
              <a:gd name="connsiteY6" fmla="*/ 2135164 h 4380932"/>
              <a:gd name="connsiteX7" fmla="*/ 3652708 w 4307800"/>
              <a:gd name="connsiteY7" fmla="*/ 13720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05543 w 4307800"/>
              <a:gd name="connsiteY6" fmla="*/ 2135164 h 4380932"/>
              <a:gd name="connsiteX7" fmla="*/ 3652708 w 4307800"/>
              <a:gd name="connsiteY7" fmla="*/ 13720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52708 w 4307800"/>
              <a:gd name="connsiteY7" fmla="*/ 13720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52708 w 4307800"/>
              <a:gd name="connsiteY7" fmla="*/ 13720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52708 w 4307800"/>
              <a:gd name="connsiteY7" fmla="*/ 13720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52708 w 4307800"/>
              <a:gd name="connsiteY7" fmla="*/ 13339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52708 w 4307800"/>
              <a:gd name="connsiteY7" fmla="*/ 13339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81283 w 4307800"/>
              <a:gd name="connsiteY7" fmla="*/ 11434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81283 w 4307800"/>
              <a:gd name="connsiteY7" fmla="*/ 1143427 h 4380932"/>
              <a:gd name="connsiteX8" fmla="*/ 3658110 w 4307800"/>
              <a:gd name="connsiteY8" fmla="*/ 476961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81283 w 4307800"/>
              <a:gd name="connsiteY7" fmla="*/ 1143427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33658 w 4307800"/>
              <a:gd name="connsiteY7" fmla="*/ 1210102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33658 w 4307800"/>
              <a:gd name="connsiteY7" fmla="*/ 1210102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633658 w 4307800"/>
              <a:gd name="connsiteY7" fmla="*/ 1210102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595558 w 4307800"/>
              <a:gd name="connsiteY7" fmla="*/ 1200577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595558 w 4307800"/>
              <a:gd name="connsiteY7" fmla="*/ 1200577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519358 w 4307800"/>
              <a:gd name="connsiteY7" fmla="*/ 1191052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519358 w 4307800"/>
              <a:gd name="connsiteY7" fmla="*/ 1191052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496043 w 4307800"/>
              <a:gd name="connsiteY7" fmla="*/ 1735114 h 4380932"/>
              <a:gd name="connsiteX8" fmla="*/ 3519358 w 4307800"/>
              <a:gd name="connsiteY8" fmla="*/ 1191052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496043 w 4307800"/>
              <a:gd name="connsiteY7" fmla="*/ 1735114 h 4380932"/>
              <a:gd name="connsiteX8" fmla="*/ 3519358 w 4307800"/>
              <a:gd name="connsiteY8" fmla="*/ 1191052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496043 w 4307800"/>
              <a:gd name="connsiteY7" fmla="*/ 1735114 h 4380932"/>
              <a:gd name="connsiteX8" fmla="*/ 3519358 w 4307800"/>
              <a:gd name="connsiteY8" fmla="*/ 1191052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496043 w 4307800"/>
              <a:gd name="connsiteY7" fmla="*/ 1735114 h 4380932"/>
              <a:gd name="connsiteX8" fmla="*/ 3519358 w 4307800"/>
              <a:gd name="connsiteY8" fmla="*/ 1191052 h 4380932"/>
              <a:gd name="connsiteX9" fmla="*/ 3610343 w 4307800"/>
              <a:gd name="connsiteY9" fmla="*/ 782614 h 4380932"/>
              <a:gd name="connsiteX10" fmla="*/ 3802833 w 4307800"/>
              <a:gd name="connsiteY10" fmla="*/ 0 h 4380932"/>
              <a:gd name="connsiteX11" fmla="*/ 4307800 w 4307800"/>
              <a:gd name="connsiteY11" fmla="*/ 245660 h 4380932"/>
              <a:gd name="connsiteX12" fmla="*/ 4096118 w 4307800"/>
              <a:gd name="connsiteY12" fmla="*/ 611164 h 4380932"/>
              <a:gd name="connsiteX13" fmla="*/ 4085598 w 4307800"/>
              <a:gd name="connsiteY13" fmla="*/ 2201413 h 4380932"/>
              <a:gd name="connsiteX14" fmla="*/ 2847490 w 4307800"/>
              <a:gd name="connsiteY14" fmla="*/ 3302758 h 4380932"/>
              <a:gd name="connsiteX15" fmla="*/ 2042272 w 4307800"/>
              <a:gd name="connsiteY15" fmla="*/ 3523966 h 4380932"/>
              <a:gd name="connsiteX16" fmla="*/ 1769317 w 4307800"/>
              <a:gd name="connsiteY16" fmla="*/ 3577277 h 4380932"/>
              <a:gd name="connsiteX17" fmla="*/ 1252266 w 4307800"/>
              <a:gd name="connsiteY17" fmla="*/ 3781710 h 4380932"/>
              <a:gd name="connsiteX18" fmla="*/ 723639 w 4307800"/>
              <a:gd name="connsiteY18" fmla="*/ 3950572 h 4380932"/>
              <a:gd name="connsiteX19" fmla="*/ 404541 w 4307800"/>
              <a:gd name="connsiteY19" fmla="*/ 4380932 h 4380932"/>
              <a:gd name="connsiteX20" fmla="*/ 1217 w 4307800"/>
              <a:gd name="connsiteY20" fmla="*/ 4294365 h 4380932"/>
              <a:gd name="connsiteX21" fmla="*/ 281971 w 4307800"/>
              <a:gd name="connsiteY21"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362693 w 4307800"/>
              <a:gd name="connsiteY6" fmla="*/ 2173264 h 4380932"/>
              <a:gd name="connsiteX7" fmla="*/ 3519358 w 4307800"/>
              <a:gd name="connsiteY7" fmla="*/ 1191052 h 4380932"/>
              <a:gd name="connsiteX8" fmla="*/ 3610343 w 4307800"/>
              <a:gd name="connsiteY8" fmla="*/ 782614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519358 w 4307800"/>
              <a:gd name="connsiteY7" fmla="*/ 1191052 h 4380932"/>
              <a:gd name="connsiteX8" fmla="*/ 3610343 w 4307800"/>
              <a:gd name="connsiteY8" fmla="*/ 782614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519358 w 4307800"/>
              <a:gd name="connsiteY7" fmla="*/ 1191052 h 4380932"/>
              <a:gd name="connsiteX8" fmla="*/ 3610343 w 4307800"/>
              <a:gd name="connsiteY8" fmla="*/ 782614 h 4380932"/>
              <a:gd name="connsiteX9" fmla="*/ 3802833 w 4307800"/>
              <a:gd name="connsiteY9" fmla="*/ 0 h 4380932"/>
              <a:gd name="connsiteX10" fmla="*/ 4307800 w 4307800"/>
              <a:gd name="connsiteY10" fmla="*/ 245660 h 4380932"/>
              <a:gd name="connsiteX11" fmla="*/ 4096118 w 4307800"/>
              <a:gd name="connsiteY11" fmla="*/ 611164 h 4380932"/>
              <a:gd name="connsiteX12" fmla="*/ 4085598 w 4307800"/>
              <a:gd name="connsiteY12" fmla="*/ 2201413 h 4380932"/>
              <a:gd name="connsiteX13" fmla="*/ 2847490 w 4307800"/>
              <a:gd name="connsiteY13" fmla="*/ 3302758 h 4380932"/>
              <a:gd name="connsiteX14" fmla="*/ 2042272 w 4307800"/>
              <a:gd name="connsiteY14" fmla="*/ 3523966 h 4380932"/>
              <a:gd name="connsiteX15" fmla="*/ 1769317 w 4307800"/>
              <a:gd name="connsiteY15" fmla="*/ 3577277 h 4380932"/>
              <a:gd name="connsiteX16" fmla="*/ 1252266 w 4307800"/>
              <a:gd name="connsiteY16" fmla="*/ 3781710 h 4380932"/>
              <a:gd name="connsiteX17" fmla="*/ 723639 w 4307800"/>
              <a:gd name="connsiteY17" fmla="*/ 3950572 h 4380932"/>
              <a:gd name="connsiteX18" fmla="*/ 404541 w 4307800"/>
              <a:gd name="connsiteY18" fmla="*/ 4380932 h 4380932"/>
              <a:gd name="connsiteX19" fmla="*/ 1217 w 4307800"/>
              <a:gd name="connsiteY19" fmla="*/ 4294365 h 4380932"/>
              <a:gd name="connsiteX20" fmla="*/ 281971 w 4307800"/>
              <a:gd name="connsiteY20"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85598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47498 w 4307800"/>
              <a:gd name="connsiteY11" fmla="*/ 222046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4047498 w 4307800"/>
              <a:gd name="connsiteY11" fmla="*/ 222046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3942723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096118 w 4307800"/>
              <a:gd name="connsiteY10" fmla="*/ 611164 h 4380932"/>
              <a:gd name="connsiteX11" fmla="*/ 3942723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153268 w 4307800"/>
              <a:gd name="connsiteY10" fmla="*/ 582589 h 4380932"/>
              <a:gd name="connsiteX11" fmla="*/ 3942723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153268 w 4307800"/>
              <a:gd name="connsiteY10" fmla="*/ 582589 h 4380932"/>
              <a:gd name="connsiteX11" fmla="*/ 3942723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153268 w 4307800"/>
              <a:gd name="connsiteY10" fmla="*/ 582589 h 4380932"/>
              <a:gd name="connsiteX11" fmla="*/ 3942723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153268 w 4307800"/>
              <a:gd name="connsiteY10" fmla="*/ 582589 h 4380932"/>
              <a:gd name="connsiteX11" fmla="*/ 3942723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153268 w 4307800"/>
              <a:gd name="connsiteY10" fmla="*/ 582589 h 4380932"/>
              <a:gd name="connsiteX11" fmla="*/ 3942723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153268 w 4307800"/>
              <a:gd name="connsiteY10" fmla="*/ 582589 h 4380932"/>
              <a:gd name="connsiteX11" fmla="*/ 3942723 w 4307800"/>
              <a:gd name="connsiteY11" fmla="*/ 220141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83717 w 4307800"/>
              <a:gd name="connsiteY5" fmla="*/ 296156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153268 w 4307800"/>
              <a:gd name="connsiteY10" fmla="*/ 582589 h 4380932"/>
              <a:gd name="connsiteX11" fmla="*/ 3980823 w 4307800"/>
              <a:gd name="connsiteY11" fmla="*/ 222046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535829 h 4380932"/>
              <a:gd name="connsiteX1" fmla="*/ 1002527 w 4307800"/>
              <a:gd name="connsiteY1" fmla="*/ 3358248 h 4380932"/>
              <a:gd name="connsiteX2" fmla="*/ 1334923 w 4307800"/>
              <a:gd name="connsiteY2" fmla="*/ 3286776 h 4380932"/>
              <a:gd name="connsiteX3" fmla="*/ 1738777 w 4307800"/>
              <a:gd name="connsiteY3" fmla="*/ 3211626 h 4380932"/>
              <a:gd name="connsiteX4" fmla="*/ 2149837 w 4307800"/>
              <a:gd name="connsiteY4" fmla="*/ 3128570 h 4380932"/>
              <a:gd name="connsiteX5" fmla="*/ 2655142 w 4307800"/>
              <a:gd name="connsiteY5" fmla="*/ 2942514 h 4380932"/>
              <a:gd name="connsiteX6" fmla="*/ 3296018 w 4307800"/>
              <a:gd name="connsiteY6" fmla="*/ 2201839 h 4380932"/>
              <a:gd name="connsiteX7" fmla="*/ 3610343 w 4307800"/>
              <a:gd name="connsiteY7" fmla="*/ 782614 h 4380932"/>
              <a:gd name="connsiteX8" fmla="*/ 3802833 w 4307800"/>
              <a:gd name="connsiteY8" fmla="*/ 0 h 4380932"/>
              <a:gd name="connsiteX9" fmla="*/ 4307800 w 4307800"/>
              <a:gd name="connsiteY9" fmla="*/ 245660 h 4380932"/>
              <a:gd name="connsiteX10" fmla="*/ 4153268 w 4307800"/>
              <a:gd name="connsiteY10" fmla="*/ 582589 h 4380932"/>
              <a:gd name="connsiteX11" fmla="*/ 3980823 w 4307800"/>
              <a:gd name="connsiteY11" fmla="*/ 2220463 h 4380932"/>
              <a:gd name="connsiteX12" fmla="*/ 2847490 w 4307800"/>
              <a:gd name="connsiteY12" fmla="*/ 3302758 h 4380932"/>
              <a:gd name="connsiteX13" fmla="*/ 2042272 w 4307800"/>
              <a:gd name="connsiteY13" fmla="*/ 3523966 h 4380932"/>
              <a:gd name="connsiteX14" fmla="*/ 1769317 w 4307800"/>
              <a:gd name="connsiteY14" fmla="*/ 3577277 h 4380932"/>
              <a:gd name="connsiteX15" fmla="*/ 1252266 w 4307800"/>
              <a:gd name="connsiteY15" fmla="*/ 3781710 h 4380932"/>
              <a:gd name="connsiteX16" fmla="*/ 723639 w 4307800"/>
              <a:gd name="connsiteY16" fmla="*/ 3950572 h 4380932"/>
              <a:gd name="connsiteX17" fmla="*/ 404541 w 4307800"/>
              <a:gd name="connsiteY17" fmla="*/ 4380932 h 4380932"/>
              <a:gd name="connsiteX18" fmla="*/ 1217 w 4307800"/>
              <a:gd name="connsiteY18" fmla="*/ 4294365 h 4380932"/>
              <a:gd name="connsiteX19" fmla="*/ 281971 w 4307800"/>
              <a:gd name="connsiteY19" fmla="*/ 3840273 h 4380932"/>
              <a:gd name="connsiteX0" fmla="*/ 577149 w 4307800"/>
              <a:gd name="connsiteY0" fmla="*/ 3973979 h 4819082"/>
              <a:gd name="connsiteX1" fmla="*/ 1002527 w 4307800"/>
              <a:gd name="connsiteY1" fmla="*/ 3796398 h 4819082"/>
              <a:gd name="connsiteX2" fmla="*/ 1334923 w 4307800"/>
              <a:gd name="connsiteY2" fmla="*/ 3724926 h 4819082"/>
              <a:gd name="connsiteX3" fmla="*/ 1738777 w 4307800"/>
              <a:gd name="connsiteY3" fmla="*/ 3649776 h 4819082"/>
              <a:gd name="connsiteX4" fmla="*/ 2149837 w 4307800"/>
              <a:gd name="connsiteY4" fmla="*/ 3566720 h 4819082"/>
              <a:gd name="connsiteX5" fmla="*/ 2655142 w 4307800"/>
              <a:gd name="connsiteY5" fmla="*/ 3380664 h 4819082"/>
              <a:gd name="connsiteX6" fmla="*/ 3296018 w 4307800"/>
              <a:gd name="connsiteY6" fmla="*/ 2639989 h 4819082"/>
              <a:gd name="connsiteX7" fmla="*/ 3610343 w 4307800"/>
              <a:gd name="connsiteY7" fmla="*/ 1220764 h 4819082"/>
              <a:gd name="connsiteX8" fmla="*/ 3831408 w 4307800"/>
              <a:gd name="connsiteY8" fmla="*/ 0 h 4819082"/>
              <a:gd name="connsiteX9" fmla="*/ 4307800 w 4307800"/>
              <a:gd name="connsiteY9" fmla="*/ 683810 h 4819082"/>
              <a:gd name="connsiteX10" fmla="*/ 4153268 w 4307800"/>
              <a:gd name="connsiteY10" fmla="*/ 1020739 h 4819082"/>
              <a:gd name="connsiteX11" fmla="*/ 3980823 w 4307800"/>
              <a:gd name="connsiteY11" fmla="*/ 2658613 h 4819082"/>
              <a:gd name="connsiteX12" fmla="*/ 2847490 w 4307800"/>
              <a:gd name="connsiteY12" fmla="*/ 3740908 h 4819082"/>
              <a:gd name="connsiteX13" fmla="*/ 2042272 w 4307800"/>
              <a:gd name="connsiteY13" fmla="*/ 3962116 h 4819082"/>
              <a:gd name="connsiteX14" fmla="*/ 1769317 w 4307800"/>
              <a:gd name="connsiteY14" fmla="*/ 4015427 h 4819082"/>
              <a:gd name="connsiteX15" fmla="*/ 1252266 w 4307800"/>
              <a:gd name="connsiteY15" fmla="*/ 4219860 h 4819082"/>
              <a:gd name="connsiteX16" fmla="*/ 723639 w 4307800"/>
              <a:gd name="connsiteY16" fmla="*/ 4388722 h 4819082"/>
              <a:gd name="connsiteX17" fmla="*/ 404541 w 4307800"/>
              <a:gd name="connsiteY17" fmla="*/ 4819082 h 4819082"/>
              <a:gd name="connsiteX18" fmla="*/ 1217 w 4307800"/>
              <a:gd name="connsiteY18" fmla="*/ 4732515 h 4819082"/>
              <a:gd name="connsiteX19" fmla="*/ 281971 w 4307800"/>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153268 w 4507825"/>
              <a:gd name="connsiteY10" fmla="*/ 1020739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153268 w 4507825"/>
              <a:gd name="connsiteY10" fmla="*/ 1020739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153268 w 4507825"/>
              <a:gd name="connsiteY10" fmla="*/ 1020739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219943 w 4507825"/>
              <a:gd name="connsiteY10" fmla="*/ 1001689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219943 w 4507825"/>
              <a:gd name="connsiteY10" fmla="*/ 1001689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238993 w 4507825"/>
              <a:gd name="connsiteY10" fmla="*/ 1001689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238993 w 4507825"/>
              <a:gd name="connsiteY10" fmla="*/ 1001689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238993 w 4507825"/>
              <a:gd name="connsiteY10" fmla="*/ 1001689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238993 w 4507825"/>
              <a:gd name="connsiteY10" fmla="*/ 954064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238993 w 4507825"/>
              <a:gd name="connsiteY10" fmla="*/ 954064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258043 w 4507825"/>
              <a:gd name="connsiteY10" fmla="*/ 954064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1738777 w 4507825"/>
              <a:gd name="connsiteY3" fmla="*/ 3649776 h 4819082"/>
              <a:gd name="connsiteX4" fmla="*/ 2149837 w 4507825"/>
              <a:gd name="connsiteY4" fmla="*/ 3566720 h 4819082"/>
              <a:gd name="connsiteX5" fmla="*/ 2655142 w 4507825"/>
              <a:gd name="connsiteY5" fmla="*/ 3380664 h 4819082"/>
              <a:gd name="connsiteX6" fmla="*/ 3296018 w 4507825"/>
              <a:gd name="connsiteY6" fmla="*/ 2639989 h 4819082"/>
              <a:gd name="connsiteX7" fmla="*/ 3610343 w 4507825"/>
              <a:gd name="connsiteY7" fmla="*/ 1220764 h 4819082"/>
              <a:gd name="connsiteX8" fmla="*/ 3831408 w 4507825"/>
              <a:gd name="connsiteY8" fmla="*/ 0 h 4819082"/>
              <a:gd name="connsiteX9" fmla="*/ 4507825 w 4507825"/>
              <a:gd name="connsiteY9" fmla="*/ 455210 h 4819082"/>
              <a:gd name="connsiteX10" fmla="*/ 4258043 w 4507825"/>
              <a:gd name="connsiteY10" fmla="*/ 954064 h 4819082"/>
              <a:gd name="connsiteX11" fmla="*/ 3980823 w 4507825"/>
              <a:gd name="connsiteY11" fmla="*/ 2658613 h 4819082"/>
              <a:gd name="connsiteX12" fmla="*/ 2847490 w 4507825"/>
              <a:gd name="connsiteY12" fmla="*/ 3740908 h 4819082"/>
              <a:gd name="connsiteX13" fmla="*/ 2042272 w 4507825"/>
              <a:gd name="connsiteY13" fmla="*/ 3962116 h 4819082"/>
              <a:gd name="connsiteX14" fmla="*/ 1769317 w 4507825"/>
              <a:gd name="connsiteY14" fmla="*/ 4015427 h 4819082"/>
              <a:gd name="connsiteX15" fmla="*/ 1252266 w 4507825"/>
              <a:gd name="connsiteY15" fmla="*/ 4219860 h 4819082"/>
              <a:gd name="connsiteX16" fmla="*/ 723639 w 4507825"/>
              <a:gd name="connsiteY16" fmla="*/ 4388722 h 4819082"/>
              <a:gd name="connsiteX17" fmla="*/ 404541 w 4507825"/>
              <a:gd name="connsiteY17" fmla="*/ 4819082 h 4819082"/>
              <a:gd name="connsiteX18" fmla="*/ 1217 w 4507825"/>
              <a:gd name="connsiteY18" fmla="*/ 4732515 h 4819082"/>
              <a:gd name="connsiteX19" fmla="*/ 281971 w 4507825"/>
              <a:gd name="connsiteY19" fmla="*/ 4278423 h 4819082"/>
              <a:gd name="connsiteX0" fmla="*/ 577149 w 4507825"/>
              <a:gd name="connsiteY0" fmla="*/ 3973979 h 4819082"/>
              <a:gd name="connsiteX1" fmla="*/ 1002527 w 4507825"/>
              <a:gd name="connsiteY1" fmla="*/ 3796398 h 4819082"/>
              <a:gd name="connsiteX2" fmla="*/ 1334923 w 4507825"/>
              <a:gd name="connsiteY2" fmla="*/ 3724926 h 4819082"/>
              <a:gd name="connsiteX3" fmla="*/ 2149837 w 4507825"/>
              <a:gd name="connsiteY3" fmla="*/ 3566720 h 4819082"/>
              <a:gd name="connsiteX4" fmla="*/ 2655142 w 4507825"/>
              <a:gd name="connsiteY4" fmla="*/ 3380664 h 4819082"/>
              <a:gd name="connsiteX5" fmla="*/ 3296018 w 4507825"/>
              <a:gd name="connsiteY5" fmla="*/ 2639989 h 4819082"/>
              <a:gd name="connsiteX6" fmla="*/ 3610343 w 4507825"/>
              <a:gd name="connsiteY6" fmla="*/ 1220764 h 4819082"/>
              <a:gd name="connsiteX7" fmla="*/ 3831408 w 4507825"/>
              <a:gd name="connsiteY7" fmla="*/ 0 h 4819082"/>
              <a:gd name="connsiteX8" fmla="*/ 4507825 w 4507825"/>
              <a:gd name="connsiteY8" fmla="*/ 455210 h 4819082"/>
              <a:gd name="connsiteX9" fmla="*/ 4258043 w 4507825"/>
              <a:gd name="connsiteY9" fmla="*/ 954064 h 4819082"/>
              <a:gd name="connsiteX10" fmla="*/ 3980823 w 4507825"/>
              <a:gd name="connsiteY10" fmla="*/ 2658613 h 4819082"/>
              <a:gd name="connsiteX11" fmla="*/ 2847490 w 4507825"/>
              <a:gd name="connsiteY11" fmla="*/ 3740908 h 4819082"/>
              <a:gd name="connsiteX12" fmla="*/ 2042272 w 4507825"/>
              <a:gd name="connsiteY12" fmla="*/ 3962116 h 4819082"/>
              <a:gd name="connsiteX13" fmla="*/ 1769317 w 4507825"/>
              <a:gd name="connsiteY13" fmla="*/ 4015427 h 4819082"/>
              <a:gd name="connsiteX14" fmla="*/ 1252266 w 4507825"/>
              <a:gd name="connsiteY14" fmla="*/ 4219860 h 4819082"/>
              <a:gd name="connsiteX15" fmla="*/ 723639 w 4507825"/>
              <a:gd name="connsiteY15" fmla="*/ 4388722 h 4819082"/>
              <a:gd name="connsiteX16" fmla="*/ 404541 w 4507825"/>
              <a:gd name="connsiteY16" fmla="*/ 4819082 h 4819082"/>
              <a:gd name="connsiteX17" fmla="*/ 1217 w 4507825"/>
              <a:gd name="connsiteY17" fmla="*/ 4732515 h 4819082"/>
              <a:gd name="connsiteX18" fmla="*/ 281971 w 4507825"/>
              <a:gd name="connsiteY18" fmla="*/ 4278423 h 4819082"/>
              <a:gd name="connsiteX0" fmla="*/ 577149 w 4507825"/>
              <a:gd name="connsiteY0" fmla="*/ 3973979 h 4819082"/>
              <a:gd name="connsiteX1" fmla="*/ 1002527 w 4507825"/>
              <a:gd name="connsiteY1" fmla="*/ 3796398 h 4819082"/>
              <a:gd name="connsiteX2" fmla="*/ 2149837 w 4507825"/>
              <a:gd name="connsiteY2" fmla="*/ 3566720 h 4819082"/>
              <a:gd name="connsiteX3" fmla="*/ 2655142 w 4507825"/>
              <a:gd name="connsiteY3" fmla="*/ 3380664 h 4819082"/>
              <a:gd name="connsiteX4" fmla="*/ 3296018 w 4507825"/>
              <a:gd name="connsiteY4" fmla="*/ 2639989 h 4819082"/>
              <a:gd name="connsiteX5" fmla="*/ 3610343 w 4507825"/>
              <a:gd name="connsiteY5" fmla="*/ 1220764 h 4819082"/>
              <a:gd name="connsiteX6" fmla="*/ 3831408 w 4507825"/>
              <a:gd name="connsiteY6" fmla="*/ 0 h 4819082"/>
              <a:gd name="connsiteX7" fmla="*/ 4507825 w 4507825"/>
              <a:gd name="connsiteY7" fmla="*/ 455210 h 4819082"/>
              <a:gd name="connsiteX8" fmla="*/ 4258043 w 4507825"/>
              <a:gd name="connsiteY8" fmla="*/ 954064 h 4819082"/>
              <a:gd name="connsiteX9" fmla="*/ 3980823 w 4507825"/>
              <a:gd name="connsiteY9" fmla="*/ 2658613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02527 w 4507825"/>
              <a:gd name="connsiteY1" fmla="*/ 3796398 h 4819082"/>
              <a:gd name="connsiteX2" fmla="*/ 2149837 w 4507825"/>
              <a:gd name="connsiteY2" fmla="*/ 3566720 h 4819082"/>
              <a:gd name="connsiteX3" fmla="*/ 3296018 w 4507825"/>
              <a:gd name="connsiteY3" fmla="*/ 263998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130787 w 4507825"/>
              <a:gd name="connsiteY2" fmla="*/ 3509570 h 4819082"/>
              <a:gd name="connsiteX3" fmla="*/ 3296018 w 4507825"/>
              <a:gd name="connsiteY3" fmla="*/ 263998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130787 w 4507825"/>
              <a:gd name="connsiteY2" fmla="*/ 3509570 h 4819082"/>
              <a:gd name="connsiteX3" fmla="*/ 3296018 w 4507825"/>
              <a:gd name="connsiteY3" fmla="*/ 263998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130787 w 4507825"/>
              <a:gd name="connsiteY2" fmla="*/ 3509570 h 4819082"/>
              <a:gd name="connsiteX3" fmla="*/ 3296018 w 4507825"/>
              <a:gd name="connsiteY3" fmla="*/ 263998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130787 w 4507825"/>
              <a:gd name="connsiteY2" fmla="*/ 3509570 h 4819082"/>
              <a:gd name="connsiteX3" fmla="*/ 3296018 w 4507825"/>
              <a:gd name="connsiteY3" fmla="*/ 263998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140312 w 4507825"/>
              <a:gd name="connsiteY2" fmla="*/ 3566720 h 4819082"/>
              <a:gd name="connsiteX3" fmla="*/ 3296018 w 4507825"/>
              <a:gd name="connsiteY3" fmla="*/ 263998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140312 w 4507825"/>
              <a:gd name="connsiteY2" fmla="*/ 3566720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140312 w 4507825"/>
              <a:gd name="connsiteY2" fmla="*/ 3566720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216512 w 4507825"/>
              <a:gd name="connsiteY2" fmla="*/ 353814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216512 w 4507825"/>
              <a:gd name="connsiteY2" fmla="*/ 353814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216512 w 4507825"/>
              <a:gd name="connsiteY2" fmla="*/ 353814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292712 w 4507825"/>
              <a:gd name="connsiteY2" fmla="*/ 3566720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02527 w 4507825"/>
              <a:gd name="connsiteY1" fmla="*/ 3796398 h 4819082"/>
              <a:gd name="connsiteX2" fmla="*/ 2302237 w 4507825"/>
              <a:gd name="connsiteY2" fmla="*/ 35952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40627 w 4507825"/>
              <a:gd name="connsiteY1" fmla="*/ 3805923 h 4819082"/>
              <a:gd name="connsiteX2" fmla="*/ 2302237 w 4507825"/>
              <a:gd name="connsiteY2" fmla="*/ 35952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2847490 w 4507825"/>
              <a:gd name="connsiteY9" fmla="*/ 3740908 h 4819082"/>
              <a:gd name="connsiteX10" fmla="*/ 2042272 w 4507825"/>
              <a:gd name="connsiteY10" fmla="*/ 3962116 h 4819082"/>
              <a:gd name="connsiteX11" fmla="*/ 1769317 w 4507825"/>
              <a:gd name="connsiteY11" fmla="*/ 4015427 h 4819082"/>
              <a:gd name="connsiteX12" fmla="*/ 1252266 w 4507825"/>
              <a:gd name="connsiteY12" fmla="*/ 4219860 h 4819082"/>
              <a:gd name="connsiteX13" fmla="*/ 723639 w 4507825"/>
              <a:gd name="connsiteY13" fmla="*/ 4388722 h 4819082"/>
              <a:gd name="connsiteX14" fmla="*/ 404541 w 4507825"/>
              <a:gd name="connsiteY14" fmla="*/ 4819082 h 4819082"/>
              <a:gd name="connsiteX15" fmla="*/ 1217 w 4507825"/>
              <a:gd name="connsiteY15" fmla="*/ 4732515 h 4819082"/>
              <a:gd name="connsiteX16" fmla="*/ 281971 w 4507825"/>
              <a:gd name="connsiteY16"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3543668 w 4507825"/>
              <a:gd name="connsiteY9" fmla="*/ 3078139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3619868 w 4507825"/>
              <a:gd name="connsiteY9" fmla="*/ 3116239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3619868 w 4507825"/>
              <a:gd name="connsiteY9" fmla="*/ 3116239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3619868 w 4507825"/>
              <a:gd name="connsiteY9" fmla="*/ 3116239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3591293 w 4507825"/>
              <a:gd name="connsiteY9" fmla="*/ 3154339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3591293 w 4507825"/>
              <a:gd name="connsiteY9" fmla="*/ 3154339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3591293 w 4507825"/>
              <a:gd name="connsiteY9" fmla="*/ 3154339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3591293 w 4507825"/>
              <a:gd name="connsiteY9" fmla="*/ 3154339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58043 w 4507825"/>
              <a:gd name="connsiteY7" fmla="*/ 954064 h 4819082"/>
              <a:gd name="connsiteX8" fmla="*/ 3980823 w 4507825"/>
              <a:gd name="connsiteY8" fmla="*/ 2658613 h 4819082"/>
              <a:gd name="connsiteX9" fmla="*/ 3638918 w 4507825"/>
              <a:gd name="connsiteY9" fmla="*/ 3201964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96143 w 4507825"/>
              <a:gd name="connsiteY7" fmla="*/ 954064 h 4819082"/>
              <a:gd name="connsiteX8" fmla="*/ 3980823 w 4507825"/>
              <a:gd name="connsiteY8" fmla="*/ 2658613 h 4819082"/>
              <a:gd name="connsiteX9" fmla="*/ 3638918 w 4507825"/>
              <a:gd name="connsiteY9" fmla="*/ 3201964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7149 w 4507825"/>
              <a:gd name="connsiteY0" fmla="*/ 3973979 h 4819082"/>
              <a:gd name="connsiteX1" fmla="*/ 1040627 w 4507825"/>
              <a:gd name="connsiteY1" fmla="*/ 3805923 h 4819082"/>
              <a:gd name="connsiteX2" fmla="*/ 2273662 w 4507825"/>
              <a:gd name="connsiteY2" fmla="*/ 3557195 h 4819082"/>
              <a:gd name="connsiteX3" fmla="*/ 3410318 w 4507825"/>
              <a:gd name="connsiteY3" fmla="*/ 2544739 h 4819082"/>
              <a:gd name="connsiteX4" fmla="*/ 3610343 w 4507825"/>
              <a:gd name="connsiteY4" fmla="*/ 1220764 h 4819082"/>
              <a:gd name="connsiteX5" fmla="*/ 3831408 w 4507825"/>
              <a:gd name="connsiteY5" fmla="*/ 0 h 4819082"/>
              <a:gd name="connsiteX6" fmla="*/ 4507825 w 4507825"/>
              <a:gd name="connsiteY6" fmla="*/ 455210 h 4819082"/>
              <a:gd name="connsiteX7" fmla="*/ 4296143 w 4507825"/>
              <a:gd name="connsiteY7" fmla="*/ 954064 h 4819082"/>
              <a:gd name="connsiteX8" fmla="*/ 3980823 w 4507825"/>
              <a:gd name="connsiteY8" fmla="*/ 2658613 h 4819082"/>
              <a:gd name="connsiteX9" fmla="*/ 3638918 w 4507825"/>
              <a:gd name="connsiteY9" fmla="*/ 3201964 h 4819082"/>
              <a:gd name="connsiteX10" fmla="*/ 2847490 w 4507825"/>
              <a:gd name="connsiteY10" fmla="*/ 3740908 h 4819082"/>
              <a:gd name="connsiteX11" fmla="*/ 2042272 w 4507825"/>
              <a:gd name="connsiteY11" fmla="*/ 3962116 h 4819082"/>
              <a:gd name="connsiteX12" fmla="*/ 1769317 w 4507825"/>
              <a:gd name="connsiteY12" fmla="*/ 4015427 h 4819082"/>
              <a:gd name="connsiteX13" fmla="*/ 1252266 w 4507825"/>
              <a:gd name="connsiteY13" fmla="*/ 4219860 h 4819082"/>
              <a:gd name="connsiteX14" fmla="*/ 723639 w 4507825"/>
              <a:gd name="connsiteY14" fmla="*/ 4388722 h 4819082"/>
              <a:gd name="connsiteX15" fmla="*/ 404541 w 4507825"/>
              <a:gd name="connsiteY15" fmla="*/ 4819082 h 4819082"/>
              <a:gd name="connsiteX16" fmla="*/ 1217 w 4507825"/>
              <a:gd name="connsiteY16" fmla="*/ 4732515 h 4819082"/>
              <a:gd name="connsiteX17" fmla="*/ 281971 w 4507825"/>
              <a:gd name="connsiteY17" fmla="*/ 4278423 h 4819082"/>
              <a:gd name="connsiteX0" fmla="*/ 575932 w 4506608"/>
              <a:gd name="connsiteY0" fmla="*/ 3973979 h 4819082"/>
              <a:gd name="connsiteX1" fmla="*/ 1039410 w 4506608"/>
              <a:gd name="connsiteY1" fmla="*/ 3805923 h 4819082"/>
              <a:gd name="connsiteX2" fmla="*/ 2272445 w 4506608"/>
              <a:gd name="connsiteY2" fmla="*/ 3557195 h 4819082"/>
              <a:gd name="connsiteX3" fmla="*/ 3409101 w 4506608"/>
              <a:gd name="connsiteY3" fmla="*/ 2544739 h 4819082"/>
              <a:gd name="connsiteX4" fmla="*/ 3609126 w 4506608"/>
              <a:gd name="connsiteY4" fmla="*/ 1220764 h 4819082"/>
              <a:gd name="connsiteX5" fmla="*/ 3830191 w 4506608"/>
              <a:gd name="connsiteY5" fmla="*/ 0 h 4819082"/>
              <a:gd name="connsiteX6" fmla="*/ 4506608 w 4506608"/>
              <a:gd name="connsiteY6" fmla="*/ 455210 h 4819082"/>
              <a:gd name="connsiteX7" fmla="*/ 4294926 w 4506608"/>
              <a:gd name="connsiteY7" fmla="*/ 954064 h 4819082"/>
              <a:gd name="connsiteX8" fmla="*/ 3979606 w 4506608"/>
              <a:gd name="connsiteY8" fmla="*/ 2658613 h 4819082"/>
              <a:gd name="connsiteX9" fmla="*/ 3637701 w 4506608"/>
              <a:gd name="connsiteY9" fmla="*/ 3201964 h 4819082"/>
              <a:gd name="connsiteX10" fmla="*/ 2846273 w 4506608"/>
              <a:gd name="connsiteY10" fmla="*/ 3740908 h 4819082"/>
              <a:gd name="connsiteX11" fmla="*/ 2041055 w 4506608"/>
              <a:gd name="connsiteY11" fmla="*/ 3962116 h 4819082"/>
              <a:gd name="connsiteX12" fmla="*/ 1768100 w 4506608"/>
              <a:gd name="connsiteY12" fmla="*/ 4015427 h 4819082"/>
              <a:gd name="connsiteX13" fmla="*/ 1251049 w 4506608"/>
              <a:gd name="connsiteY13" fmla="*/ 4219860 h 4819082"/>
              <a:gd name="connsiteX14" fmla="*/ 722422 w 4506608"/>
              <a:gd name="connsiteY14" fmla="*/ 4388722 h 4819082"/>
              <a:gd name="connsiteX15" fmla="*/ 403324 w 4506608"/>
              <a:gd name="connsiteY15" fmla="*/ 4819082 h 4819082"/>
              <a:gd name="connsiteX16" fmla="*/ 0 w 4506608"/>
              <a:gd name="connsiteY16" fmla="*/ 4732515 h 4819082"/>
              <a:gd name="connsiteX0" fmla="*/ 575932 w 4506608"/>
              <a:gd name="connsiteY0" fmla="*/ 3973979 h 4819082"/>
              <a:gd name="connsiteX1" fmla="*/ 1039410 w 4506608"/>
              <a:gd name="connsiteY1" fmla="*/ 3805923 h 4819082"/>
              <a:gd name="connsiteX2" fmla="*/ 2272445 w 4506608"/>
              <a:gd name="connsiteY2" fmla="*/ 3557195 h 4819082"/>
              <a:gd name="connsiteX3" fmla="*/ 3409101 w 4506608"/>
              <a:gd name="connsiteY3" fmla="*/ 2544739 h 4819082"/>
              <a:gd name="connsiteX4" fmla="*/ 3609126 w 4506608"/>
              <a:gd name="connsiteY4" fmla="*/ 1220764 h 4819082"/>
              <a:gd name="connsiteX5" fmla="*/ 3830191 w 4506608"/>
              <a:gd name="connsiteY5" fmla="*/ 0 h 4819082"/>
              <a:gd name="connsiteX6" fmla="*/ 4506608 w 4506608"/>
              <a:gd name="connsiteY6" fmla="*/ 455210 h 4819082"/>
              <a:gd name="connsiteX7" fmla="*/ 4294926 w 4506608"/>
              <a:gd name="connsiteY7" fmla="*/ 954064 h 4819082"/>
              <a:gd name="connsiteX8" fmla="*/ 3979606 w 4506608"/>
              <a:gd name="connsiteY8" fmla="*/ 2658613 h 4819082"/>
              <a:gd name="connsiteX9" fmla="*/ 3637701 w 4506608"/>
              <a:gd name="connsiteY9" fmla="*/ 3201964 h 4819082"/>
              <a:gd name="connsiteX10" fmla="*/ 2846273 w 4506608"/>
              <a:gd name="connsiteY10" fmla="*/ 3740908 h 4819082"/>
              <a:gd name="connsiteX11" fmla="*/ 2041055 w 4506608"/>
              <a:gd name="connsiteY11" fmla="*/ 3962116 h 4819082"/>
              <a:gd name="connsiteX12" fmla="*/ 1768100 w 4506608"/>
              <a:gd name="connsiteY12" fmla="*/ 4015427 h 4819082"/>
              <a:gd name="connsiteX13" fmla="*/ 1251049 w 4506608"/>
              <a:gd name="connsiteY13" fmla="*/ 4219860 h 4819082"/>
              <a:gd name="connsiteX14" fmla="*/ 722422 w 4506608"/>
              <a:gd name="connsiteY14" fmla="*/ 4388722 h 4819082"/>
              <a:gd name="connsiteX15" fmla="*/ 403324 w 4506608"/>
              <a:gd name="connsiteY15" fmla="*/ 4819082 h 4819082"/>
              <a:gd name="connsiteX16" fmla="*/ 0 w 4506608"/>
              <a:gd name="connsiteY16" fmla="*/ 4732515 h 4819082"/>
              <a:gd name="connsiteX0" fmla="*/ 575932 w 4506608"/>
              <a:gd name="connsiteY0" fmla="*/ 3973979 h 4819082"/>
              <a:gd name="connsiteX1" fmla="*/ 1039410 w 4506608"/>
              <a:gd name="connsiteY1" fmla="*/ 3805923 h 4819082"/>
              <a:gd name="connsiteX2" fmla="*/ 2272445 w 4506608"/>
              <a:gd name="connsiteY2" fmla="*/ 3557195 h 4819082"/>
              <a:gd name="connsiteX3" fmla="*/ 3409101 w 4506608"/>
              <a:gd name="connsiteY3" fmla="*/ 2544739 h 4819082"/>
              <a:gd name="connsiteX4" fmla="*/ 3609126 w 4506608"/>
              <a:gd name="connsiteY4" fmla="*/ 1220764 h 4819082"/>
              <a:gd name="connsiteX5" fmla="*/ 3830191 w 4506608"/>
              <a:gd name="connsiteY5" fmla="*/ 0 h 4819082"/>
              <a:gd name="connsiteX6" fmla="*/ 4506608 w 4506608"/>
              <a:gd name="connsiteY6" fmla="*/ 455210 h 4819082"/>
              <a:gd name="connsiteX7" fmla="*/ 4294926 w 4506608"/>
              <a:gd name="connsiteY7" fmla="*/ 954064 h 4819082"/>
              <a:gd name="connsiteX8" fmla="*/ 3979606 w 4506608"/>
              <a:gd name="connsiteY8" fmla="*/ 2658613 h 4819082"/>
              <a:gd name="connsiteX9" fmla="*/ 3637701 w 4506608"/>
              <a:gd name="connsiteY9" fmla="*/ 3201964 h 4819082"/>
              <a:gd name="connsiteX10" fmla="*/ 2846273 w 4506608"/>
              <a:gd name="connsiteY10" fmla="*/ 3740908 h 4819082"/>
              <a:gd name="connsiteX11" fmla="*/ 2041055 w 4506608"/>
              <a:gd name="connsiteY11" fmla="*/ 3962116 h 4819082"/>
              <a:gd name="connsiteX12" fmla="*/ 1768100 w 4506608"/>
              <a:gd name="connsiteY12" fmla="*/ 4015427 h 4819082"/>
              <a:gd name="connsiteX13" fmla="*/ 1251049 w 4506608"/>
              <a:gd name="connsiteY13" fmla="*/ 4219860 h 4819082"/>
              <a:gd name="connsiteX14" fmla="*/ 722422 w 4506608"/>
              <a:gd name="connsiteY14" fmla="*/ 4388722 h 4819082"/>
              <a:gd name="connsiteX15" fmla="*/ 403324 w 4506608"/>
              <a:gd name="connsiteY15" fmla="*/ 4819082 h 4819082"/>
              <a:gd name="connsiteX16" fmla="*/ 0 w 4506608"/>
              <a:gd name="connsiteY16" fmla="*/ 4732515 h 4819082"/>
              <a:gd name="connsiteX0" fmla="*/ 633082 w 4563758"/>
              <a:gd name="connsiteY0" fmla="*/ 3973979 h 4819082"/>
              <a:gd name="connsiteX1" fmla="*/ 1096560 w 4563758"/>
              <a:gd name="connsiteY1" fmla="*/ 3805923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1096560 w 4563758"/>
              <a:gd name="connsiteY1" fmla="*/ 3805923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1115610 w 4563758"/>
              <a:gd name="connsiteY1" fmla="*/ 3805923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1115610 w 4563758"/>
              <a:gd name="connsiteY1" fmla="*/ 3805923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1115610 w 4563758"/>
              <a:gd name="connsiteY1" fmla="*/ 3805923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1115610 w 4563758"/>
              <a:gd name="connsiteY1" fmla="*/ 3805923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1115610 w 4563758"/>
              <a:gd name="connsiteY1" fmla="*/ 3805923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1115610 w 4563758"/>
              <a:gd name="connsiteY1" fmla="*/ 3805923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2329595 w 4563758"/>
              <a:gd name="connsiteY1" fmla="*/ 3557195 h 4819082"/>
              <a:gd name="connsiteX2" fmla="*/ 3466251 w 4563758"/>
              <a:gd name="connsiteY2" fmla="*/ 2544739 h 4819082"/>
              <a:gd name="connsiteX3" fmla="*/ 3666276 w 4563758"/>
              <a:gd name="connsiteY3" fmla="*/ 1220764 h 4819082"/>
              <a:gd name="connsiteX4" fmla="*/ 3887341 w 4563758"/>
              <a:gd name="connsiteY4" fmla="*/ 0 h 4819082"/>
              <a:gd name="connsiteX5" fmla="*/ 4563758 w 4563758"/>
              <a:gd name="connsiteY5" fmla="*/ 455210 h 4819082"/>
              <a:gd name="connsiteX6" fmla="*/ 4352076 w 4563758"/>
              <a:gd name="connsiteY6" fmla="*/ 954064 h 4819082"/>
              <a:gd name="connsiteX7" fmla="*/ 4036756 w 4563758"/>
              <a:gd name="connsiteY7" fmla="*/ 2658613 h 4819082"/>
              <a:gd name="connsiteX8" fmla="*/ 3694851 w 4563758"/>
              <a:gd name="connsiteY8" fmla="*/ 3201964 h 4819082"/>
              <a:gd name="connsiteX9" fmla="*/ 2903423 w 4563758"/>
              <a:gd name="connsiteY9" fmla="*/ 3740908 h 4819082"/>
              <a:gd name="connsiteX10" fmla="*/ 2098205 w 4563758"/>
              <a:gd name="connsiteY10" fmla="*/ 3962116 h 4819082"/>
              <a:gd name="connsiteX11" fmla="*/ 1825250 w 4563758"/>
              <a:gd name="connsiteY11" fmla="*/ 4015427 h 4819082"/>
              <a:gd name="connsiteX12" fmla="*/ 1308199 w 4563758"/>
              <a:gd name="connsiteY12" fmla="*/ 4219860 h 4819082"/>
              <a:gd name="connsiteX13" fmla="*/ 779572 w 4563758"/>
              <a:gd name="connsiteY13" fmla="*/ 4388722 h 4819082"/>
              <a:gd name="connsiteX14" fmla="*/ 460474 w 4563758"/>
              <a:gd name="connsiteY14" fmla="*/ 4819082 h 4819082"/>
              <a:gd name="connsiteX15" fmla="*/ 0 w 4563758"/>
              <a:gd name="connsiteY15" fmla="*/ 4694415 h 4819082"/>
              <a:gd name="connsiteX0" fmla="*/ 414007 w 4563758"/>
              <a:gd name="connsiteY0" fmla="*/ 4212104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14007 w 4563758"/>
              <a:gd name="connsiteY0" fmla="*/ 4212104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71157 w 4563758"/>
              <a:gd name="connsiteY0" fmla="*/ 4259729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71157 w 4563758"/>
              <a:gd name="connsiteY0" fmla="*/ 4259729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33057 w 4563758"/>
              <a:gd name="connsiteY0" fmla="*/ 4278779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33057 w 4563758"/>
              <a:gd name="connsiteY0" fmla="*/ 4278779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33057 w 4563758"/>
              <a:gd name="connsiteY0" fmla="*/ 4278779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33057 w 4563758"/>
              <a:gd name="connsiteY0" fmla="*/ 4278779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33057 w 4563758"/>
              <a:gd name="connsiteY0" fmla="*/ 4278779 h 4819082"/>
              <a:gd name="connsiteX1" fmla="*/ 1294550 w 4563758"/>
              <a:gd name="connsiteY1" fmla="*/ 377346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33057 w 4563758"/>
              <a:gd name="connsiteY0" fmla="*/ 4278779 h 4819082"/>
              <a:gd name="connsiteX1" fmla="*/ 1285025 w 4563758"/>
              <a:gd name="connsiteY1" fmla="*/ 374488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33057 w 4563758"/>
              <a:gd name="connsiteY0" fmla="*/ 4278779 h 4819082"/>
              <a:gd name="connsiteX1" fmla="*/ 1285025 w 4563758"/>
              <a:gd name="connsiteY1" fmla="*/ 374488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285025 w 4563758"/>
              <a:gd name="connsiteY1" fmla="*/ 374488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285025 w 4563758"/>
              <a:gd name="connsiteY1" fmla="*/ 374488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285025 w 4563758"/>
              <a:gd name="connsiteY1" fmla="*/ 374488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285025 w 4563758"/>
              <a:gd name="connsiteY1" fmla="*/ 374488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285025 w 4563758"/>
              <a:gd name="connsiteY1" fmla="*/ 374488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9572 w 4563758"/>
              <a:gd name="connsiteY14" fmla="*/ 438872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1631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42175 w 4563758"/>
              <a:gd name="connsiteY1" fmla="*/ 371631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61225 w 4563758"/>
              <a:gd name="connsiteY1" fmla="*/ 3725839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80275 w 4563758"/>
              <a:gd name="connsiteY1" fmla="*/ 379251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80275 w 4563758"/>
              <a:gd name="connsiteY1" fmla="*/ 379251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80275 w 4563758"/>
              <a:gd name="connsiteY1" fmla="*/ 3792514 h 4819082"/>
              <a:gd name="connsiteX2" fmla="*/ 2329595 w 4563758"/>
              <a:gd name="connsiteY2" fmla="*/ 35571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80275 w 4563758"/>
              <a:gd name="connsiteY1" fmla="*/ 3792514 h 4819082"/>
              <a:gd name="connsiteX2" fmla="*/ 2329595 w 4563758"/>
              <a:gd name="connsiteY2" fmla="*/ 34809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80275 w 4563758"/>
              <a:gd name="connsiteY1" fmla="*/ 3792514 h 4819082"/>
              <a:gd name="connsiteX2" fmla="*/ 2329595 w 4563758"/>
              <a:gd name="connsiteY2" fmla="*/ 34809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563758"/>
              <a:gd name="connsiteY0" fmla="*/ 4316879 h 4819082"/>
              <a:gd name="connsiteX1" fmla="*/ 1380275 w 4563758"/>
              <a:gd name="connsiteY1" fmla="*/ 3792514 h 4819082"/>
              <a:gd name="connsiteX2" fmla="*/ 2329595 w 4563758"/>
              <a:gd name="connsiteY2" fmla="*/ 3480995 h 4819082"/>
              <a:gd name="connsiteX3" fmla="*/ 3466251 w 4563758"/>
              <a:gd name="connsiteY3" fmla="*/ 2544739 h 4819082"/>
              <a:gd name="connsiteX4" fmla="*/ 3666276 w 4563758"/>
              <a:gd name="connsiteY4" fmla="*/ 1220764 h 4819082"/>
              <a:gd name="connsiteX5" fmla="*/ 3887341 w 4563758"/>
              <a:gd name="connsiteY5" fmla="*/ 0 h 4819082"/>
              <a:gd name="connsiteX6" fmla="*/ 4563758 w 4563758"/>
              <a:gd name="connsiteY6" fmla="*/ 455210 h 4819082"/>
              <a:gd name="connsiteX7" fmla="*/ 4352076 w 4563758"/>
              <a:gd name="connsiteY7" fmla="*/ 954064 h 4819082"/>
              <a:gd name="connsiteX8" fmla="*/ 4036756 w 4563758"/>
              <a:gd name="connsiteY8" fmla="*/ 2658613 h 4819082"/>
              <a:gd name="connsiteX9" fmla="*/ 3694851 w 4563758"/>
              <a:gd name="connsiteY9" fmla="*/ 3201964 h 4819082"/>
              <a:gd name="connsiteX10" fmla="*/ 2903423 w 4563758"/>
              <a:gd name="connsiteY10" fmla="*/ 3740908 h 4819082"/>
              <a:gd name="connsiteX11" fmla="*/ 2098205 w 4563758"/>
              <a:gd name="connsiteY11" fmla="*/ 3962116 h 4819082"/>
              <a:gd name="connsiteX12" fmla="*/ 1825250 w 4563758"/>
              <a:gd name="connsiteY12" fmla="*/ 4015427 h 4819082"/>
              <a:gd name="connsiteX13" fmla="*/ 1308199 w 4563758"/>
              <a:gd name="connsiteY13" fmla="*/ 4219860 h 4819082"/>
              <a:gd name="connsiteX14" fmla="*/ 770047 w 4563758"/>
              <a:gd name="connsiteY14" fmla="*/ 4445872 h 4819082"/>
              <a:gd name="connsiteX15" fmla="*/ 460474 w 4563758"/>
              <a:gd name="connsiteY15" fmla="*/ 4819082 h 4819082"/>
              <a:gd name="connsiteX16" fmla="*/ 0 w 4563758"/>
              <a:gd name="connsiteY16" fmla="*/ 4694415 h 4819082"/>
              <a:gd name="connsiteX0" fmla="*/ 442582 w 4601858"/>
              <a:gd name="connsiteY0" fmla="*/ 4316879 h 4819082"/>
              <a:gd name="connsiteX1" fmla="*/ 1380275 w 4601858"/>
              <a:gd name="connsiteY1" fmla="*/ 3792514 h 4819082"/>
              <a:gd name="connsiteX2" fmla="*/ 2329595 w 4601858"/>
              <a:gd name="connsiteY2" fmla="*/ 3480995 h 4819082"/>
              <a:gd name="connsiteX3" fmla="*/ 3466251 w 4601858"/>
              <a:gd name="connsiteY3" fmla="*/ 2544739 h 4819082"/>
              <a:gd name="connsiteX4" fmla="*/ 3666276 w 4601858"/>
              <a:gd name="connsiteY4" fmla="*/ 1220764 h 4819082"/>
              <a:gd name="connsiteX5" fmla="*/ 3887341 w 4601858"/>
              <a:gd name="connsiteY5" fmla="*/ 0 h 4819082"/>
              <a:gd name="connsiteX6" fmla="*/ 4601858 w 4601858"/>
              <a:gd name="connsiteY6" fmla="*/ 442510 h 4819082"/>
              <a:gd name="connsiteX7" fmla="*/ 4352076 w 4601858"/>
              <a:gd name="connsiteY7" fmla="*/ 954064 h 4819082"/>
              <a:gd name="connsiteX8" fmla="*/ 4036756 w 4601858"/>
              <a:gd name="connsiteY8" fmla="*/ 2658613 h 4819082"/>
              <a:gd name="connsiteX9" fmla="*/ 3694851 w 4601858"/>
              <a:gd name="connsiteY9" fmla="*/ 3201964 h 4819082"/>
              <a:gd name="connsiteX10" fmla="*/ 2903423 w 4601858"/>
              <a:gd name="connsiteY10" fmla="*/ 3740908 h 4819082"/>
              <a:gd name="connsiteX11" fmla="*/ 2098205 w 4601858"/>
              <a:gd name="connsiteY11" fmla="*/ 3962116 h 4819082"/>
              <a:gd name="connsiteX12" fmla="*/ 1825250 w 4601858"/>
              <a:gd name="connsiteY12" fmla="*/ 4015427 h 4819082"/>
              <a:gd name="connsiteX13" fmla="*/ 1308199 w 4601858"/>
              <a:gd name="connsiteY13" fmla="*/ 4219860 h 4819082"/>
              <a:gd name="connsiteX14" fmla="*/ 770047 w 4601858"/>
              <a:gd name="connsiteY14" fmla="*/ 4445872 h 4819082"/>
              <a:gd name="connsiteX15" fmla="*/ 460474 w 4601858"/>
              <a:gd name="connsiteY15" fmla="*/ 4819082 h 4819082"/>
              <a:gd name="connsiteX16" fmla="*/ 0 w 4601858"/>
              <a:gd name="connsiteY16" fmla="*/ 4694415 h 4819082"/>
              <a:gd name="connsiteX0" fmla="*/ 442582 w 4639958"/>
              <a:gd name="connsiteY0" fmla="*/ 4316879 h 4819082"/>
              <a:gd name="connsiteX1" fmla="*/ 1380275 w 4639958"/>
              <a:gd name="connsiteY1" fmla="*/ 3792514 h 4819082"/>
              <a:gd name="connsiteX2" fmla="*/ 2329595 w 4639958"/>
              <a:gd name="connsiteY2" fmla="*/ 3480995 h 4819082"/>
              <a:gd name="connsiteX3" fmla="*/ 3466251 w 4639958"/>
              <a:gd name="connsiteY3" fmla="*/ 2544739 h 4819082"/>
              <a:gd name="connsiteX4" fmla="*/ 3666276 w 4639958"/>
              <a:gd name="connsiteY4" fmla="*/ 1220764 h 4819082"/>
              <a:gd name="connsiteX5" fmla="*/ 3887341 w 4639958"/>
              <a:gd name="connsiteY5" fmla="*/ 0 h 4819082"/>
              <a:gd name="connsiteX6" fmla="*/ 4639958 w 4639958"/>
              <a:gd name="connsiteY6" fmla="*/ 429810 h 4819082"/>
              <a:gd name="connsiteX7" fmla="*/ 4352076 w 4639958"/>
              <a:gd name="connsiteY7" fmla="*/ 954064 h 4819082"/>
              <a:gd name="connsiteX8" fmla="*/ 4036756 w 4639958"/>
              <a:gd name="connsiteY8" fmla="*/ 2658613 h 4819082"/>
              <a:gd name="connsiteX9" fmla="*/ 3694851 w 4639958"/>
              <a:gd name="connsiteY9" fmla="*/ 3201964 h 4819082"/>
              <a:gd name="connsiteX10" fmla="*/ 2903423 w 4639958"/>
              <a:gd name="connsiteY10" fmla="*/ 3740908 h 4819082"/>
              <a:gd name="connsiteX11" fmla="*/ 2098205 w 4639958"/>
              <a:gd name="connsiteY11" fmla="*/ 3962116 h 4819082"/>
              <a:gd name="connsiteX12" fmla="*/ 1825250 w 4639958"/>
              <a:gd name="connsiteY12" fmla="*/ 4015427 h 4819082"/>
              <a:gd name="connsiteX13" fmla="*/ 1308199 w 4639958"/>
              <a:gd name="connsiteY13" fmla="*/ 4219860 h 4819082"/>
              <a:gd name="connsiteX14" fmla="*/ 770047 w 4639958"/>
              <a:gd name="connsiteY14" fmla="*/ 4445872 h 4819082"/>
              <a:gd name="connsiteX15" fmla="*/ 460474 w 4639958"/>
              <a:gd name="connsiteY15" fmla="*/ 4819082 h 4819082"/>
              <a:gd name="connsiteX16" fmla="*/ 0 w 4639958"/>
              <a:gd name="connsiteY16" fmla="*/ 4694415 h 4819082"/>
              <a:gd name="connsiteX0" fmla="*/ 442582 w 4573283"/>
              <a:gd name="connsiteY0" fmla="*/ 4316879 h 4819082"/>
              <a:gd name="connsiteX1" fmla="*/ 1380275 w 4573283"/>
              <a:gd name="connsiteY1" fmla="*/ 3792514 h 4819082"/>
              <a:gd name="connsiteX2" fmla="*/ 2329595 w 4573283"/>
              <a:gd name="connsiteY2" fmla="*/ 3480995 h 4819082"/>
              <a:gd name="connsiteX3" fmla="*/ 3466251 w 4573283"/>
              <a:gd name="connsiteY3" fmla="*/ 2544739 h 4819082"/>
              <a:gd name="connsiteX4" fmla="*/ 3666276 w 4573283"/>
              <a:gd name="connsiteY4" fmla="*/ 1220764 h 4819082"/>
              <a:gd name="connsiteX5" fmla="*/ 3887341 w 4573283"/>
              <a:gd name="connsiteY5" fmla="*/ 0 h 4819082"/>
              <a:gd name="connsiteX6" fmla="*/ 4573283 w 4573283"/>
              <a:gd name="connsiteY6" fmla="*/ 248835 h 4819082"/>
              <a:gd name="connsiteX7" fmla="*/ 4352076 w 4573283"/>
              <a:gd name="connsiteY7" fmla="*/ 954064 h 4819082"/>
              <a:gd name="connsiteX8" fmla="*/ 4036756 w 4573283"/>
              <a:gd name="connsiteY8" fmla="*/ 2658613 h 4819082"/>
              <a:gd name="connsiteX9" fmla="*/ 3694851 w 4573283"/>
              <a:gd name="connsiteY9" fmla="*/ 3201964 h 4819082"/>
              <a:gd name="connsiteX10" fmla="*/ 2903423 w 4573283"/>
              <a:gd name="connsiteY10" fmla="*/ 3740908 h 4819082"/>
              <a:gd name="connsiteX11" fmla="*/ 2098205 w 4573283"/>
              <a:gd name="connsiteY11" fmla="*/ 3962116 h 4819082"/>
              <a:gd name="connsiteX12" fmla="*/ 1825250 w 4573283"/>
              <a:gd name="connsiteY12" fmla="*/ 4015427 h 4819082"/>
              <a:gd name="connsiteX13" fmla="*/ 1308199 w 4573283"/>
              <a:gd name="connsiteY13" fmla="*/ 4219860 h 4819082"/>
              <a:gd name="connsiteX14" fmla="*/ 770047 w 4573283"/>
              <a:gd name="connsiteY14" fmla="*/ 4445872 h 4819082"/>
              <a:gd name="connsiteX15" fmla="*/ 460474 w 4573283"/>
              <a:gd name="connsiteY15" fmla="*/ 4819082 h 4819082"/>
              <a:gd name="connsiteX16" fmla="*/ 0 w 4573283"/>
              <a:gd name="connsiteY16" fmla="*/ 4694415 h 4819082"/>
              <a:gd name="connsiteX0" fmla="*/ 442582 w 4573283"/>
              <a:gd name="connsiteY0" fmla="*/ 4316879 h 4819082"/>
              <a:gd name="connsiteX1" fmla="*/ 1380275 w 4573283"/>
              <a:gd name="connsiteY1" fmla="*/ 3792514 h 4819082"/>
              <a:gd name="connsiteX2" fmla="*/ 2329595 w 4573283"/>
              <a:gd name="connsiteY2" fmla="*/ 3480995 h 4819082"/>
              <a:gd name="connsiteX3" fmla="*/ 3466251 w 4573283"/>
              <a:gd name="connsiteY3" fmla="*/ 2544739 h 4819082"/>
              <a:gd name="connsiteX4" fmla="*/ 3666276 w 4573283"/>
              <a:gd name="connsiteY4" fmla="*/ 1220764 h 4819082"/>
              <a:gd name="connsiteX5" fmla="*/ 3887341 w 4573283"/>
              <a:gd name="connsiteY5" fmla="*/ 0 h 4819082"/>
              <a:gd name="connsiteX6" fmla="*/ 4573283 w 4573283"/>
              <a:gd name="connsiteY6" fmla="*/ 248835 h 4819082"/>
              <a:gd name="connsiteX7" fmla="*/ 4352076 w 4573283"/>
              <a:gd name="connsiteY7" fmla="*/ 954064 h 4819082"/>
              <a:gd name="connsiteX8" fmla="*/ 4036756 w 4573283"/>
              <a:gd name="connsiteY8" fmla="*/ 2658613 h 4819082"/>
              <a:gd name="connsiteX9" fmla="*/ 3694851 w 4573283"/>
              <a:gd name="connsiteY9" fmla="*/ 3201964 h 4819082"/>
              <a:gd name="connsiteX10" fmla="*/ 2903423 w 4573283"/>
              <a:gd name="connsiteY10" fmla="*/ 3740908 h 4819082"/>
              <a:gd name="connsiteX11" fmla="*/ 2098205 w 4573283"/>
              <a:gd name="connsiteY11" fmla="*/ 3962116 h 4819082"/>
              <a:gd name="connsiteX12" fmla="*/ 1825250 w 4573283"/>
              <a:gd name="connsiteY12" fmla="*/ 4015427 h 4819082"/>
              <a:gd name="connsiteX13" fmla="*/ 1308199 w 4573283"/>
              <a:gd name="connsiteY13" fmla="*/ 4219860 h 4819082"/>
              <a:gd name="connsiteX14" fmla="*/ 770047 w 4573283"/>
              <a:gd name="connsiteY14" fmla="*/ 4445872 h 4819082"/>
              <a:gd name="connsiteX15" fmla="*/ 460474 w 4573283"/>
              <a:gd name="connsiteY15" fmla="*/ 4819082 h 4819082"/>
              <a:gd name="connsiteX16" fmla="*/ 0 w 4573283"/>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352076 w 4651865"/>
              <a:gd name="connsiteY7" fmla="*/ 954064 h 4819082"/>
              <a:gd name="connsiteX8" fmla="*/ 4036756 w 4651865"/>
              <a:gd name="connsiteY8" fmla="*/ 2658613 h 4819082"/>
              <a:gd name="connsiteX9" fmla="*/ 3694851 w 4651865"/>
              <a:gd name="connsiteY9" fmla="*/ 3201964 h 4819082"/>
              <a:gd name="connsiteX10" fmla="*/ 2903423 w 4651865"/>
              <a:gd name="connsiteY10" fmla="*/ 3740908 h 4819082"/>
              <a:gd name="connsiteX11" fmla="*/ 2098205 w 4651865"/>
              <a:gd name="connsiteY11" fmla="*/ 3962116 h 4819082"/>
              <a:gd name="connsiteX12" fmla="*/ 1825250 w 4651865"/>
              <a:gd name="connsiteY12" fmla="*/ 4015427 h 4819082"/>
              <a:gd name="connsiteX13" fmla="*/ 1308199 w 4651865"/>
              <a:gd name="connsiteY13" fmla="*/ 4219860 h 4819082"/>
              <a:gd name="connsiteX14" fmla="*/ 770047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352076 w 4651865"/>
              <a:gd name="connsiteY7" fmla="*/ 954064 h 4819082"/>
              <a:gd name="connsiteX8" fmla="*/ 4036756 w 4651865"/>
              <a:gd name="connsiteY8" fmla="*/ 2658613 h 4819082"/>
              <a:gd name="connsiteX9" fmla="*/ 3694851 w 4651865"/>
              <a:gd name="connsiteY9" fmla="*/ 3201964 h 4819082"/>
              <a:gd name="connsiteX10" fmla="*/ 2903423 w 4651865"/>
              <a:gd name="connsiteY10" fmla="*/ 3740908 h 4819082"/>
              <a:gd name="connsiteX11" fmla="*/ 2098205 w 4651865"/>
              <a:gd name="connsiteY11" fmla="*/ 3962116 h 4819082"/>
              <a:gd name="connsiteX12" fmla="*/ 1825250 w 4651865"/>
              <a:gd name="connsiteY12" fmla="*/ 4015427 h 4819082"/>
              <a:gd name="connsiteX13" fmla="*/ 1308199 w 4651865"/>
              <a:gd name="connsiteY13" fmla="*/ 4219860 h 4819082"/>
              <a:gd name="connsiteX14" fmla="*/ 770047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03423 w 4651865"/>
              <a:gd name="connsiteY10" fmla="*/ 3740908 h 4819082"/>
              <a:gd name="connsiteX11" fmla="*/ 2098205 w 4651865"/>
              <a:gd name="connsiteY11" fmla="*/ 3962116 h 4819082"/>
              <a:gd name="connsiteX12" fmla="*/ 1825250 w 4651865"/>
              <a:gd name="connsiteY12" fmla="*/ 4015427 h 4819082"/>
              <a:gd name="connsiteX13" fmla="*/ 1308199 w 4651865"/>
              <a:gd name="connsiteY13" fmla="*/ 4219860 h 4819082"/>
              <a:gd name="connsiteX14" fmla="*/ 770047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03423 w 4651865"/>
              <a:gd name="connsiteY10" fmla="*/ 3740908 h 4819082"/>
              <a:gd name="connsiteX11" fmla="*/ 2098205 w 4651865"/>
              <a:gd name="connsiteY11" fmla="*/ 3962116 h 4819082"/>
              <a:gd name="connsiteX12" fmla="*/ 1825250 w 4651865"/>
              <a:gd name="connsiteY12" fmla="*/ 4015427 h 4819082"/>
              <a:gd name="connsiteX13" fmla="*/ 1308199 w 4651865"/>
              <a:gd name="connsiteY13" fmla="*/ 4219860 h 4819082"/>
              <a:gd name="connsiteX14" fmla="*/ 770047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03423 w 4651865"/>
              <a:gd name="connsiteY10" fmla="*/ 3740908 h 4819082"/>
              <a:gd name="connsiteX11" fmla="*/ 2098205 w 4651865"/>
              <a:gd name="connsiteY11" fmla="*/ 3962116 h 4819082"/>
              <a:gd name="connsiteX12" fmla="*/ 1825250 w 4651865"/>
              <a:gd name="connsiteY12" fmla="*/ 4015427 h 4819082"/>
              <a:gd name="connsiteX13" fmla="*/ 1308199 w 4651865"/>
              <a:gd name="connsiteY13" fmla="*/ 4219860 h 4819082"/>
              <a:gd name="connsiteX14" fmla="*/ 770047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60573 w 4651865"/>
              <a:gd name="connsiteY10" fmla="*/ 3740908 h 4819082"/>
              <a:gd name="connsiteX11" fmla="*/ 2098205 w 4651865"/>
              <a:gd name="connsiteY11" fmla="*/ 3962116 h 4819082"/>
              <a:gd name="connsiteX12" fmla="*/ 1825250 w 4651865"/>
              <a:gd name="connsiteY12" fmla="*/ 4015427 h 4819082"/>
              <a:gd name="connsiteX13" fmla="*/ 1308199 w 4651865"/>
              <a:gd name="connsiteY13" fmla="*/ 4219860 h 4819082"/>
              <a:gd name="connsiteX14" fmla="*/ 770047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60573 w 4651865"/>
              <a:gd name="connsiteY10" fmla="*/ 3740908 h 4819082"/>
              <a:gd name="connsiteX11" fmla="*/ 2136305 w 4651865"/>
              <a:gd name="connsiteY11" fmla="*/ 3981166 h 4819082"/>
              <a:gd name="connsiteX12" fmla="*/ 1825250 w 4651865"/>
              <a:gd name="connsiteY12" fmla="*/ 4015427 h 4819082"/>
              <a:gd name="connsiteX13" fmla="*/ 1308199 w 4651865"/>
              <a:gd name="connsiteY13" fmla="*/ 4219860 h 4819082"/>
              <a:gd name="connsiteX14" fmla="*/ 770047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60573 w 4651865"/>
              <a:gd name="connsiteY10" fmla="*/ 3740908 h 4819082"/>
              <a:gd name="connsiteX11" fmla="*/ 2136305 w 4651865"/>
              <a:gd name="connsiteY11" fmla="*/ 3981166 h 4819082"/>
              <a:gd name="connsiteX12" fmla="*/ 1777625 w 4651865"/>
              <a:gd name="connsiteY12" fmla="*/ 4053527 h 4819082"/>
              <a:gd name="connsiteX13" fmla="*/ 1308199 w 4651865"/>
              <a:gd name="connsiteY13" fmla="*/ 4219860 h 4819082"/>
              <a:gd name="connsiteX14" fmla="*/ 770047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60573 w 4651865"/>
              <a:gd name="connsiteY10" fmla="*/ 3740908 h 4819082"/>
              <a:gd name="connsiteX11" fmla="*/ 2136305 w 4651865"/>
              <a:gd name="connsiteY11" fmla="*/ 3981166 h 4819082"/>
              <a:gd name="connsiteX12" fmla="*/ 1777625 w 4651865"/>
              <a:gd name="connsiteY12" fmla="*/ 4053527 h 4819082"/>
              <a:gd name="connsiteX13" fmla="*/ 1308199 w 4651865"/>
              <a:gd name="connsiteY13" fmla="*/ 4219860 h 4819082"/>
              <a:gd name="connsiteX14" fmla="*/ 798622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60573 w 4651865"/>
              <a:gd name="connsiteY10" fmla="*/ 3740908 h 4819082"/>
              <a:gd name="connsiteX11" fmla="*/ 2136305 w 4651865"/>
              <a:gd name="connsiteY11" fmla="*/ 3981166 h 4819082"/>
              <a:gd name="connsiteX12" fmla="*/ 1777625 w 4651865"/>
              <a:gd name="connsiteY12" fmla="*/ 4053527 h 4819082"/>
              <a:gd name="connsiteX13" fmla="*/ 1308199 w 4651865"/>
              <a:gd name="connsiteY13" fmla="*/ 4219860 h 4819082"/>
              <a:gd name="connsiteX14" fmla="*/ 798622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60573 w 4651865"/>
              <a:gd name="connsiteY10" fmla="*/ 3740908 h 4819082"/>
              <a:gd name="connsiteX11" fmla="*/ 2136305 w 4651865"/>
              <a:gd name="connsiteY11" fmla="*/ 3981166 h 4819082"/>
              <a:gd name="connsiteX12" fmla="*/ 1777625 w 4651865"/>
              <a:gd name="connsiteY12" fmla="*/ 4053527 h 4819082"/>
              <a:gd name="connsiteX13" fmla="*/ 1308199 w 4651865"/>
              <a:gd name="connsiteY13" fmla="*/ 4219860 h 4819082"/>
              <a:gd name="connsiteX14" fmla="*/ 817672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60573 w 4651865"/>
              <a:gd name="connsiteY10" fmla="*/ 3740908 h 4819082"/>
              <a:gd name="connsiteX11" fmla="*/ 2136305 w 4651865"/>
              <a:gd name="connsiteY11" fmla="*/ 3981166 h 4819082"/>
              <a:gd name="connsiteX12" fmla="*/ 1777625 w 4651865"/>
              <a:gd name="connsiteY12" fmla="*/ 4053527 h 4819082"/>
              <a:gd name="connsiteX13" fmla="*/ 1308199 w 4651865"/>
              <a:gd name="connsiteY13" fmla="*/ 4219860 h 4819082"/>
              <a:gd name="connsiteX14" fmla="*/ 817672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19082"/>
              <a:gd name="connsiteX1" fmla="*/ 1380275 w 4651865"/>
              <a:gd name="connsiteY1" fmla="*/ 3792514 h 4819082"/>
              <a:gd name="connsiteX2" fmla="*/ 2329595 w 4651865"/>
              <a:gd name="connsiteY2" fmla="*/ 3480995 h 4819082"/>
              <a:gd name="connsiteX3" fmla="*/ 3466251 w 4651865"/>
              <a:gd name="connsiteY3" fmla="*/ 2544739 h 4819082"/>
              <a:gd name="connsiteX4" fmla="*/ 3666276 w 4651865"/>
              <a:gd name="connsiteY4" fmla="*/ 1220764 h 4819082"/>
              <a:gd name="connsiteX5" fmla="*/ 3887341 w 4651865"/>
              <a:gd name="connsiteY5" fmla="*/ 0 h 4819082"/>
              <a:gd name="connsiteX6" fmla="*/ 4651865 w 4651865"/>
              <a:gd name="connsiteY6" fmla="*/ 484579 h 4819082"/>
              <a:gd name="connsiteX7" fmla="*/ 4456851 w 4651865"/>
              <a:gd name="connsiteY7" fmla="*/ 1039789 h 4819082"/>
              <a:gd name="connsiteX8" fmla="*/ 4036756 w 4651865"/>
              <a:gd name="connsiteY8" fmla="*/ 2658613 h 4819082"/>
              <a:gd name="connsiteX9" fmla="*/ 3694851 w 4651865"/>
              <a:gd name="connsiteY9" fmla="*/ 3201964 h 4819082"/>
              <a:gd name="connsiteX10" fmla="*/ 2960573 w 4651865"/>
              <a:gd name="connsiteY10" fmla="*/ 3740908 h 4819082"/>
              <a:gd name="connsiteX11" fmla="*/ 2136305 w 4651865"/>
              <a:gd name="connsiteY11" fmla="*/ 3981166 h 4819082"/>
              <a:gd name="connsiteX12" fmla="*/ 1777625 w 4651865"/>
              <a:gd name="connsiteY12" fmla="*/ 4053527 h 4819082"/>
              <a:gd name="connsiteX13" fmla="*/ 1308199 w 4651865"/>
              <a:gd name="connsiteY13" fmla="*/ 4219860 h 4819082"/>
              <a:gd name="connsiteX14" fmla="*/ 817672 w 4651865"/>
              <a:gd name="connsiteY14" fmla="*/ 4445872 h 4819082"/>
              <a:gd name="connsiteX15" fmla="*/ 460474 w 4651865"/>
              <a:gd name="connsiteY15" fmla="*/ 4819082 h 4819082"/>
              <a:gd name="connsiteX16" fmla="*/ 0 w 4651865"/>
              <a:gd name="connsiteY16" fmla="*/ 4694415 h 4819082"/>
              <a:gd name="connsiteX0" fmla="*/ 442582 w 4651865"/>
              <a:gd name="connsiteY0" fmla="*/ 4316879 h 4847657"/>
              <a:gd name="connsiteX1" fmla="*/ 1380275 w 4651865"/>
              <a:gd name="connsiteY1" fmla="*/ 3792514 h 4847657"/>
              <a:gd name="connsiteX2" fmla="*/ 2329595 w 4651865"/>
              <a:gd name="connsiteY2" fmla="*/ 3480995 h 4847657"/>
              <a:gd name="connsiteX3" fmla="*/ 3466251 w 4651865"/>
              <a:gd name="connsiteY3" fmla="*/ 2544739 h 4847657"/>
              <a:gd name="connsiteX4" fmla="*/ 3666276 w 4651865"/>
              <a:gd name="connsiteY4" fmla="*/ 1220764 h 4847657"/>
              <a:gd name="connsiteX5" fmla="*/ 3887341 w 4651865"/>
              <a:gd name="connsiteY5" fmla="*/ 0 h 4847657"/>
              <a:gd name="connsiteX6" fmla="*/ 4651865 w 4651865"/>
              <a:gd name="connsiteY6" fmla="*/ 484579 h 4847657"/>
              <a:gd name="connsiteX7" fmla="*/ 4456851 w 4651865"/>
              <a:gd name="connsiteY7" fmla="*/ 1039789 h 4847657"/>
              <a:gd name="connsiteX8" fmla="*/ 4036756 w 4651865"/>
              <a:gd name="connsiteY8" fmla="*/ 2658613 h 4847657"/>
              <a:gd name="connsiteX9" fmla="*/ 3694851 w 4651865"/>
              <a:gd name="connsiteY9" fmla="*/ 3201964 h 4847657"/>
              <a:gd name="connsiteX10" fmla="*/ 2960573 w 4651865"/>
              <a:gd name="connsiteY10" fmla="*/ 3740908 h 4847657"/>
              <a:gd name="connsiteX11" fmla="*/ 2136305 w 4651865"/>
              <a:gd name="connsiteY11" fmla="*/ 3981166 h 4847657"/>
              <a:gd name="connsiteX12" fmla="*/ 1777625 w 4651865"/>
              <a:gd name="connsiteY12" fmla="*/ 4053527 h 4847657"/>
              <a:gd name="connsiteX13" fmla="*/ 1308199 w 4651865"/>
              <a:gd name="connsiteY13" fmla="*/ 4219860 h 4847657"/>
              <a:gd name="connsiteX14" fmla="*/ 817672 w 4651865"/>
              <a:gd name="connsiteY14" fmla="*/ 4445872 h 4847657"/>
              <a:gd name="connsiteX15" fmla="*/ 498574 w 4651865"/>
              <a:gd name="connsiteY15" fmla="*/ 4847657 h 4847657"/>
              <a:gd name="connsiteX16" fmla="*/ 0 w 4651865"/>
              <a:gd name="connsiteY16" fmla="*/ 4694415 h 4847657"/>
              <a:gd name="connsiteX0" fmla="*/ 547357 w 4756640"/>
              <a:gd name="connsiteY0" fmla="*/ 4316879 h 4847657"/>
              <a:gd name="connsiteX1" fmla="*/ 1485050 w 4756640"/>
              <a:gd name="connsiteY1" fmla="*/ 3792514 h 4847657"/>
              <a:gd name="connsiteX2" fmla="*/ 2434370 w 4756640"/>
              <a:gd name="connsiteY2" fmla="*/ 3480995 h 4847657"/>
              <a:gd name="connsiteX3" fmla="*/ 3571026 w 4756640"/>
              <a:gd name="connsiteY3" fmla="*/ 2544739 h 4847657"/>
              <a:gd name="connsiteX4" fmla="*/ 3771051 w 4756640"/>
              <a:gd name="connsiteY4" fmla="*/ 1220764 h 4847657"/>
              <a:gd name="connsiteX5" fmla="*/ 3992116 w 4756640"/>
              <a:gd name="connsiteY5" fmla="*/ 0 h 4847657"/>
              <a:gd name="connsiteX6" fmla="*/ 4756640 w 4756640"/>
              <a:gd name="connsiteY6" fmla="*/ 484579 h 4847657"/>
              <a:gd name="connsiteX7" fmla="*/ 4561626 w 4756640"/>
              <a:gd name="connsiteY7" fmla="*/ 1039789 h 4847657"/>
              <a:gd name="connsiteX8" fmla="*/ 4141531 w 4756640"/>
              <a:gd name="connsiteY8" fmla="*/ 2658613 h 4847657"/>
              <a:gd name="connsiteX9" fmla="*/ 3799626 w 4756640"/>
              <a:gd name="connsiteY9" fmla="*/ 3201964 h 4847657"/>
              <a:gd name="connsiteX10" fmla="*/ 3065348 w 4756640"/>
              <a:gd name="connsiteY10" fmla="*/ 3740908 h 4847657"/>
              <a:gd name="connsiteX11" fmla="*/ 2241080 w 4756640"/>
              <a:gd name="connsiteY11" fmla="*/ 3981166 h 4847657"/>
              <a:gd name="connsiteX12" fmla="*/ 1882400 w 4756640"/>
              <a:gd name="connsiteY12" fmla="*/ 4053527 h 4847657"/>
              <a:gd name="connsiteX13" fmla="*/ 1412974 w 4756640"/>
              <a:gd name="connsiteY13" fmla="*/ 4219860 h 4847657"/>
              <a:gd name="connsiteX14" fmla="*/ 922447 w 4756640"/>
              <a:gd name="connsiteY14" fmla="*/ 4445872 h 4847657"/>
              <a:gd name="connsiteX15" fmla="*/ 603349 w 4756640"/>
              <a:gd name="connsiteY15" fmla="*/ 4847657 h 4847657"/>
              <a:gd name="connsiteX16" fmla="*/ 0 w 4756640"/>
              <a:gd name="connsiteY16" fmla="*/ 4665840 h 4847657"/>
              <a:gd name="connsiteX0" fmla="*/ 509257 w 4756640"/>
              <a:gd name="connsiteY0" fmla="*/ 4278779 h 4847657"/>
              <a:gd name="connsiteX1" fmla="*/ 1485050 w 4756640"/>
              <a:gd name="connsiteY1" fmla="*/ 3792514 h 4847657"/>
              <a:gd name="connsiteX2" fmla="*/ 2434370 w 4756640"/>
              <a:gd name="connsiteY2" fmla="*/ 3480995 h 4847657"/>
              <a:gd name="connsiteX3" fmla="*/ 3571026 w 4756640"/>
              <a:gd name="connsiteY3" fmla="*/ 2544739 h 4847657"/>
              <a:gd name="connsiteX4" fmla="*/ 3771051 w 4756640"/>
              <a:gd name="connsiteY4" fmla="*/ 1220764 h 4847657"/>
              <a:gd name="connsiteX5" fmla="*/ 3992116 w 4756640"/>
              <a:gd name="connsiteY5" fmla="*/ 0 h 4847657"/>
              <a:gd name="connsiteX6" fmla="*/ 4756640 w 4756640"/>
              <a:gd name="connsiteY6" fmla="*/ 484579 h 4847657"/>
              <a:gd name="connsiteX7" fmla="*/ 4561626 w 4756640"/>
              <a:gd name="connsiteY7" fmla="*/ 1039789 h 4847657"/>
              <a:gd name="connsiteX8" fmla="*/ 4141531 w 4756640"/>
              <a:gd name="connsiteY8" fmla="*/ 2658613 h 4847657"/>
              <a:gd name="connsiteX9" fmla="*/ 3799626 w 4756640"/>
              <a:gd name="connsiteY9" fmla="*/ 3201964 h 4847657"/>
              <a:gd name="connsiteX10" fmla="*/ 3065348 w 4756640"/>
              <a:gd name="connsiteY10" fmla="*/ 3740908 h 4847657"/>
              <a:gd name="connsiteX11" fmla="*/ 2241080 w 4756640"/>
              <a:gd name="connsiteY11" fmla="*/ 3981166 h 4847657"/>
              <a:gd name="connsiteX12" fmla="*/ 1882400 w 4756640"/>
              <a:gd name="connsiteY12" fmla="*/ 4053527 h 4847657"/>
              <a:gd name="connsiteX13" fmla="*/ 1412974 w 4756640"/>
              <a:gd name="connsiteY13" fmla="*/ 4219860 h 4847657"/>
              <a:gd name="connsiteX14" fmla="*/ 922447 w 4756640"/>
              <a:gd name="connsiteY14" fmla="*/ 4445872 h 4847657"/>
              <a:gd name="connsiteX15" fmla="*/ 603349 w 4756640"/>
              <a:gd name="connsiteY15" fmla="*/ 4847657 h 4847657"/>
              <a:gd name="connsiteX16" fmla="*/ 0 w 4756640"/>
              <a:gd name="connsiteY16" fmla="*/ 4665840 h 4847657"/>
              <a:gd name="connsiteX0" fmla="*/ 433057 w 4680440"/>
              <a:gd name="connsiteY0" fmla="*/ 4278779 h 4847657"/>
              <a:gd name="connsiteX1" fmla="*/ 1408850 w 4680440"/>
              <a:gd name="connsiteY1" fmla="*/ 3792514 h 4847657"/>
              <a:gd name="connsiteX2" fmla="*/ 2358170 w 4680440"/>
              <a:gd name="connsiteY2" fmla="*/ 3480995 h 4847657"/>
              <a:gd name="connsiteX3" fmla="*/ 3494826 w 4680440"/>
              <a:gd name="connsiteY3" fmla="*/ 2544739 h 4847657"/>
              <a:gd name="connsiteX4" fmla="*/ 3694851 w 4680440"/>
              <a:gd name="connsiteY4" fmla="*/ 1220764 h 4847657"/>
              <a:gd name="connsiteX5" fmla="*/ 3915916 w 4680440"/>
              <a:gd name="connsiteY5" fmla="*/ 0 h 4847657"/>
              <a:gd name="connsiteX6" fmla="*/ 4680440 w 4680440"/>
              <a:gd name="connsiteY6" fmla="*/ 484579 h 4847657"/>
              <a:gd name="connsiteX7" fmla="*/ 4485426 w 4680440"/>
              <a:gd name="connsiteY7" fmla="*/ 1039789 h 4847657"/>
              <a:gd name="connsiteX8" fmla="*/ 4065331 w 4680440"/>
              <a:gd name="connsiteY8" fmla="*/ 2658613 h 4847657"/>
              <a:gd name="connsiteX9" fmla="*/ 3723426 w 4680440"/>
              <a:gd name="connsiteY9" fmla="*/ 3201964 h 4847657"/>
              <a:gd name="connsiteX10" fmla="*/ 2989148 w 4680440"/>
              <a:gd name="connsiteY10" fmla="*/ 3740908 h 4847657"/>
              <a:gd name="connsiteX11" fmla="*/ 2164880 w 4680440"/>
              <a:gd name="connsiteY11" fmla="*/ 3981166 h 4847657"/>
              <a:gd name="connsiteX12" fmla="*/ 1806200 w 4680440"/>
              <a:gd name="connsiteY12" fmla="*/ 4053527 h 4847657"/>
              <a:gd name="connsiteX13" fmla="*/ 1336774 w 4680440"/>
              <a:gd name="connsiteY13" fmla="*/ 4219860 h 4847657"/>
              <a:gd name="connsiteX14" fmla="*/ 846247 w 4680440"/>
              <a:gd name="connsiteY14" fmla="*/ 4445872 h 4847657"/>
              <a:gd name="connsiteX15" fmla="*/ 527149 w 4680440"/>
              <a:gd name="connsiteY15" fmla="*/ 4847657 h 4847657"/>
              <a:gd name="connsiteX16" fmla="*/ 0 w 4680440"/>
              <a:gd name="connsiteY16" fmla="*/ 4646790 h 4847657"/>
              <a:gd name="connsiteX0" fmla="*/ 499732 w 4747115"/>
              <a:gd name="connsiteY0" fmla="*/ 4278779 h 4847657"/>
              <a:gd name="connsiteX1" fmla="*/ 1475525 w 4747115"/>
              <a:gd name="connsiteY1" fmla="*/ 3792514 h 4847657"/>
              <a:gd name="connsiteX2" fmla="*/ 2424845 w 4747115"/>
              <a:gd name="connsiteY2" fmla="*/ 3480995 h 4847657"/>
              <a:gd name="connsiteX3" fmla="*/ 3561501 w 4747115"/>
              <a:gd name="connsiteY3" fmla="*/ 2544739 h 4847657"/>
              <a:gd name="connsiteX4" fmla="*/ 3761526 w 4747115"/>
              <a:gd name="connsiteY4" fmla="*/ 1220764 h 4847657"/>
              <a:gd name="connsiteX5" fmla="*/ 3982591 w 4747115"/>
              <a:gd name="connsiteY5" fmla="*/ 0 h 4847657"/>
              <a:gd name="connsiteX6" fmla="*/ 4747115 w 4747115"/>
              <a:gd name="connsiteY6" fmla="*/ 484579 h 4847657"/>
              <a:gd name="connsiteX7" fmla="*/ 4552101 w 4747115"/>
              <a:gd name="connsiteY7" fmla="*/ 1039789 h 4847657"/>
              <a:gd name="connsiteX8" fmla="*/ 4132006 w 4747115"/>
              <a:gd name="connsiteY8" fmla="*/ 2658613 h 4847657"/>
              <a:gd name="connsiteX9" fmla="*/ 3790101 w 4747115"/>
              <a:gd name="connsiteY9" fmla="*/ 3201964 h 4847657"/>
              <a:gd name="connsiteX10" fmla="*/ 3055823 w 4747115"/>
              <a:gd name="connsiteY10" fmla="*/ 3740908 h 4847657"/>
              <a:gd name="connsiteX11" fmla="*/ 2231555 w 4747115"/>
              <a:gd name="connsiteY11" fmla="*/ 3981166 h 4847657"/>
              <a:gd name="connsiteX12" fmla="*/ 1872875 w 4747115"/>
              <a:gd name="connsiteY12" fmla="*/ 4053527 h 4847657"/>
              <a:gd name="connsiteX13" fmla="*/ 1403449 w 4747115"/>
              <a:gd name="connsiteY13" fmla="*/ 4219860 h 4847657"/>
              <a:gd name="connsiteX14" fmla="*/ 912922 w 4747115"/>
              <a:gd name="connsiteY14" fmla="*/ 4445872 h 4847657"/>
              <a:gd name="connsiteX15" fmla="*/ 593824 w 4747115"/>
              <a:gd name="connsiteY15" fmla="*/ 4847657 h 4847657"/>
              <a:gd name="connsiteX16" fmla="*/ 0 w 4747115"/>
              <a:gd name="connsiteY16" fmla="*/ 4627740 h 4847657"/>
              <a:gd name="connsiteX0" fmla="*/ 499732 w 4747115"/>
              <a:gd name="connsiteY0" fmla="*/ 4278779 h 4847657"/>
              <a:gd name="connsiteX1" fmla="*/ 1475525 w 4747115"/>
              <a:gd name="connsiteY1" fmla="*/ 3792514 h 4847657"/>
              <a:gd name="connsiteX2" fmla="*/ 2424845 w 4747115"/>
              <a:gd name="connsiteY2" fmla="*/ 3480995 h 4847657"/>
              <a:gd name="connsiteX3" fmla="*/ 3561501 w 4747115"/>
              <a:gd name="connsiteY3" fmla="*/ 2544739 h 4847657"/>
              <a:gd name="connsiteX4" fmla="*/ 3761526 w 4747115"/>
              <a:gd name="connsiteY4" fmla="*/ 1220764 h 4847657"/>
              <a:gd name="connsiteX5" fmla="*/ 3982591 w 4747115"/>
              <a:gd name="connsiteY5" fmla="*/ 0 h 4847657"/>
              <a:gd name="connsiteX6" fmla="*/ 4747115 w 4747115"/>
              <a:gd name="connsiteY6" fmla="*/ 484579 h 4847657"/>
              <a:gd name="connsiteX7" fmla="*/ 4552101 w 4747115"/>
              <a:gd name="connsiteY7" fmla="*/ 1039789 h 4847657"/>
              <a:gd name="connsiteX8" fmla="*/ 4132006 w 4747115"/>
              <a:gd name="connsiteY8" fmla="*/ 2658613 h 4847657"/>
              <a:gd name="connsiteX9" fmla="*/ 3790101 w 4747115"/>
              <a:gd name="connsiteY9" fmla="*/ 3201964 h 4847657"/>
              <a:gd name="connsiteX10" fmla="*/ 3542452 w 4747115"/>
              <a:gd name="connsiteY10" fmla="*/ 3440089 h 4847657"/>
              <a:gd name="connsiteX11" fmla="*/ 3055823 w 4747115"/>
              <a:gd name="connsiteY11" fmla="*/ 3740908 h 4847657"/>
              <a:gd name="connsiteX12" fmla="*/ 2231555 w 4747115"/>
              <a:gd name="connsiteY12" fmla="*/ 3981166 h 4847657"/>
              <a:gd name="connsiteX13" fmla="*/ 1872875 w 4747115"/>
              <a:gd name="connsiteY13" fmla="*/ 4053527 h 4847657"/>
              <a:gd name="connsiteX14" fmla="*/ 1403449 w 4747115"/>
              <a:gd name="connsiteY14" fmla="*/ 4219860 h 4847657"/>
              <a:gd name="connsiteX15" fmla="*/ 912922 w 4747115"/>
              <a:gd name="connsiteY15" fmla="*/ 4445872 h 4847657"/>
              <a:gd name="connsiteX16" fmla="*/ 593824 w 4747115"/>
              <a:gd name="connsiteY16" fmla="*/ 4847657 h 4847657"/>
              <a:gd name="connsiteX17" fmla="*/ 0 w 4747115"/>
              <a:gd name="connsiteY17" fmla="*/ 4627740 h 4847657"/>
              <a:gd name="connsiteX0" fmla="*/ 499732 w 4747115"/>
              <a:gd name="connsiteY0" fmla="*/ 4233059 h 4801937"/>
              <a:gd name="connsiteX1" fmla="*/ 1475525 w 4747115"/>
              <a:gd name="connsiteY1" fmla="*/ 3746794 h 4801937"/>
              <a:gd name="connsiteX2" fmla="*/ 2424845 w 4747115"/>
              <a:gd name="connsiteY2" fmla="*/ 3435275 h 4801937"/>
              <a:gd name="connsiteX3" fmla="*/ 3561501 w 4747115"/>
              <a:gd name="connsiteY3" fmla="*/ 2499019 h 4801937"/>
              <a:gd name="connsiteX4" fmla="*/ 3761526 w 4747115"/>
              <a:gd name="connsiteY4" fmla="*/ 1175044 h 4801937"/>
              <a:gd name="connsiteX5" fmla="*/ 4058791 w 4747115"/>
              <a:gd name="connsiteY5" fmla="*/ 0 h 4801937"/>
              <a:gd name="connsiteX6" fmla="*/ 4747115 w 4747115"/>
              <a:gd name="connsiteY6" fmla="*/ 438859 h 4801937"/>
              <a:gd name="connsiteX7" fmla="*/ 4552101 w 4747115"/>
              <a:gd name="connsiteY7" fmla="*/ 994069 h 4801937"/>
              <a:gd name="connsiteX8" fmla="*/ 4132006 w 4747115"/>
              <a:gd name="connsiteY8" fmla="*/ 2612893 h 4801937"/>
              <a:gd name="connsiteX9" fmla="*/ 3790101 w 4747115"/>
              <a:gd name="connsiteY9" fmla="*/ 3156244 h 4801937"/>
              <a:gd name="connsiteX10" fmla="*/ 3542452 w 4747115"/>
              <a:gd name="connsiteY10" fmla="*/ 3394369 h 4801937"/>
              <a:gd name="connsiteX11" fmla="*/ 3055823 w 4747115"/>
              <a:gd name="connsiteY11" fmla="*/ 3695188 h 4801937"/>
              <a:gd name="connsiteX12" fmla="*/ 2231555 w 4747115"/>
              <a:gd name="connsiteY12" fmla="*/ 3935446 h 4801937"/>
              <a:gd name="connsiteX13" fmla="*/ 1872875 w 4747115"/>
              <a:gd name="connsiteY13" fmla="*/ 4007807 h 4801937"/>
              <a:gd name="connsiteX14" fmla="*/ 1403449 w 4747115"/>
              <a:gd name="connsiteY14" fmla="*/ 4174140 h 4801937"/>
              <a:gd name="connsiteX15" fmla="*/ 912922 w 4747115"/>
              <a:gd name="connsiteY15" fmla="*/ 4400152 h 4801937"/>
              <a:gd name="connsiteX16" fmla="*/ 593824 w 4747115"/>
              <a:gd name="connsiteY16" fmla="*/ 4801937 h 4801937"/>
              <a:gd name="connsiteX17" fmla="*/ 0 w 4747115"/>
              <a:gd name="connsiteY17" fmla="*/ 4582020 h 4801937"/>
              <a:gd name="connsiteX0" fmla="*/ 499732 w 4747115"/>
              <a:gd name="connsiteY0" fmla="*/ 4233059 h 4801937"/>
              <a:gd name="connsiteX1" fmla="*/ 1475525 w 4747115"/>
              <a:gd name="connsiteY1" fmla="*/ 3746794 h 4801937"/>
              <a:gd name="connsiteX2" fmla="*/ 2424845 w 4747115"/>
              <a:gd name="connsiteY2" fmla="*/ 3435275 h 4801937"/>
              <a:gd name="connsiteX3" fmla="*/ 3561501 w 4747115"/>
              <a:gd name="connsiteY3" fmla="*/ 2499019 h 4801937"/>
              <a:gd name="connsiteX4" fmla="*/ 3761526 w 4747115"/>
              <a:gd name="connsiteY4" fmla="*/ 1175044 h 4801937"/>
              <a:gd name="connsiteX5" fmla="*/ 4058791 w 4747115"/>
              <a:gd name="connsiteY5" fmla="*/ 0 h 4801937"/>
              <a:gd name="connsiteX6" fmla="*/ 4747115 w 4747115"/>
              <a:gd name="connsiteY6" fmla="*/ 438859 h 4801937"/>
              <a:gd name="connsiteX7" fmla="*/ 4552101 w 4747115"/>
              <a:gd name="connsiteY7" fmla="*/ 994069 h 4801937"/>
              <a:gd name="connsiteX8" fmla="*/ 4132006 w 4747115"/>
              <a:gd name="connsiteY8" fmla="*/ 2612893 h 4801937"/>
              <a:gd name="connsiteX9" fmla="*/ 3790101 w 4747115"/>
              <a:gd name="connsiteY9" fmla="*/ 3156244 h 4801937"/>
              <a:gd name="connsiteX10" fmla="*/ 3542452 w 4747115"/>
              <a:gd name="connsiteY10" fmla="*/ 3394369 h 4801937"/>
              <a:gd name="connsiteX11" fmla="*/ 3055823 w 4747115"/>
              <a:gd name="connsiteY11" fmla="*/ 3695188 h 4801937"/>
              <a:gd name="connsiteX12" fmla="*/ 2231555 w 4747115"/>
              <a:gd name="connsiteY12" fmla="*/ 3935446 h 4801937"/>
              <a:gd name="connsiteX13" fmla="*/ 1872875 w 4747115"/>
              <a:gd name="connsiteY13" fmla="*/ 4007807 h 4801937"/>
              <a:gd name="connsiteX14" fmla="*/ 1403449 w 4747115"/>
              <a:gd name="connsiteY14" fmla="*/ 4174140 h 4801937"/>
              <a:gd name="connsiteX15" fmla="*/ 912922 w 4747115"/>
              <a:gd name="connsiteY15" fmla="*/ 4400152 h 4801937"/>
              <a:gd name="connsiteX16" fmla="*/ 593824 w 4747115"/>
              <a:gd name="connsiteY16" fmla="*/ 4801937 h 4801937"/>
              <a:gd name="connsiteX17" fmla="*/ 0 w 4747115"/>
              <a:gd name="connsiteY17" fmla="*/ 4582020 h 4801937"/>
              <a:gd name="connsiteX0" fmla="*/ 499732 w 4686155"/>
              <a:gd name="connsiteY0" fmla="*/ 4233059 h 4801937"/>
              <a:gd name="connsiteX1" fmla="*/ 1475525 w 4686155"/>
              <a:gd name="connsiteY1" fmla="*/ 3746794 h 4801937"/>
              <a:gd name="connsiteX2" fmla="*/ 2424845 w 4686155"/>
              <a:gd name="connsiteY2" fmla="*/ 3435275 h 4801937"/>
              <a:gd name="connsiteX3" fmla="*/ 3561501 w 4686155"/>
              <a:gd name="connsiteY3" fmla="*/ 2499019 h 4801937"/>
              <a:gd name="connsiteX4" fmla="*/ 3761526 w 4686155"/>
              <a:gd name="connsiteY4" fmla="*/ 1175044 h 4801937"/>
              <a:gd name="connsiteX5" fmla="*/ 4058791 w 4686155"/>
              <a:gd name="connsiteY5" fmla="*/ 0 h 4801937"/>
              <a:gd name="connsiteX6" fmla="*/ 4686155 w 4686155"/>
              <a:gd name="connsiteY6" fmla="*/ 438859 h 4801937"/>
              <a:gd name="connsiteX7" fmla="*/ 4552101 w 4686155"/>
              <a:gd name="connsiteY7" fmla="*/ 994069 h 4801937"/>
              <a:gd name="connsiteX8" fmla="*/ 4132006 w 4686155"/>
              <a:gd name="connsiteY8" fmla="*/ 2612893 h 4801937"/>
              <a:gd name="connsiteX9" fmla="*/ 3790101 w 4686155"/>
              <a:gd name="connsiteY9" fmla="*/ 3156244 h 4801937"/>
              <a:gd name="connsiteX10" fmla="*/ 3542452 w 4686155"/>
              <a:gd name="connsiteY10" fmla="*/ 3394369 h 4801937"/>
              <a:gd name="connsiteX11" fmla="*/ 3055823 w 4686155"/>
              <a:gd name="connsiteY11" fmla="*/ 3695188 h 4801937"/>
              <a:gd name="connsiteX12" fmla="*/ 2231555 w 4686155"/>
              <a:gd name="connsiteY12" fmla="*/ 3935446 h 4801937"/>
              <a:gd name="connsiteX13" fmla="*/ 1872875 w 4686155"/>
              <a:gd name="connsiteY13" fmla="*/ 4007807 h 4801937"/>
              <a:gd name="connsiteX14" fmla="*/ 1403449 w 4686155"/>
              <a:gd name="connsiteY14" fmla="*/ 4174140 h 4801937"/>
              <a:gd name="connsiteX15" fmla="*/ 912922 w 4686155"/>
              <a:gd name="connsiteY15" fmla="*/ 4400152 h 4801937"/>
              <a:gd name="connsiteX16" fmla="*/ 593824 w 4686155"/>
              <a:gd name="connsiteY16" fmla="*/ 4801937 h 4801937"/>
              <a:gd name="connsiteX17" fmla="*/ 0 w 4686155"/>
              <a:gd name="connsiteY17" fmla="*/ 4582020 h 4801937"/>
              <a:gd name="connsiteX0" fmla="*/ 499732 w 4686155"/>
              <a:gd name="connsiteY0" fmla="*/ 4233059 h 4801937"/>
              <a:gd name="connsiteX1" fmla="*/ 1475525 w 4686155"/>
              <a:gd name="connsiteY1" fmla="*/ 3746794 h 4801937"/>
              <a:gd name="connsiteX2" fmla="*/ 2424845 w 4686155"/>
              <a:gd name="connsiteY2" fmla="*/ 3435275 h 4801937"/>
              <a:gd name="connsiteX3" fmla="*/ 3561501 w 4686155"/>
              <a:gd name="connsiteY3" fmla="*/ 2499019 h 4801937"/>
              <a:gd name="connsiteX4" fmla="*/ 3761526 w 4686155"/>
              <a:gd name="connsiteY4" fmla="*/ 1175044 h 4801937"/>
              <a:gd name="connsiteX5" fmla="*/ 4058791 w 4686155"/>
              <a:gd name="connsiteY5" fmla="*/ 0 h 4801937"/>
              <a:gd name="connsiteX6" fmla="*/ 4686155 w 4686155"/>
              <a:gd name="connsiteY6" fmla="*/ 438859 h 4801937"/>
              <a:gd name="connsiteX7" fmla="*/ 4552101 w 4686155"/>
              <a:gd name="connsiteY7" fmla="*/ 994069 h 4801937"/>
              <a:gd name="connsiteX8" fmla="*/ 4132006 w 4686155"/>
              <a:gd name="connsiteY8" fmla="*/ 2612893 h 4801937"/>
              <a:gd name="connsiteX9" fmla="*/ 3790101 w 4686155"/>
              <a:gd name="connsiteY9" fmla="*/ 3156244 h 4801937"/>
              <a:gd name="connsiteX10" fmla="*/ 3542452 w 4686155"/>
              <a:gd name="connsiteY10" fmla="*/ 3394369 h 4801937"/>
              <a:gd name="connsiteX11" fmla="*/ 3055823 w 4686155"/>
              <a:gd name="connsiteY11" fmla="*/ 3695188 h 4801937"/>
              <a:gd name="connsiteX12" fmla="*/ 2231555 w 4686155"/>
              <a:gd name="connsiteY12" fmla="*/ 3935446 h 4801937"/>
              <a:gd name="connsiteX13" fmla="*/ 1872875 w 4686155"/>
              <a:gd name="connsiteY13" fmla="*/ 4007807 h 4801937"/>
              <a:gd name="connsiteX14" fmla="*/ 1403449 w 4686155"/>
              <a:gd name="connsiteY14" fmla="*/ 4174140 h 4801937"/>
              <a:gd name="connsiteX15" fmla="*/ 912922 w 4686155"/>
              <a:gd name="connsiteY15" fmla="*/ 4400152 h 4801937"/>
              <a:gd name="connsiteX16" fmla="*/ 593824 w 4686155"/>
              <a:gd name="connsiteY16" fmla="*/ 4801937 h 4801937"/>
              <a:gd name="connsiteX17" fmla="*/ 0 w 46861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55823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55823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55823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55823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55823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55823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55823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231555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253780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253780 w 4724255"/>
              <a:gd name="connsiteY12" fmla="*/ 39354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263305 w 4724255"/>
              <a:gd name="connsiteY12" fmla="*/ 39481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263305 w 4724255"/>
              <a:gd name="connsiteY12" fmla="*/ 39481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263305 w 4724255"/>
              <a:gd name="connsiteY12" fmla="*/ 3948146 h 4801937"/>
              <a:gd name="connsiteX13" fmla="*/ 1872875 w 4724255"/>
              <a:gd name="connsiteY13" fmla="*/ 4007807 h 4801937"/>
              <a:gd name="connsiteX14" fmla="*/ 1403449 w 4724255"/>
              <a:gd name="connsiteY14" fmla="*/ 4174140 h 4801937"/>
              <a:gd name="connsiteX15" fmla="*/ 912922 w 4724255"/>
              <a:gd name="connsiteY15" fmla="*/ 4400152 h 4801937"/>
              <a:gd name="connsiteX16" fmla="*/ 593824 w 4724255"/>
              <a:gd name="connsiteY16" fmla="*/ 4801937 h 4801937"/>
              <a:gd name="connsiteX17" fmla="*/ 0 w 4724255"/>
              <a:gd name="connsiteY17"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707427 w 4724255"/>
              <a:gd name="connsiteY12" fmla="*/ 3876969 h 4801937"/>
              <a:gd name="connsiteX13" fmla="*/ 2263305 w 4724255"/>
              <a:gd name="connsiteY13" fmla="*/ 3948146 h 4801937"/>
              <a:gd name="connsiteX14" fmla="*/ 1872875 w 4724255"/>
              <a:gd name="connsiteY14" fmla="*/ 4007807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66456 w 4724255"/>
              <a:gd name="connsiteY11" fmla="*/ 3695188 h 4801937"/>
              <a:gd name="connsiteX12" fmla="*/ 2707427 w 4724255"/>
              <a:gd name="connsiteY12" fmla="*/ 3876969 h 4801937"/>
              <a:gd name="connsiteX13" fmla="*/ 2263305 w 4724255"/>
              <a:gd name="connsiteY13" fmla="*/ 3948146 h 4801937"/>
              <a:gd name="connsiteX14" fmla="*/ 1872875 w 4724255"/>
              <a:gd name="connsiteY14" fmla="*/ 4007807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72875 w 4724255"/>
              <a:gd name="connsiteY14" fmla="*/ 4007807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72875 w 4724255"/>
              <a:gd name="connsiteY14" fmla="*/ 4007807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72875 w 4724255"/>
              <a:gd name="connsiteY14" fmla="*/ 4007807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72875 w 4724255"/>
              <a:gd name="connsiteY14" fmla="*/ 4007807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76969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86494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86494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86494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2331 w 4724255"/>
              <a:gd name="connsiteY11" fmla="*/ 3695188 h 4801937"/>
              <a:gd name="connsiteX12" fmla="*/ 2707427 w 4724255"/>
              <a:gd name="connsiteY12" fmla="*/ 3886494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7094 w 4724255"/>
              <a:gd name="connsiteY11" fmla="*/ 3699951 h 4801937"/>
              <a:gd name="connsiteX12" fmla="*/ 2707427 w 4724255"/>
              <a:gd name="connsiteY12" fmla="*/ 3886494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7094 w 4724255"/>
              <a:gd name="connsiteY11" fmla="*/ 3699951 h 4801937"/>
              <a:gd name="connsiteX12" fmla="*/ 2707427 w 4724255"/>
              <a:gd name="connsiteY12" fmla="*/ 3886494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32006 w 4724255"/>
              <a:gd name="connsiteY8" fmla="*/ 2612893 h 4801937"/>
              <a:gd name="connsiteX9" fmla="*/ 3790101 w 4724255"/>
              <a:gd name="connsiteY9" fmla="*/ 3156244 h 4801937"/>
              <a:gd name="connsiteX10" fmla="*/ 3542452 w 4724255"/>
              <a:gd name="connsiteY10" fmla="*/ 3394369 h 4801937"/>
              <a:gd name="connsiteX11" fmla="*/ 3087094 w 4724255"/>
              <a:gd name="connsiteY11" fmla="*/ 3699951 h 4801937"/>
              <a:gd name="connsiteX12" fmla="*/ 2707427 w 4724255"/>
              <a:gd name="connsiteY12" fmla="*/ 3886494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33059 h 4801937"/>
              <a:gd name="connsiteX1" fmla="*/ 1475525 w 4724255"/>
              <a:gd name="connsiteY1" fmla="*/ 3746794 h 4801937"/>
              <a:gd name="connsiteX2" fmla="*/ 2424845 w 4724255"/>
              <a:gd name="connsiteY2" fmla="*/ 3435275 h 4801937"/>
              <a:gd name="connsiteX3" fmla="*/ 3561501 w 4724255"/>
              <a:gd name="connsiteY3" fmla="*/ 2499019 h 4801937"/>
              <a:gd name="connsiteX4" fmla="*/ 3761526 w 4724255"/>
              <a:gd name="connsiteY4" fmla="*/ 1175044 h 4801937"/>
              <a:gd name="connsiteX5" fmla="*/ 4058791 w 4724255"/>
              <a:gd name="connsiteY5" fmla="*/ 0 h 4801937"/>
              <a:gd name="connsiteX6" fmla="*/ 4724255 w 4724255"/>
              <a:gd name="connsiteY6" fmla="*/ 454099 h 4801937"/>
              <a:gd name="connsiteX7" fmla="*/ 4552101 w 4724255"/>
              <a:gd name="connsiteY7" fmla="*/ 994069 h 4801937"/>
              <a:gd name="connsiteX8" fmla="*/ 4146293 w 4724255"/>
              <a:gd name="connsiteY8" fmla="*/ 2589081 h 4801937"/>
              <a:gd name="connsiteX9" fmla="*/ 3790101 w 4724255"/>
              <a:gd name="connsiteY9" fmla="*/ 3156244 h 4801937"/>
              <a:gd name="connsiteX10" fmla="*/ 3542452 w 4724255"/>
              <a:gd name="connsiteY10" fmla="*/ 3394369 h 4801937"/>
              <a:gd name="connsiteX11" fmla="*/ 3087094 w 4724255"/>
              <a:gd name="connsiteY11" fmla="*/ 3699951 h 4801937"/>
              <a:gd name="connsiteX12" fmla="*/ 2707427 w 4724255"/>
              <a:gd name="connsiteY12" fmla="*/ 3886494 h 4801937"/>
              <a:gd name="connsiteX13" fmla="*/ 2263305 w 4724255"/>
              <a:gd name="connsiteY13" fmla="*/ 3948146 h 4801937"/>
              <a:gd name="connsiteX14" fmla="*/ 1837950 w 4724255"/>
              <a:gd name="connsiteY14" fmla="*/ 4004632 h 4801937"/>
              <a:gd name="connsiteX15" fmla="*/ 1403449 w 4724255"/>
              <a:gd name="connsiteY15" fmla="*/ 4174140 h 4801937"/>
              <a:gd name="connsiteX16" fmla="*/ 912922 w 4724255"/>
              <a:gd name="connsiteY16" fmla="*/ 4400152 h 4801937"/>
              <a:gd name="connsiteX17" fmla="*/ 593824 w 4724255"/>
              <a:gd name="connsiteY17" fmla="*/ 4801937 h 4801937"/>
              <a:gd name="connsiteX18" fmla="*/ 0 w 4724255"/>
              <a:gd name="connsiteY18" fmla="*/ 4582020 h 4801937"/>
              <a:gd name="connsiteX0" fmla="*/ 499732 w 4724255"/>
              <a:gd name="connsiteY0" fmla="*/ 4223534 h 4792412"/>
              <a:gd name="connsiteX1" fmla="*/ 1475525 w 4724255"/>
              <a:gd name="connsiteY1" fmla="*/ 3737269 h 4792412"/>
              <a:gd name="connsiteX2" fmla="*/ 2424845 w 4724255"/>
              <a:gd name="connsiteY2" fmla="*/ 3425750 h 4792412"/>
              <a:gd name="connsiteX3" fmla="*/ 3561501 w 4724255"/>
              <a:gd name="connsiteY3" fmla="*/ 2489494 h 4792412"/>
              <a:gd name="connsiteX4" fmla="*/ 3761526 w 4724255"/>
              <a:gd name="connsiteY4" fmla="*/ 1165519 h 4792412"/>
              <a:gd name="connsiteX5" fmla="*/ 4039741 w 4724255"/>
              <a:gd name="connsiteY5" fmla="*/ 0 h 4792412"/>
              <a:gd name="connsiteX6" fmla="*/ 4724255 w 4724255"/>
              <a:gd name="connsiteY6" fmla="*/ 444574 h 4792412"/>
              <a:gd name="connsiteX7" fmla="*/ 4552101 w 4724255"/>
              <a:gd name="connsiteY7" fmla="*/ 984544 h 4792412"/>
              <a:gd name="connsiteX8" fmla="*/ 4146293 w 4724255"/>
              <a:gd name="connsiteY8" fmla="*/ 2579556 h 4792412"/>
              <a:gd name="connsiteX9" fmla="*/ 3790101 w 4724255"/>
              <a:gd name="connsiteY9" fmla="*/ 3146719 h 4792412"/>
              <a:gd name="connsiteX10" fmla="*/ 3542452 w 4724255"/>
              <a:gd name="connsiteY10" fmla="*/ 3384844 h 4792412"/>
              <a:gd name="connsiteX11" fmla="*/ 3087094 w 4724255"/>
              <a:gd name="connsiteY11" fmla="*/ 3690426 h 4792412"/>
              <a:gd name="connsiteX12" fmla="*/ 2707427 w 4724255"/>
              <a:gd name="connsiteY12" fmla="*/ 3876969 h 4792412"/>
              <a:gd name="connsiteX13" fmla="*/ 2263305 w 4724255"/>
              <a:gd name="connsiteY13" fmla="*/ 3938621 h 4792412"/>
              <a:gd name="connsiteX14" fmla="*/ 1837950 w 4724255"/>
              <a:gd name="connsiteY14" fmla="*/ 3995107 h 4792412"/>
              <a:gd name="connsiteX15" fmla="*/ 1403449 w 4724255"/>
              <a:gd name="connsiteY15" fmla="*/ 4164615 h 4792412"/>
              <a:gd name="connsiteX16" fmla="*/ 912922 w 4724255"/>
              <a:gd name="connsiteY16" fmla="*/ 4390627 h 4792412"/>
              <a:gd name="connsiteX17" fmla="*/ 593824 w 4724255"/>
              <a:gd name="connsiteY17" fmla="*/ 4792412 h 4792412"/>
              <a:gd name="connsiteX18" fmla="*/ 0 w 4724255"/>
              <a:gd name="connsiteY18" fmla="*/ 4572495 h 4792412"/>
              <a:gd name="connsiteX0" fmla="*/ 499732 w 4724255"/>
              <a:gd name="connsiteY0" fmla="*/ 4223534 h 4792412"/>
              <a:gd name="connsiteX1" fmla="*/ 1475525 w 4724255"/>
              <a:gd name="connsiteY1" fmla="*/ 3737269 h 4792412"/>
              <a:gd name="connsiteX2" fmla="*/ 2424845 w 4724255"/>
              <a:gd name="connsiteY2" fmla="*/ 3425750 h 4792412"/>
              <a:gd name="connsiteX3" fmla="*/ 3561501 w 4724255"/>
              <a:gd name="connsiteY3" fmla="*/ 2489494 h 4792412"/>
              <a:gd name="connsiteX4" fmla="*/ 3761526 w 4724255"/>
              <a:gd name="connsiteY4" fmla="*/ 1165519 h 4792412"/>
              <a:gd name="connsiteX5" fmla="*/ 4039741 w 4724255"/>
              <a:gd name="connsiteY5" fmla="*/ 0 h 4792412"/>
              <a:gd name="connsiteX6" fmla="*/ 4724255 w 4724255"/>
              <a:gd name="connsiteY6" fmla="*/ 444574 h 4792412"/>
              <a:gd name="connsiteX7" fmla="*/ 4552101 w 4724255"/>
              <a:gd name="connsiteY7" fmla="*/ 984544 h 4792412"/>
              <a:gd name="connsiteX8" fmla="*/ 4146293 w 4724255"/>
              <a:gd name="connsiteY8" fmla="*/ 2579556 h 4792412"/>
              <a:gd name="connsiteX9" fmla="*/ 3790101 w 4724255"/>
              <a:gd name="connsiteY9" fmla="*/ 3146719 h 4792412"/>
              <a:gd name="connsiteX10" fmla="*/ 3542452 w 4724255"/>
              <a:gd name="connsiteY10" fmla="*/ 3384844 h 4792412"/>
              <a:gd name="connsiteX11" fmla="*/ 3087094 w 4724255"/>
              <a:gd name="connsiteY11" fmla="*/ 3690426 h 4792412"/>
              <a:gd name="connsiteX12" fmla="*/ 2707427 w 4724255"/>
              <a:gd name="connsiteY12" fmla="*/ 3876969 h 4792412"/>
              <a:gd name="connsiteX13" fmla="*/ 2263305 w 4724255"/>
              <a:gd name="connsiteY13" fmla="*/ 3938621 h 4792412"/>
              <a:gd name="connsiteX14" fmla="*/ 1837950 w 4724255"/>
              <a:gd name="connsiteY14" fmla="*/ 3995107 h 4792412"/>
              <a:gd name="connsiteX15" fmla="*/ 1403449 w 4724255"/>
              <a:gd name="connsiteY15" fmla="*/ 4164615 h 4792412"/>
              <a:gd name="connsiteX16" fmla="*/ 912922 w 4724255"/>
              <a:gd name="connsiteY16" fmla="*/ 4390627 h 4792412"/>
              <a:gd name="connsiteX17" fmla="*/ 593824 w 4724255"/>
              <a:gd name="connsiteY17" fmla="*/ 4792412 h 4792412"/>
              <a:gd name="connsiteX18" fmla="*/ 0 w 4724255"/>
              <a:gd name="connsiteY18" fmla="*/ 4572495 h 4792412"/>
              <a:gd name="connsiteX0" fmla="*/ 499732 w 4724255"/>
              <a:gd name="connsiteY0" fmla="*/ 4223534 h 4785269"/>
              <a:gd name="connsiteX1" fmla="*/ 1475525 w 4724255"/>
              <a:gd name="connsiteY1" fmla="*/ 3737269 h 4785269"/>
              <a:gd name="connsiteX2" fmla="*/ 2424845 w 4724255"/>
              <a:gd name="connsiteY2" fmla="*/ 3425750 h 4785269"/>
              <a:gd name="connsiteX3" fmla="*/ 3561501 w 4724255"/>
              <a:gd name="connsiteY3" fmla="*/ 2489494 h 4785269"/>
              <a:gd name="connsiteX4" fmla="*/ 3761526 w 4724255"/>
              <a:gd name="connsiteY4" fmla="*/ 1165519 h 4785269"/>
              <a:gd name="connsiteX5" fmla="*/ 4039741 w 4724255"/>
              <a:gd name="connsiteY5" fmla="*/ 0 h 4785269"/>
              <a:gd name="connsiteX6" fmla="*/ 4724255 w 4724255"/>
              <a:gd name="connsiteY6" fmla="*/ 444574 h 4785269"/>
              <a:gd name="connsiteX7" fmla="*/ 4552101 w 4724255"/>
              <a:gd name="connsiteY7" fmla="*/ 984544 h 4785269"/>
              <a:gd name="connsiteX8" fmla="*/ 4146293 w 4724255"/>
              <a:gd name="connsiteY8" fmla="*/ 2579556 h 4785269"/>
              <a:gd name="connsiteX9" fmla="*/ 3790101 w 4724255"/>
              <a:gd name="connsiteY9" fmla="*/ 3146719 h 4785269"/>
              <a:gd name="connsiteX10" fmla="*/ 3542452 w 4724255"/>
              <a:gd name="connsiteY10" fmla="*/ 3384844 h 4785269"/>
              <a:gd name="connsiteX11" fmla="*/ 3087094 w 4724255"/>
              <a:gd name="connsiteY11" fmla="*/ 3690426 h 4785269"/>
              <a:gd name="connsiteX12" fmla="*/ 2707427 w 4724255"/>
              <a:gd name="connsiteY12" fmla="*/ 3876969 h 4785269"/>
              <a:gd name="connsiteX13" fmla="*/ 2263305 w 4724255"/>
              <a:gd name="connsiteY13" fmla="*/ 3938621 h 4785269"/>
              <a:gd name="connsiteX14" fmla="*/ 1837950 w 4724255"/>
              <a:gd name="connsiteY14" fmla="*/ 3995107 h 4785269"/>
              <a:gd name="connsiteX15" fmla="*/ 1403449 w 4724255"/>
              <a:gd name="connsiteY15" fmla="*/ 4164615 h 4785269"/>
              <a:gd name="connsiteX16" fmla="*/ 912922 w 4724255"/>
              <a:gd name="connsiteY16" fmla="*/ 4390627 h 4785269"/>
              <a:gd name="connsiteX17" fmla="*/ 598586 w 4724255"/>
              <a:gd name="connsiteY17" fmla="*/ 4785269 h 4785269"/>
              <a:gd name="connsiteX18" fmla="*/ 0 w 4724255"/>
              <a:gd name="connsiteY18" fmla="*/ 4572495 h 4785269"/>
              <a:gd name="connsiteX0" fmla="*/ 499732 w 4724255"/>
              <a:gd name="connsiteY0" fmla="*/ 4223534 h 4785269"/>
              <a:gd name="connsiteX1" fmla="*/ 1475525 w 4724255"/>
              <a:gd name="connsiteY1" fmla="*/ 3737269 h 4785269"/>
              <a:gd name="connsiteX2" fmla="*/ 2424845 w 4724255"/>
              <a:gd name="connsiteY2" fmla="*/ 3425750 h 4785269"/>
              <a:gd name="connsiteX3" fmla="*/ 3561501 w 4724255"/>
              <a:gd name="connsiteY3" fmla="*/ 2489494 h 4785269"/>
              <a:gd name="connsiteX4" fmla="*/ 3761526 w 4724255"/>
              <a:gd name="connsiteY4" fmla="*/ 1165519 h 4785269"/>
              <a:gd name="connsiteX5" fmla="*/ 4039741 w 4724255"/>
              <a:gd name="connsiteY5" fmla="*/ 0 h 4785269"/>
              <a:gd name="connsiteX6" fmla="*/ 4724255 w 4724255"/>
              <a:gd name="connsiteY6" fmla="*/ 444574 h 4785269"/>
              <a:gd name="connsiteX7" fmla="*/ 4552101 w 4724255"/>
              <a:gd name="connsiteY7" fmla="*/ 984544 h 4785269"/>
              <a:gd name="connsiteX8" fmla="*/ 4146293 w 4724255"/>
              <a:gd name="connsiteY8" fmla="*/ 2579556 h 4785269"/>
              <a:gd name="connsiteX9" fmla="*/ 3790101 w 4724255"/>
              <a:gd name="connsiteY9" fmla="*/ 3146719 h 4785269"/>
              <a:gd name="connsiteX10" fmla="*/ 3542452 w 4724255"/>
              <a:gd name="connsiteY10" fmla="*/ 3384844 h 4785269"/>
              <a:gd name="connsiteX11" fmla="*/ 3087094 w 4724255"/>
              <a:gd name="connsiteY11" fmla="*/ 3690426 h 4785269"/>
              <a:gd name="connsiteX12" fmla="*/ 2716952 w 4724255"/>
              <a:gd name="connsiteY12" fmla="*/ 3889669 h 4785269"/>
              <a:gd name="connsiteX13" fmla="*/ 2263305 w 4724255"/>
              <a:gd name="connsiteY13" fmla="*/ 3938621 h 4785269"/>
              <a:gd name="connsiteX14" fmla="*/ 1837950 w 4724255"/>
              <a:gd name="connsiteY14" fmla="*/ 3995107 h 4785269"/>
              <a:gd name="connsiteX15" fmla="*/ 1403449 w 4724255"/>
              <a:gd name="connsiteY15" fmla="*/ 4164615 h 4785269"/>
              <a:gd name="connsiteX16" fmla="*/ 912922 w 4724255"/>
              <a:gd name="connsiteY16" fmla="*/ 4390627 h 4785269"/>
              <a:gd name="connsiteX17" fmla="*/ 598586 w 4724255"/>
              <a:gd name="connsiteY17" fmla="*/ 4785269 h 4785269"/>
              <a:gd name="connsiteX18" fmla="*/ 0 w 4724255"/>
              <a:gd name="connsiteY18" fmla="*/ 4572495 h 4785269"/>
              <a:gd name="connsiteX0" fmla="*/ 499732 w 4724255"/>
              <a:gd name="connsiteY0" fmla="*/ 4223534 h 4785269"/>
              <a:gd name="connsiteX1" fmla="*/ 1475525 w 4724255"/>
              <a:gd name="connsiteY1" fmla="*/ 3737269 h 4785269"/>
              <a:gd name="connsiteX2" fmla="*/ 2424845 w 4724255"/>
              <a:gd name="connsiteY2" fmla="*/ 3425750 h 4785269"/>
              <a:gd name="connsiteX3" fmla="*/ 3561501 w 4724255"/>
              <a:gd name="connsiteY3" fmla="*/ 2489494 h 4785269"/>
              <a:gd name="connsiteX4" fmla="*/ 3761526 w 4724255"/>
              <a:gd name="connsiteY4" fmla="*/ 1165519 h 4785269"/>
              <a:gd name="connsiteX5" fmla="*/ 4039741 w 4724255"/>
              <a:gd name="connsiteY5" fmla="*/ 0 h 4785269"/>
              <a:gd name="connsiteX6" fmla="*/ 4724255 w 4724255"/>
              <a:gd name="connsiteY6" fmla="*/ 444574 h 4785269"/>
              <a:gd name="connsiteX7" fmla="*/ 4552101 w 4724255"/>
              <a:gd name="connsiteY7" fmla="*/ 984544 h 4785269"/>
              <a:gd name="connsiteX8" fmla="*/ 4146293 w 4724255"/>
              <a:gd name="connsiteY8" fmla="*/ 2579556 h 4785269"/>
              <a:gd name="connsiteX9" fmla="*/ 3790101 w 4724255"/>
              <a:gd name="connsiteY9" fmla="*/ 3146719 h 4785269"/>
              <a:gd name="connsiteX10" fmla="*/ 3542452 w 4724255"/>
              <a:gd name="connsiteY10" fmla="*/ 3384844 h 4785269"/>
              <a:gd name="connsiteX11" fmla="*/ 3128369 w 4724255"/>
              <a:gd name="connsiteY11" fmla="*/ 3674551 h 4785269"/>
              <a:gd name="connsiteX12" fmla="*/ 2716952 w 4724255"/>
              <a:gd name="connsiteY12" fmla="*/ 3889669 h 4785269"/>
              <a:gd name="connsiteX13" fmla="*/ 2263305 w 4724255"/>
              <a:gd name="connsiteY13" fmla="*/ 3938621 h 4785269"/>
              <a:gd name="connsiteX14" fmla="*/ 1837950 w 4724255"/>
              <a:gd name="connsiteY14" fmla="*/ 3995107 h 4785269"/>
              <a:gd name="connsiteX15" fmla="*/ 1403449 w 4724255"/>
              <a:gd name="connsiteY15" fmla="*/ 4164615 h 4785269"/>
              <a:gd name="connsiteX16" fmla="*/ 912922 w 4724255"/>
              <a:gd name="connsiteY16" fmla="*/ 4390627 h 4785269"/>
              <a:gd name="connsiteX17" fmla="*/ 598586 w 4724255"/>
              <a:gd name="connsiteY17" fmla="*/ 4785269 h 4785269"/>
              <a:gd name="connsiteX18" fmla="*/ 0 w 4724255"/>
              <a:gd name="connsiteY18" fmla="*/ 4572495 h 478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24255" h="4785269">
                <a:moveTo>
                  <a:pt x="499732" y="4223534"/>
                </a:moveTo>
                <a:cubicBezTo>
                  <a:pt x="738564" y="4071052"/>
                  <a:pt x="832410" y="4017870"/>
                  <a:pt x="1475525" y="3737269"/>
                </a:cubicBezTo>
                <a:cubicBezTo>
                  <a:pt x="2347240" y="3466193"/>
                  <a:pt x="2002570" y="3627362"/>
                  <a:pt x="2424845" y="3425750"/>
                </a:cubicBezTo>
                <a:cubicBezTo>
                  <a:pt x="3289505" y="2945390"/>
                  <a:pt x="3315966" y="2903179"/>
                  <a:pt x="3561501" y="2489494"/>
                </a:cubicBezTo>
                <a:cubicBezTo>
                  <a:pt x="3715939" y="2126336"/>
                  <a:pt x="3677057" y="1532492"/>
                  <a:pt x="3761526" y="1165519"/>
                </a:cubicBezTo>
                <a:cubicBezTo>
                  <a:pt x="3808772" y="967010"/>
                  <a:pt x="3950486" y="175217"/>
                  <a:pt x="4039741" y="0"/>
                </a:cubicBezTo>
                <a:lnTo>
                  <a:pt x="4724255" y="444574"/>
                </a:lnTo>
                <a:cubicBezTo>
                  <a:pt x="4648455" y="698807"/>
                  <a:pt x="4655999" y="726978"/>
                  <a:pt x="4552101" y="984544"/>
                </a:cubicBezTo>
                <a:cubicBezTo>
                  <a:pt x="4386669" y="1584477"/>
                  <a:pt x="4330775" y="1808173"/>
                  <a:pt x="4146293" y="2579556"/>
                </a:cubicBezTo>
                <a:cubicBezTo>
                  <a:pt x="4027230" y="2933569"/>
                  <a:pt x="4055190" y="2842512"/>
                  <a:pt x="3790101" y="3146719"/>
                </a:cubicBezTo>
                <a:cubicBezTo>
                  <a:pt x="3688138" y="3275377"/>
                  <a:pt x="3652741" y="3296872"/>
                  <a:pt x="3542452" y="3384844"/>
                </a:cubicBezTo>
                <a:cubicBezTo>
                  <a:pt x="3432163" y="3472816"/>
                  <a:pt x="3280504" y="3563690"/>
                  <a:pt x="3128369" y="3674551"/>
                </a:cubicBezTo>
                <a:cubicBezTo>
                  <a:pt x="2934959" y="3813193"/>
                  <a:pt x="2848428" y="3837984"/>
                  <a:pt x="2716952" y="3889669"/>
                </a:cubicBezTo>
                <a:cubicBezTo>
                  <a:pt x="2549756" y="3938973"/>
                  <a:pt x="2487064" y="3923430"/>
                  <a:pt x="2263305" y="3938621"/>
                </a:cubicBezTo>
                <a:cubicBezTo>
                  <a:pt x="2099295" y="3937842"/>
                  <a:pt x="2040060" y="3936062"/>
                  <a:pt x="1837950" y="3995107"/>
                </a:cubicBezTo>
                <a:cubicBezTo>
                  <a:pt x="1682470" y="4049177"/>
                  <a:pt x="1557620" y="4098695"/>
                  <a:pt x="1403449" y="4164615"/>
                </a:cubicBezTo>
                <a:cubicBezTo>
                  <a:pt x="1249278" y="4230535"/>
                  <a:pt x="1140385" y="4249885"/>
                  <a:pt x="912922" y="4390627"/>
                </a:cubicBezTo>
                <a:cubicBezTo>
                  <a:pt x="730356" y="4581705"/>
                  <a:pt x="704952" y="4641816"/>
                  <a:pt x="598586" y="4785269"/>
                </a:cubicBezTo>
                <a:lnTo>
                  <a:pt x="0" y="4572495"/>
                </a:lnTo>
              </a:path>
            </a:pathLst>
          </a:custGeom>
          <a:solidFill>
            <a:srgbClr val="FF9999">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grpSp>
        <p:nvGrpSpPr>
          <p:cNvPr id="33" name="広域ブロック">
            <a:extLst>
              <a:ext uri="{FF2B5EF4-FFF2-40B4-BE49-F238E27FC236}">
                <a16:creationId xmlns:a16="http://schemas.microsoft.com/office/drawing/2014/main" id="{7BB10359-B7F6-E778-35C0-9DE9598E5070}"/>
              </a:ext>
            </a:extLst>
          </p:cNvPr>
          <p:cNvGrpSpPr/>
          <p:nvPr/>
        </p:nvGrpSpPr>
        <p:grpSpPr>
          <a:xfrm>
            <a:off x="1217401" y="4454742"/>
            <a:ext cx="5782693" cy="3137618"/>
            <a:chOff x="2651399" y="5446762"/>
            <a:chExt cx="7474216" cy="4055418"/>
          </a:xfrm>
          <a:solidFill>
            <a:srgbClr val="00B0F0">
              <a:alpha val="5098"/>
            </a:srgbClr>
          </a:solidFill>
        </p:grpSpPr>
        <p:sp>
          <p:nvSpPr>
            <p:cNvPr id="34" name="沖縄">
              <a:extLst>
                <a:ext uri="{FF2B5EF4-FFF2-40B4-BE49-F238E27FC236}">
                  <a16:creationId xmlns:a16="http://schemas.microsoft.com/office/drawing/2014/main" id="{5CD6699C-71C8-2F6C-B45D-53F954DB8991}"/>
                </a:ext>
              </a:extLst>
            </p:cNvPr>
            <p:cNvSpPr/>
            <p:nvPr/>
          </p:nvSpPr>
          <p:spPr>
            <a:xfrm rot="4724876">
              <a:off x="3841504" y="6273192"/>
              <a:ext cx="2038883" cy="4419093"/>
            </a:xfrm>
            <a:prstGeom prst="ellipse">
              <a:avLst/>
            </a:prstGeom>
            <a:grp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35" name="中部圏">
              <a:extLst>
                <a:ext uri="{FF2B5EF4-FFF2-40B4-BE49-F238E27FC236}">
                  <a16:creationId xmlns:a16="http://schemas.microsoft.com/office/drawing/2014/main" id="{F403FC62-E04C-CCB6-3753-8D066B51E18D}"/>
                </a:ext>
              </a:extLst>
            </p:cNvPr>
            <p:cNvSpPr/>
            <p:nvPr/>
          </p:nvSpPr>
          <p:spPr>
            <a:xfrm rot="3815967">
              <a:off x="8646234" y="5235489"/>
              <a:ext cx="1268107" cy="1690654"/>
            </a:xfrm>
            <a:prstGeom prst="ellipse">
              <a:avLst/>
            </a:prstGeom>
            <a:no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grpSp>
      <p:sp>
        <p:nvSpPr>
          <p:cNvPr id="36" name="フローチャート: 端子 35">
            <a:extLst>
              <a:ext uri="{FF2B5EF4-FFF2-40B4-BE49-F238E27FC236}">
                <a16:creationId xmlns:a16="http://schemas.microsoft.com/office/drawing/2014/main" id="{C055DACA-5575-CD3C-3890-7E19F690F164}"/>
              </a:ext>
            </a:extLst>
          </p:cNvPr>
          <p:cNvSpPr/>
          <p:nvPr/>
        </p:nvSpPr>
        <p:spPr>
          <a:xfrm>
            <a:off x="139263" y="3730838"/>
            <a:ext cx="2646004" cy="41779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r>
              <a:rPr lang="ja-JP" altLang="ja-JP" sz="1393" b="1" dirty="0">
                <a:solidFill>
                  <a:srgbClr val="000000"/>
                </a:solidFill>
                <a:latin typeface="ＭＳ Ｐゴシック"/>
                <a:ea typeface="ＭＳ Ｐゴシック"/>
                <a:cs typeface="Times New Roman" panose="02020603050405020304" pitchFamily="18" charset="0"/>
              </a:rPr>
              <a:t>活発</a:t>
            </a:r>
            <a:r>
              <a:rPr lang="ja-JP" altLang="en-US" sz="1393" b="1" dirty="0">
                <a:solidFill>
                  <a:srgbClr val="000000"/>
                </a:solidFill>
                <a:latin typeface="ＭＳ Ｐゴシック"/>
                <a:ea typeface="ＭＳ Ｐゴシック"/>
                <a:cs typeface="Times New Roman" panose="02020603050405020304" pitchFamily="18" charset="0"/>
              </a:rPr>
              <a:t>な</a:t>
            </a:r>
            <a:r>
              <a:rPr lang="ja-JP" altLang="ja-JP" sz="1393" b="1" dirty="0">
                <a:solidFill>
                  <a:srgbClr val="000000"/>
                </a:solidFill>
                <a:latin typeface="ＭＳ Ｐゴシック"/>
                <a:ea typeface="ＭＳ Ｐゴシック"/>
                <a:cs typeface="Times New Roman" panose="02020603050405020304" pitchFamily="18" charset="0"/>
              </a:rPr>
              <a:t>ヒト・モノ</a:t>
            </a:r>
            <a:r>
              <a:rPr lang="ja-JP" altLang="en-US" sz="1393" b="1" dirty="0">
                <a:solidFill>
                  <a:srgbClr val="000000"/>
                </a:solidFill>
                <a:latin typeface="ＭＳ Ｐゴシック"/>
                <a:ea typeface="ＭＳ Ｐゴシック"/>
                <a:cs typeface="Times New Roman" panose="02020603050405020304" pitchFamily="18" charset="0"/>
              </a:rPr>
              <a:t>の</a:t>
            </a:r>
            <a:r>
              <a:rPr lang="ja-JP" altLang="ja-JP" sz="1393" b="1" dirty="0">
                <a:solidFill>
                  <a:srgbClr val="000000"/>
                </a:solidFill>
                <a:latin typeface="ＭＳ Ｐゴシック"/>
                <a:ea typeface="ＭＳ Ｐゴシック"/>
                <a:cs typeface="Times New Roman" panose="02020603050405020304" pitchFamily="18" charset="0"/>
              </a:rPr>
              <a:t>流動</a:t>
            </a:r>
            <a:r>
              <a:rPr lang="ja-JP" altLang="en-US" sz="1393" b="1" dirty="0">
                <a:solidFill>
                  <a:srgbClr val="000000"/>
                </a:solidFill>
                <a:latin typeface="ＭＳ Ｐゴシック"/>
                <a:ea typeface="ＭＳ Ｐゴシック"/>
                <a:cs typeface="Times New Roman" panose="02020603050405020304" pitchFamily="18" charset="0"/>
              </a:rPr>
              <a:t>による　　　</a:t>
            </a:r>
            <a:r>
              <a:rPr lang="ja-JP" altLang="ja-JP" sz="1393" b="1" dirty="0">
                <a:solidFill>
                  <a:srgbClr val="000000"/>
                </a:solidFill>
                <a:latin typeface="ＭＳ Ｐゴシック"/>
                <a:ea typeface="ＭＳ Ｐゴシック"/>
                <a:cs typeface="Times New Roman" panose="02020603050405020304" pitchFamily="18" charset="0"/>
              </a:rPr>
              <a:t>イノベーション</a:t>
            </a:r>
            <a:r>
              <a:rPr lang="ja-JP" altLang="en-US" sz="1393" b="1" dirty="0">
                <a:solidFill>
                  <a:srgbClr val="000000"/>
                </a:solidFill>
                <a:latin typeface="ＭＳ Ｐゴシック"/>
                <a:ea typeface="ＭＳ Ｐゴシック"/>
                <a:cs typeface="Times New Roman" panose="02020603050405020304" pitchFamily="18" charset="0"/>
              </a:rPr>
              <a:t>の促進</a:t>
            </a:r>
            <a:endParaRPr lang="ja-JP" altLang="en-US" sz="1393" dirty="0">
              <a:solidFill>
                <a:srgbClr val="000000"/>
              </a:solidFill>
              <a:latin typeface="Arial"/>
              <a:ea typeface="ＭＳ Ｐゴシック"/>
            </a:endParaRPr>
          </a:p>
        </p:txBody>
      </p:sp>
      <p:sp>
        <p:nvSpPr>
          <p:cNvPr id="37" name="フローチャート: 端子 36">
            <a:extLst>
              <a:ext uri="{FF2B5EF4-FFF2-40B4-BE49-F238E27FC236}">
                <a16:creationId xmlns:a16="http://schemas.microsoft.com/office/drawing/2014/main" id="{FDA7BECD-F65F-A087-D296-FB055D44B714}"/>
              </a:ext>
            </a:extLst>
          </p:cNvPr>
          <p:cNvSpPr/>
          <p:nvPr/>
        </p:nvSpPr>
        <p:spPr>
          <a:xfrm>
            <a:off x="2840973" y="3730838"/>
            <a:ext cx="2646004" cy="417790"/>
          </a:xfrm>
          <a:prstGeom prst="flowChartTerminator">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defRPr/>
            </a:pPr>
            <a:r>
              <a:rPr lang="ja-JP" altLang="ja-JP" sz="1393" b="1" dirty="0">
                <a:solidFill>
                  <a:srgbClr val="000000"/>
                </a:solidFill>
                <a:latin typeface="ＭＳ Ｐゴシック"/>
                <a:ea typeface="ＭＳ Ｐゴシック"/>
                <a:cs typeface="Times New Roman" panose="02020603050405020304" pitchFamily="18" charset="0"/>
              </a:rPr>
              <a:t>災害時</a:t>
            </a:r>
            <a:r>
              <a:rPr lang="ja-JP" altLang="en-US" sz="1393" b="1" dirty="0">
                <a:solidFill>
                  <a:srgbClr val="000000"/>
                </a:solidFill>
                <a:latin typeface="ＭＳ Ｐゴシック"/>
                <a:ea typeface="ＭＳ Ｐゴシック"/>
                <a:cs typeface="Times New Roman" panose="02020603050405020304" pitchFamily="18" charset="0"/>
              </a:rPr>
              <a:t>等</a:t>
            </a:r>
            <a:r>
              <a:rPr lang="ja-JP" altLang="ja-JP" sz="1393" b="1" dirty="0">
                <a:solidFill>
                  <a:srgbClr val="000000"/>
                </a:solidFill>
                <a:latin typeface="ＭＳ Ｐゴシック"/>
                <a:ea typeface="ＭＳ Ｐゴシック"/>
                <a:cs typeface="Times New Roman" panose="02020603050405020304" pitchFamily="18" charset="0"/>
              </a:rPr>
              <a:t>のリダンダンシー確保</a:t>
            </a:r>
            <a:endParaRPr lang="ja-JP" altLang="en-US" sz="1393" dirty="0">
              <a:solidFill>
                <a:srgbClr val="000000"/>
              </a:solidFill>
              <a:latin typeface="Arial"/>
              <a:ea typeface="ＭＳ Ｐゴシック"/>
            </a:endParaRPr>
          </a:p>
        </p:txBody>
      </p:sp>
      <p:sp>
        <p:nvSpPr>
          <p:cNvPr id="38" name="矢印: 下 166">
            <a:extLst>
              <a:ext uri="{FF2B5EF4-FFF2-40B4-BE49-F238E27FC236}">
                <a16:creationId xmlns:a16="http://schemas.microsoft.com/office/drawing/2014/main" id="{CEAD4412-97F4-EEA2-8C62-869E1BD127B6}"/>
              </a:ext>
            </a:extLst>
          </p:cNvPr>
          <p:cNvSpPr/>
          <p:nvPr/>
        </p:nvSpPr>
        <p:spPr>
          <a:xfrm>
            <a:off x="2256067" y="3508017"/>
            <a:ext cx="1114107" cy="22282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39" name="上矢印吹き出し 38"/>
          <p:cNvSpPr/>
          <p:nvPr/>
        </p:nvSpPr>
        <p:spPr>
          <a:xfrm>
            <a:off x="55705" y="4427155"/>
            <a:ext cx="2924531" cy="1169813"/>
          </a:xfrm>
          <a:prstGeom prst="upArrowCallout">
            <a:avLst>
              <a:gd name="adj1" fmla="val 120711"/>
              <a:gd name="adj2" fmla="val 111449"/>
              <a:gd name="adj3" fmla="val 15319"/>
              <a:gd name="adj4" fmla="val 78530"/>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r>
              <a:rPr lang="ja-JP" altLang="ja-JP" sz="1547" b="1" dirty="0">
                <a:solidFill>
                  <a:srgbClr val="FF0000"/>
                </a:solidFill>
                <a:latin typeface="HGP創英角ｺﾞｼｯｸUB"/>
                <a:ea typeface="HGP創英角ｺﾞｼｯｸUB"/>
              </a:rPr>
              <a:t>陸海空のシームレスな</a:t>
            </a:r>
            <a:endParaRPr lang="en-US" altLang="ja-JP" sz="1547" b="1" dirty="0">
              <a:solidFill>
                <a:srgbClr val="FF0000"/>
              </a:solidFill>
              <a:latin typeface="HGP創英角ｺﾞｼｯｸUB"/>
              <a:ea typeface="HGP創英角ｺﾞｼｯｸUB"/>
            </a:endParaRPr>
          </a:p>
          <a:p>
            <a:pPr algn="ctr" defTabSz="707471">
              <a:defRPr/>
            </a:pPr>
            <a:r>
              <a:rPr lang="ja-JP" altLang="ja-JP" sz="1547" b="1" dirty="0">
                <a:solidFill>
                  <a:srgbClr val="FF0000"/>
                </a:solidFill>
                <a:latin typeface="HGP創英角ｺﾞｼｯｸUB"/>
                <a:ea typeface="HGP創英角ｺﾞｼｯｸUB"/>
              </a:rPr>
              <a:t>総合交通</a:t>
            </a:r>
            <a:r>
              <a:rPr lang="ja-JP" altLang="en-US" sz="1547" b="1" dirty="0">
                <a:solidFill>
                  <a:srgbClr val="FF0000"/>
                </a:solidFill>
                <a:latin typeface="HGP創英角ｺﾞｼｯｸUB"/>
                <a:ea typeface="HGP創英角ｺﾞｼｯｸUB"/>
              </a:rPr>
              <a:t>体系の高質化</a:t>
            </a:r>
            <a:endParaRPr lang="en-US" altLang="ja-JP" sz="1547" b="1" dirty="0">
              <a:solidFill>
                <a:srgbClr val="FF0000"/>
              </a:solidFill>
              <a:latin typeface="HGP創英角ｺﾞｼｯｸUB"/>
              <a:ea typeface="HGP創英角ｺﾞｼｯｸUB"/>
            </a:endParaRPr>
          </a:p>
          <a:p>
            <a:pPr algn="ctr" defTabSz="707471">
              <a:defRPr/>
            </a:pPr>
            <a:r>
              <a:rPr lang="ja-JP" altLang="en-US" sz="1547" b="1" dirty="0">
                <a:solidFill>
                  <a:srgbClr val="FF0000"/>
                </a:solidFill>
                <a:latin typeface="HGP創英角ｺﾞｼｯｸUB"/>
                <a:ea typeface="HGP創英角ｺﾞｼｯｸUB"/>
              </a:rPr>
              <a:t>＋</a:t>
            </a:r>
            <a:endParaRPr lang="en-US" altLang="ja-JP" sz="1547" b="1" dirty="0">
              <a:solidFill>
                <a:srgbClr val="FF0000"/>
              </a:solidFill>
              <a:latin typeface="HGP創英角ｺﾞｼｯｸUB"/>
              <a:ea typeface="HGP創英角ｺﾞｼｯｸUB"/>
            </a:endParaRPr>
          </a:p>
          <a:p>
            <a:pPr algn="ctr" defTabSz="707471">
              <a:defRPr/>
            </a:pPr>
            <a:r>
              <a:rPr lang="ja-JP" altLang="en-US" sz="1547" b="1" dirty="0">
                <a:solidFill>
                  <a:srgbClr val="FF0000"/>
                </a:solidFill>
                <a:latin typeface="HGP創英角ｺﾞｼｯｸUB"/>
                <a:ea typeface="HGP創英角ｺﾞｼｯｸUB"/>
              </a:rPr>
              <a:t>デジタルの徹底活用</a:t>
            </a:r>
          </a:p>
        </p:txBody>
      </p:sp>
      <p:sp>
        <p:nvSpPr>
          <p:cNvPr id="40" name="上下矢印 39"/>
          <p:cNvSpPr/>
          <p:nvPr/>
        </p:nvSpPr>
        <p:spPr>
          <a:xfrm rot="20683318" flipV="1">
            <a:off x="7352165" y="1852601"/>
            <a:ext cx="417790" cy="668464"/>
          </a:xfrm>
          <a:prstGeom prst="upDownArrow">
            <a:avLst/>
          </a:prstGeom>
          <a:solidFill>
            <a:srgbClr val="E2AC00">
              <a:alpha val="4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sp>
        <p:nvSpPr>
          <p:cNvPr id="41" name="上下矢印 40"/>
          <p:cNvSpPr/>
          <p:nvPr/>
        </p:nvSpPr>
        <p:spPr>
          <a:xfrm rot="18321464">
            <a:off x="6899467" y="3704607"/>
            <a:ext cx="389938" cy="496377"/>
          </a:xfrm>
          <a:prstGeom prst="upDownArrow">
            <a:avLst/>
          </a:prstGeom>
          <a:solidFill>
            <a:srgbClr val="E2AC00">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sp>
        <p:nvSpPr>
          <p:cNvPr id="42" name="上下矢印 41"/>
          <p:cNvSpPr/>
          <p:nvPr/>
        </p:nvSpPr>
        <p:spPr>
          <a:xfrm rot="19560000">
            <a:off x="4799825" y="4938029"/>
            <a:ext cx="389938" cy="612759"/>
          </a:xfrm>
          <a:prstGeom prst="upDownArrow">
            <a:avLst/>
          </a:prstGeom>
          <a:solidFill>
            <a:srgbClr val="E2AC00">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sp>
        <p:nvSpPr>
          <p:cNvPr id="43" name="九州圏">
            <a:extLst>
              <a:ext uri="{FF2B5EF4-FFF2-40B4-BE49-F238E27FC236}">
                <a16:creationId xmlns:a16="http://schemas.microsoft.com/office/drawing/2014/main" id="{650D0C66-59B4-1911-AD22-0AF880B0DF33}"/>
              </a:ext>
            </a:extLst>
          </p:cNvPr>
          <p:cNvSpPr/>
          <p:nvPr/>
        </p:nvSpPr>
        <p:spPr>
          <a:xfrm rot="11091477">
            <a:off x="2685021" y="4807349"/>
            <a:ext cx="2319686" cy="1817974"/>
          </a:xfrm>
          <a:prstGeom prst="ellipse">
            <a:avLst/>
          </a:prstGeom>
          <a:solidFill>
            <a:srgbClr val="00B0F0">
              <a:alpha val="5098"/>
            </a:srgb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44" name="上下矢印 43"/>
          <p:cNvSpPr/>
          <p:nvPr/>
        </p:nvSpPr>
        <p:spPr>
          <a:xfrm rot="19860000">
            <a:off x="4255688" y="5326701"/>
            <a:ext cx="389938" cy="612759"/>
          </a:xfrm>
          <a:prstGeom prst="upDownArrow">
            <a:avLst/>
          </a:prstGeom>
          <a:solidFill>
            <a:srgbClr val="E2AC00">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sp>
        <p:nvSpPr>
          <p:cNvPr id="45" name="北海道">
            <a:extLst>
              <a:ext uri="{FF2B5EF4-FFF2-40B4-BE49-F238E27FC236}">
                <a16:creationId xmlns:a16="http://schemas.microsoft.com/office/drawing/2014/main" id="{8E4A00A0-D563-DD00-C59D-361824461B7E}"/>
              </a:ext>
            </a:extLst>
          </p:cNvPr>
          <p:cNvSpPr/>
          <p:nvPr/>
        </p:nvSpPr>
        <p:spPr>
          <a:xfrm rot="2921931">
            <a:off x="6913718" y="694056"/>
            <a:ext cx="1884969" cy="2896058"/>
          </a:xfrm>
          <a:prstGeom prst="ellipse">
            <a:avLst/>
          </a:prstGeom>
          <a:solidFill>
            <a:srgbClr val="00B0F0">
              <a:alpha val="5098"/>
            </a:srgb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46" name="四国圏">
            <a:extLst>
              <a:ext uri="{FF2B5EF4-FFF2-40B4-BE49-F238E27FC236}">
                <a16:creationId xmlns:a16="http://schemas.microsoft.com/office/drawing/2014/main" id="{70244F9C-D33A-78B3-1D98-ECD44E3CE35B}"/>
              </a:ext>
            </a:extLst>
          </p:cNvPr>
          <p:cNvSpPr/>
          <p:nvPr/>
        </p:nvSpPr>
        <p:spPr>
          <a:xfrm rot="4421910">
            <a:off x="4750271" y="4823053"/>
            <a:ext cx="755307" cy="1271861"/>
          </a:xfrm>
          <a:prstGeom prst="ellipse">
            <a:avLst/>
          </a:prstGeom>
          <a:solidFill>
            <a:srgbClr val="00B0F0">
              <a:alpha val="5098"/>
            </a:srgb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47" name="左右矢印 46"/>
          <p:cNvSpPr/>
          <p:nvPr/>
        </p:nvSpPr>
        <p:spPr>
          <a:xfrm rot="2742867">
            <a:off x="3436405" y="4797060"/>
            <a:ext cx="696317" cy="344644"/>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48" name="左右矢印 47"/>
          <p:cNvSpPr/>
          <p:nvPr/>
        </p:nvSpPr>
        <p:spPr>
          <a:xfrm rot="20563318">
            <a:off x="8448970" y="2244502"/>
            <a:ext cx="787971" cy="344644"/>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49" name="左右矢印 48"/>
          <p:cNvSpPr/>
          <p:nvPr/>
        </p:nvSpPr>
        <p:spPr>
          <a:xfrm rot="2870636">
            <a:off x="6885162" y="5204784"/>
            <a:ext cx="787971" cy="344644"/>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50" name="左右矢印 49"/>
          <p:cNvSpPr/>
          <p:nvPr/>
        </p:nvSpPr>
        <p:spPr>
          <a:xfrm rot="16613574">
            <a:off x="4907940" y="5902241"/>
            <a:ext cx="787971" cy="344644"/>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51" name="東北圏">
            <a:extLst>
              <a:ext uri="{FF2B5EF4-FFF2-40B4-BE49-F238E27FC236}">
                <a16:creationId xmlns:a16="http://schemas.microsoft.com/office/drawing/2014/main" id="{AD654142-CF64-D8B7-8154-EAC18639D56C}"/>
              </a:ext>
            </a:extLst>
          </p:cNvPr>
          <p:cNvSpPr/>
          <p:nvPr/>
        </p:nvSpPr>
        <p:spPr>
          <a:xfrm rot="988750">
            <a:off x="6607268" y="2182330"/>
            <a:ext cx="1391083" cy="2476375"/>
          </a:xfrm>
          <a:prstGeom prst="ellipse">
            <a:avLst/>
          </a:prstGeom>
          <a:solidFill>
            <a:srgbClr val="00B0F0">
              <a:alpha val="5098"/>
            </a:srgb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52" name="左右矢印 51"/>
          <p:cNvSpPr/>
          <p:nvPr/>
        </p:nvSpPr>
        <p:spPr>
          <a:xfrm rot="21322107">
            <a:off x="7474983" y="3661067"/>
            <a:ext cx="877678" cy="344644"/>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53" name="左右矢印 52"/>
          <p:cNvSpPr/>
          <p:nvPr/>
        </p:nvSpPr>
        <p:spPr>
          <a:xfrm rot="2460529">
            <a:off x="5970645" y="2877807"/>
            <a:ext cx="787971" cy="344644"/>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54" name="中国圏">
            <a:extLst>
              <a:ext uri="{FF2B5EF4-FFF2-40B4-BE49-F238E27FC236}">
                <a16:creationId xmlns:a16="http://schemas.microsoft.com/office/drawing/2014/main" id="{95E97DF1-7632-7DBB-9B13-76FDF06091BB}"/>
              </a:ext>
            </a:extLst>
          </p:cNvPr>
          <p:cNvSpPr/>
          <p:nvPr/>
        </p:nvSpPr>
        <p:spPr>
          <a:xfrm rot="4008791">
            <a:off x="4659350" y="4164900"/>
            <a:ext cx="835270" cy="1704831"/>
          </a:xfrm>
          <a:prstGeom prst="ellipse">
            <a:avLst/>
          </a:prstGeom>
          <a:solidFill>
            <a:srgbClr val="00B0F0">
              <a:alpha val="5098"/>
            </a:srgb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55" name="左右矢印 54"/>
          <p:cNvSpPr/>
          <p:nvPr/>
        </p:nvSpPr>
        <p:spPr>
          <a:xfrm rot="1683417">
            <a:off x="4470567" y="4234577"/>
            <a:ext cx="696317" cy="344644"/>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56" name="上下矢印 83">
            <a:extLst>
              <a:ext uri="{FF2B5EF4-FFF2-40B4-BE49-F238E27FC236}">
                <a16:creationId xmlns:a16="http://schemas.microsoft.com/office/drawing/2014/main" id="{98D70B43-2F9C-DC8A-5E13-F845BA109112}"/>
              </a:ext>
            </a:extLst>
          </p:cNvPr>
          <p:cNvSpPr/>
          <p:nvPr/>
        </p:nvSpPr>
        <p:spPr>
          <a:xfrm rot="17280000">
            <a:off x="6976950" y="3094844"/>
            <a:ext cx="389938" cy="496377"/>
          </a:xfrm>
          <a:prstGeom prst="upDownArrow">
            <a:avLst/>
          </a:prstGeom>
          <a:solidFill>
            <a:srgbClr val="E2AC00">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sp>
        <p:nvSpPr>
          <p:cNvPr id="57" name="上下矢印 56"/>
          <p:cNvSpPr/>
          <p:nvPr/>
        </p:nvSpPr>
        <p:spPr>
          <a:xfrm rot="19860000">
            <a:off x="6589704" y="4244355"/>
            <a:ext cx="389938" cy="612759"/>
          </a:xfrm>
          <a:prstGeom prst="upDownArrow">
            <a:avLst/>
          </a:prstGeom>
          <a:solidFill>
            <a:srgbClr val="E2AC00">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sp>
        <p:nvSpPr>
          <p:cNvPr id="58" name="日本中央回廊（仮称）">
            <a:extLst>
              <a:ext uri="{FF2B5EF4-FFF2-40B4-BE49-F238E27FC236}">
                <a16:creationId xmlns:a16="http://schemas.microsoft.com/office/drawing/2014/main" id="{92461BB1-A419-BCA1-FA42-38E93ED784E4}"/>
              </a:ext>
            </a:extLst>
          </p:cNvPr>
          <p:cNvSpPr/>
          <p:nvPr/>
        </p:nvSpPr>
        <p:spPr>
          <a:xfrm rot="20731578">
            <a:off x="5524795" y="4822040"/>
            <a:ext cx="1553509" cy="523291"/>
          </a:xfrm>
          <a:prstGeom prst="ellipse">
            <a:avLst/>
          </a:prstGeom>
          <a:solidFill>
            <a:srgbClr val="FFFF99">
              <a:alpha val="74902"/>
            </a:srgbClr>
          </a:solidFill>
          <a:ln w="28575">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000000"/>
              </a:solidFill>
              <a:latin typeface="Arial"/>
              <a:ea typeface="ＭＳ Ｐゴシック"/>
            </a:endParaRPr>
          </a:p>
        </p:txBody>
      </p:sp>
      <p:sp>
        <p:nvSpPr>
          <p:cNvPr id="59" name="近畿圏">
            <a:extLst>
              <a:ext uri="{FF2B5EF4-FFF2-40B4-BE49-F238E27FC236}">
                <a16:creationId xmlns:a16="http://schemas.microsoft.com/office/drawing/2014/main" id="{AF53D623-6357-1F19-CF88-53267B2B4723}"/>
              </a:ext>
            </a:extLst>
          </p:cNvPr>
          <p:cNvSpPr/>
          <p:nvPr/>
        </p:nvSpPr>
        <p:spPr>
          <a:xfrm rot="5400000">
            <a:off x="5247452" y="4551708"/>
            <a:ext cx="981812" cy="1045938"/>
          </a:xfrm>
          <a:prstGeom prst="ellipse">
            <a:avLst/>
          </a:prstGeom>
          <a:solidFill>
            <a:srgbClr val="00B0F0">
              <a:alpha val="5098"/>
            </a:srgb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60" name="首都圏">
            <a:extLst>
              <a:ext uri="{FF2B5EF4-FFF2-40B4-BE49-F238E27FC236}">
                <a16:creationId xmlns:a16="http://schemas.microsoft.com/office/drawing/2014/main" id="{96CD0D5A-12CF-F0DD-AB53-EE617465F194}"/>
              </a:ext>
            </a:extLst>
          </p:cNvPr>
          <p:cNvSpPr/>
          <p:nvPr/>
        </p:nvSpPr>
        <p:spPr>
          <a:xfrm rot="3087237">
            <a:off x="6364450" y="4043163"/>
            <a:ext cx="1083219" cy="1127189"/>
          </a:xfrm>
          <a:prstGeom prst="ellipse">
            <a:avLst/>
          </a:prstGeom>
          <a:solidFill>
            <a:srgbClr val="00B0F0">
              <a:alpha val="5098"/>
            </a:srgb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61" name="上下矢印 60"/>
          <p:cNvSpPr/>
          <p:nvPr/>
        </p:nvSpPr>
        <p:spPr>
          <a:xfrm rot="600000">
            <a:off x="5554433" y="4852404"/>
            <a:ext cx="389938" cy="540948"/>
          </a:xfrm>
          <a:prstGeom prst="upDownArrow">
            <a:avLst/>
          </a:prstGeom>
          <a:solidFill>
            <a:srgbClr val="E2AC00">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sp>
        <p:nvSpPr>
          <p:cNvPr id="62" name="上下矢印 61"/>
          <p:cNvSpPr/>
          <p:nvPr/>
        </p:nvSpPr>
        <p:spPr>
          <a:xfrm rot="420000">
            <a:off x="6116801" y="4476103"/>
            <a:ext cx="389938" cy="696317"/>
          </a:xfrm>
          <a:prstGeom prst="upDownArrow">
            <a:avLst/>
          </a:prstGeom>
          <a:solidFill>
            <a:srgbClr val="E2AC00">
              <a:alpha val="5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dirty="0">
              <a:solidFill>
                <a:srgbClr val="FFFFFF"/>
              </a:solidFill>
              <a:latin typeface="Arial"/>
              <a:ea typeface="ＭＳ Ｐゴシック"/>
            </a:endParaRPr>
          </a:p>
        </p:txBody>
      </p:sp>
      <p:sp>
        <p:nvSpPr>
          <p:cNvPr id="63" name="北陸圏">
            <a:extLst>
              <a:ext uri="{FF2B5EF4-FFF2-40B4-BE49-F238E27FC236}">
                <a16:creationId xmlns:a16="http://schemas.microsoft.com/office/drawing/2014/main" id="{255F1840-AEF8-29D1-3990-45FECF6F971B}"/>
              </a:ext>
            </a:extLst>
          </p:cNvPr>
          <p:cNvSpPr/>
          <p:nvPr/>
        </p:nvSpPr>
        <p:spPr>
          <a:xfrm rot="2739135">
            <a:off x="5693582" y="3761155"/>
            <a:ext cx="883126" cy="1614339"/>
          </a:xfrm>
          <a:prstGeom prst="ellipse">
            <a:avLst/>
          </a:prstGeom>
          <a:solidFill>
            <a:srgbClr val="00B0F0">
              <a:alpha val="5098"/>
            </a:srgbClr>
          </a:solidFill>
          <a:ln w="9525">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64" name="角丸四角形 63"/>
          <p:cNvSpPr/>
          <p:nvPr/>
        </p:nvSpPr>
        <p:spPr>
          <a:xfrm>
            <a:off x="946991" y="834160"/>
            <a:ext cx="3899375" cy="33423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r>
              <a:rPr lang="ja-JP" altLang="en-US" sz="2166" b="1" dirty="0">
                <a:solidFill>
                  <a:srgbClr val="FF0000"/>
                </a:solidFill>
                <a:latin typeface="HGP創英角ｺﾞｼｯｸUB"/>
                <a:ea typeface="HGP創英角ｺﾞｼｯｸUB"/>
              </a:rPr>
              <a:t>人口や諸機能の広域的な分散</a:t>
            </a:r>
          </a:p>
        </p:txBody>
      </p:sp>
      <p:sp>
        <p:nvSpPr>
          <p:cNvPr id="65" name="テキスト ボックス 64">
            <a:extLst>
              <a:ext uri="{FF2B5EF4-FFF2-40B4-BE49-F238E27FC236}">
                <a16:creationId xmlns:a16="http://schemas.microsoft.com/office/drawing/2014/main" id="{95B0B0DE-C47B-6028-8202-3C90B685564F}"/>
              </a:ext>
            </a:extLst>
          </p:cNvPr>
          <p:cNvSpPr txBox="1"/>
          <p:nvPr/>
        </p:nvSpPr>
        <p:spPr>
          <a:xfrm>
            <a:off x="55705" y="1279803"/>
            <a:ext cx="5793357" cy="2473113"/>
          </a:xfrm>
          <a:prstGeom prst="rect">
            <a:avLst/>
          </a:prstGeom>
          <a:noFill/>
          <a:ln>
            <a:solidFill>
              <a:schemeClr val="tx1"/>
            </a:solidFill>
          </a:ln>
        </p:spPr>
        <p:txBody>
          <a:bodyPr wrap="square">
            <a:spAutoFit/>
          </a:bodyPr>
          <a:lstStyle/>
          <a:p>
            <a:pPr defTabSz="707471">
              <a:defRPr/>
            </a:pPr>
            <a:r>
              <a:rPr lang="ja-JP" altLang="en-US" sz="1547" b="1" dirty="0">
                <a:solidFill>
                  <a:srgbClr val="000000"/>
                </a:solidFill>
                <a:latin typeface="ＭＳ Ｐゴシック"/>
                <a:ea typeface="ＭＳ Ｐゴシック"/>
                <a:cs typeface="Times New Roman" panose="02020603050405020304" pitchFamily="18" charset="0"/>
              </a:rPr>
              <a:t>●四方を海に囲まれ、北海道・本州・四国・九州・沖縄本島の主要五島と多数の島々から成る</a:t>
            </a:r>
            <a:r>
              <a:rPr lang="ja-JP" altLang="en-US" sz="1547" b="1" dirty="0">
                <a:solidFill>
                  <a:srgbClr val="FF0000"/>
                </a:solidFill>
                <a:latin typeface="ＭＳ Ｐゴシック"/>
                <a:ea typeface="ＭＳ Ｐゴシック"/>
                <a:cs typeface="Times New Roman" panose="02020603050405020304" pitchFamily="18" charset="0"/>
              </a:rPr>
              <a:t>南北に細長い日本列島において、人口が減少する中にあっても、人々が生き生きと安心して暮らし続けていける国土</a:t>
            </a:r>
            <a:r>
              <a:rPr lang="ja-JP" altLang="en-US" sz="1547" b="1" dirty="0">
                <a:solidFill>
                  <a:srgbClr val="000000"/>
                </a:solidFill>
                <a:latin typeface="ＭＳ Ｐゴシック"/>
                <a:ea typeface="ＭＳ Ｐゴシック"/>
                <a:cs typeface="Times New Roman" panose="02020603050405020304" pitchFamily="18" charset="0"/>
              </a:rPr>
              <a:t>の形成を目指す。</a:t>
            </a:r>
            <a:endParaRPr lang="en-US" altLang="ja-JP" sz="1547" b="1" dirty="0">
              <a:solidFill>
                <a:srgbClr val="000000"/>
              </a:solidFill>
              <a:latin typeface="ＭＳ Ｐゴシック"/>
              <a:ea typeface="ＭＳ Ｐゴシック"/>
              <a:cs typeface="Times New Roman" panose="02020603050405020304" pitchFamily="18" charset="0"/>
            </a:endParaRPr>
          </a:p>
          <a:p>
            <a:pPr defTabSz="707471">
              <a:defRPr/>
            </a:pPr>
            <a:endParaRPr lang="en-US" altLang="ja-JP" sz="1547" b="1" dirty="0">
              <a:solidFill>
                <a:srgbClr val="000000"/>
              </a:solidFill>
              <a:latin typeface="ＭＳ Ｐゴシック"/>
              <a:ea typeface="ＭＳ Ｐゴシック"/>
              <a:cs typeface="Times New Roman" panose="02020603050405020304" pitchFamily="18" charset="0"/>
            </a:endParaRPr>
          </a:p>
          <a:p>
            <a:pPr defTabSz="707471">
              <a:defRPr/>
            </a:pPr>
            <a:r>
              <a:rPr lang="ja-JP" altLang="en-US" sz="1547" b="1" dirty="0">
                <a:solidFill>
                  <a:srgbClr val="000000"/>
                </a:solidFill>
                <a:latin typeface="ＭＳ Ｐゴシック"/>
                <a:ea typeface="ＭＳ Ｐゴシック"/>
                <a:cs typeface="Times New Roman" panose="02020603050405020304" pitchFamily="18" charset="0"/>
              </a:rPr>
              <a:t>●このため、</a:t>
            </a:r>
            <a:r>
              <a:rPr lang="ja-JP" altLang="ja-JP" sz="1547" b="1" dirty="0">
                <a:solidFill>
                  <a:srgbClr val="FF0000"/>
                </a:solidFill>
                <a:latin typeface="ＭＳ Ｐゴシック"/>
                <a:ea typeface="ＭＳ Ｐゴシック"/>
                <a:cs typeface="Times New Roman" panose="02020603050405020304" pitchFamily="18" charset="0"/>
              </a:rPr>
              <a:t>時間距離の短縮や多重性・代替性の確保</a:t>
            </a:r>
            <a:r>
              <a:rPr lang="ja-JP" altLang="ja-JP" sz="1547" b="1" dirty="0">
                <a:solidFill>
                  <a:srgbClr val="000000"/>
                </a:solidFill>
                <a:latin typeface="ＭＳ Ｐゴシック"/>
                <a:ea typeface="ＭＳ Ｐゴシック"/>
                <a:cs typeface="Times New Roman" panose="02020603050405020304" pitchFamily="18" charset="0"/>
              </a:rPr>
              <a:t>等を図る交通ネットワーク</a:t>
            </a:r>
            <a:r>
              <a:rPr lang="ja-JP" altLang="en-US" sz="1547" b="1" dirty="0">
                <a:solidFill>
                  <a:srgbClr val="000000"/>
                </a:solidFill>
                <a:latin typeface="ＭＳ Ｐゴシック"/>
                <a:ea typeface="ＭＳ Ｐゴシック"/>
                <a:cs typeface="Times New Roman" panose="02020603050405020304" pitchFamily="18" charset="0"/>
              </a:rPr>
              <a:t>等の</a:t>
            </a:r>
            <a:r>
              <a:rPr lang="ja-JP" altLang="ja-JP" sz="1547" b="1" dirty="0">
                <a:solidFill>
                  <a:srgbClr val="000000"/>
                </a:solidFill>
                <a:latin typeface="ＭＳ Ｐゴシック"/>
                <a:ea typeface="ＭＳ Ｐゴシック"/>
                <a:cs typeface="Times New Roman" panose="02020603050405020304" pitchFamily="18" charset="0"/>
              </a:rPr>
              <a:t>強化を通じ、</a:t>
            </a:r>
            <a:r>
              <a:rPr lang="ja-JP" altLang="en-US" sz="1547" b="1" dirty="0">
                <a:solidFill>
                  <a:srgbClr val="000000"/>
                </a:solidFill>
                <a:latin typeface="ＭＳ Ｐゴシック"/>
                <a:ea typeface="ＭＳ Ｐゴシック"/>
                <a:cs typeface="Times New Roman" panose="02020603050405020304" pitchFamily="18" charset="0"/>
              </a:rPr>
              <a:t>国土全体におけるシームレスな連結を強化して、</a:t>
            </a:r>
            <a:r>
              <a:rPr lang="ja-JP" altLang="en-US" sz="1547" b="1" dirty="0">
                <a:solidFill>
                  <a:srgbClr val="FF0000"/>
                </a:solidFill>
                <a:latin typeface="HGP創英角ｺﾞｼｯｸUB"/>
                <a:ea typeface="HGP創英角ｺﾞｼｯｸUB"/>
                <a:cs typeface="Times New Roman" panose="02020603050405020304" pitchFamily="18" charset="0"/>
              </a:rPr>
              <a:t>日本海側と太平洋側の二面を効果的に活用しつつ、内陸部を含めた連結を図る「全国的な回廊ネットワーク」の形成</a:t>
            </a:r>
            <a:r>
              <a:rPr lang="ja-JP" altLang="en-US" sz="1547" b="1" dirty="0">
                <a:solidFill>
                  <a:srgbClr val="000000"/>
                </a:solidFill>
                <a:latin typeface="ＭＳ Ｐゴシック"/>
                <a:ea typeface="ＭＳ Ｐゴシック"/>
                <a:cs typeface="Times New Roman" panose="02020603050405020304" pitchFamily="18" charset="0"/>
              </a:rPr>
              <a:t>を図る。</a:t>
            </a:r>
          </a:p>
        </p:txBody>
      </p:sp>
      <p:sp>
        <p:nvSpPr>
          <p:cNvPr id="66" name="角丸四角形 65"/>
          <p:cNvSpPr/>
          <p:nvPr/>
        </p:nvSpPr>
        <p:spPr>
          <a:xfrm>
            <a:off x="5988325" y="834160"/>
            <a:ext cx="3843670" cy="6684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r>
              <a:rPr lang="ja-JP" altLang="en-US" sz="2012" b="1" dirty="0">
                <a:solidFill>
                  <a:srgbClr val="FF0000"/>
                </a:solidFill>
                <a:latin typeface="HGP創英角ｺﾞｼｯｸUB"/>
                <a:ea typeface="HGP創英角ｺﾞｼｯｸUB"/>
              </a:rPr>
              <a:t>日本海側＋太平洋側　二面活用</a:t>
            </a:r>
            <a:endParaRPr lang="en-US" altLang="ja-JP" sz="2012" b="1" dirty="0">
              <a:solidFill>
                <a:srgbClr val="FF0000"/>
              </a:solidFill>
              <a:latin typeface="HGP創英角ｺﾞｼｯｸUB"/>
              <a:ea typeface="HGP創英角ｺﾞｼｯｸUB"/>
            </a:endParaRPr>
          </a:p>
          <a:p>
            <a:pPr algn="ctr" defTabSz="707471">
              <a:defRPr/>
            </a:pPr>
            <a:r>
              <a:rPr lang="ja-JP" altLang="en-US" sz="2012" b="1" dirty="0">
                <a:solidFill>
                  <a:srgbClr val="FF0000"/>
                </a:solidFill>
                <a:latin typeface="HGP創英角ｺﾞｼｯｸUB"/>
                <a:ea typeface="HGP創英角ｺﾞｼｯｸUB"/>
              </a:rPr>
              <a:t>内陸部を含めた全国の連結強化</a:t>
            </a:r>
          </a:p>
        </p:txBody>
      </p:sp>
      <p:sp>
        <p:nvSpPr>
          <p:cNvPr id="67" name="角丸四角形 66"/>
          <p:cNvSpPr/>
          <p:nvPr/>
        </p:nvSpPr>
        <p:spPr>
          <a:xfrm>
            <a:off x="7798750" y="4037217"/>
            <a:ext cx="2005393" cy="55705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r>
              <a:rPr lang="ja-JP" altLang="en-US" sz="1238" b="1" dirty="0">
                <a:solidFill>
                  <a:srgbClr val="FF0000"/>
                </a:solidFill>
                <a:latin typeface="ＭＳ Ｐゴシック"/>
                <a:ea typeface="ＭＳ Ｐゴシック"/>
              </a:rPr>
              <a:t>中枢中核都市等を核とした</a:t>
            </a:r>
            <a:endParaRPr lang="en-US" altLang="ja-JP" sz="1238" b="1" dirty="0">
              <a:solidFill>
                <a:srgbClr val="FF0000"/>
              </a:solidFill>
              <a:latin typeface="ＭＳ Ｐゴシック"/>
              <a:ea typeface="ＭＳ Ｐゴシック"/>
            </a:endParaRPr>
          </a:p>
          <a:p>
            <a:pPr algn="ctr" defTabSz="707471">
              <a:defRPr/>
            </a:pPr>
            <a:r>
              <a:rPr lang="ja-JP" altLang="en-US" sz="1547" b="1" dirty="0">
                <a:solidFill>
                  <a:srgbClr val="FF0000"/>
                </a:solidFill>
                <a:latin typeface="ＭＳ Ｐゴシック"/>
                <a:ea typeface="ＭＳ Ｐゴシック"/>
              </a:rPr>
              <a:t>広域圏の自立的発展</a:t>
            </a:r>
          </a:p>
        </p:txBody>
      </p:sp>
      <p:sp>
        <p:nvSpPr>
          <p:cNvPr id="68" name="角丸四角形 67"/>
          <p:cNvSpPr/>
          <p:nvPr/>
        </p:nvSpPr>
        <p:spPr>
          <a:xfrm>
            <a:off x="7798750" y="4677829"/>
            <a:ext cx="2005393" cy="55705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r>
              <a:rPr lang="ja-JP" altLang="en-US" sz="1547" b="1" dirty="0">
                <a:solidFill>
                  <a:srgbClr val="FF0000"/>
                </a:solidFill>
                <a:latin typeface="ＭＳ Ｐゴシック"/>
                <a:ea typeface="ＭＳ Ｐゴシック"/>
              </a:rPr>
              <a:t>広域圏内・広域圏間</a:t>
            </a:r>
            <a:endParaRPr lang="en-US" altLang="ja-JP" sz="1547" b="1" dirty="0">
              <a:solidFill>
                <a:srgbClr val="FF0000"/>
              </a:solidFill>
              <a:latin typeface="ＭＳ Ｐゴシック"/>
              <a:ea typeface="ＭＳ Ｐゴシック"/>
            </a:endParaRPr>
          </a:p>
          <a:p>
            <a:pPr algn="ctr" defTabSz="707471">
              <a:defRPr/>
            </a:pPr>
            <a:r>
              <a:rPr lang="ja-JP" altLang="en-US" sz="1547" b="1" dirty="0">
                <a:solidFill>
                  <a:srgbClr val="FF0000"/>
                </a:solidFill>
                <a:latin typeface="ＭＳ Ｐゴシック"/>
                <a:ea typeface="ＭＳ Ｐゴシック"/>
              </a:rPr>
              <a:t>の交流・連携</a:t>
            </a:r>
          </a:p>
        </p:txBody>
      </p:sp>
      <p:sp>
        <p:nvSpPr>
          <p:cNvPr id="69" name="角丸四角形 68"/>
          <p:cNvSpPr/>
          <p:nvPr/>
        </p:nvSpPr>
        <p:spPr>
          <a:xfrm>
            <a:off x="7798750" y="5318441"/>
            <a:ext cx="2005393" cy="55705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r>
              <a:rPr lang="ja-JP" altLang="en-US" sz="1547" b="1" dirty="0">
                <a:solidFill>
                  <a:srgbClr val="FF0000"/>
                </a:solidFill>
                <a:latin typeface="ＭＳ Ｐゴシック"/>
                <a:ea typeface="ＭＳ Ｐゴシック"/>
              </a:rPr>
              <a:t>アジア等海外</a:t>
            </a:r>
            <a:endParaRPr lang="en-US" altLang="ja-JP" sz="1547" b="1" dirty="0">
              <a:solidFill>
                <a:srgbClr val="FF0000"/>
              </a:solidFill>
              <a:latin typeface="ＭＳ Ｐゴシック"/>
              <a:ea typeface="ＭＳ Ｐゴシック"/>
            </a:endParaRPr>
          </a:p>
          <a:p>
            <a:pPr algn="ctr" defTabSz="707471">
              <a:defRPr/>
            </a:pPr>
            <a:r>
              <a:rPr lang="ja-JP" altLang="en-US" sz="1547" b="1" dirty="0">
                <a:solidFill>
                  <a:srgbClr val="FF0000"/>
                </a:solidFill>
                <a:latin typeface="ＭＳ Ｐゴシック"/>
                <a:ea typeface="ＭＳ Ｐゴシック"/>
              </a:rPr>
              <a:t>との直接交流</a:t>
            </a:r>
          </a:p>
        </p:txBody>
      </p:sp>
      <p:sp>
        <p:nvSpPr>
          <p:cNvPr id="70" name="加算記号 23">
            <a:extLst>
              <a:ext uri="{FF2B5EF4-FFF2-40B4-BE49-F238E27FC236}">
                <a16:creationId xmlns:a16="http://schemas.microsoft.com/office/drawing/2014/main" id="{71D7A99D-1A14-01F3-46E5-B16C470DD213}"/>
              </a:ext>
            </a:extLst>
          </p:cNvPr>
          <p:cNvSpPr/>
          <p:nvPr/>
        </p:nvSpPr>
        <p:spPr>
          <a:xfrm>
            <a:off x="8411509" y="5931200"/>
            <a:ext cx="696317" cy="501348"/>
          </a:xfrm>
          <a:prstGeom prst="mathPlus">
            <a:avLst>
              <a:gd name="adj1" fmla="val 235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71" name="角丸四角形 65">
            <a:extLst>
              <a:ext uri="{FF2B5EF4-FFF2-40B4-BE49-F238E27FC236}">
                <a16:creationId xmlns:a16="http://schemas.microsoft.com/office/drawing/2014/main" id="{425EAC4F-4214-A71D-59F6-349A7613C299}"/>
              </a:ext>
            </a:extLst>
          </p:cNvPr>
          <p:cNvSpPr/>
          <p:nvPr/>
        </p:nvSpPr>
        <p:spPr>
          <a:xfrm>
            <a:off x="4567839" y="6516106"/>
            <a:ext cx="5264156" cy="55705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r>
              <a:rPr lang="ja-JP" altLang="en-US" sz="1238" b="1" dirty="0">
                <a:solidFill>
                  <a:srgbClr val="FF0000"/>
                </a:solidFill>
                <a:latin typeface="ＭＳ Ｐゴシック"/>
                <a:ea typeface="ＭＳ Ｐゴシック"/>
              </a:rPr>
              <a:t>地方の中心的な都市を核とした</a:t>
            </a:r>
            <a:r>
              <a:rPr lang="ja-JP" altLang="en-US" sz="1547" b="1" dirty="0">
                <a:solidFill>
                  <a:srgbClr val="FF0000"/>
                </a:solidFill>
                <a:latin typeface="ＭＳ Ｐゴシック"/>
                <a:ea typeface="ＭＳ Ｐゴシック"/>
              </a:rPr>
              <a:t>地域生活圏の形成</a:t>
            </a:r>
            <a:endParaRPr lang="en-US" altLang="ja-JP" sz="1547" b="1" dirty="0">
              <a:solidFill>
                <a:srgbClr val="FF0000"/>
              </a:solidFill>
              <a:latin typeface="ＭＳ Ｐゴシック"/>
              <a:ea typeface="ＭＳ Ｐゴシック"/>
            </a:endParaRPr>
          </a:p>
          <a:p>
            <a:pPr algn="ctr" defTabSz="707471">
              <a:defRPr/>
            </a:pPr>
            <a:r>
              <a:rPr lang="en-US" altLang="ja-JP" sz="1393" b="1" dirty="0">
                <a:solidFill>
                  <a:srgbClr val="FF0000"/>
                </a:solidFill>
                <a:latin typeface="ＭＳ Ｐゴシック"/>
                <a:ea typeface="ＭＳ Ｐゴシック"/>
              </a:rPr>
              <a:t>〈</a:t>
            </a:r>
            <a:r>
              <a:rPr lang="ja-JP" altLang="en-US" sz="1393" b="1" dirty="0">
                <a:solidFill>
                  <a:srgbClr val="FF0000"/>
                </a:solidFill>
                <a:latin typeface="ＭＳ Ｐゴシック"/>
                <a:ea typeface="ＭＳ Ｐゴシック"/>
              </a:rPr>
              <a:t>デジタルとリアルの融合による地域課題解決と地域の魅力向上</a:t>
            </a:r>
            <a:r>
              <a:rPr lang="en-US" altLang="ja-JP" sz="1393" b="1" dirty="0">
                <a:solidFill>
                  <a:srgbClr val="FF0000"/>
                </a:solidFill>
                <a:latin typeface="ＭＳ Ｐゴシック"/>
                <a:ea typeface="ＭＳ Ｐゴシック"/>
              </a:rPr>
              <a:t>〉</a:t>
            </a:r>
            <a:endParaRPr lang="ja-JP" altLang="en-US" sz="1393" b="1" dirty="0">
              <a:solidFill>
                <a:srgbClr val="FF0000"/>
              </a:solidFill>
              <a:latin typeface="ＭＳ Ｐゴシック"/>
              <a:ea typeface="ＭＳ Ｐゴシック"/>
            </a:endParaRPr>
          </a:p>
        </p:txBody>
      </p:sp>
      <p:sp>
        <p:nvSpPr>
          <p:cNvPr id="72" name="矢印: 右 26">
            <a:extLst>
              <a:ext uri="{FF2B5EF4-FFF2-40B4-BE49-F238E27FC236}">
                <a16:creationId xmlns:a16="http://schemas.microsoft.com/office/drawing/2014/main" id="{DA1626E2-3C44-CA82-F1ED-2B9AC9B048F2}"/>
              </a:ext>
            </a:extLst>
          </p:cNvPr>
          <p:cNvSpPr/>
          <p:nvPr/>
        </p:nvSpPr>
        <p:spPr>
          <a:xfrm>
            <a:off x="4734955" y="7128865"/>
            <a:ext cx="417790" cy="3899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endParaRPr lang="ja-JP" altLang="en-US" sz="1393">
              <a:solidFill>
                <a:srgbClr val="FFFFFF"/>
              </a:solidFill>
              <a:latin typeface="Arial"/>
              <a:ea typeface="ＭＳ Ｐゴシック"/>
            </a:endParaRPr>
          </a:p>
        </p:txBody>
      </p:sp>
      <p:sp>
        <p:nvSpPr>
          <p:cNvPr id="73" name="テキスト ボックス 72">
            <a:extLst>
              <a:ext uri="{FF2B5EF4-FFF2-40B4-BE49-F238E27FC236}">
                <a16:creationId xmlns:a16="http://schemas.microsoft.com/office/drawing/2014/main" id="{48C67E2C-950B-CA5B-B891-56C175E05EC5}"/>
              </a:ext>
            </a:extLst>
          </p:cNvPr>
          <p:cNvSpPr txBox="1"/>
          <p:nvPr/>
        </p:nvSpPr>
        <p:spPr>
          <a:xfrm>
            <a:off x="5152745" y="7128865"/>
            <a:ext cx="4038638" cy="425629"/>
          </a:xfrm>
          <a:prstGeom prst="rect">
            <a:avLst/>
          </a:prstGeom>
          <a:noFill/>
        </p:spPr>
        <p:txBody>
          <a:bodyPr wrap="square" rtlCol="0">
            <a:spAutoFit/>
          </a:bodyPr>
          <a:lstStyle/>
          <a:p>
            <a:pPr defTabSz="707471">
              <a:defRPr/>
            </a:pPr>
            <a:r>
              <a:rPr lang="ja-JP" altLang="en-US" sz="2166" b="1" i="1" dirty="0">
                <a:solidFill>
                  <a:srgbClr val="FF0000"/>
                </a:solidFill>
              </a:rPr>
              <a:t>地方への人の流れの創出・拡大</a:t>
            </a:r>
          </a:p>
        </p:txBody>
      </p:sp>
      <p:sp>
        <p:nvSpPr>
          <p:cNvPr id="74" name="テキスト ボックス 641"/>
          <p:cNvSpPr txBox="1"/>
          <p:nvPr/>
        </p:nvSpPr>
        <p:spPr>
          <a:xfrm>
            <a:off x="238212" y="7344903"/>
            <a:ext cx="4035710" cy="217304"/>
          </a:xfrm>
          <a:prstGeom prst="rect">
            <a:avLst/>
          </a:prstGeom>
          <a:noFill/>
        </p:spPr>
        <p:txBody>
          <a:bodyPr wrap="square" rtlCol="0">
            <a:spAutoFit/>
          </a:bodyPr>
          <a:lstStyle/>
          <a:p>
            <a:pPr defTabSz="707471">
              <a:defRPr/>
            </a:pPr>
            <a:r>
              <a:rPr lang="en-US" altLang="ja-JP" sz="812" dirty="0">
                <a:solidFill>
                  <a:srgbClr val="000000"/>
                </a:solidFill>
                <a:latin typeface="ＭＳ Ｐゴシック"/>
                <a:ea typeface="ＭＳ Ｐゴシック"/>
              </a:rPr>
              <a:t>※</a:t>
            </a:r>
            <a:r>
              <a:rPr lang="ja-JP" altLang="en-US" sz="812" dirty="0">
                <a:solidFill>
                  <a:srgbClr val="000000"/>
                </a:solidFill>
                <a:latin typeface="ＭＳ Ｐゴシック"/>
                <a:ea typeface="ＭＳ Ｐゴシック"/>
              </a:rPr>
              <a:t>本地図は我が国の領土を網羅的に記したものではない。</a:t>
            </a:r>
            <a:endParaRPr lang="en-US" altLang="ja-JP" sz="812" dirty="0">
              <a:solidFill>
                <a:srgbClr val="000000"/>
              </a:solidFill>
              <a:latin typeface="ＭＳ Ｐゴシック"/>
              <a:ea typeface="ＭＳ Ｐゴシック"/>
            </a:endParaRPr>
          </a:p>
        </p:txBody>
      </p:sp>
      <p:sp>
        <p:nvSpPr>
          <p:cNvPr id="75" name="吹き出し: 四角形 28">
            <a:extLst>
              <a:ext uri="{FF2B5EF4-FFF2-40B4-BE49-F238E27FC236}">
                <a16:creationId xmlns:a16="http://schemas.microsoft.com/office/drawing/2014/main" id="{D806047E-06F2-2468-1237-0A51ED6B21F8}"/>
              </a:ext>
            </a:extLst>
          </p:cNvPr>
          <p:cNvSpPr/>
          <p:nvPr/>
        </p:nvSpPr>
        <p:spPr>
          <a:xfrm>
            <a:off x="5709798" y="5736231"/>
            <a:ext cx="1838277" cy="445643"/>
          </a:xfrm>
          <a:prstGeom prst="wedgeRectCallout">
            <a:avLst>
              <a:gd name="adj1" fmla="val -34295"/>
              <a:gd name="adj2" fmla="val -15797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defRPr/>
            </a:pPr>
            <a:r>
              <a:rPr lang="ja-JP" altLang="en-US" sz="928" dirty="0">
                <a:solidFill>
                  <a:srgbClr val="000000"/>
                </a:solidFill>
                <a:latin typeface="ＭＳ Ｐゴシック"/>
                <a:ea typeface="ＭＳ Ｐゴシック"/>
              </a:rPr>
              <a:t>日本中央回廊の形成</a:t>
            </a:r>
            <a:endParaRPr lang="en-US" altLang="ja-JP" sz="928" dirty="0">
              <a:solidFill>
                <a:srgbClr val="000000"/>
              </a:solidFill>
              <a:latin typeface="ＭＳ Ｐゴシック"/>
              <a:ea typeface="ＭＳ Ｐゴシック"/>
            </a:endParaRPr>
          </a:p>
          <a:p>
            <a:pPr defTabSz="707471">
              <a:defRPr/>
            </a:pPr>
            <a:r>
              <a:rPr lang="ja-JP" altLang="en-US" sz="928" dirty="0">
                <a:solidFill>
                  <a:srgbClr val="000000"/>
                </a:solidFill>
                <a:latin typeface="ＭＳ Ｐゴシック"/>
                <a:ea typeface="ＭＳ Ｐゴシック"/>
              </a:rPr>
              <a:t>リニア開業等による時間距離短縮等の効果を全国に波及</a:t>
            </a:r>
            <a:endParaRPr lang="en-US" altLang="ja-JP" sz="928" dirty="0">
              <a:solidFill>
                <a:srgbClr val="000000"/>
              </a:solidFill>
              <a:latin typeface="ＭＳ Ｐゴシック"/>
              <a:ea typeface="ＭＳ Ｐゴシック"/>
            </a:endParaRPr>
          </a:p>
        </p:txBody>
      </p:sp>
      <p:sp>
        <p:nvSpPr>
          <p:cNvPr id="76" name="テキスト ボックス 75"/>
          <p:cNvSpPr txBox="1"/>
          <p:nvPr/>
        </p:nvSpPr>
        <p:spPr>
          <a:xfrm>
            <a:off x="405745" y="-8582"/>
            <a:ext cx="2602245" cy="663900"/>
          </a:xfrm>
          <a:prstGeom prst="rect">
            <a:avLst/>
          </a:prstGeom>
          <a:noFill/>
        </p:spPr>
        <p:txBody>
          <a:bodyPr wrap="square" rtlCol="0">
            <a:spAutoFit/>
          </a:bodyPr>
          <a:lstStyle/>
          <a:p>
            <a:r>
              <a:rPr lang="ja-JP" altLang="en-US" kern="0" dirty="0">
                <a:solidFill>
                  <a:srgbClr val="0070C0"/>
                </a:solidFill>
                <a:latin typeface="HGP創英角ｺﾞｼｯｸUB"/>
                <a:ea typeface="HGP創英角ｺﾞｼｯｸUB"/>
              </a:rPr>
              <a:t>「シームレスな拠点連結型国土」の構築に向けた</a:t>
            </a:r>
            <a:endParaRPr kumimoji="1" lang="ja-JP" altLang="en-US" dirty="0">
              <a:solidFill>
                <a:srgbClr val="0070C0"/>
              </a:solidFill>
            </a:endParaRPr>
          </a:p>
        </p:txBody>
      </p:sp>
      <p:sp>
        <p:nvSpPr>
          <p:cNvPr id="2" name="フッター プレースホルダー 1">
            <a:extLst>
              <a:ext uri="{FF2B5EF4-FFF2-40B4-BE49-F238E27FC236}">
                <a16:creationId xmlns:a16="http://schemas.microsoft.com/office/drawing/2014/main" id="{9035FA25-0C18-A031-FD7A-3D6114D0884C}"/>
              </a:ext>
            </a:extLst>
          </p:cNvPr>
          <p:cNvSpPr>
            <a:spLocks noGrp="1"/>
          </p:cNvSpPr>
          <p:nvPr>
            <p:ph type="ftr" sz="quarter" idx="11"/>
          </p:nvPr>
        </p:nvSpPr>
        <p:spPr/>
        <p:txBody>
          <a:bodyPr/>
          <a:lstStyle/>
          <a:p>
            <a:pPr>
              <a:defRPr/>
            </a:pPr>
            <a:endParaRPr lang="en-US" altLang="ja-JP"/>
          </a:p>
        </p:txBody>
      </p:sp>
      <p:sp>
        <p:nvSpPr>
          <p:cNvPr id="3" name="スライド番号プレースホルダー 2">
            <a:extLst>
              <a:ext uri="{FF2B5EF4-FFF2-40B4-BE49-F238E27FC236}">
                <a16:creationId xmlns:a16="http://schemas.microsoft.com/office/drawing/2014/main" id="{A61E4C95-B6EC-80C3-6317-2029BE0DED85}"/>
              </a:ext>
            </a:extLst>
          </p:cNvPr>
          <p:cNvSpPr>
            <a:spLocks noGrp="1"/>
          </p:cNvSpPr>
          <p:nvPr>
            <p:ph type="sldNum" sz="quarter" idx="12"/>
          </p:nvPr>
        </p:nvSpPr>
        <p:spPr/>
        <p:txBody>
          <a:bodyPr/>
          <a:lstStyle/>
          <a:p>
            <a:pPr>
              <a:defRPr/>
            </a:pPr>
            <a:fld id="{9C66F1FC-77AF-4AA3-AB67-8C31B36199A9}" type="slidenum">
              <a:rPr lang="en-US" altLang="ja-JP" smtClean="0"/>
              <a:pPr>
                <a:defRPr/>
              </a:pPr>
              <a:t>13</a:t>
            </a:fld>
            <a:endParaRPr lang="en-US" altLang="ja-JP"/>
          </a:p>
        </p:txBody>
      </p:sp>
    </p:spTree>
    <p:extLst>
      <p:ext uri="{BB962C8B-B14F-4D97-AF65-F5344CB8AC3E}">
        <p14:creationId xmlns:p14="http://schemas.microsoft.com/office/powerpoint/2010/main" val="39402204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98"/>
          <p:cNvSpPr txBox="1"/>
          <p:nvPr/>
        </p:nvSpPr>
        <p:spPr>
          <a:xfrm>
            <a:off x="2" y="63426"/>
            <a:ext cx="9904412" cy="557054"/>
          </a:xfrm>
          <a:prstGeom prst="rect">
            <a:avLst/>
          </a:prstGeom>
        </p:spPr>
        <p:txBody>
          <a:bodyPr anchor="ct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5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11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16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221"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717312"/>
            <a:r>
              <a:rPr lang="ja-JP" altLang="en-US" sz="2785" kern="0" dirty="0">
                <a:latin typeface="HGP創英角ｺﾞｼｯｸUB"/>
                <a:ea typeface="HGP創英角ｺﾞｼｯｸUB"/>
              </a:rPr>
              <a:t>「地域生活圏」の形成で変わる地域の姿（イメージ）</a:t>
            </a:r>
          </a:p>
        </p:txBody>
      </p:sp>
      <p:sp>
        <p:nvSpPr>
          <p:cNvPr id="6" name="テキスト ボックス 5"/>
          <p:cNvSpPr txBox="1"/>
          <p:nvPr/>
        </p:nvSpPr>
        <p:spPr>
          <a:xfrm>
            <a:off x="55705" y="7240276"/>
            <a:ext cx="9609175" cy="334231"/>
          </a:xfrm>
          <a:prstGeom prst="rect">
            <a:avLst/>
          </a:prstGeom>
          <a:solidFill>
            <a:srgbClr val="FFC000"/>
          </a:solidFill>
        </p:spPr>
        <p:txBody>
          <a:bodyPr wrap="square" rtlCol="0" anchor="ctr">
            <a:noAutofit/>
          </a:bodyPr>
          <a:lstStyle/>
          <a:p>
            <a:pPr algn="ctr" defTabSz="707485"/>
            <a:r>
              <a:rPr lang="ja-JP" altLang="en-US" sz="1857" dirty="0">
                <a:solidFill>
                  <a:srgbClr val="000000"/>
                </a:solidFill>
                <a:latin typeface="HGP創英角ｺﾞｼｯｸUB"/>
                <a:ea typeface="HGP創英角ｺﾞｼｯｸUB"/>
              </a:rPr>
              <a:t>「地方の豊かさ」と「都市の利便性」の融合　→　</a:t>
            </a:r>
            <a:r>
              <a:rPr lang="ja-JP" altLang="en-US" sz="1857" b="1" dirty="0">
                <a:solidFill>
                  <a:srgbClr val="000000"/>
                </a:solidFill>
                <a:latin typeface="HGP創英角ｺﾞｼｯｸUB"/>
                <a:ea typeface="HGP創英角ｺﾞｼｯｸUB"/>
              </a:rPr>
              <a:t>全国どこでも誰もが便利で快適に暮らせる社会</a:t>
            </a:r>
          </a:p>
        </p:txBody>
      </p:sp>
      <p:pic>
        <p:nvPicPr>
          <p:cNvPr id="7" name="Picture 4" descr="「永平寺町で自動運転本格運用開始の出発式」が開催されました！"/>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79371" y="4130525"/>
            <a:ext cx="1201247" cy="899588"/>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p:cNvSpPr txBox="1"/>
          <p:nvPr/>
        </p:nvSpPr>
        <p:spPr>
          <a:xfrm>
            <a:off x="55704" y="5019816"/>
            <a:ext cx="2506741" cy="806631"/>
          </a:xfrm>
          <a:prstGeom prst="rect">
            <a:avLst/>
          </a:prstGeom>
          <a:noFill/>
        </p:spPr>
        <p:txBody>
          <a:bodyPr wrap="square" rtlCol="0">
            <a:spAutoFit/>
          </a:bodyPr>
          <a:lstStyle/>
          <a:p>
            <a:pPr defTabSz="707485"/>
            <a:r>
              <a:rPr lang="ja-JP" altLang="en-US" sz="1238" dirty="0">
                <a:solidFill>
                  <a:srgbClr val="000000"/>
                </a:solidFill>
                <a:latin typeface="HGP創英角ｺﾞｼｯｸUB"/>
                <a:ea typeface="HGP創英角ｺﾞｼｯｸUB"/>
              </a:rPr>
              <a:t>地域限定型の自動運転移動サービスの実現</a:t>
            </a:r>
            <a:endParaRPr lang="en-US" altLang="ja-JP" sz="1238" dirty="0">
              <a:solidFill>
                <a:srgbClr val="000000"/>
              </a:solidFill>
              <a:latin typeface="HGP創英角ｺﾞｼｯｸUB"/>
              <a:ea typeface="HGP創英角ｺﾞｼｯｸUB"/>
            </a:endParaRPr>
          </a:p>
          <a:p>
            <a:pPr marL="206350" indent="-135110" defTabSz="707485"/>
            <a:r>
              <a:rPr lang="ja-JP" altLang="en-US" sz="1083" dirty="0">
                <a:solidFill>
                  <a:srgbClr val="000000"/>
                </a:solidFill>
                <a:latin typeface="ＭＳ Ｐ明朝" panose="02020600040205080304" pitchFamily="18" charset="-128"/>
                <a:ea typeface="ＭＳ Ｐ明朝" panose="02020600040205080304" pitchFamily="18" charset="-128"/>
              </a:rPr>
              <a:t>⇒</a:t>
            </a:r>
            <a:r>
              <a:rPr lang="en-US" altLang="ja-JP" sz="1083" dirty="0">
                <a:solidFill>
                  <a:srgbClr val="000000"/>
                </a:solidFill>
                <a:latin typeface="ＭＳ Ｐ明朝" panose="02020600040205080304" pitchFamily="18" charset="-128"/>
                <a:ea typeface="ＭＳ Ｐ明朝" panose="02020600040205080304" pitchFamily="18" charset="-128"/>
              </a:rPr>
              <a:t>50</a:t>
            </a:r>
            <a:r>
              <a:rPr lang="ja-JP" altLang="en-US" sz="1083" dirty="0">
                <a:solidFill>
                  <a:srgbClr val="000000"/>
                </a:solidFill>
                <a:latin typeface="ＭＳ Ｐ明朝" panose="02020600040205080304" pitchFamily="18" charset="-128"/>
                <a:ea typeface="ＭＳ Ｐ明朝" panose="02020600040205080304" pitchFamily="18" charset="-128"/>
              </a:rPr>
              <a:t>か所程度（</a:t>
            </a:r>
            <a:r>
              <a:rPr lang="en-US" altLang="ja-JP" sz="1083" dirty="0">
                <a:solidFill>
                  <a:srgbClr val="000000"/>
                </a:solidFill>
                <a:latin typeface="ＭＳ Ｐ明朝" panose="02020600040205080304" pitchFamily="18" charset="-128"/>
                <a:ea typeface="ＭＳ Ｐ明朝" panose="02020600040205080304" pitchFamily="18" charset="-128"/>
              </a:rPr>
              <a:t>2025</a:t>
            </a:r>
            <a:r>
              <a:rPr lang="ja-JP" altLang="en-US" sz="1083" dirty="0">
                <a:solidFill>
                  <a:srgbClr val="000000"/>
                </a:solidFill>
                <a:latin typeface="ＭＳ Ｐ明朝" panose="02020600040205080304" pitchFamily="18" charset="-128"/>
                <a:ea typeface="ＭＳ Ｐ明朝" panose="02020600040205080304" pitchFamily="18" charset="-128"/>
              </a:rPr>
              <a:t>年度目途）、　　　</a:t>
            </a:r>
            <a:r>
              <a:rPr lang="en-US" altLang="ja-JP" sz="1083" dirty="0">
                <a:solidFill>
                  <a:srgbClr val="000000"/>
                </a:solidFill>
                <a:latin typeface="ＭＳ Ｐ明朝" panose="02020600040205080304" pitchFamily="18" charset="-128"/>
                <a:ea typeface="ＭＳ Ｐ明朝" panose="02020600040205080304" pitchFamily="18" charset="-128"/>
              </a:rPr>
              <a:t>100</a:t>
            </a:r>
            <a:r>
              <a:rPr lang="ja-JP" altLang="en-US" sz="1083" dirty="0">
                <a:solidFill>
                  <a:srgbClr val="000000"/>
                </a:solidFill>
                <a:latin typeface="ＭＳ Ｐ明朝" panose="02020600040205080304" pitchFamily="18" charset="-128"/>
                <a:ea typeface="ＭＳ Ｐ明朝" panose="02020600040205080304" pitchFamily="18" charset="-128"/>
              </a:rPr>
              <a:t>か所以上（</a:t>
            </a:r>
            <a:r>
              <a:rPr lang="en-US" altLang="ja-JP" sz="1083" dirty="0">
                <a:solidFill>
                  <a:srgbClr val="000000"/>
                </a:solidFill>
                <a:latin typeface="ＭＳ Ｐ明朝" panose="02020600040205080304" pitchFamily="18" charset="-128"/>
                <a:ea typeface="ＭＳ Ｐ明朝" panose="02020600040205080304" pitchFamily="18" charset="-128"/>
              </a:rPr>
              <a:t>2027</a:t>
            </a:r>
            <a:r>
              <a:rPr lang="ja-JP" altLang="en-US" sz="1083" dirty="0">
                <a:solidFill>
                  <a:srgbClr val="000000"/>
                </a:solidFill>
                <a:latin typeface="ＭＳ Ｐ明朝" panose="02020600040205080304" pitchFamily="18" charset="-128"/>
                <a:ea typeface="ＭＳ Ｐ明朝" panose="02020600040205080304" pitchFamily="18" charset="-128"/>
              </a:rPr>
              <a:t>年度まで）</a:t>
            </a:r>
            <a:endParaRPr lang="en-US" altLang="ja-JP" sz="1083" dirty="0">
              <a:solidFill>
                <a:srgbClr val="000000"/>
              </a:solidFill>
              <a:latin typeface="ＭＳ Ｐ明朝" panose="02020600040205080304" pitchFamily="18" charset="-128"/>
              <a:ea typeface="ＭＳ Ｐ明朝" panose="02020600040205080304" pitchFamily="18" charset="-128"/>
            </a:endParaRPr>
          </a:p>
        </p:txBody>
      </p:sp>
      <p:sp>
        <p:nvSpPr>
          <p:cNvPr id="9" name="テキスト ボックス 8"/>
          <p:cNvSpPr txBox="1"/>
          <p:nvPr/>
        </p:nvSpPr>
        <p:spPr>
          <a:xfrm>
            <a:off x="7241696" y="2449616"/>
            <a:ext cx="2618152" cy="639983"/>
          </a:xfrm>
          <a:prstGeom prst="rect">
            <a:avLst/>
          </a:prstGeom>
          <a:noFill/>
        </p:spPr>
        <p:txBody>
          <a:bodyPr wrap="square" rtlCol="0">
            <a:spAutoFit/>
          </a:bodyPr>
          <a:lstStyle/>
          <a:p>
            <a:pPr defTabSz="707485"/>
            <a:r>
              <a:rPr lang="ja-JP" altLang="en-US" sz="1238" dirty="0">
                <a:solidFill>
                  <a:srgbClr val="000000"/>
                </a:solidFill>
                <a:latin typeface="HGP創英角ｺﾞｼｯｸUB"/>
                <a:ea typeface="HGP創英角ｺﾞｼｯｸUB"/>
              </a:rPr>
              <a:t>スマート農業、ドローン物流等を組み合わせたプロジェクトを実現</a:t>
            </a:r>
            <a:endParaRPr lang="en-US" altLang="ja-JP" sz="1238" dirty="0">
              <a:solidFill>
                <a:srgbClr val="000000"/>
              </a:solidFill>
              <a:latin typeface="HGP創英角ｺﾞｼｯｸUB"/>
              <a:ea typeface="HGP創英角ｺﾞｼｯｸUB"/>
            </a:endParaRPr>
          </a:p>
          <a:p>
            <a:pPr indent="71240" defTabSz="707485"/>
            <a:r>
              <a:rPr lang="ja-JP" altLang="en-US" sz="1083" dirty="0">
                <a:solidFill>
                  <a:srgbClr val="000000"/>
                </a:solidFill>
                <a:latin typeface="ＭＳ Ｐ明朝" panose="02020600040205080304" pitchFamily="18" charset="-128"/>
                <a:ea typeface="ＭＳ Ｐ明朝" panose="02020600040205080304" pitchFamily="18" charset="-128"/>
              </a:rPr>
              <a:t>⇒</a:t>
            </a:r>
            <a:r>
              <a:rPr lang="en-US" altLang="ja-JP" sz="1083" dirty="0">
                <a:solidFill>
                  <a:srgbClr val="000000"/>
                </a:solidFill>
                <a:latin typeface="ＭＳ Ｐ明朝" panose="02020600040205080304" pitchFamily="18" charset="-128"/>
                <a:ea typeface="ＭＳ Ｐ明朝" panose="02020600040205080304" pitchFamily="18" charset="-128"/>
              </a:rPr>
              <a:t>2027</a:t>
            </a:r>
            <a:r>
              <a:rPr lang="ja-JP" altLang="en-US" sz="1083" dirty="0">
                <a:solidFill>
                  <a:srgbClr val="000000"/>
                </a:solidFill>
                <a:latin typeface="ＭＳ Ｐ明朝" panose="02020600040205080304" pitchFamily="18" charset="-128"/>
                <a:ea typeface="ＭＳ Ｐ明朝" panose="02020600040205080304" pitchFamily="18" charset="-128"/>
              </a:rPr>
              <a:t>年度までに全国</a:t>
            </a:r>
            <a:r>
              <a:rPr lang="en-US" altLang="ja-JP" sz="1083" dirty="0">
                <a:solidFill>
                  <a:srgbClr val="000000"/>
                </a:solidFill>
                <a:latin typeface="ＭＳ Ｐ明朝" panose="02020600040205080304" pitchFamily="18" charset="-128"/>
                <a:ea typeface="ＭＳ Ｐ明朝" panose="02020600040205080304" pitchFamily="18" charset="-128"/>
              </a:rPr>
              <a:t>150</a:t>
            </a:r>
            <a:r>
              <a:rPr lang="ja-JP" altLang="en-US" sz="1083" dirty="0">
                <a:solidFill>
                  <a:srgbClr val="000000"/>
                </a:solidFill>
                <a:latin typeface="ＭＳ Ｐ明朝" panose="02020600040205080304" pitchFamily="18" charset="-128"/>
                <a:ea typeface="ＭＳ Ｐ明朝" panose="02020600040205080304" pitchFamily="18" charset="-128"/>
              </a:rPr>
              <a:t>か所以上</a:t>
            </a:r>
            <a:endParaRPr lang="en-US" altLang="ja-JP" sz="1083" dirty="0">
              <a:solidFill>
                <a:srgbClr val="000000"/>
              </a:solidFill>
              <a:latin typeface="ＭＳ Ｐ明朝" panose="02020600040205080304" pitchFamily="18" charset="-128"/>
              <a:ea typeface="ＭＳ Ｐ明朝" panose="02020600040205080304" pitchFamily="18" charset="-128"/>
            </a:endParaRPr>
          </a:p>
        </p:txBody>
      </p:sp>
      <p:sp>
        <p:nvSpPr>
          <p:cNvPr id="10" name="正方形/長方形 9"/>
          <p:cNvSpPr/>
          <p:nvPr/>
        </p:nvSpPr>
        <p:spPr>
          <a:xfrm>
            <a:off x="55704" y="1419066"/>
            <a:ext cx="2506741" cy="222821"/>
          </a:xfrm>
          <a:prstGeom prst="rect">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tIns="0" bIns="27853" rtlCol="0" anchor="ctr" anchorCtr="0"/>
          <a:lstStyle/>
          <a:p>
            <a:pPr algn="ctr" defTabSz="707485"/>
            <a:r>
              <a:rPr lang="ja-JP" altLang="en-US" sz="1393" dirty="0">
                <a:solidFill>
                  <a:srgbClr val="FFFFFF"/>
                </a:solidFill>
                <a:latin typeface="HGP創英角ｺﾞｼｯｸUB"/>
                <a:ea typeface="HGP創英角ｺﾞｼｯｸUB"/>
              </a:rPr>
              <a:t>地域公共交通のリ・デザイン</a:t>
            </a:r>
          </a:p>
        </p:txBody>
      </p:sp>
      <p:sp>
        <p:nvSpPr>
          <p:cNvPr id="11" name="テキスト ボックス 10"/>
          <p:cNvSpPr txBox="1"/>
          <p:nvPr/>
        </p:nvSpPr>
        <p:spPr>
          <a:xfrm>
            <a:off x="-279" y="2817343"/>
            <a:ext cx="2599778" cy="997132"/>
          </a:xfrm>
          <a:prstGeom prst="rect">
            <a:avLst/>
          </a:prstGeom>
          <a:noFill/>
        </p:spPr>
        <p:txBody>
          <a:bodyPr wrap="square" lIns="69632" rIns="27853" rtlCol="0">
            <a:spAutoFit/>
          </a:bodyPr>
          <a:lstStyle/>
          <a:p>
            <a:pPr defTabSz="707485"/>
            <a:r>
              <a:rPr lang="ja-JP" altLang="en-US" sz="1238" dirty="0">
                <a:solidFill>
                  <a:srgbClr val="000000"/>
                </a:solidFill>
                <a:latin typeface="HGP創英角ｺﾞｼｯｸUB"/>
                <a:ea typeface="HGP創英角ｺﾞｼｯｸUB"/>
              </a:rPr>
              <a:t>交通</a:t>
            </a:r>
            <a:r>
              <a:rPr lang="en-US" altLang="ja-JP" sz="1238" dirty="0">
                <a:solidFill>
                  <a:srgbClr val="000000"/>
                </a:solidFill>
                <a:latin typeface="HGP創英角ｺﾞｼｯｸUB"/>
                <a:ea typeface="HGP創英角ｺﾞｼｯｸUB"/>
              </a:rPr>
              <a:t>DX</a:t>
            </a:r>
            <a:r>
              <a:rPr lang="ja-JP" altLang="en-US" sz="1238" dirty="0">
                <a:solidFill>
                  <a:srgbClr val="000000"/>
                </a:solidFill>
                <a:latin typeface="HGP創英角ｺﾞｼｯｸUB"/>
                <a:ea typeface="HGP創英角ｺﾞｼｯｸUB"/>
              </a:rPr>
              <a:t>・</a:t>
            </a:r>
            <a:r>
              <a:rPr lang="en-US" altLang="ja-JP" sz="1238" dirty="0">
                <a:solidFill>
                  <a:srgbClr val="000000"/>
                </a:solidFill>
                <a:latin typeface="HGP創英角ｺﾞｼｯｸUB"/>
                <a:ea typeface="HGP創英角ｺﾞｼｯｸUB"/>
              </a:rPr>
              <a:t>GX</a:t>
            </a:r>
            <a:r>
              <a:rPr lang="ja-JP" altLang="en-US" sz="1238" dirty="0">
                <a:solidFill>
                  <a:srgbClr val="000000"/>
                </a:solidFill>
                <a:latin typeface="HGP創英角ｺﾞｼｯｸUB"/>
                <a:ea typeface="HGP創英角ｺﾞｼｯｸUB"/>
              </a:rPr>
              <a:t>や、地域の関係者との共創を通じ、地域公共交通ネットワークの利便性・持続可能性・生産性を向上</a:t>
            </a:r>
          </a:p>
          <a:p>
            <a:pPr marL="206350" indent="-135110" defTabSz="707485"/>
            <a:r>
              <a:rPr lang="ja-JP" altLang="en-US" sz="1083" dirty="0">
                <a:solidFill>
                  <a:srgbClr val="000000"/>
                </a:solidFill>
                <a:latin typeface="ＭＳ Ｐ明朝" panose="02020600040205080304" pitchFamily="18" charset="-128"/>
                <a:ea typeface="ＭＳ Ｐ明朝" panose="02020600040205080304" pitchFamily="18" charset="-128"/>
              </a:rPr>
              <a:t>⇒</a:t>
            </a:r>
            <a:r>
              <a:rPr lang="zh-TW" altLang="en-US" sz="1083" dirty="0">
                <a:solidFill>
                  <a:srgbClr val="000000"/>
                </a:solidFill>
                <a:latin typeface="ＭＳ Ｐ明朝" panose="02020600040205080304" pitchFamily="18" charset="-128"/>
                <a:ea typeface="ＭＳ Ｐ明朝" panose="02020600040205080304" pitchFamily="18" charset="-128"/>
              </a:rPr>
              <a:t>地域公共交通特定事業実施計画</a:t>
            </a:r>
            <a:r>
              <a:rPr lang="ja-JP" altLang="en-US" sz="1083" dirty="0">
                <a:solidFill>
                  <a:srgbClr val="000000"/>
                </a:solidFill>
                <a:latin typeface="ＭＳ Ｐ明朝" panose="02020600040205080304" pitchFamily="18" charset="-128"/>
                <a:ea typeface="ＭＳ Ｐ明朝" panose="02020600040205080304" pitchFamily="18" charset="-128"/>
              </a:rPr>
              <a:t>の認定：</a:t>
            </a:r>
            <a:r>
              <a:rPr lang="en-US" altLang="ja-JP" sz="1083" dirty="0">
                <a:solidFill>
                  <a:srgbClr val="000000"/>
                </a:solidFill>
                <a:latin typeface="ＭＳ Ｐ明朝" panose="02020600040205080304" pitchFamily="18" charset="-128"/>
                <a:ea typeface="ＭＳ Ｐ明朝" panose="02020600040205080304" pitchFamily="18" charset="-128"/>
              </a:rPr>
              <a:t>2027</a:t>
            </a:r>
            <a:r>
              <a:rPr lang="ja-JP" altLang="en-US" sz="1083" dirty="0">
                <a:solidFill>
                  <a:srgbClr val="000000"/>
                </a:solidFill>
                <a:latin typeface="ＭＳ Ｐ明朝" panose="02020600040205080304" pitchFamily="18" charset="-128"/>
                <a:ea typeface="ＭＳ Ｐ明朝" panose="02020600040205080304" pitchFamily="18" charset="-128"/>
              </a:rPr>
              <a:t>年度までに</a:t>
            </a:r>
            <a:r>
              <a:rPr lang="en-US" altLang="ja-JP" sz="1083" dirty="0">
                <a:solidFill>
                  <a:srgbClr val="000000"/>
                </a:solidFill>
                <a:latin typeface="ＭＳ Ｐ明朝" panose="02020600040205080304" pitchFamily="18" charset="-128"/>
                <a:ea typeface="ＭＳ Ｐ明朝" panose="02020600040205080304" pitchFamily="18" charset="-128"/>
              </a:rPr>
              <a:t>300</a:t>
            </a:r>
            <a:r>
              <a:rPr lang="ja-JP" altLang="en-US" sz="1083" dirty="0">
                <a:solidFill>
                  <a:srgbClr val="000000"/>
                </a:solidFill>
                <a:latin typeface="ＭＳ Ｐ明朝" panose="02020600040205080304" pitchFamily="18" charset="-128"/>
                <a:ea typeface="ＭＳ Ｐ明朝" panose="02020600040205080304" pitchFamily="18" charset="-128"/>
              </a:rPr>
              <a:t>件</a:t>
            </a:r>
            <a:endParaRPr lang="en-US" altLang="ja-JP" sz="1083" dirty="0">
              <a:solidFill>
                <a:srgbClr val="000000"/>
              </a:solidFill>
              <a:latin typeface="ＭＳ Ｐ明朝" panose="02020600040205080304" pitchFamily="18" charset="-128"/>
              <a:ea typeface="ＭＳ Ｐ明朝" panose="02020600040205080304" pitchFamily="18" charset="-128"/>
            </a:endParaRPr>
          </a:p>
        </p:txBody>
      </p:sp>
      <p:sp>
        <p:nvSpPr>
          <p:cNvPr id="12" name="正方形/長方形 11"/>
          <p:cNvSpPr/>
          <p:nvPr/>
        </p:nvSpPr>
        <p:spPr>
          <a:xfrm>
            <a:off x="55705" y="3842249"/>
            <a:ext cx="2367478" cy="222821"/>
          </a:xfrm>
          <a:prstGeom prst="rect">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tIns="0" bIns="27853" rtlCol="0" anchor="ctr" anchorCtr="0"/>
          <a:lstStyle/>
          <a:p>
            <a:pPr algn="ctr" defTabSz="707485"/>
            <a:r>
              <a:rPr lang="ja-JP" altLang="en-US" sz="1393" dirty="0">
                <a:solidFill>
                  <a:srgbClr val="FFFFFF"/>
                </a:solidFill>
                <a:latin typeface="HGP創英角ｺﾞｼｯｸUB"/>
                <a:ea typeface="HGP創英角ｺﾞｼｯｸUB"/>
              </a:rPr>
              <a:t>自動運転</a:t>
            </a:r>
          </a:p>
        </p:txBody>
      </p:sp>
      <p:sp>
        <p:nvSpPr>
          <p:cNvPr id="13" name="角丸四角形 12"/>
          <p:cNvSpPr/>
          <p:nvPr/>
        </p:nvSpPr>
        <p:spPr>
          <a:xfrm>
            <a:off x="55706" y="834160"/>
            <a:ext cx="2608291" cy="501348"/>
          </a:xfrm>
          <a:prstGeom prst="roundRect">
            <a:avLst>
              <a:gd name="adj" fmla="val 50000"/>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707485"/>
            <a:r>
              <a:rPr lang="ja-JP" altLang="en-US" sz="1393" dirty="0">
                <a:solidFill>
                  <a:srgbClr val="000000"/>
                </a:solidFill>
                <a:latin typeface="HGP創英角ｺﾞｼｯｸUB"/>
                <a:ea typeface="HGP創英角ｺﾞｼｯｸUB"/>
              </a:rPr>
              <a:t>地域をつなぐ持続的な　　　　　モビリティ社会の実現</a:t>
            </a:r>
          </a:p>
        </p:txBody>
      </p:sp>
      <p:sp>
        <p:nvSpPr>
          <p:cNvPr id="14" name="テキスト ボックス 13"/>
          <p:cNvSpPr txBox="1"/>
          <p:nvPr/>
        </p:nvSpPr>
        <p:spPr>
          <a:xfrm>
            <a:off x="1754718" y="6014758"/>
            <a:ext cx="5242368" cy="1114107"/>
          </a:xfrm>
          <a:prstGeom prst="rect">
            <a:avLst/>
          </a:prstGeom>
          <a:solidFill>
            <a:srgbClr val="FFFF99"/>
          </a:solidFill>
          <a:ln w="38100">
            <a:solidFill>
              <a:srgbClr val="FF0000"/>
            </a:solidFill>
          </a:ln>
        </p:spPr>
        <p:txBody>
          <a:bodyPr wrap="square" lIns="27853" rIns="27853" rtlCol="0">
            <a:noAutofit/>
          </a:bodyPr>
          <a:lstStyle/>
          <a:p>
            <a:pPr marL="206350" indent="-137567" defTabSz="707485">
              <a:buFont typeface="Wingdings" panose="05000000000000000000" pitchFamily="2" charset="2"/>
              <a:buChar char="Ø"/>
            </a:pPr>
            <a:endParaRPr lang="en-US" altLang="ja-JP" sz="1857" dirty="0">
              <a:solidFill>
                <a:srgbClr val="FF0000"/>
              </a:solidFill>
              <a:latin typeface="HGP創英角ｺﾞｼｯｸUB"/>
              <a:ea typeface="HGP創英角ｺﾞｼｯｸUB"/>
            </a:endParaRPr>
          </a:p>
          <a:p>
            <a:pPr marL="280041" indent="-137564" defTabSz="707485">
              <a:buFont typeface="Wingdings" panose="05000000000000000000" pitchFamily="2" charset="2"/>
              <a:buChar char="Ø"/>
            </a:pPr>
            <a:r>
              <a:rPr lang="ja-JP" altLang="en-US" sz="1702" dirty="0">
                <a:solidFill>
                  <a:srgbClr val="FF0000"/>
                </a:solidFill>
                <a:latin typeface="HGP創英角ｺﾞｼｯｸUB"/>
                <a:ea typeface="HGP創英角ｺﾞｼｯｸUB"/>
              </a:rPr>
              <a:t>「共」の視点からの主体・事業・地域間の連携</a:t>
            </a:r>
            <a:endParaRPr lang="en-US" altLang="ja-JP" sz="1702" dirty="0">
              <a:solidFill>
                <a:srgbClr val="FF0000"/>
              </a:solidFill>
              <a:latin typeface="HGP創英角ｺﾞｼｯｸUB"/>
              <a:ea typeface="HGP創英角ｺﾞｼｯｸUB"/>
            </a:endParaRPr>
          </a:p>
          <a:p>
            <a:pPr marL="280041" indent="-137564" defTabSz="707485"/>
            <a:r>
              <a:rPr lang="ja-JP" altLang="en-US" sz="1702" dirty="0">
                <a:solidFill>
                  <a:srgbClr val="000000"/>
                </a:solidFill>
                <a:latin typeface="HGP創英角ｺﾞｼｯｸUB"/>
                <a:ea typeface="HGP創英角ｺﾞｼｯｸUB"/>
              </a:rPr>
              <a:t>　　（官民パートナーシップによる地域経営）</a:t>
            </a:r>
            <a:endParaRPr lang="en-US" altLang="ja-JP" sz="1702" dirty="0">
              <a:solidFill>
                <a:srgbClr val="000000"/>
              </a:solidFill>
              <a:latin typeface="HGP創英角ｺﾞｼｯｸUB"/>
              <a:ea typeface="HGP創英角ｺﾞｼｯｸUB"/>
            </a:endParaRPr>
          </a:p>
          <a:p>
            <a:pPr marL="280041" indent="-137564" defTabSz="707485">
              <a:buFont typeface="Wingdings" panose="05000000000000000000" pitchFamily="2" charset="2"/>
              <a:buChar char="Ø"/>
            </a:pPr>
            <a:r>
              <a:rPr lang="ja-JP" altLang="en-US" sz="1702" dirty="0">
                <a:solidFill>
                  <a:srgbClr val="FF0000"/>
                </a:solidFill>
                <a:latin typeface="HGP創英角ｺﾞｼｯｸUB"/>
                <a:ea typeface="HGP創英角ｺﾞｼｯｸUB"/>
              </a:rPr>
              <a:t>デジタルの徹底活用による地域空間の質的向上</a:t>
            </a:r>
          </a:p>
        </p:txBody>
      </p:sp>
      <p:sp>
        <p:nvSpPr>
          <p:cNvPr id="15" name="正方形/長方形 14"/>
          <p:cNvSpPr/>
          <p:nvPr/>
        </p:nvSpPr>
        <p:spPr>
          <a:xfrm>
            <a:off x="7241698" y="1419066"/>
            <a:ext cx="2617998" cy="222821"/>
          </a:xfrm>
          <a:prstGeom prst="rect">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tIns="0" bIns="27853" rtlCol="0" anchor="ctr" anchorCtr="0"/>
          <a:lstStyle/>
          <a:p>
            <a:pPr algn="ctr" defTabSz="707485"/>
            <a:r>
              <a:rPr lang="ja-JP" altLang="en-US" sz="1393" dirty="0">
                <a:solidFill>
                  <a:srgbClr val="FFFFFF"/>
                </a:solidFill>
                <a:latin typeface="HGP創英角ｺﾞｼｯｸUB"/>
                <a:ea typeface="HGP創英角ｺﾞｼｯｸUB"/>
              </a:rPr>
              <a:t>「デジ活」中山間地域</a:t>
            </a:r>
          </a:p>
        </p:txBody>
      </p:sp>
      <p:sp>
        <p:nvSpPr>
          <p:cNvPr id="16" name="テキスト ボックス 15"/>
          <p:cNvSpPr txBox="1"/>
          <p:nvPr/>
        </p:nvSpPr>
        <p:spPr>
          <a:xfrm>
            <a:off x="4874219" y="5028311"/>
            <a:ext cx="2228214" cy="973280"/>
          </a:xfrm>
          <a:prstGeom prst="rect">
            <a:avLst/>
          </a:prstGeom>
          <a:noFill/>
        </p:spPr>
        <p:txBody>
          <a:bodyPr wrap="square" lIns="27853" rIns="0" rtlCol="0">
            <a:spAutoFit/>
          </a:bodyPr>
          <a:lstStyle/>
          <a:p>
            <a:pPr defTabSz="707485"/>
            <a:r>
              <a:rPr lang="ja-JP" altLang="en-US" sz="1238" dirty="0">
                <a:solidFill>
                  <a:srgbClr val="000000"/>
                </a:solidFill>
                <a:latin typeface="HGP創英角ｺﾞｼｯｸUB"/>
                <a:ea typeface="HGP創英角ｺﾞｼｯｸUB"/>
              </a:rPr>
              <a:t>住民に身近な場所を活用した遠隔医療</a:t>
            </a:r>
            <a:endParaRPr lang="en-US" altLang="ja-JP" sz="1238" dirty="0">
              <a:solidFill>
                <a:srgbClr val="000000"/>
              </a:solidFill>
              <a:latin typeface="HGP創英角ｺﾞｼｯｸUB"/>
              <a:ea typeface="HGP創英角ｺﾞｼｯｸUB"/>
            </a:endParaRPr>
          </a:p>
          <a:p>
            <a:pPr marL="206350" indent="-135110" defTabSz="707485"/>
            <a:r>
              <a:rPr lang="ja-JP" altLang="en-US" sz="1083" dirty="0">
                <a:solidFill>
                  <a:srgbClr val="000000"/>
                </a:solidFill>
                <a:latin typeface="ＭＳ Ｐ明朝" panose="02020600040205080304" pitchFamily="18" charset="-128"/>
                <a:ea typeface="ＭＳ Ｐ明朝" panose="02020600040205080304" pitchFamily="18" charset="-128"/>
              </a:rPr>
              <a:t>⇒国の補助事業により遠隔医療を実施する医療機関：</a:t>
            </a:r>
            <a:r>
              <a:rPr lang="en-US" altLang="ja-JP" sz="1083" dirty="0">
                <a:solidFill>
                  <a:srgbClr val="000000"/>
                </a:solidFill>
                <a:latin typeface="ＭＳ Ｐ明朝" panose="02020600040205080304" pitchFamily="18" charset="-128"/>
                <a:ea typeface="ＭＳ Ｐ明朝" panose="02020600040205080304" pitchFamily="18" charset="-128"/>
              </a:rPr>
              <a:t>235</a:t>
            </a:r>
            <a:r>
              <a:rPr lang="ja-JP" altLang="en-US" sz="1083" dirty="0">
                <a:solidFill>
                  <a:srgbClr val="000000"/>
                </a:solidFill>
                <a:latin typeface="ＭＳ Ｐ明朝" panose="02020600040205080304" pitchFamily="18" charset="-128"/>
                <a:ea typeface="ＭＳ Ｐ明朝" panose="02020600040205080304" pitchFamily="18" charset="-128"/>
              </a:rPr>
              <a:t>件（</a:t>
            </a:r>
            <a:r>
              <a:rPr lang="en-US" altLang="ja-JP" sz="1083" dirty="0">
                <a:solidFill>
                  <a:srgbClr val="000000"/>
                </a:solidFill>
                <a:latin typeface="ＭＳ Ｐ明朝" panose="02020600040205080304" pitchFamily="18" charset="-128"/>
                <a:ea typeface="ＭＳ Ｐ明朝" panose="02020600040205080304" pitchFamily="18" charset="-128"/>
              </a:rPr>
              <a:t>2023</a:t>
            </a:r>
            <a:r>
              <a:rPr lang="ja-JP" altLang="en-US" sz="1083" dirty="0">
                <a:solidFill>
                  <a:srgbClr val="000000"/>
                </a:solidFill>
                <a:latin typeface="ＭＳ Ｐ明朝" panose="02020600040205080304" pitchFamily="18" charset="-128"/>
                <a:ea typeface="ＭＳ Ｐ明朝" panose="02020600040205080304" pitchFamily="18" charset="-128"/>
              </a:rPr>
              <a:t>～</a:t>
            </a:r>
            <a:r>
              <a:rPr lang="en-US" altLang="ja-JP" sz="1083" dirty="0">
                <a:solidFill>
                  <a:srgbClr val="000000"/>
                </a:solidFill>
                <a:latin typeface="ＭＳ Ｐ明朝" panose="02020600040205080304" pitchFamily="18" charset="-128"/>
                <a:ea typeface="ＭＳ Ｐ明朝" panose="02020600040205080304" pitchFamily="18" charset="-128"/>
              </a:rPr>
              <a:t>2027</a:t>
            </a:r>
            <a:r>
              <a:rPr lang="ja-JP" altLang="en-US" sz="1083" dirty="0">
                <a:solidFill>
                  <a:srgbClr val="000000"/>
                </a:solidFill>
                <a:latin typeface="ＭＳ Ｐ明朝" panose="02020600040205080304" pitchFamily="18" charset="-128"/>
                <a:ea typeface="ＭＳ Ｐ明朝" panose="02020600040205080304" pitchFamily="18" charset="-128"/>
              </a:rPr>
              <a:t>年度累計）</a:t>
            </a:r>
            <a:endParaRPr lang="en-US" altLang="ja-JP" sz="1083" dirty="0">
              <a:solidFill>
                <a:srgbClr val="000000"/>
              </a:solidFill>
              <a:latin typeface="ＭＳ Ｐ明朝" panose="02020600040205080304" pitchFamily="18" charset="-128"/>
              <a:ea typeface="ＭＳ Ｐ明朝" panose="02020600040205080304" pitchFamily="18" charset="-128"/>
            </a:endParaRPr>
          </a:p>
        </p:txBody>
      </p:sp>
      <p:sp>
        <p:nvSpPr>
          <p:cNvPr id="17" name="正方形/長方形 16"/>
          <p:cNvSpPr/>
          <p:nvPr/>
        </p:nvSpPr>
        <p:spPr>
          <a:xfrm>
            <a:off x="7241698" y="5095620"/>
            <a:ext cx="2617998" cy="222821"/>
          </a:xfrm>
          <a:prstGeom prst="rect">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tIns="0" bIns="27853" rtlCol="0" anchor="ctr" anchorCtr="0"/>
          <a:lstStyle/>
          <a:p>
            <a:pPr algn="ctr" defTabSz="707485"/>
            <a:r>
              <a:rPr lang="ja-JP" altLang="en-US" sz="1393" dirty="0">
                <a:solidFill>
                  <a:srgbClr val="FFFFFF"/>
                </a:solidFill>
                <a:latin typeface="HGP創英角ｺﾞｼｯｸUB"/>
                <a:ea typeface="HGP創英角ｺﾞｼｯｸUB"/>
              </a:rPr>
              <a:t>転職なき移住・二地域居住等</a:t>
            </a:r>
          </a:p>
        </p:txBody>
      </p:sp>
      <p:sp>
        <p:nvSpPr>
          <p:cNvPr id="18" name="正方形/長方形 17"/>
          <p:cNvSpPr/>
          <p:nvPr/>
        </p:nvSpPr>
        <p:spPr>
          <a:xfrm>
            <a:off x="2506742" y="4037218"/>
            <a:ext cx="2283919" cy="222821"/>
          </a:xfrm>
          <a:prstGeom prst="rect">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lIns="0" tIns="0" rIns="0" bIns="27853" rtlCol="0" anchor="ctr" anchorCtr="0"/>
          <a:lstStyle/>
          <a:p>
            <a:pPr algn="ctr" defTabSz="707485"/>
            <a:r>
              <a:rPr lang="ja-JP" altLang="en-US" sz="1393" dirty="0">
                <a:solidFill>
                  <a:srgbClr val="FFFFFF"/>
                </a:solidFill>
                <a:latin typeface="HGP創英角ｺﾞｼｯｸUB"/>
                <a:ea typeface="HGP創英角ｺﾞｼｯｸUB"/>
              </a:rPr>
              <a:t>デジタル基盤の整備・活用</a:t>
            </a:r>
          </a:p>
        </p:txBody>
      </p:sp>
      <p:sp>
        <p:nvSpPr>
          <p:cNvPr id="19" name="角丸四角形 18"/>
          <p:cNvSpPr/>
          <p:nvPr/>
        </p:nvSpPr>
        <p:spPr>
          <a:xfrm>
            <a:off x="7130285" y="834160"/>
            <a:ext cx="2729563" cy="501348"/>
          </a:xfrm>
          <a:prstGeom prst="roundRect">
            <a:avLst>
              <a:gd name="adj" fmla="val 50000"/>
            </a:avLst>
          </a:prstGeom>
          <a:ln>
            <a:solidFill>
              <a:schemeClr val="tx1"/>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707485"/>
            <a:r>
              <a:rPr lang="ja-JP" altLang="en-US" sz="1393" dirty="0">
                <a:solidFill>
                  <a:srgbClr val="000000"/>
                </a:solidFill>
                <a:latin typeface="HGP創英角ｺﾞｼｯｸUB"/>
                <a:ea typeface="HGP創英角ｺﾞｼｯｸUB"/>
              </a:rPr>
              <a:t>まちでも中山間地域でもデジタル活用で安心・便利な暮らし</a:t>
            </a:r>
          </a:p>
        </p:txBody>
      </p:sp>
      <p:sp>
        <p:nvSpPr>
          <p:cNvPr id="20" name="正方形/長方形 19"/>
          <p:cNvSpPr/>
          <p:nvPr/>
        </p:nvSpPr>
        <p:spPr>
          <a:xfrm>
            <a:off x="7241696" y="3145932"/>
            <a:ext cx="2618152" cy="222821"/>
          </a:xfrm>
          <a:prstGeom prst="rect">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tIns="0" bIns="27853" rtlCol="0" anchor="ctr" anchorCtr="0"/>
          <a:lstStyle/>
          <a:p>
            <a:pPr algn="ctr" defTabSz="707485"/>
            <a:r>
              <a:rPr lang="ja-JP" altLang="en-US" sz="1393" dirty="0">
                <a:solidFill>
                  <a:srgbClr val="FFFFFF"/>
                </a:solidFill>
                <a:latin typeface="HGP創英角ｺﾞｼｯｸUB"/>
                <a:ea typeface="HGP創英角ｺﾞｼｯｸUB"/>
              </a:rPr>
              <a:t>多世代交流まちづくり</a:t>
            </a:r>
          </a:p>
        </p:txBody>
      </p:sp>
      <p:sp>
        <p:nvSpPr>
          <p:cNvPr id="21" name="正方形/長方形 20"/>
          <p:cNvSpPr/>
          <p:nvPr/>
        </p:nvSpPr>
        <p:spPr>
          <a:xfrm>
            <a:off x="7241698" y="6432547"/>
            <a:ext cx="2617998" cy="222821"/>
          </a:xfrm>
          <a:prstGeom prst="rect">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tIns="27853" bIns="27853" rtlCol="0" anchor="ctr"/>
          <a:lstStyle/>
          <a:p>
            <a:pPr algn="ctr" defTabSz="707485"/>
            <a:r>
              <a:rPr lang="ja-JP" altLang="en-US" sz="1393" dirty="0">
                <a:solidFill>
                  <a:srgbClr val="FFFFFF"/>
                </a:solidFill>
                <a:latin typeface="HGP創英角ｺﾞｼｯｸUB"/>
                <a:ea typeface="HGP創英角ｺﾞｼｯｸUB"/>
              </a:rPr>
              <a:t>地域を支える人材の確保・育成</a:t>
            </a:r>
          </a:p>
        </p:txBody>
      </p:sp>
      <p:sp>
        <p:nvSpPr>
          <p:cNvPr id="22" name="テキスト ボックス 21"/>
          <p:cNvSpPr txBox="1"/>
          <p:nvPr/>
        </p:nvSpPr>
        <p:spPr>
          <a:xfrm>
            <a:off x="7241696" y="6655371"/>
            <a:ext cx="2618152" cy="473335"/>
          </a:xfrm>
          <a:prstGeom prst="rect">
            <a:avLst/>
          </a:prstGeom>
          <a:noFill/>
        </p:spPr>
        <p:txBody>
          <a:bodyPr wrap="square" lIns="27853" rtlCol="0">
            <a:spAutoFit/>
          </a:bodyPr>
          <a:lstStyle/>
          <a:p>
            <a:pPr defTabSz="707485"/>
            <a:r>
              <a:rPr lang="ja-JP" altLang="en-US" sz="1238" dirty="0">
                <a:solidFill>
                  <a:srgbClr val="000000"/>
                </a:solidFill>
                <a:latin typeface="HGP創英角ｺﾞｼｯｸUB"/>
                <a:ea typeface="HGP創英角ｺﾞｼｯｸUB"/>
              </a:rPr>
              <a:t>包摂的社会、こども・子育て支援、</a:t>
            </a:r>
            <a:endParaRPr lang="en-US" altLang="ja-JP" sz="1238" dirty="0">
              <a:solidFill>
                <a:srgbClr val="000000"/>
              </a:solidFill>
              <a:latin typeface="HGP創英角ｺﾞｼｯｸUB"/>
              <a:ea typeface="HGP創英角ｺﾞｼｯｸUB"/>
            </a:endParaRPr>
          </a:p>
          <a:p>
            <a:pPr defTabSz="707485"/>
            <a:r>
              <a:rPr lang="ja-JP" altLang="en-US" sz="1238" dirty="0">
                <a:solidFill>
                  <a:srgbClr val="000000"/>
                </a:solidFill>
                <a:latin typeface="HGP創英角ｺﾞｼｯｸUB"/>
                <a:ea typeface="HGP創英角ｺﾞｼｯｸUB"/>
              </a:rPr>
              <a:t>女性活躍、関係人口の拡大・深化</a:t>
            </a:r>
          </a:p>
        </p:txBody>
      </p:sp>
      <p:pic>
        <p:nvPicPr>
          <p:cNvPr id="23" name="図 22"/>
          <p:cNvPicPr>
            <a:picLocks noChangeAspect="1"/>
          </p:cNvPicPr>
          <p:nvPr/>
        </p:nvPicPr>
        <p:blipFill>
          <a:blip r:embed="rId3"/>
          <a:stretch>
            <a:fillRect/>
          </a:stretch>
        </p:blipFill>
        <p:spPr>
          <a:xfrm>
            <a:off x="8634331" y="3424459"/>
            <a:ext cx="1110907" cy="835581"/>
          </a:xfrm>
          <a:prstGeom prst="rect">
            <a:avLst/>
          </a:prstGeom>
        </p:spPr>
      </p:pic>
      <p:sp>
        <p:nvSpPr>
          <p:cNvPr id="24" name="テキスト ボックス 23"/>
          <p:cNvSpPr txBox="1"/>
          <p:nvPr/>
        </p:nvSpPr>
        <p:spPr>
          <a:xfrm>
            <a:off x="8628999" y="3392507"/>
            <a:ext cx="1098883" cy="258982"/>
          </a:xfrm>
          <a:prstGeom prst="rect">
            <a:avLst/>
          </a:prstGeom>
          <a:noFill/>
        </p:spPr>
        <p:txBody>
          <a:bodyPr wrap="square" rtlCol="0">
            <a:spAutoFit/>
          </a:bodyPr>
          <a:lstStyle/>
          <a:p>
            <a:pPr algn="ctr" defTabSz="707485"/>
            <a:r>
              <a:rPr lang="ja-JP" altLang="en-US" sz="1083" dirty="0">
                <a:solidFill>
                  <a:srgbClr val="FFFFFF"/>
                </a:solidFill>
                <a:latin typeface="ＭＳ Ｐゴシック"/>
                <a:ea typeface="ＭＳ Ｐゴシック"/>
              </a:rPr>
              <a:t>３</a:t>
            </a:r>
            <a:r>
              <a:rPr lang="en-US" altLang="ja-JP" sz="1083" dirty="0">
                <a:solidFill>
                  <a:srgbClr val="FFFFFF"/>
                </a:solidFill>
                <a:latin typeface="ＭＳ Ｐゴシック"/>
                <a:ea typeface="ＭＳ Ｐゴシック"/>
              </a:rPr>
              <a:t>D</a:t>
            </a:r>
            <a:r>
              <a:rPr lang="ja-JP" altLang="en-US" sz="1083" dirty="0">
                <a:solidFill>
                  <a:srgbClr val="FFFFFF"/>
                </a:solidFill>
                <a:latin typeface="ＭＳ Ｐゴシック"/>
                <a:ea typeface="ＭＳ Ｐゴシック"/>
              </a:rPr>
              <a:t>都市モデル</a:t>
            </a:r>
          </a:p>
        </p:txBody>
      </p:sp>
      <p:sp>
        <p:nvSpPr>
          <p:cNvPr id="25" name="テキスト ボックス 24"/>
          <p:cNvSpPr txBox="1"/>
          <p:nvPr/>
        </p:nvSpPr>
        <p:spPr>
          <a:xfrm>
            <a:off x="7102433" y="5943230"/>
            <a:ext cx="2840973" cy="473335"/>
          </a:xfrm>
          <a:prstGeom prst="rect">
            <a:avLst/>
          </a:prstGeom>
          <a:noFill/>
        </p:spPr>
        <p:txBody>
          <a:bodyPr wrap="square" rtlCol="0">
            <a:spAutoFit/>
          </a:bodyPr>
          <a:lstStyle/>
          <a:p>
            <a:pPr defTabSz="707485"/>
            <a:r>
              <a:rPr lang="ja-JP" altLang="en-US" sz="1238" dirty="0">
                <a:solidFill>
                  <a:srgbClr val="000000"/>
                </a:solidFill>
                <a:latin typeface="HGP創英角ｺﾞｼｯｸUB"/>
                <a:ea typeface="HGP創英角ｺﾞｼｯｸUB"/>
              </a:rPr>
              <a:t>テレワークの普及等による地方への人の流れの創出・拡大、空き家等の活用促進</a:t>
            </a:r>
          </a:p>
        </p:txBody>
      </p:sp>
      <p:sp>
        <p:nvSpPr>
          <p:cNvPr id="26" name="テキスト ボックス 25"/>
          <p:cNvSpPr txBox="1"/>
          <p:nvPr/>
        </p:nvSpPr>
        <p:spPr>
          <a:xfrm>
            <a:off x="7241696" y="4232187"/>
            <a:ext cx="2618152" cy="806631"/>
          </a:xfrm>
          <a:prstGeom prst="rect">
            <a:avLst/>
          </a:prstGeom>
          <a:noFill/>
        </p:spPr>
        <p:txBody>
          <a:bodyPr wrap="square" rtlCol="0">
            <a:spAutoFit/>
          </a:bodyPr>
          <a:lstStyle/>
          <a:p>
            <a:pPr defTabSz="707485"/>
            <a:r>
              <a:rPr lang="ja-JP" altLang="en-US" sz="1238" dirty="0">
                <a:solidFill>
                  <a:srgbClr val="000000"/>
                </a:solidFill>
                <a:latin typeface="HGP創英角ｺﾞｼｯｸUB"/>
                <a:ea typeface="HGP創英角ｺﾞｼｯｸUB"/>
              </a:rPr>
              <a:t>居心地が良く歩きたくなるまちなかづくり、建築・都市の</a:t>
            </a:r>
            <a:r>
              <a:rPr lang="en-US" altLang="ja-JP" sz="1238" dirty="0">
                <a:solidFill>
                  <a:srgbClr val="000000"/>
                </a:solidFill>
                <a:latin typeface="HGP創英角ｺﾞｼｯｸUB"/>
                <a:ea typeface="HGP創英角ｺﾞｼｯｸUB"/>
              </a:rPr>
              <a:t>DX</a:t>
            </a:r>
          </a:p>
          <a:p>
            <a:pPr marL="140023" indent="-68783" defTabSz="707485"/>
            <a:r>
              <a:rPr lang="ja-JP" altLang="en-US" sz="1083" dirty="0">
                <a:solidFill>
                  <a:srgbClr val="000000"/>
                </a:solidFill>
                <a:latin typeface="ＭＳ Ｐ明朝" panose="02020600040205080304" pitchFamily="18" charset="-128"/>
                <a:ea typeface="ＭＳ Ｐ明朝" panose="02020600040205080304" pitchFamily="18" charset="-128"/>
              </a:rPr>
              <a:t>⇒</a:t>
            </a:r>
            <a:r>
              <a:rPr lang="en-US" altLang="ja-JP" sz="1083" dirty="0">
                <a:solidFill>
                  <a:srgbClr val="000000"/>
                </a:solidFill>
                <a:latin typeface="ＭＳ Ｐ明朝" panose="02020600040205080304" pitchFamily="18" charset="-128"/>
                <a:ea typeface="ＭＳ Ｐ明朝" panose="02020600040205080304" pitchFamily="18" charset="-128"/>
              </a:rPr>
              <a:t>2027</a:t>
            </a:r>
            <a:r>
              <a:rPr lang="ja-JP" altLang="en-US" sz="1083" dirty="0">
                <a:solidFill>
                  <a:srgbClr val="000000"/>
                </a:solidFill>
                <a:latin typeface="ＭＳ Ｐ明朝" panose="02020600040205080304" pitchFamily="18" charset="-128"/>
                <a:ea typeface="ＭＳ Ｐ明朝" panose="02020600040205080304" pitchFamily="18" charset="-128"/>
              </a:rPr>
              <a:t>年度までに３</a:t>
            </a:r>
            <a:r>
              <a:rPr lang="en-US" altLang="ja-JP" sz="1083" dirty="0">
                <a:solidFill>
                  <a:srgbClr val="000000"/>
                </a:solidFill>
                <a:latin typeface="ＭＳ Ｐ明朝" panose="02020600040205080304" pitchFamily="18" charset="-128"/>
                <a:ea typeface="ＭＳ Ｐ明朝" panose="02020600040205080304" pitchFamily="18" charset="-128"/>
              </a:rPr>
              <a:t>D</a:t>
            </a:r>
            <a:r>
              <a:rPr lang="ja-JP" altLang="en-US" sz="1083" dirty="0">
                <a:solidFill>
                  <a:srgbClr val="000000"/>
                </a:solidFill>
                <a:latin typeface="ＭＳ Ｐ明朝" panose="02020600040205080304" pitchFamily="18" charset="-128"/>
                <a:ea typeface="ＭＳ Ｐ明朝" panose="02020600040205080304" pitchFamily="18" charset="-128"/>
              </a:rPr>
              <a:t>都市モデルの整備都市</a:t>
            </a:r>
            <a:r>
              <a:rPr lang="en-US" altLang="ja-JP" sz="1083" dirty="0">
                <a:solidFill>
                  <a:srgbClr val="000000"/>
                </a:solidFill>
                <a:latin typeface="ＭＳ Ｐ明朝" panose="02020600040205080304" pitchFamily="18" charset="-128"/>
                <a:ea typeface="ＭＳ Ｐ明朝" panose="02020600040205080304" pitchFamily="18" charset="-128"/>
              </a:rPr>
              <a:t>500</a:t>
            </a:r>
            <a:r>
              <a:rPr lang="ja-JP" altLang="en-US" sz="1083" dirty="0">
                <a:solidFill>
                  <a:srgbClr val="000000"/>
                </a:solidFill>
                <a:latin typeface="ＭＳ Ｐ明朝" panose="02020600040205080304" pitchFamily="18" charset="-128"/>
                <a:ea typeface="ＭＳ Ｐ明朝" panose="02020600040205080304" pitchFamily="18" charset="-128"/>
              </a:rPr>
              <a:t>都市</a:t>
            </a:r>
            <a:endParaRPr lang="en-US" altLang="ja-JP" sz="1083" dirty="0">
              <a:solidFill>
                <a:srgbClr val="000000"/>
              </a:solidFill>
              <a:latin typeface="ＭＳ Ｐ明朝" panose="02020600040205080304" pitchFamily="18" charset="-128"/>
              <a:ea typeface="ＭＳ Ｐ明朝" panose="02020600040205080304" pitchFamily="18" charset="-128"/>
            </a:endParaRPr>
          </a:p>
        </p:txBody>
      </p:sp>
      <p:sp>
        <p:nvSpPr>
          <p:cNvPr id="27" name="正方形/長方形 26"/>
          <p:cNvSpPr/>
          <p:nvPr/>
        </p:nvSpPr>
        <p:spPr>
          <a:xfrm>
            <a:off x="4874220" y="4037218"/>
            <a:ext cx="2283919" cy="222821"/>
          </a:xfrm>
          <a:prstGeom prst="rect">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tIns="0" bIns="27853" rtlCol="0" anchor="ctr" anchorCtr="0"/>
          <a:lstStyle/>
          <a:p>
            <a:pPr algn="ctr" defTabSz="707485"/>
            <a:r>
              <a:rPr lang="ja-JP" altLang="en-US" sz="1393" dirty="0">
                <a:solidFill>
                  <a:srgbClr val="FFFFFF"/>
                </a:solidFill>
                <a:latin typeface="HGP創英角ｺﾞｼｯｸUB"/>
                <a:ea typeface="HGP創英角ｺﾞｼｯｸUB"/>
              </a:rPr>
              <a:t>遠隔医療</a:t>
            </a:r>
          </a:p>
        </p:txBody>
      </p:sp>
      <p:sp>
        <p:nvSpPr>
          <p:cNvPr id="28" name="テキスト ボックス 27"/>
          <p:cNvSpPr txBox="1"/>
          <p:nvPr/>
        </p:nvSpPr>
        <p:spPr>
          <a:xfrm>
            <a:off x="2506742" y="4287892"/>
            <a:ext cx="2228214" cy="1807161"/>
          </a:xfrm>
          <a:prstGeom prst="rect">
            <a:avLst/>
          </a:prstGeom>
          <a:noFill/>
        </p:spPr>
        <p:txBody>
          <a:bodyPr wrap="square" rtlCol="0">
            <a:spAutoFit/>
          </a:bodyPr>
          <a:lstStyle/>
          <a:p>
            <a:pPr marL="221089" indent="-221089" defTabSz="707485">
              <a:buFont typeface="Wingdings" panose="05000000000000000000" pitchFamily="2" charset="2"/>
              <a:buChar char="u"/>
            </a:pPr>
            <a:r>
              <a:rPr lang="en-US" altLang="ja-JP" sz="1393" dirty="0">
                <a:solidFill>
                  <a:srgbClr val="000000"/>
                </a:solidFill>
                <a:latin typeface="HGP創英角ｺﾞｼｯｸUB"/>
                <a:ea typeface="HGP創英角ｺﾞｼｯｸUB"/>
              </a:rPr>
              <a:t>5G</a:t>
            </a:r>
            <a:r>
              <a:rPr lang="ja-JP" altLang="en-US" sz="1393" dirty="0">
                <a:solidFill>
                  <a:srgbClr val="000000"/>
                </a:solidFill>
                <a:latin typeface="HGP創英角ｺﾞｼｯｸUB"/>
                <a:ea typeface="HGP創英角ｺﾞｼｯｸUB"/>
              </a:rPr>
              <a:t>、光ファイバ等のデジタルインフラ、データ連携基盤</a:t>
            </a:r>
            <a:endParaRPr lang="en-US" altLang="ja-JP" sz="1393" dirty="0">
              <a:solidFill>
                <a:srgbClr val="000000"/>
              </a:solidFill>
              <a:latin typeface="HGP創英角ｺﾞｼｯｸUB"/>
              <a:ea typeface="HGP創英角ｺﾞｼｯｸUB"/>
            </a:endParaRPr>
          </a:p>
          <a:p>
            <a:pPr marL="221089" indent="-221089" defTabSz="707485">
              <a:spcBef>
                <a:spcPts val="0"/>
              </a:spcBef>
              <a:buFont typeface="Wingdings" panose="05000000000000000000" pitchFamily="2" charset="2"/>
              <a:buChar char="u"/>
            </a:pPr>
            <a:r>
              <a:rPr lang="ja-JP" altLang="en-US" sz="1393" dirty="0">
                <a:solidFill>
                  <a:srgbClr val="000000"/>
                </a:solidFill>
                <a:latin typeface="HGP創英角ｺﾞｼｯｸUB"/>
                <a:ea typeface="HGP創英角ｺﾞｼｯｸUB"/>
              </a:rPr>
              <a:t>自動運転・ドローン物流等の実装を支えるデジタルライフライン（センサー、乗換え・積替え拠点等）</a:t>
            </a:r>
            <a:endParaRPr lang="en-US" altLang="ja-JP" sz="1393" dirty="0">
              <a:solidFill>
                <a:srgbClr val="000000"/>
              </a:solidFill>
              <a:latin typeface="ＭＳ Ｐ明朝" panose="02020600040205080304" pitchFamily="18" charset="-128"/>
              <a:ea typeface="ＭＳ Ｐ明朝" panose="02020600040205080304" pitchFamily="18" charset="-128"/>
            </a:endParaRPr>
          </a:p>
        </p:txBody>
      </p:sp>
      <p:pic>
        <p:nvPicPr>
          <p:cNvPr id="29" name="Picture 2" descr="デジ活中山間イメージ"/>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743045" y="1697593"/>
            <a:ext cx="1594237" cy="747298"/>
          </a:xfrm>
          <a:prstGeom prst="rect">
            <a:avLst/>
          </a:prstGeom>
          <a:noFill/>
          <a:extLst>
            <a:ext uri="{909E8E84-426E-40DD-AFC4-6F175D3DCCD1}">
              <a14:hiddenFill xmlns:a14="http://schemas.microsoft.com/office/drawing/2010/main">
                <a:solidFill>
                  <a:srgbClr val="FFFFFF"/>
                </a:solidFill>
              </a14:hiddenFill>
            </a:ext>
          </a:extLst>
        </p:spPr>
      </p:pic>
      <p:pic>
        <p:nvPicPr>
          <p:cNvPr id="30" name="図 27"/>
          <p:cNvPicPr>
            <a:picLocks noChangeAspect="1"/>
          </p:cNvPicPr>
          <p:nvPr/>
        </p:nvPicPr>
        <p:blipFill rotWithShape="1">
          <a:blip r:embed="rId5"/>
          <a:srcRect t="-484" b="-22"/>
          <a:stretch/>
        </p:blipFill>
        <p:spPr>
          <a:xfrm>
            <a:off x="7297403" y="3424459"/>
            <a:ext cx="1247117" cy="835581"/>
          </a:xfrm>
          <a:prstGeom prst="rect">
            <a:avLst/>
          </a:prstGeom>
        </p:spPr>
      </p:pic>
      <p:sp>
        <p:nvSpPr>
          <p:cNvPr id="31" name="下矢印 30"/>
          <p:cNvSpPr/>
          <p:nvPr/>
        </p:nvSpPr>
        <p:spPr>
          <a:xfrm>
            <a:off x="3570253" y="7101012"/>
            <a:ext cx="1618463" cy="228053"/>
          </a:xfrm>
          <a:prstGeom prst="downArrow">
            <a:avLst>
              <a:gd name="adj1" fmla="val 50000"/>
              <a:gd name="adj2" fmla="val 62926"/>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85"/>
            <a:endParaRPr lang="ja-JP" altLang="en-US" sz="1393">
              <a:solidFill>
                <a:srgbClr val="FFFFFF"/>
              </a:solidFill>
              <a:latin typeface="Arial"/>
              <a:ea typeface="ＭＳ Ｐゴシック"/>
            </a:endParaRPr>
          </a:p>
        </p:txBody>
      </p:sp>
      <p:pic>
        <p:nvPicPr>
          <p:cNvPr id="32" name="図 31"/>
          <p:cNvPicPr>
            <a:picLocks noChangeAspect="1"/>
          </p:cNvPicPr>
          <p:nvPr/>
        </p:nvPicPr>
        <p:blipFill>
          <a:blip r:embed="rId6"/>
          <a:stretch>
            <a:fillRect/>
          </a:stretch>
        </p:blipFill>
        <p:spPr>
          <a:xfrm>
            <a:off x="7433267" y="5318442"/>
            <a:ext cx="969139" cy="640612"/>
          </a:xfrm>
          <a:prstGeom prst="rect">
            <a:avLst/>
          </a:prstGeom>
        </p:spPr>
      </p:pic>
      <p:pic>
        <p:nvPicPr>
          <p:cNvPr id="33" name="図 32"/>
          <p:cNvPicPr>
            <a:picLocks noChangeAspect="1"/>
          </p:cNvPicPr>
          <p:nvPr/>
        </p:nvPicPr>
        <p:blipFill>
          <a:blip r:embed="rId7"/>
          <a:stretch>
            <a:fillRect/>
          </a:stretch>
        </p:blipFill>
        <p:spPr>
          <a:xfrm>
            <a:off x="8522919" y="5318442"/>
            <a:ext cx="1099121" cy="640612"/>
          </a:xfrm>
          <a:prstGeom prst="rect">
            <a:avLst/>
          </a:prstGeom>
        </p:spPr>
      </p:pic>
      <p:sp>
        <p:nvSpPr>
          <p:cNvPr id="34" name="AutoShape 6" descr="長野県伊那市で始まる医療×MaaSの取り組み"/>
          <p:cNvSpPr>
            <a:spLocks noChangeAspect="1" noChangeArrowheads="1"/>
          </p:cNvSpPr>
          <p:nvPr/>
        </p:nvSpPr>
        <p:spPr bwMode="auto">
          <a:xfrm>
            <a:off x="120366" y="53927"/>
            <a:ext cx="235819" cy="23582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0746" tIns="35373" rIns="70746" bIns="35373" numCol="1" anchor="t" anchorCtr="0" compatLnSpc="1">
            <a:prstTxWarp prst="textNoShape">
              <a:avLst/>
            </a:prstTxWarp>
          </a:bodyPr>
          <a:lstStyle/>
          <a:p>
            <a:pPr defTabSz="707485"/>
            <a:endParaRPr lang="ja-JP" altLang="en-US" sz="1393">
              <a:solidFill>
                <a:srgbClr val="000000"/>
              </a:solidFill>
            </a:endParaRPr>
          </a:p>
        </p:txBody>
      </p:sp>
      <p:sp>
        <p:nvSpPr>
          <p:cNvPr id="35" name="AutoShape 8" descr="オンライン診療 デモンストレーション"/>
          <p:cNvSpPr>
            <a:spLocks noChangeAspect="1" noChangeArrowheads="1"/>
          </p:cNvSpPr>
          <p:nvPr/>
        </p:nvSpPr>
        <p:spPr bwMode="auto">
          <a:xfrm>
            <a:off x="49129" y="60068"/>
            <a:ext cx="235819" cy="2358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0746" tIns="35373" rIns="70746" bIns="35373" numCol="1" anchor="t" anchorCtr="0" compatLnSpc="1">
            <a:prstTxWarp prst="textNoShape">
              <a:avLst/>
            </a:prstTxWarp>
          </a:bodyPr>
          <a:lstStyle/>
          <a:p>
            <a:pPr defTabSz="707485"/>
            <a:endParaRPr lang="ja-JP" altLang="en-US" sz="1393">
              <a:solidFill>
                <a:srgbClr val="000000"/>
              </a:solidFill>
            </a:endParaRPr>
          </a:p>
        </p:txBody>
      </p:sp>
      <p:pic>
        <p:nvPicPr>
          <p:cNvPr id="36" name="図 35"/>
          <p:cNvPicPr>
            <a:picLocks noChangeAspect="1"/>
          </p:cNvPicPr>
          <p:nvPr/>
        </p:nvPicPr>
        <p:blipFill>
          <a:blip r:embed="rId8"/>
          <a:stretch>
            <a:fillRect/>
          </a:stretch>
        </p:blipFill>
        <p:spPr>
          <a:xfrm>
            <a:off x="4874219" y="4291026"/>
            <a:ext cx="2272872" cy="765145"/>
          </a:xfrm>
          <a:prstGeom prst="rect">
            <a:avLst/>
          </a:prstGeom>
        </p:spPr>
      </p:pic>
      <p:sp>
        <p:nvSpPr>
          <p:cNvPr id="37" name="テキスト ボックス 36"/>
          <p:cNvSpPr txBox="1"/>
          <p:nvPr/>
        </p:nvSpPr>
        <p:spPr>
          <a:xfrm>
            <a:off x="4902072" y="4263174"/>
            <a:ext cx="1268302" cy="342273"/>
          </a:xfrm>
          <a:prstGeom prst="rect">
            <a:avLst/>
          </a:prstGeom>
          <a:noFill/>
        </p:spPr>
        <p:txBody>
          <a:bodyPr wrap="square" rtlCol="0">
            <a:spAutoFit/>
          </a:bodyPr>
          <a:lstStyle/>
          <a:p>
            <a:pPr algn="ctr" defTabSz="707485"/>
            <a:r>
              <a:rPr lang="ja-JP" altLang="en-US" sz="812" dirty="0">
                <a:solidFill>
                  <a:srgbClr val="FFFFFF"/>
                </a:solidFill>
              </a:rPr>
              <a:t>モバイルクリニック</a:t>
            </a:r>
            <a:endParaRPr lang="en-US" altLang="ja-JP" sz="812" dirty="0">
              <a:solidFill>
                <a:srgbClr val="FFFFFF"/>
              </a:solidFill>
            </a:endParaRPr>
          </a:p>
          <a:p>
            <a:pPr algn="ctr" defTabSz="707485"/>
            <a:r>
              <a:rPr lang="ja-JP" altLang="en-US" sz="812" dirty="0">
                <a:solidFill>
                  <a:srgbClr val="FFFFFF"/>
                </a:solidFill>
              </a:rPr>
              <a:t>（長野県伊那市）</a:t>
            </a:r>
          </a:p>
        </p:txBody>
      </p:sp>
      <p:sp>
        <p:nvSpPr>
          <p:cNvPr id="38" name="正方形/長方形 37"/>
          <p:cNvSpPr/>
          <p:nvPr/>
        </p:nvSpPr>
        <p:spPr>
          <a:xfrm>
            <a:off x="85275" y="5953243"/>
            <a:ext cx="1531614" cy="1091156"/>
          </a:xfrm>
          <a:prstGeom prst="rect">
            <a:avLst/>
          </a:prstGeom>
          <a:noFill/>
          <a:ln w="2857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07485"/>
            <a:r>
              <a:rPr lang="en-US" altLang="ja-JP" sz="1238" b="1" dirty="0">
                <a:solidFill>
                  <a:srgbClr val="000000"/>
                </a:solidFill>
                <a:latin typeface="ＭＳ Ｐゴシック"/>
                <a:ea typeface="ＭＳ Ｐゴシック"/>
              </a:rPr>
              <a:t>※</a:t>
            </a:r>
            <a:r>
              <a:rPr lang="ja-JP" altLang="en-US" sz="1238" b="1" dirty="0">
                <a:solidFill>
                  <a:srgbClr val="000000"/>
                </a:solidFill>
                <a:latin typeface="ＭＳ Ｐゴシック"/>
                <a:ea typeface="ＭＳ Ｐゴシック"/>
              </a:rPr>
              <a:t>デジタル活用では解決できない地域課題に対しても、地方創生の一層の取組強化を図る。</a:t>
            </a:r>
          </a:p>
        </p:txBody>
      </p:sp>
      <p:sp>
        <p:nvSpPr>
          <p:cNvPr id="39" name="テキスト ボックス 38"/>
          <p:cNvSpPr txBox="1"/>
          <p:nvPr/>
        </p:nvSpPr>
        <p:spPr>
          <a:xfrm>
            <a:off x="803259" y="4728451"/>
            <a:ext cx="1124444" cy="217304"/>
          </a:xfrm>
          <a:prstGeom prst="rect">
            <a:avLst/>
          </a:prstGeom>
          <a:noFill/>
        </p:spPr>
        <p:txBody>
          <a:bodyPr wrap="square" rtlCol="0">
            <a:spAutoFit/>
          </a:bodyPr>
          <a:lstStyle/>
          <a:p>
            <a:pPr algn="ctr" defTabSz="707485"/>
            <a:r>
              <a:rPr lang="ja-JP" altLang="en-US" sz="812" b="1" dirty="0">
                <a:solidFill>
                  <a:srgbClr val="FFFFFF"/>
                </a:solidFill>
              </a:rPr>
              <a:t>（福井県永平寺町）</a:t>
            </a:r>
          </a:p>
        </p:txBody>
      </p:sp>
      <p:sp>
        <p:nvSpPr>
          <p:cNvPr id="40" name="正方形/長方形 39"/>
          <p:cNvSpPr/>
          <p:nvPr/>
        </p:nvSpPr>
        <p:spPr>
          <a:xfrm>
            <a:off x="2451035" y="6070463"/>
            <a:ext cx="3766956" cy="25224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85">
              <a:spcAft>
                <a:spcPts val="465"/>
              </a:spcAft>
            </a:pPr>
            <a:r>
              <a:rPr lang="ja-JP" altLang="en-US" sz="1857" dirty="0">
                <a:solidFill>
                  <a:srgbClr val="000000"/>
                </a:solidFill>
                <a:latin typeface="HGP創英角ｺﾞｼｯｸUB"/>
                <a:ea typeface="HGP創英角ｺﾞｼｯｸUB"/>
              </a:rPr>
              <a:t>新たな発想からの地域マネジメント</a:t>
            </a:r>
            <a:endParaRPr lang="en-US" altLang="ja-JP" sz="1857" dirty="0">
              <a:solidFill>
                <a:srgbClr val="000000"/>
              </a:solidFill>
              <a:latin typeface="HGP創英角ｺﾞｼｯｸUB"/>
              <a:ea typeface="HGP創英角ｺﾞｼｯｸUB"/>
            </a:endParaRPr>
          </a:p>
        </p:txBody>
      </p:sp>
      <p:sp>
        <p:nvSpPr>
          <p:cNvPr id="41" name="テキスト ボックス 40"/>
          <p:cNvSpPr txBox="1"/>
          <p:nvPr/>
        </p:nvSpPr>
        <p:spPr>
          <a:xfrm>
            <a:off x="8523512" y="2312934"/>
            <a:ext cx="952728" cy="187424"/>
          </a:xfrm>
          <a:prstGeom prst="rect">
            <a:avLst/>
          </a:prstGeom>
          <a:noFill/>
        </p:spPr>
        <p:txBody>
          <a:bodyPr wrap="square" rtlCol="0">
            <a:spAutoFit/>
          </a:bodyPr>
          <a:lstStyle/>
          <a:p>
            <a:pPr defTabSz="707485"/>
            <a:r>
              <a:rPr lang="ja-JP" altLang="en-US" sz="618" dirty="0">
                <a:solidFill>
                  <a:srgbClr val="FFFFFF"/>
                </a:solidFill>
              </a:rPr>
              <a:t>出所：農林水産省</a:t>
            </a:r>
            <a:r>
              <a:rPr lang="en-US" altLang="ja-JP" sz="618" dirty="0">
                <a:solidFill>
                  <a:srgbClr val="FFFFFF"/>
                </a:solidFill>
              </a:rPr>
              <a:t>HP</a:t>
            </a:r>
            <a:endParaRPr lang="ja-JP" altLang="en-US" sz="618" dirty="0">
              <a:solidFill>
                <a:srgbClr val="FFFFFF"/>
              </a:solidFill>
            </a:endParaRPr>
          </a:p>
        </p:txBody>
      </p:sp>
      <p:sp>
        <p:nvSpPr>
          <p:cNvPr id="42" name="テキスト ボックス 41"/>
          <p:cNvSpPr txBox="1"/>
          <p:nvPr/>
        </p:nvSpPr>
        <p:spPr>
          <a:xfrm>
            <a:off x="976431" y="4879534"/>
            <a:ext cx="952728" cy="187424"/>
          </a:xfrm>
          <a:prstGeom prst="rect">
            <a:avLst/>
          </a:prstGeom>
          <a:noFill/>
        </p:spPr>
        <p:txBody>
          <a:bodyPr wrap="square" rtlCol="0">
            <a:spAutoFit/>
          </a:bodyPr>
          <a:lstStyle/>
          <a:p>
            <a:pPr defTabSz="707485"/>
            <a:r>
              <a:rPr lang="ja-JP" altLang="en-US" sz="618" dirty="0">
                <a:solidFill>
                  <a:srgbClr val="FFFFFF"/>
                </a:solidFill>
              </a:rPr>
              <a:t>出所：中部運輸局</a:t>
            </a:r>
            <a:r>
              <a:rPr lang="en-US" altLang="ja-JP" sz="618" dirty="0">
                <a:solidFill>
                  <a:srgbClr val="FFFFFF"/>
                </a:solidFill>
              </a:rPr>
              <a:t>HP</a:t>
            </a:r>
            <a:endParaRPr lang="ja-JP" altLang="en-US" sz="618" dirty="0">
              <a:solidFill>
                <a:srgbClr val="FFFFFF"/>
              </a:solidFill>
            </a:endParaRPr>
          </a:p>
        </p:txBody>
      </p:sp>
      <p:sp>
        <p:nvSpPr>
          <p:cNvPr id="43" name="テキスト ボックス 42"/>
          <p:cNvSpPr txBox="1"/>
          <p:nvPr/>
        </p:nvSpPr>
        <p:spPr>
          <a:xfrm>
            <a:off x="5087401" y="4892780"/>
            <a:ext cx="952728" cy="187424"/>
          </a:xfrm>
          <a:prstGeom prst="rect">
            <a:avLst/>
          </a:prstGeom>
          <a:noFill/>
        </p:spPr>
        <p:txBody>
          <a:bodyPr wrap="square" rtlCol="0">
            <a:spAutoFit/>
          </a:bodyPr>
          <a:lstStyle/>
          <a:p>
            <a:pPr algn="r" defTabSz="707485"/>
            <a:r>
              <a:rPr lang="ja-JP" altLang="en-US" sz="618" dirty="0">
                <a:solidFill>
                  <a:srgbClr val="FFFFFF"/>
                </a:solidFill>
              </a:rPr>
              <a:t>出所：長野県</a:t>
            </a:r>
            <a:r>
              <a:rPr lang="en-US" altLang="ja-JP" sz="618" dirty="0">
                <a:solidFill>
                  <a:srgbClr val="FFFFFF"/>
                </a:solidFill>
              </a:rPr>
              <a:t>HP</a:t>
            </a:r>
            <a:endParaRPr lang="ja-JP" altLang="en-US" sz="618" dirty="0">
              <a:solidFill>
                <a:srgbClr val="FFFFFF"/>
              </a:solidFill>
            </a:endParaRPr>
          </a:p>
        </p:txBody>
      </p:sp>
      <p:sp>
        <p:nvSpPr>
          <p:cNvPr id="44" name="テキスト ボックス 43"/>
          <p:cNvSpPr txBox="1"/>
          <p:nvPr/>
        </p:nvSpPr>
        <p:spPr>
          <a:xfrm>
            <a:off x="7488298" y="5802915"/>
            <a:ext cx="952728" cy="187424"/>
          </a:xfrm>
          <a:prstGeom prst="rect">
            <a:avLst/>
          </a:prstGeom>
          <a:noFill/>
        </p:spPr>
        <p:txBody>
          <a:bodyPr wrap="square" rtlCol="0">
            <a:spAutoFit/>
          </a:bodyPr>
          <a:lstStyle/>
          <a:p>
            <a:pPr algn="r" defTabSz="707485"/>
            <a:r>
              <a:rPr lang="ja-JP" altLang="en-US" sz="618" dirty="0">
                <a:solidFill>
                  <a:srgbClr val="FFFFFF"/>
                </a:solidFill>
              </a:rPr>
              <a:t>出所：内閣官房</a:t>
            </a:r>
            <a:r>
              <a:rPr lang="en-US" altLang="ja-JP" sz="618" dirty="0">
                <a:solidFill>
                  <a:srgbClr val="FFFFFF"/>
                </a:solidFill>
              </a:rPr>
              <a:t>HP</a:t>
            </a:r>
            <a:endParaRPr lang="ja-JP" altLang="en-US" sz="618" dirty="0">
              <a:solidFill>
                <a:srgbClr val="FFFFFF"/>
              </a:solidFill>
            </a:endParaRPr>
          </a:p>
        </p:txBody>
      </p:sp>
      <p:sp>
        <p:nvSpPr>
          <p:cNvPr id="45" name="テキスト ボックス 44"/>
          <p:cNvSpPr txBox="1"/>
          <p:nvPr/>
        </p:nvSpPr>
        <p:spPr>
          <a:xfrm>
            <a:off x="8702078" y="5802915"/>
            <a:ext cx="952728" cy="187424"/>
          </a:xfrm>
          <a:prstGeom prst="rect">
            <a:avLst/>
          </a:prstGeom>
          <a:noFill/>
        </p:spPr>
        <p:txBody>
          <a:bodyPr wrap="square" rtlCol="0">
            <a:spAutoFit/>
          </a:bodyPr>
          <a:lstStyle/>
          <a:p>
            <a:pPr algn="r" defTabSz="707485"/>
            <a:r>
              <a:rPr lang="ja-JP" altLang="en-US" sz="618" dirty="0">
                <a:solidFill>
                  <a:srgbClr val="FFFFFF"/>
                </a:solidFill>
              </a:rPr>
              <a:t>出所：内閣官房</a:t>
            </a:r>
            <a:r>
              <a:rPr lang="en-US" altLang="ja-JP" sz="618" dirty="0">
                <a:solidFill>
                  <a:srgbClr val="FFFFFF"/>
                </a:solidFill>
              </a:rPr>
              <a:t>HP</a:t>
            </a:r>
            <a:endParaRPr lang="ja-JP" altLang="en-US" sz="618" dirty="0">
              <a:solidFill>
                <a:srgbClr val="FFFFFF"/>
              </a:solidFill>
            </a:endParaRPr>
          </a:p>
        </p:txBody>
      </p:sp>
      <p:sp>
        <p:nvSpPr>
          <p:cNvPr id="46" name="テキスト ボックス 45"/>
          <p:cNvSpPr txBox="1"/>
          <p:nvPr/>
        </p:nvSpPr>
        <p:spPr>
          <a:xfrm>
            <a:off x="7739361" y="4106998"/>
            <a:ext cx="791108" cy="129766"/>
          </a:xfrm>
          <a:prstGeom prst="rect">
            <a:avLst/>
          </a:prstGeom>
          <a:solidFill>
            <a:srgbClr val="5E5E5E">
              <a:alpha val="50196"/>
            </a:srgbClr>
          </a:solidFill>
        </p:spPr>
        <p:txBody>
          <a:bodyPr wrap="square" lIns="27853" tIns="27853" rIns="27853" bIns="27853" rtlCol="0">
            <a:noAutofit/>
          </a:bodyPr>
          <a:lstStyle/>
          <a:p>
            <a:pPr algn="r" defTabSz="707485"/>
            <a:r>
              <a:rPr lang="ja-JP" altLang="en-US" sz="618" dirty="0">
                <a:solidFill>
                  <a:srgbClr val="FFFFFF"/>
                </a:solidFill>
              </a:rPr>
              <a:t>出所：国土交通省</a:t>
            </a:r>
            <a:r>
              <a:rPr lang="en-US" altLang="ja-JP" sz="618" dirty="0">
                <a:solidFill>
                  <a:srgbClr val="FFFFFF"/>
                </a:solidFill>
              </a:rPr>
              <a:t>HP</a:t>
            </a:r>
            <a:endParaRPr lang="ja-JP" altLang="en-US" sz="618" dirty="0">
              <a:solidFill>
                <a:srgbClr val="FFFFFF"/>
              </a:solidFill>
            </a:endParaRPr>
          </a:p>
        </p:txBody>
      </p:sp>
      <p:sp>
        <p:nvSpPr>
          <p:cNvPr id="47" name="テキスト ボックス 46"/>
          <p:cNvSpPr txBox="1"/>
          <p:nvPr/>
        </p:nvSpPr>
        <p:spPr>
          <a:xfrm>
            <a:off x="8840504" y="4093287"/>
            <a:ext cx="952728" cy="187424"/>
          </a:xfrm>
          <a:prstGeom prst="rect">
            <a:avLst/>
          </a:prstGeom>
          <a:noFill/>
        </p:spPr>
        <p:txBody>
          <a:bodyPr wrap="square" rtlCol="0">
            <a:spAutoFit/>
          </a:bodyPr>
          <a:lstStyle/>
          <a:p>
            <a:pPr algn="r" defTabSz="707485"/>
            <a:r>
              <a:rPr lang="ja-JP" altLang="en-US" sz="618" dirty="0">
                <a:solidFill>
                  <a:srgbClr val="FFFFFF"/>
                </a:solidFill>
              </a:rPr>
              <a:t>出所：国土交通省</a:t>
            </a:r>
            <a:r>
              <a:rPr lang="en-US" altLang="ja-JP" sz="618" dirty="0">
                <a:solidFill>
                  <a:srgbClr val="FFFFFF"/>
                </a:solidFill>
              </a:rPr>
              <a:t>HP</a:t>
            </a:r>
            <a:endParaRPr lang="ja-JP" altLang="en-US" sz="618" dirty="0">
              <a:solidFill>
                <a:srgbClr val="FFFFFF"/>
              </a:solidFill>
            </a:endParaRPr>
          </a:p>
        </p:txBody>
      </p:sp>
      <p:sp>
        <p:nvSpPr>
          <p:cNvPr id="48" name="テキスト ボックス 47"/>
          <p:cNvSpPr txBox="1"/>
          <p:nvPr/>
        </p:nvSpPr>
        <p:spPr>
          <a:xfrm>
            <a:off x="6497314" y="4902607"/>
            <a:ext cx="623146" cy="129766"/>
          </a:xfrm>
          <a:prstGeom prst="rect">
            <a:avLst/>
          </a:prstGeom>
          <a:solidFill>
            <a:srgbClr val="5E5E5E">
              <a:alpha val="50196"/>
            </a:srgbClr>
          </a:solidFill>
        </p:spPr>
        <p:txBody>
          <a:bodyPr wrap="square" lIns="27853" tIns="27853" rIns="27853" bIns="27853" rtlCol="0">
            <a:noAutofit/>
          </a:bodyPr>
          <a:lstStyle/>
          <a:p>
            <a:pPr algn="r" defTabSz="707485"/>
            <a:r>
              <a:rPr lang="ja-JP" altLang="en-US" sz="618" dirty="0">
                <a:solidFill>
                  <a:srgbClr val="FFFFFF"/>
                </a:solidFill>
              </a:rPr>
              <a:t>出所：長野県</a:t>
            </a:r>
            <a:r>
              <a:rPr lang="en-US" altLang="ja-JP" sz="618" dirty="0">
                <a:solidFill>
                  <a:srgbClr val="FFFFFF"/>
                </a:solidFill>
              </a:rPr>
              <a:t>HP</a:t>
            </a:r>
            <a:endParaRPr lang="ja-JP" altLang="en-US" sz="618" dirty="0">
              <a:solidFill>
                <a:srgbClr val="FFFFFF"/>
              </a:solidFill>
            </a:endParaRPr>
          </a:p>
        </p:txBody>
      </p:sp>
      <p:sp>
        <p:nvSpPr>
          <p:cNvPr id="49" name="テキスト ボックス 1"/>
          <p:cNvSpPr txBox="1"/>
          <p:nvPr/>
        </p:nvSpPr>
        <p:spPr>
          <a:xfrm>
            <a:off x="7936189" y="3401235"/>
            <a:ext cx="777350" cy="151901"/>
          </a:xfrm>
          <a:prstGeom prst="rect">
            <a:avLst/>
          </a:prstGeom>
          <a:noFill/>
        </p:spPr>
        <p:txBody>
          <a:bodyPr wrap="square" rtlCol="0">
            <a:spAutoFit/>
          </a:bodyPr>
          <a:lstStyle/>
          <a:p>
            <a:pPr defTabSz="707485">
              <a:defRPr/>
            </a:pPr>
            <a:r>
              <a:rPr lang="en-US" altLang="ja-JP" sz="387" dirty="0">
                <a:solidFill>
                  <a:srgbClr val="FFFFFF"/>
                </a:solidFill>
                <a:latin typeface="Meiryo UI" panose="020B0604030504040204" pitchFamily="50" charset="-128"/>
                <a:ea typeface="Meiryo UI" panose="020B0604030504040204" pitchFamily="50" charset="-128"/>
              </a:rPr>
              <a:t>@</a:t>
            </a:r>
            <a:r>
              <a:rPr lang="en-US" altLang="ja-JP" sz="387" dirty="0" err="1">
                <a:solidFill>
                  <a:srgbClr val="FFFFFF"/>
                </a:solidFill>
                <a:latin typeface="Meiryo UI" panose="020B0604030504040204" pitchFamily="50" charset="-128"/>
                <a:ea typeface="Meiryo UI" panose="020B0604030504040204" pitchFamily="50" charset="-128"/>
              </a:rPr>
              <a:t>Norihito</a:t>
            </a:r>
            <a:r>
              <a:rPr lang="en-US" altLang="ja-JP" sz="387" dirty="0">
                <a:solidFill>
                  <a:srgbClr val="FFFFFF"/>
                </a:solidFill>
                <a:latin typeface="Meiryo UI" panose="020B0604030504040204" pitchFamily="50" charset="-128"/>
                <a:ea typeface="Meiryo UI" panose="020B0604030504040204" pitchFamily="50" charset="-128"/>
              </a:rPr>
              <a:t> Yamauchi</a:t>
            </a:r>
            <a:endParaRPr lang="ja-JP" altLang="en-US" sz="387" dirty="0">
              <a:solidFill>
                <a:srgbClr val="FFFFFF"/>
              </a:solidFill>
              <a:latin typeface="Meiryo UI" panose="020B0604030504040204" pitchFamily="50" charset="-128"/>
              <a:ea typeface="Meiryo UI" panose="020B0604030504040204" pitchFamily="50" charset="-128"/>
            </a:endParaRPr>
          </a:p>
        </p:txBody>
      </p:sp>
      <p:pic>
        <p:nvPicPr>
          <p:cNvPr id="50" name="図 49"/>
          <p:cNvPicPr>
            <a:picLocks noChangeAspect="1"/>
          </p:cNvPicPr>
          <p:nvPr/>
        </p:nvPicPr>
        <p:blipFill rotWithShape="1">
          <a:blip r:embed="rId9"/>
          <a:srcRect b="84070"/>
          <a:stretch/>
        </p:blipFill>
        <p:spPr>
          <a:xfrm>
            <a:off x="60090" y="1632685"/>
            <a:ext cx="2508933" cy="258642"/>
          </a:xfrm>
          <a:prstGeom prst="rect">
            <a:avLst/>
          </a:prstGeom>
        </p:spPr>
      </p:pic>
      <p:pic>
        <p:nvPicPr>
          <p:cNvPr id="51" name="図 50"/>
          <p:cNvPicPr>
            <a:picLocks noChangeAspect="1"/>
          </p:cNvPicPr>
          <p:nvPr/>
        </p:nvPicPr>
        <p:blipFill>
          <a:blip r:embed="rId10"/>
          <a:stretch>
            <a:fillRect/>
          </a:stretch>
        </p:blipFill>
        <p:spPr>
          <a:xfrm>
            <a:off x="393171" y="1874904"/>
            <a:ext cx="1831807" cy="977942"/>
          </a:xfrm>
          <a:prstGeom prst="rect">
            <a:avLst/>
          </a:prstGeom>
        </p:spPr>
      </p:pic>
      <p:sp>
        <p:nvSpPr>
          <p:cNvPr id="52" name="正方形/長方形 51"/>
          <p:cNvSpPr/>
          <p:nvPr/>
        </p:nvSpPr>
        <p:spPr>
          <a:xfrm>
            <a:off x="2701709" y="3145932"/>
            <a:ext cx="4177902" cy="222821"/>
          </a:xfrm>
          <a:prstGeom prst="rect">
            <a:avLst/>
          </a:prstGeom>
          <a:solidFill>
            <a:schemeClr val="accent6">
              <a:lumMod val="60000"/>
              <a:lumOff val="40000"/>
            </a:schemeClr>
          </a:solidFill>
          <a:ln>
            <a:noFill/>
          </a:ln>
        </p:spPr>
        <p:style>
          <a:lnRef idx="2">
            <a:schemeClr val="dk1"/>
          </a:lnRef>
          <a:fillRef idx="1">
            <a:schemeClr val="lt1"/>
          </a:fillRef>
          <a:effectRef idx="0">
            <a:schemeClr val="dk1"/>
          </a:effectRef>
          <a:fontRef idx="minor">
            <a:schemeClr val="dk1"/>
          </a:fontRef>
        </p:style>
        <p:txBody>
          <a:bodyPr lIns="0" tIns="0" rIns="0" bIns="27853" rtlCol="0" anchor="ctr" anchorCtr="0"/>
          <a:lstStyle/>
          <a:p>
            <a:pPr algn="ctr" defTabSz="707485"/>
            <a:r>
              <a:rPr lang="ja-JP" altLang="en-US" sz="1393" dirty="0">
                <a:solidFill>
                  <a:srgbClr val="FFFFFF"/>
                </a:solidFill>
                <a:latin typeface="HGP創英角ｺﾞｼｯｸUB"/>
                <a:ea typeface="HGP創英角ｺﾞｼｯｸUB"/>
              </a:rPr>
              <a:t>デジタル・ガバメントの推進</a:t>
            </a:r>
          </a:p>
        </p:txBody>
      </p:sp>
      <p:sp>
        <p:nvSpPr>
          <p:cNvPr id="53" name="テキスト ボックス 52"/>
          <p:cNvSpPr txBox="1"/>
          <p:nvPr/>
        </p:nvSpPr>
        <p:spPr>
          <a:xfrm>
            <a:off x="2701709" y="3368753"/>
            <a:ext cx="4177902" cy="663836"/>
          </a:xfrm>
          <a:prstGeom prst="rect">
            <a:avLst/>
          </a:prstGeom>
          <a:noFill/>
        </p:spPr>
        <p:txBody>
          <a:bodyPr wrap="square" rtlCol="0">
            <a:spAutoFit/>
          </a:bodyPr>
          <a:lstStyle/>
          <a:p>
            <a:pPr marL="221089" indent="-221089" defTabSz="707485">
              <a:buFont typeface="Wingdings" panose="05000000000000000000" pitchFamily="2" charset="2"/>
              <a:buChar char="u"/>
            </a:pPr>
            <a:r>
              <a:rPr lang="ja-JP" altLang="en-US" sz="1238" dirty="0">
                <a:solidFill>
                  <a:srgbClr val="000000"/>
                </a:solidFill>
                <a:latin typeface="HGP創英角ｺﾞｼｯｸUB"/>
                <a:ea typeface="HGP創英角ｺﾞｼｯｸUB"/>
              </a:rPr>
              <a:t>基幹業務等のシステムの統一・標準化、行政手続のオンライン化、マイナンバーカードの普及・利用促進等</a:t>
            </a:r>
            <a:endParaRPr lang="en-US" altLang="ja-JP" sz="1238" dirty="0">
              <a:solidFill>
                <a:srgbClr val="000000"/>
              </a:solidFill>
              <a:latin typeface="HGP創英角ｺﾞｼｯｸUB"/>
              <a:ea typeface="HGP創英角ｺﾞｼｯｸUB"/>
            </a:endParaRPr>
          </a:p>
          <a:p>
            <a:pPr marL="221089" indent="-221089" defTabSz="707485">
              <a:buFont typeface="Wingdings" panose="05000000000000000000" pitchFamily="2" charset="2"/>
              <a:buChar char="u"/>
            </a:pPr>
            <a:r>
              <a:rPr lang="ja-JP" altLang="en-US" sz="1238" dirty="0">
                <a:solidFill>
                  <a:srgbClr val="000000"/>
                </a:solidFill>
                <a:latin typeface="HGP創英角ｺﾞｼｯｸUB"/>
                <a:ea typeface="HGP創英角ｺﾞｼｯｸUB"/>
              </a:rPr>
              <a:t>「書かないワンストップ窓口」の横展開</a:t>
            </a:r>
            <a:endParaRPr lang="en-US" altLang="ja-JP" sz="1238" dirty="0">
              <a:solidFill>
                <a:srgbClr val="000000"/>
              </a:solidFill>
              <a:latin typeface="ＭＳ Ｐ明朝" panose="02020600040205080304" pitchFamily="18" charset="-128"/>
              <a:ea typeface="ＭＳ Ｐ明朝" panose="02020600040205080304" pitchFamily="18" charset="-128"/>
            </a:endParaRPr>
          </a:p>
        </p:txBody>
      </p:sp>
      <p:pic>
        <p:nvPicPr>
          <p:cNvPr id="54" name="図 53"/>
          <p:cNvPicPr>
            <a:picLocks noChangeAspect="1"/>
          </p:cNvPicPr>
          <p:nvPr/>
        </p:nvPicPr>
        <p:blipFill>
          <a:blip r:embed="rId11"/>
          <a:stretch>
            <a:fillRect/>
          </a:stretch>
        </p:blipFill>
        <p:spPr>
          <a:xfrm>
            <a:off x="3089682" y="792100"/>
            <a:ext cx="3611483" cy="2242421"/>
          </a:xfrm>
          <a:prstGeom prst="rect">
            <a:avLst/>
          </a:prstGeom>
          <a:ln>
            <a:solidFill>
              <a:schemeClr val="accent3">
                <a:lumMod val="75000"/>
              </a:schemeClr>
            </a:solidFill>
          </a:ln>
        </p:spPr>
      </p:pic>
      <p:sp>
        <p:nvSpPr>
          <p:cNvPr id="2" name="フッター プレースホルダー 1">
            <a:extLst>
              <a:ext uri="{FF2B5EF4-FFF2-40B4-BE49-F238E27FC236}">
                <a16:creationId xmlns:a16="http://schemas.microsoft.com/office/drawing/2014/main" id="{DE6C998B-A080-74FD-ED5C-1E7F63C60057}"/>
              </a:ext>
            </a:extLst>
          </p:cNvPr>
          <p:cNvSpPr>
            <a:spLocks noGrp="1"/>
          </p:cNvSpPr>
          <p:nvPr>
            <p:ph type="ftr" sz="quarter" idx="11"/>
          </p:nvPr>
        </p:nvSpPr>
        <p:spPr/>
        <p:txBody>
          <a:bodyPr/>
          <a:lstStyle/>
          <a:p>
            <a:pPr>
              <a:defRPr/>
            </a:pPr>
            <a:endParaRPr lang="en-US" altLang="ja-JP"/>
          </a:p>
        </p:txBody>
      </p:sp>
      <p:sp>
        <p:nvSpPr>
          <p:cNvPr id="3" name="スライド番号プレースホルダー 2">
            <a:extLst>
              <a:ext uri="{FF2B5EF4-FFF2-40B4-BE49-F238E27FC236}">
                <a16:creationId xmlns:a16="http://schemas.microsoft.com/office/drawing/2014/main" id="{EFDDD0AD-E8F7-0E98-A654-BD56775CD37D}"/>
              </a:ext>
            </a:extLst>
          </p:cNvPr>
          <p:cNvSpPr>
            <a:spLocks noGrp="1"/>
          </p:cNvSpPr>
          <p:nvPr>
            <p:ph type="sldNum" sz="quarter" idx="12"/>
          </p:nvPr>
        </p:nvSpPr>
        <p:spPr/>
        <p:txBody>
          <a:bodyPr/>
          <a:lstStyle/>
          <a:p>
            <a:pPr>
              <a:defRPr/>
            </a:pPr>
            <a:fld id="{9C66F1FC-77AF-4AA3-AB67-8C31B36199A9}" type="slidenum">
              <a:rPr lang="en-US" altLang="ja-JP" smtClean="0"/>
              <a:pPr>
                <a:defRPr/>
              </a:pPr>
              <a:t>14</a:t>
            </a:fld>
            <a:endParaRPr lang="en-US" altLang="ja-JP"/>
          </a:p>
        </p:txBody>
      </p:sp>
    </p:spTree>
    <p:extLst>
      <p:ext uri="{BB962C8B-B14F-4D97-AF65-F5344CB8AC3E}">
        <p14:creationId xmlns:p14="http://schemas.microsoft.com/office/powerpoint/2010/main" val="3680066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3CD7BCE7-FC8C-D1C9-194A-A1F88AB0852F}"/>
              </a:ext>
            </a:extLst>
          </p:cNvPr>
          <p:cNvGrpSpPr/>
          <p:nvPr/>
        </p:nvGrpSpPr>
        <p:grpSpPr>
          <a:xfrm>
            <a:off x="55662" y="711500"/>
            <a:ext cx="5000751" cy="4400723"/>
            <a:chOff x="105818" y="1661879"/>
            <a:chExt cx="4509482" cy="4005298"/>
          </a:xfrm>
        </p:grpSpPr>
        <p:sp>
          <p:nvSpPr>
            <p:cNvPr id="6" name="テキスト ボックス 5">
              <a:extLst>
                <a:ext uri="{FF2B5EF4-FFF2-40B4-BE49-F238E27FC236}">
                  <a16:creationId xmlns:a16="http://schemas.microsoft.com/office/drawing/2014/main" id="{9EFFF6F0-FCBE-4387-957B-E4333060A694}"/>
                </a:ext>
              </a:extLst>
            </p:cNvPr>
            <p:cNvSpPr txBox="1"/>
            <p:nvPr/>
          </p:nvSpPr>
          <p:spPr>
            <a:xfrm>
              <a:off x="105853" y="1661879"/>
              <a:ext cx="4474285" cy="304200"/>
            </a:xfrm>
            <a:prstGeom prst="rect">
              <a:avLst/>
            </a:prstGeom>
            <a:solidFill>
              <a:srgbClr val="0070C0"/>
            </a:solidFill>
            <a:ln>
              <a:solidFill>
                <a:srgbClr val="0070C0"/>
              </a:solidFill>
            </a:ln>
          </p:spPr>
          <p:txBody>
            <a:bodyPr wrap="square" lIns="38994" tIns="0" rIns="38994" bIns="0" rtlCol="0" anchor="ctr">
              <a:noAutofit/>
            </a:bodyPr>
            <a:lstStyle/>
            <a:p>
              <a:pPr algn="ctr" defTabSz="990460">
                <a:defRPr/>
              </a:pPr>
              <a:r>
                <a:rPr lang="ja-JP" altLang="en-US" sz="1857" b="1" dirty="0">
                  <a:solidFill>
                    <a:srgbClr val="FFFFFF"/>
                  </a:solidFill>
                  <a:latin typeface="BIZ UDPゴシック" panose="020B0400000000000000" pitchFamily="50" charset="-128"/>
                  <a:ea typeface="BIZ UDPゴシック" panose="020B0400000000000000" pitchFamily="50" charset="-128"/>
                </a:rPr>
                <a:t>持続可能な産業の構造転換</a:t>
              </a:r>
            </a:p>
          </p:txBody>
        </p:sp>
        <p:sp>
          <p:nvSpPr>
            <p:cNvPr id="7" name="正方形/長方形 6">
              <a:extLst>
                <a:ext uri="{FF2B5EF4-FFF2-40B4-BE49-F238E27FC236}">
                  <a16:creationId xmlns:a16="http://schemas.microsoft.com/office/drawing/2014/main" id="{36279567-5337-4001-B7DD-2B72CEBC313A}"/>
                </a:ext>
              </a:extLst>
            </p:cNvPr>
            <p:cNvSpPr/>
            <p:nvPr/>
          </p:nvSpPr>
          <p:spPr>
            <a:xfrm>
              <a:off x="105857" y="1661879"/>
              <a:ext cx="4474284" cy="4005298"/>
            </a:xfrm>
            <a:prstGeom prst="rect">
              <a:avLst/>
            </a:prstGeom>
            <a:no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60">
                <a:defRPr/>
              </a:pPr>
              <a:endParaRPr lang="ja-JP" altLang="en-US" sz="1516" dirty="0">
                <a:solidFill>
                  <a:srgbClr val="000000"/>
                </a:solidFill>
                <a:latin typeface="Arial"/>
                <a:ea typeface="ＭＳ Ｐゴシック"/>
              </a:endParaRPr>
            </a:p>
          </p:txBody>
        </p:sp>
        <p:sp>
          <p:nvSpPr>
            <p:cNvPr id="8" name="テキスト ボックス 7"/>
            <p:cNvSpPr txBox="1"/>
            <p:nvPr/>
          </p:nvSpPr>
          <p:spPr>
            <a:xfrm>
              <a:off x="105818" y="1924028"/>
              <a:ext cx="4509482" cy="2661212"/>
            </a:xfrm>
            <a:prstGeom prst="rect">
              <a:avLst/>
            </a:prstGeom>
            <a:noFill/>
          </p:spPr>
          <p:txBody>
            <a:bodyPr wrap="square" rIns="55705" rtlCol="0">
              <a:spAutoFit/>
            </a:bodyPr>
            <a:lstStyle/>
            <a:p>
              <a:pPr defTabSz="990460">
                <a:spcBef>
                  <a:spcPts val="464"/>
                </a:spcBef>
                <a:defRPr/>
              </a:pPr>
              <a:r>
                <a:rPr lang="en-US" altLang="ja-JP" sz="1315" b="1" dirty="0">
                  <a:solidFill>
                    <a:srgbClr val="FF0000"/>
                  </a:solidFill>
                  <a:latin typeface="ＭＳ Ｐゴシック"/>
                  <a:ea typeface="ＭＳ Ｐゴシック"/>
                </a:rPr>
                <a:t>《</a:t>
              </a:r>
              <a:r>
                <a:rPr lang="ja-JP" altLang="en-US" sz="1315" b="1" dirty="0">
                  <a:solidFill>
                    <a:srgbClr val="FF0000"/>
                  </a:solidFill>
                  <a:latin typeface="ＭＳ Ｐゴシック"/>
                  <a:ea typeface="ＭＳ Ｐゴシック"/>
                </a:rPr>
                <a:t>地域の特徴を活かした成長産業の全国的な分散立地等の促進</a:t>
              </a:r>
              <a:r>
                <a:rPr lang="en-US" altLang="ja-JP" sz="1315" b="1" dirty="0">
                  <a:solidFill>
                    <a:srgbClr val="FF0000"/>
                  </a:solidFill>
                  <a:latin typeface="ＭＳ Ｐゴシック"/>
                  <a:ea typeface="ＭＳ Ｐゴシック"/>
                </a:rPr>
                <a:t>》</a:t>
              </a:r>
              <a:endParaRPr lang="ja-JP" altLang="en-US" sz="1315" b="1" dirty="0">
                <a:solidFill>
                  <a:srgbClr val="FF0000"/>
                </a:solidFill>
                <a:latin typeface="ＭＳ Ｐゴシック"/>
                <a:ea typeface="ＭＳ Ｐゴシック"/>
              </a:endParaRPr>
            </a:p>
            <a:p>
              <a:pPr marL="309519" indent="-176868" defTabSz="990460">
                <a:spcBef>
                  <a:spcPts val="155"/>
                </a:spcBef>
                <a:buFont typeface="Wingdings" panose="05000000000000000000" pitchFamily="2" charset="2"/>
                <a:buChar char="Ø"/>
                <a:defRPr/>
              </a:pPr>
              <a:r>
                <a:rPr lang="ja-JP" altLang="en-US" sz="1315" b="1" dirty="0">
                  <a:solidFill>
                    <a:srgbClr val="000000"/>
                  </a:solidFill>
                  <a:latin typeface="ＭＳ Ｐゴシック"/>
                  <a:ea typeface="ＭＳ Ｐゴシック"/>
                </a:rPr>
                <a:t>半導体や蓄電池等の成長産業</a:t>
              </a:r>
              <a:r>
                <a:rPr lang="ja-JP" altLang="en-US" sz="1083" dirty="0">
                  <a:solidFill>
                    <a:srgbClr val="000000"/>
                  </a:solidFill>
                  <a:latin typeface="ＭＳ Ｐゴシック"/>
                  <a:ea typeface="ＭＳ Ｐゴシック"/>
                </a:rPr>
                <a:t>の国内生産拠点の形成・強化、国内立地を</a:t>
              </a:r>
              <a:r>
                <a:rPr lang="ja-JP" altLang="ja-JP" sz="1083" dirty="0">
                  <a:solidFill>
                    <a:srgbClr val="000000"/>
                  </a:solidFill>
                  <a:latin typeface="ＭＳ Ｐゴシック"/>
                  <a:ea typeface="ＭＳ Ｐゴシック"/>
                </a:rPr>
                <a:t>支える</a:t>
              </a:r>
              <a:r>
                <a:rPr lang="ja-JP" altLang="ja-JP" sz="1238" b="1" dirty="0">
                  <a:solidFill>
                    <a:srgbClr val="000000"/>
                  </a:solidFill>
                  <a:latin typeface="ＭＳ Ｐゴシック"/>
                  <a:ea typeface="ＭＳ Ｐゴシック"/>
                </a:rPr>
                <a:t>インフラ</a:t>
              </a:r>
              <a:r>
                <a:rPr lang="ja-JP" altLang="ja-JP" sz="1083" dirty="0">
                  <a:solidFill>
                    <a:srgbClr val="000000"/>
                  </a:solidFill>
                  <a:latin typeface="ＭＳ Ｐゴシック"/>
                  <a:ea typeface="ＭＳ Ｐゴシック"/>
                </a:rPr>
                <a:t>の円滑</a:t>
              </a:r>
              <a:r>
                <a:rPr lang="ja-JP" altLang="en-US" sz="1083" dirty="0">
                  <a:solidFill>
                    <a:srgbClr val="000000"/>
                  </a:solidFill>
                  <a:latin typeface="ＭＳ Ｐゴシック"/>
                  <a:ea typeface="ＭＳ Ｐゴシック"/>
                </a:rPr>
                <a:t>・</a:t>
              </a:r>
              <a:r>
                <a:rPr lang="ja-JP" altLang="ja-JP" sz="1083" dirty="0">
                  <a:solidFill>
                    <a:srgbClr val="000000"/>
                  </a:solidFill>
                  <a:latin typeface="ＭＳ Ｐゴシック"/>
                  <a:ea typeface="ＭＳ Ｐゴシック"/>
                </a:rPr>
                <a:t>機動的整備</a:t>
              </a:r>
              <a:r>
                <a:rPr lang="ja-JP" altLang="en-US" sz="1083" dirty="0">
                  <a:solidFill>
                    <a:srgbClr val="000000"/>
                  </a:solidFill>
                  <a:latin typeface="ＭＳ Ｐゴシック"/>
                  <a:ea typeface="ＭＳ Ｐゴシック"/>
                </a:rPr>
                <a:t>、</a:t>
              </a:r>
              <a:r>
                <a:rPr lang="ja-JP" altLang="ja-JP" sz="1238" b="1" dirty="0">
                  <a:solidFill>
                    <a:srgbClr val="000000"/>
                  </a:solidFill>
                  <a:latin typeface="ＭＳ Ｐゴシック"/>
                  <a:ea typeface="ＭＳ Ｐゴシック"/>
                  <a:cs typeface="Times New Roman" panose="02020603050405020304" pitchFamily="18" charset="0"/>
                </a:rPr>
                <a:t>産業用地</a:t>
              </a:r>
              <a:r>
                <a:rPr lang="ja-JP" altLang="ja-JP" sz="1083" dirty="0">
                  <a:solidFill>
                    <a:srgbClr val="000000"/>
                  </a:solidFill>
                  <a:latin typeface="ＭＳ Ｐゴシック"/>
                  <a:ea typeface="ＭＳ Ｐゴシック"/>
                  <a:cs typeface="Times New Roman" panose="02020603050405020304" pitchFamily="18" charset="0"/>
                </a:rPr>
                <a:t>の円滑</a:t>
              </a:r>
              <a:r>
                <a:rPr lang="ja-JP" altLang="en-US" sz="1083" dirty="0">
                  <a:solidFill>
                    <a:srgbClr val="000000"/>
                  </a:solidFill>
                  <a:latin typeface="ＭＳ Ｐゴシック"/>
                  <a:ea typeface="ＭＳ Ｐゴシック"/>
                  <a:cs typeface="Times New Roman" panose="02020603050405020304" pitchFamily="18" charset="0"/>
                </a:rPr>
                <a:t>・迅速</a:t>
              </a:r>
              <a:r>
                <a:rPr lang="ja-JP" altLang="ja-JP" sz="1083" dirty="0">
                  <a:solidFill>
                    <a:srgbClr val="000000"/>
                  </a:solidFill>
                  <a:latin typeface="ＭＳ Ｐゴシック"/>
                  <a:ea typeface="ＭＳ Ｐゴシック"/>
                  <a:cs typeface="Times New Roman" panose="02020603050405020304" pitchFamily="18" charset="0"/>
                </a:rPr>
                <a:t>な確保</a:t>
              </a:r>
              <a:endParaRPr lang="en-US" altLang="ja-JP" sz="1083" dirty="0">
                <a:solidFill>
                  <a:srgbClr val="000000"/>
                </a:solidFill>
                <a:latin typeface="ＭＳ Ｐゴシック"/>
                <a:ea typeface="ＭＳ Ｐゴシック"/>
                <a:cs typeface="Times New Roman" panose="02020603050405020304" pitchFamily="18" charset="0"/>
              </a:endParaRPr>
            </a:p>
            <a:p>
              <a:pPr marL="309519" indent="-176868" defTabSz="990460">
                <a:spcBef>
                  <a:spcPts val="155"/>
                </a:spcBef>
                <a:buFont typeface="Wingdings" panose="05000000000000000000" pitchFamily="2" charset="2"/>
                <a:buChar char="Ø"/>
                <a:defRPr/>
              </a:pPr>
              <a:r>
                <a:rPr lang="ja-JP" altLang="en-US" sz="1083" dirty="0">
                  <a:solidFill>
                    <a:srgbClr val="000000"/>
                  </a:solidFill>
                  <a:latin typeface="ＭＳ Ｐゴシック"/>
                  <a:ea typeface="ＭＳ Ｐゴシック"/>
                  <a:cs typeface="Times New Roman" panose="02020603050405020304" pitchFamily="18" charset="0"/>
                </a:rPr>
                <a:t>全国の</a:t>
              </a:r>
              <a:r>
                <a:rPr lang="en-US" altLang="ja-JP" sz="1083" dirty="0">
                  <a:solidFill>
                    <a:srgbClr val="000000"/>
                  </a:solidFill>
                  <a:latin typeface="ＭＳ Ｐゴシック"/>
                  <a:ea typeface="ＭＳ Ｐゴシック"/>
                  <a:cs typeface="Times New Roman" panose="02020603050405020304" pitchFamily="18" charset="0"/>
                </a:rPr>
                <a:t>DX</a:t>
              </a:r>
              <a:r>
                <a:rPr lang="ja-JP" altLang="en-US" sz="1083" dirty="0">
                  <a:solidFill>
                    <a:srgbClr val="000000"/>
                  </a:solidFill>
                  <a:latin typeface="ＭＳ Ｐゴシック"/>
                  <a:ea typeface="ＭＳ Ｐゴシック"/>
                  <a:cs typeface="Times New Roman" panose="02020603050405020304" pitchFamily="18" charset="0"/>
                </a:rPr>
                <a:t>を支える</a:t>
              </a:r>
              <a:r>
                <a:rPr lang="ja-JP" altLang="en-US" sz="1315" b="1" dirty="0">
                  <a:solidFill>
                    <a:srgbClr val="000000"/>
                  </a:solidFill>
                  <a:latin typeface="ＭＳ Ｐゴシック"/>
                  <a:ea typeface="ＭＳ Ｐゴシック"/>
                </a:rPr>
                <a:t>データセンター</a:t>
              </a:r>
              <a:r>
                <a:rPr lang="ja-JP" altLang="en-US" sz="1083" dirty="0">
                  <a:solidFill>
                    <a:srgbClr val="000000"/>
                  </a:solidFill>
                  <a:latin typeface="ＭＳ Ｐゴシック"/>
                  <a:ea typeface="ＭＳ Ｐゴシック"/>
                  <a:cs typeface="Times New Roman" panose="02020603050405020304" pitchFamily="18" charset="0"/>
                </a:rPr>
                <a:t>の分散立地</a:t>
              </a:r>
              <a:r>
                <a:rPr lang="ja-JP" altLang="en-US" sz="928" dirty="0">
                  <a:solidFill>
                    <a:srgbClr val="000000"/>
                  </a:solidFill>
                  <a:latin typeface="ＭＳ Ｐゴシック"/>
                  <a:ea typeface="ＭＳ Ｐゴシック"/>
                  <a:cs typeface="Times New Roman" panose="02020603050405020304" pitchFamily="18" charset="0"/>
                </a:rPr>
                <a:t>（５年程度で全国十数カ所）</a:t>
              </a:r>
              <a:endParaRPr lang="en-US" altLang="ja-JP" sz="928" dirty="0">
                <a:solidFill>
                  <a:srgbClr val="000000"/>
                </a:solidFill>
                <a:latin typeface="ＭＳ Ｐゴシック"/>
                <a:ea typeface="ＭＳ Ｐゴシック"/>
                <a:cs typeface="Times New Roman" panose="02020603050405020304" pitchFamily="18" charset="0"/>
              </a:endParaRPr>
            </a:p>
            <a:p>
              <a:pPr marL="309519" indent="-176868" defTabSz="990460">
                <a:spcBef>
                  <a:spcPts val="155"/>
                </a:spcBef>
                <a:buFont typeface="Wingdings" panose="05000000000000000000" pitchFamily="2" charset="2"/>
                <a:buChar char="Ø"/>
                <a:defRPr/>
              </a:pPr>
              <a:r>
                <a:rPr lang="ja-JP" altLang="en-US" sz="1315" b="1" dirty="0">
                  <a:solidFill>
                    <a:srgbClr val="000000"/>
                  </a:solidFill>
                  <a:latin typeface="ＭＳ Ｐゴシック"/>
                  <a:ea typeface="ＭＳ Ｐゴシック"/>
                </a:rPr>
                <a:t>洋上風力発電</a:t>
              </a:r>
              <a:r>
                <a:rPr lang="ja-JP" altLang="en-US" sz="1083" dirty="0">
                  <a:solidFill>
                    <a:srgbClr val="000000"/>
                  </a:solidFill>
                  <a:latin typeface="ＭＳ Ｐゴシック"/>
                  <a:ea typeface="ＭＳ Ｐゴシック"/>
                  <a:cs typeface="Times New Roman" panose="02020603050405020304" pitchFamily="18" charset="0"/>
                </a:rPr>
                <a:t>の導入、関連産業集積の促進</a:t>
              </a:r>
              <a:r>
                <a:rPr lang="ja-JP" altLang="en-US" sz="928" dirty="0">
                  <a:solidFill>
                    <a:srgbClr val="000000"/>
                  </a:solidFill>
                  <a:latin typeface="ＭＳ Ｐゴシック"/>
                  <a:ea typeface="ＭＳ Ｐゴシック"/>
                  <a:cs typeface="Times New Roman" panose="02020603050405020304" pitchFamily="18" charset="0"/>
                </a:rPr>
                <a:t>（</a:t>
              </a:r>
              <a:r>
                <a:rPr lang="en-US" altLang="ja-JP" sz="928" dirty="0">
                  <a:solidFill>
                    <a:srgbClr val="000000"/>
                  </a:solidFill>
                  <a:latin typeface="ＭＳ Ｐゴシック"/>
                  <a:ea typeface="ＭＳ Ｐゴシック"/>
                  <a:cs typeface="Times New Roman" panose="02020603050405020304" pitchFamily="18" charset="0"/>
                </a:rPr>
                <a:t>2030</a:t>
              </a:r>
              <a:r>
                <a:rPr lang="ja-JP" altLang="en-US" sz="928" dirty="0">
                  <a:solidFill>
                    <a:srgbClr val="000000"/>
                  </a:solidFill>
                  <a:latin typeface="ＭＳ Ｐゴシック"/>
                  <a:ea typeface="ＭＳ Ｐゴシック"/>
                  <a:cs typeface="Times New Roman" panose="02020603050405020304" pitchFamily="18" charset="0"/>
                </a:rPr>
                <a:t>年までに１千万</a:t>
              </a:r>
              <a:r>
                <a:rPr lang="en-US" altLang="ja-JP" sz="928" dirty="0">
                  <a:solidFill>
                    <a:srgbClr val="000000"/>
                  </a:solidFill>
                  <a:latin typeface="ＭＳ Ｐゴシック"/>
                  <a:ea typeface="ＭＳ Ｐゴシック"/>
                  <a:cs typeface="Times New Roman" panose="02020603050405020304" pitchFamily="18" charset="0"/>
                </a:rPr>
                <a:t>kW</a:t>
              </a:r>
              <a:r>
                <a:rPr lang="ja-JP" altLang="en-US" sz="928" dirty="0">
                  <a:solidFill>
                    <a:srgbClr val="000000"/>
                  </a:solidFill>
                  <a:latin typeface="ＭＳ Ｐゴシック"/>
                  <a:ea typeface="ＭＳ Ｐゴシック"/>
                  <a:cs typeface="Times New Roman" panose="02020603050405020304" pitchFamily="18" charset="0"/>
                </a:rPr>
                <a:t>）</a:t>
              </a:r>
              <a:endParaRPr lang="en-US" altLang="ja-JP" sz="928" dirty="0">
                <a:solidFill>
                  <a:srgbClr val="000000"/>
                </a:solidFill>
                <a:latin typeface="ＭＳ Ｐゴシック"/>
                <a:ea typeface="ＭＳ Ｐゴシック"/>
                <a:cs typeface="Times New Roman" panose="02020603050405020304" pitchFamily="18" charset="0"/>
              </a:endParaRPr>
            </a:p>
            <a:p>
              <a:pPr marL="62641" indent="-62641" defTabSz="990460">
                <a:spcBef>
                  <a:spcPts val="464"/>
                </a:spcBef>
                <a:defRPr/>
              </a:pPr>
              <a:r>
                <a:rPr lang="en-US" altLang="ja-JP" sz="1315" b="1" dirty="0">
                  <a:solidFill>
                    <a:srgbClr val="FF0000"/>
                  </a:solidFill>
                  <a:latin typeface="ＭＳ Ｐゴシック"/>
                  <a:ea typeface="ＭＳ Ｐゴシック"/>
                </a:rPr>
                <a:t>《GX</a:t>
              </a:r>
              <a:r>
                <a:rPr lang="ja-JP" altLang="en-US" sz="1315" b="1" dirty="0" err="1">
                  <a:solidFill>
                    <a:srgbClr val="FF0000"/>
                  </a:solidFill>
                  <a:latin typeface="ＭＳ Ｐゴシック"/>
                  <a:ea typeface="ＭＳ Ｐゴシック"/>
                </a:rPr>
                <a:t>や巨</a:t>
              </a:r>
              <a:r>
                <a:rPr lang="ja-JP" altLang="en-US" sz="1315" b="1" dirty="0">
                  <a:solidFill>
                    <a:srgbClr val="FF0000"/>
                  </a:solidFill>
                  <a:latin typeface="ＭＳ Ｐゴシック"/>
                  <a:ea typeface="ＭＳ Ｐゴシック"/>
                </a:rPr>
                <a:t>大災害リスク対応に向けたコンビナート等の基幹産業拠点の強化・再生</a:t>
              </a:r>
              <a:r>
                <a:rPr lang="en-US" altLang="ja-JP" sz="1315" b="1" dirty="0">
                  <a:solidFill>
                    <a:srgbClr val="FF0000"/>
                  </a:solidFill>
                  <a:latin typeface="ＭＳ Ｐゴシック"/>
                  <a:ea typeface="ＭＳ Ｐゴシック"/>
                </a:rPr>
                <a:t>》</a:t>
              </a:r>
              <a:endParaRPr lang="ja-JP" altLang="en-US" sz="1315" b="1" dirty="0">
                <a:solidFill>
                  <a:srgbClr val="FF0000"/>
                </a:solidFill>
                <a:latin typeface="ＭＳ Ｐゴシック"/>
                <a:ea typeface="ＭＳ Ｐゴシック"/>
              </a:endParaRPr>
            </a:p>
            <a:p>
              <a:pPr marL="309519" indent="-176868" defTabSz="990460">
                <a:spcBef>
                  <a:spcPts val="155"/>
                </a:spcBef>
                <a:buFont typeface="Wingdings" panose="05000000000000000000" pitchFamily="2" charset="2"/>
                <a:buChar char="Ø"/>
                <a:defRPr/>
              </a:pPr>
              <a:r>
                <a:rPr lang="ja-JP" altLang="en-US" sz="1083" dirty="0">
                  <a:solidFill>
                    <a:srgbClr val="000000"/>
                  </a:solidFill>
                  <a:latin typeface="ＭＳ Ｐゴシック"/>
                  <a:ea typeface="ＭＳ Ｐゴシック"/>
                </a:rPr>
                <a:t>臨海コンビナート等の</a:t>
              </a:r>
              <a:r>
                <a:rPr lang="en-US" altLang="ja-JP" sz="1083" dirty="0">
                  <a:solidFill>
                    <a:srgbClr val="000000"/>
                  </a:solidFill>
                  <a:latin typeface="ＭＳ Ｐゴシック"/>
                  <a:ea typeface="ＭＳ Ｐゴシック"/>
                </a:rPr>
                <a:t>CO2</a:t>
              </a:r>
              <a:r>
                <a:rPr lang="ja-JP" altLang="en-US" sz="1083" dirty="0">
                  <a:solidFill>
                    <a:srgbClr val="000000"/>
                  </a:solidFill>
                  <a:latin typeface="ＭＳ Ｐゴシック"/>
                  <a:ea typeface="ＭＳ Ｐゴシック"/>
                </a:rPr>
                <a:t>多排出産業の</a:t>
              </a:r>
              <a:r>
                <a:rPr lang="en-US" altLang="ja-JP" sz="1238" b="1" dirty="0">
                  <a:solidFill>
                    <a:srgbClr val="000000"/>
                  </a:solidFill>
                  <a:latin typeface="ＭＳ Ｐゴシック"/>
                  <a:ea typeface="ＭＳ Ｐゴシック"/>
                  <a:cs typeface="Times New Roman" panose="02020603050405020304" pitchFamily="18" charset="0"/>
                </a:rPr>
                <a:t>GX</a:t>
              </a:r>
              <a:r>
                <a:rPr lang="ja-JP" altLang="en-US" sz="1238" b="1" dirty="0">
                  <a:solidFill>
                    <a:srgbClr val="000000"/>
                  </a:solidFill>
                  <a:latin typeface="ＭＳ Ｐゴシック"/>
                  <a:ea typeface="ＭＳ Ｐゴシック"/>
                  <a:cs typeface="Times New Roman" panose="02020603050405020304" pitchFamily="18" charset="0"/>
                </a:rPr>
                <a:t>成長投資</a:t>
              </a:r>
              <a:r>
                <a:rPr lang="ja-JP" altLang="en-US" sz="1083" dirty="0">
                  <a:solidFill>
                    <a:srgbClr val="000000"/>
                  </a:solidFill>
                  <a:latin typeface="ＭＳ Ｐゴシック"/>
                  <a:ea typeface="ＭＳ Ｐゴシック"/>
                </a:rPr>
                <a:t>の促進＋</a:t>
              </a:r>
              <a:r>
                <a:rPr lang="ja-JP" altLang="en-US" sz="1238" b="1" dirty="0">
                  <a:solidFill>
                    <a:srgbClr val="000000"/>
                  </a:solidFill>
                  <a:latin typeface="ＭＳ Ｐゴシック"/>
                  <a:ea typeface="ＭＳ Ｐゴシック"/>
                  <a:cs typeface="Times New Roman" panose="02020603050405020304" pitchFamily="18" charset="0"/>
                </a:rPr>
                <a:t>巨大災害リスク対応</a:t>
              </a:r>
              <a:endParaRPr lang="en-US" altLang="ja-JP" sz="1238" b="1" dirty="0">
                <a:solidFill>
                  <a:srgbClr val="000000"/>
                </a:solidFill>
                <a:latin typeface="ＭＳ Ｐゴシック"/>
                <a:ea typeface="ＭＳ Ｐゴシック"/>
                <a:cs typeface="Times New Roman" panose="02020603050405020304" pitchFamily="18" charset="0"/>
              </a:endParaRPr>
            </a:p>
            <a:p>
              <a:pPr marL="309519" indent="-176868" defTabSz="990460">
                <a:spcBef>
                  <a:spcPts val="155"/>
                </a:spcBef>
                <a:buFont typeface="Wingdings" panose="05000000000000000000" pitchFamily="2" charset="2"/>
                <a:buChar char="Ø"/>
                <a:defRPr/>
              </a:pPr>
              <a:r>
                <a:rPr lang="ja-JP" altLang="en-US" sz="1238" b="1" dirty="0">
                  <a:solidFill>
                    <a:srgbClr val="000000"/>
                  </a:solidFill>
                  <a:latin typeface="ＭＳ Ｐゴシック"/>
                  <a:ea typeface="ＭＳ Ｐゴシック"/>
                </a:rPr>
                <a:t>水素・アンモニア</a:t>
              </a:r>
              <a:r>
                <a:rPr lang="ja-JP" altLang="en-US" sz="1083" dirty="0">
                  <a:solidFill>
                    <a:srgbClr val="000000"/>
                  </a:solidFill>
                  <a:latin typeface="ＭＳ Ｐゴシック"/>
                  <a:ea typeface="ＭＳ Ｐゴシック"/>
                </a:rPr>
                <a:t>等のサプライチェーンの拠点となる</a:t>
              </a:r>
              <a:r>
                <a:rPr lang="ja-JP" altLang="ja-JP" sz="1083" dirty="0">
                  <a:solidFill>
                    <a:srgbClr val="000000"/>
                  </a:solidFill>
                  <a:latin typeface="ＭＳ Ｐゴシック"/>
                  <a:ea typeface="ＭＳ Ｐゴシック"/>
                </a:rPr>
                <a:t>カーボンニュートラルポート</a:t>
              </a:r>
              <a:r>
                <a:rPr lang="ja-JP" altLang="en-US" sz="1083" dirty="0">
                  <a:solidFill>
                    <a:srgbClr val="000000"/>
                  </a:solidFill>
                  <a:latin typeface="ＭＳ Ｐゴシック"/>
                  <a:ea typeface="ＭＳ Ｐゴシック"/>
                </a:rPr>
                <a:t>（</a:t>
              </a:r>
              <a:r>
                <a:rPr lang="en-US" altLang="ja-JP" sz="1083" dirty="0">
                  <a:solidFill>
                    <a:srgbClr val="000000"/>
                  </a:solidFill>
                  <a:latin typeface="ＭＳ Ｐゴシック"/>
                  <a:ea typeface="ＭＳ Ｐゴシック"/>
                </a:rPr>
                <a:t>CNP</a:t>
              </a:r>
              <a:r>
                <a:rPr lang="ja-JP" altLang="en-US" sz="1083" dirty="0">
                  <a:solidFill>
                    <a:srgbClr val="000000"/>
                  </a:solidFill>
                  <a:latin typeface="ＭＳ Ｐゴシック"/>
                  <a:ea typeface="ＭＳ Ｐゴシック"/>
                </a:rPr>
                <a:t>）</a:t>
              </a:r>
              <a:r>
                <a:rPr lang="ja-JP" altLang="ja-JP" sz="1083" dirty="0">
                  <a:solidFill>
                    <a:srgbClr val="000000"/>
                  </a:solidFill>
                  <a:latin typeface="ＭＳ Ｐゴシック"/>
                  <a:ea typeface="ＭＳ Ｐゴシック"/>
                </a:rPr>
                <a:t>の形成</a:t>
              </a:r>
              <a:r>
                <a:rPr lang="ja-JP" altLang="en-US" sz="1083" dirty="0">
                  <a:solidFill>
                    <a:srgbClr val="000000"/>
                  </a:solidFill>
                  <a:latin typeface="ＭＳ Ｐゴシック"/>
                  <a:ea typeface="ＭＳ Ｐゴシック"/>
                </a:rPr>
                <a:t>など、</a:t>
              </a:r>
              <a:r>
                <a:rPr lang="ja-JP" altLang="ja-JP" sz="1238" b="1" dirty="0">
                  <a:solidFill>
                    <a:srgbClr val="000000"/>
                  </a:solidFill>
                  <a:latin typeface="ＭＳ Ｐゴシック"/>
                  <a:ea typeface="ＭＳ Ｐゴシック"/>
                  <a:cs typeface="Times New Roman" panose="02020603050405020304" pitchFamily="18" charset="0"/>
                </a:rPr>
                <a:t>インフラ整備</a:t>
              </a:r>
              <a:r>
                <a:rPr lang="ja-JP" altLang="en-US" sz="1083" dirty="0">
                  <a:solidFill>
                    <a:srgbClr val="000000"/>
                  </a:solidFill>
                  <a:latin typeface="ＭＳ Ｐゴシック"/>
                  <a:ea typeface="ＭＳ Ｐゴシック"/>
                </a:rPr>
                <a:t>や</a:t>
              </a:r>
              <a:r>
                <a:rPr lang="ja-JP" altLang="ja-JP" sz="1238" b="1" dirty="0">
                  <a:solidFill>
                    <a:srgbClr val="000000"/>
                  </a:solidFill>
                  <a:latin typeface="ＭＳ Ｐゴシック"/>
                  <a:ea typeface="ＭＳ Ｐゴシック"/>
                  <a:cs typeface="Times New Roman" panose="02020603050405020304" pitchFamily="18" charset="0"/>
                </a:rPr>
                <a:t>規制の合理化・適正化</a:t>
              </a:r>
              <a:endParaRPr lang="en-US" altLang="ja-JP" sz="1238" b="1" dirty="0">
                <a:solidFill>
                  <a:srgbClr val="000000"/>
                </a:solidFill>
                <a:latin typeface="ＭＳ Ｐゴシック"/>
                <a:ea typeface="ＭＳ Ｐゴシック"/>
                <a:cs typeface="Times New Roman" panose="02020603050405020304" pitchFamily="18" charset="0"/>
              </a:endParaRPr>
            </a:p>
            <a:p>
              <a:pPr marL="309519" indent="-176868" defTabSz="990460">
                <a:spcBef>
                  <a:spcPts val="155"/>
                </a:spcBef>
                <a:buFont typeface="Wingdings" panose="05000000000000000000" pitchFamily="2" charset="2"/>
                <a:buChar char="Ø"/>
                <a:defRPr/>
              </a:pPr>
              <a:r>
                <a:rPr lang="ja-JP" altLang="ja-JP" sz="1238" b="1" dirty="0">
                  <a:solidFill>
                    <a:srgbClr val="000000"/>
                  </a:solidFill>
                  <a:latin typeface="ＭＳ Ｐゴシック"/>
                  <a:ea typeface="ＭＳ Ｐゴシック"/>
                  <a:cs typeface="Times New Roman" panose="02020603050405020304" pitchFamily="18" charset="0"/>
                </a:rPr>
                <a:t>大規模な跡地</a:t>
              </a:r>
              <a:r>
                <a:rPr lang="ja-JP" altLang="ja-JP" sz="1083" dirty="0">
                  <a:solidFill>
                    <a:srgbClr val="000000"/>
                  </a:solidFill>
                  <a:latin typeface="ＭＳ Ｐゴシック"/>
                  <a:ea typeface="ＭＳ Ｐゴシック"/>
                </a:rPr>
                <a:t>の有効活用</a:t>
              </a:r>
              <a:r>
                <a:rPr lang="ja-JP" altLang="en-US" sz="1083" dirty="0">
                  <a:solidFill>
                    <a:srgbClr val="000000"/>
                  </a:solidFill>
                  <a:latin typeface="ＭＳ Ｐゴシック"/>
                  <a:ea typeface="ＭＳ Ｐゴシック"/>
                </a:rPr>
                <a:t>と</a:t>
              </a:r>
              <a:r>
                <a:rPr lang="ja-JP" altLang="ja-JP" sz="1083" dirty="0">
                  <a:solidFill>
                    <a:srgbClr val="000000"/>
                  </a:solidFill>
                  <a:latin typeface="ＭＳ Ｐゴシック"/>
                  <a:ea typeface="ＭＳ Ｐゴシック"/>
                </a:rPr>
                <a:t>必要なインフラ整備</a:t>
              </a:r>
              <a:endParaRPr lang="en-US" altLang="ja-JP" sz="1083" dirty="0">
                <a:solidFill>
                  <a:srgbClr val="000000"/>
                </a:solidFill>
                <a:latin typeface="ＭＳ Ｐゴシック"/>
                <a:ea typeface="ＭＳ Ｐゴシック"/>
              </a:endParaRPr>
            </a:p>
            <a:p>
              <a:pPr marL="309519" indent="-309519" defTabSz="990460">
                <a:spcBef>
                  <a:spcPts val="650"/>
                </a:spcBef>
                <a:buFont typeface="Wingdings" panose="05000000000000000000" pitchFamily="2" charset="2"/>
                <a:buChar char="Ø"/>
                <a:defRPr/>
              </a:pPr>
              <a:endParaRPr lang="ja-JP" altLang="en-US" sz="1083" b="1" dirty="0">
                <a:solidFill>
                  <a:srgbClr val="000000"/>
                </a:solidFill>
                <a:latin typeface="ＭＳ Ｐゴシック"/>
                <a:ea typeface="ＭＳ Ｐゴシック"/>
              </a:endParaRPr>
            </a:p>
          </p:txBody>
        </p:sp>
        <p:pic>
          <p:nvPicPr>
            <p:cNvPr id="9" name="図 8"/>
            <p:cNvPicPr>
              <a:picLocks noChangeAspect="1"/>
            </p:cNvPicPr>
            <p:nvPr/>
          </p:nvPicPr>
          <p:blipFill rotWithShape="1">
            <a:blip r:embed="rId2" cstate="email">
              <a:extLst>
                <a:ext uri="{28A0092B-C50C-407E-A947-70E740481C1C}">
                  <a14:useLocalDpi xmlns:a14="http://schemas.microsoft.com/office/drawing/2010/main" val="0"/>
                </a:ext>
              </a:extLst>
            </a:blip>
            <a:srcRect/>
            <a:stretch/>
          </p:blipFill>
          <p:spPr>
            <a:xfrm rot="10800000">
              <a:off x="465856" y="4348973"/>
              <a:ext cx="1710154" cy="1140749"/>
            </a:xfrm>
            <a:prstGeom prst="rect">
              <a:avLst/>
            </a:prstGeom>
          </p:spPr>
        </p:pic>
      </p:grpSp>
      <p:grpSp>
        <p:nvGrpSpPr>
          <p:cNvPr id="10" name="グループ化 9">
            <a:extLst>
              <a:ext uri="{FF2B5EF4-FFF2-40B4-BE49-F238E27FC236}">
                <a16:creationId xmlns:a16="http://schemas.microsoft.com/office/drawing/2014/main" id="{3CD7BCE7-FC8C-D1C9-194A-A1F88AB0852F}"/>
              </a:ext>
            </a:extLst>
          </p:cNvPr>
          <p:cNvGrpSpPr/>
          <p:nvPr/>
        </p:nvGrpSpPr>
        <p:grpSpPr>
          <a:xfrm>
            <a:off x="4957776" y="711498"/>
            <a:ext cx="4874219" cy="4413032"/>
            <a:chOff x="131571" y="1660927"/>
            <a:chExt cx="4499999" cy="4074222"/>
          </a:xfrm>
        </p:grpSpPr>
        <p:sp>
          <p:nvSpPr>
            <p:cNvPr id="11" name="テキスト ボックス 10">
              <a:extLst>
                <a:ext uri="{FF2B5EF4-FFF2-40B4-BE49-F238E27FC236}">
                  <a16:creationId xmlns:a16="http://schemas.microsoft.com/office/drawing/2014/main" id="{9EFFF6F0-FCBE-4387-957B-E4333060A694}"/>
                </a:ext>
              </a:extLst>
            </p:cNvPr>
            <p:cNvSpPr txBox="1"/>
            <p:nvPr/>
          </p:nvSpPr>
          <p:spPr>
            <a:xfrm>
              <a:off x="157286" y="1660928"/>
              <a:ext cx="4474284" cy="308571"/>
            </a:xfrm>
            <a:prstGeom prst="rect">
              <a:avLst/>
            </a:prstGeom>
            <a:solidFill>
              <a:srgbClr val="00B050"/>
            </a:solidFill>
            <a:ln>
              <a:solidFill>
                <a:srgbClr val="0070C0"/>
              </a:solidFill>
            </a:ln>
          </p:spPr>
          <p:txBody>
            <a:bodyPr wrap="square" lIns="38994" tIns="0" rIns="38994" bIns="0" rtlCol="0" anchor="ctr">
              <a:noAutofit/>
            </a:bodyPr>
            <a:lstStyle/>
            <a:p>
              <a:pPr algn="ctr" defTabSz="990460">
                <a:defRPr/>
              </a:pPr>
              <a:r>
                <a:rPr lang="ja-JP" altLang="en-US" sz="1857" b="1" dirty="0">
                  <a:solidFill>
                    <a:srgbClr val="FFFFFF"/>
                  </a:solidFill>
                  <a:latin typeface="BIZ UDPゴシック" panose="020B0400000000000000" pitchFamily="50" charset="-128"/>
                  <a:ea typeface="BIZ UDPゴシック" panose="020B0400000000000000" pitchFamily="50" charset="-128"/>
                </a:rPr>
                <a:t>グリーン国土の創造</a:t>
              </a:r>
            </a:p>
          </p:txBody>
        </p:sp>
        <p:sp>
          <p:nvSpPr>
            <p:cNvPr id="12" name="正方形/長方形 11">
              <a:extLst>
                <a:ext uri="{FF2B5EF4-FFF2-40B4-BE49-F238E27FC236}">
                  <a16:creationId xmlns:a16="http://schemas.microsoft.com/office/drawing/2014/main" id="{36279567-5337-4001-B7DD-2B72CEBC313A}"/>
                </a:ext>
              </a:extLst>
            </p:cNvPr>
            <p:cNvSpPr/>
            <p:nvPr/>
          </p:nvSpPr>
          <p:spPr>
            <a:xfrm>
              <a:off x="157286" y="1660927"/>
              <a:ext cx="4474284" cy="4062858"/>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60">
                <a:defRPr/>
              </a:pPr>
              <a:endParaRPr lang="ja-JP" altLang="en-US" sz="1516" dirty="0">
                <a:solidFill>
                  <a:srgbClr val="000000"/>
                </a:solidFill>
                <a:latin typeface="Arial"/>
                <a:ea typeface="ＭＳ Ｐゴシック"/>
              </a:endParaRPr>
            </a:p>
          </p:txBody>
        </p:sp>
        <p:sp>
          <p:nvSpPr>
            <p:cNvPr id="13" name="テキスト ボックス 12"/>
            <p:cNvSpPr txBox="1"/>
            <p:nvPr/>
          </p:nvSpPr>
          <p:spPr>
            <a:xfrm>
              <a:off x="131571" y="1995214"/>
              <a:ext cx="4474285" cy="2065157"/>
            </a:xfrm>
            <a:prstGeom prst="rect">
              <a:avLst/>
            </a:prstGeom>
            <a:noFill/>
          </p:spPr>
          <p:txBody>
            <a:bodyPr wrap="square" rtlCol="0">
              <a:spAutoFit/>
            </a:bodyPr>
            <a:lstStyle/>
            <a:p>
              <a:pPr defTabSz="990460">
                <a:spcBef>
                  <a:spcPts val="464"/>
                </a:spcBef>
                <a:defRPr/>
              </a:pPr>
              <a:r>
                <a:rPr lang="en-US" altLang="ja-JP" sz="1315" b="1" dirty="0">
                  <a:solidFill>
                    <a:srgbClr val="FF0000"/>
                  </a:solidFill>
                  <a:latin typeface="ＭＳ Ｐゴシック"/>
                  <a:ea typeface="ＭＳ Ｐゴシック"/>
                </a:rPr>
                <a:t>《30</a:t>
              </a:r>
              <a:r>
                <a:rPr lang="ja-JP" altLang="en-US" sz="1315" b="1" dirty="0">
                  <a:solidFill>
                    <a:srgbClr val="FF0000"/>
                  </a:solidFill>
                  <a:latin typeface="ＭＳ Ｐゴシック"/>
                  <a:ea typeface="ＭＳ Ｐゴシック"/>
                </a:rPr>
                <a:t>ｂｙ</a:t>
              </a:r>
              <a:r>
                <a:rPr lang="en-US" altLang="ja-JP" sz="1315" b="1" dirty="0">
                  <a:solidFill>
                    <a:srgbClr val="FF0000"/>
                  </a:solidFill>
                  <a:latin typeface="ＭＳ Ｐゴシック"/>
                  <a:ea typeface="ＭＳ Ｐゴシック"/>
                </a:rPr>
                <a:t>30</a:t>
              </a:r>
              <a:r>
                <a:rPr lang="ja-JP" altLang="en-US" sz="1315" b="1" dirty="0">
                  <a:solidFill>
                    <a:srgbClr val="FF0000"/>
                  </a:solidFill>
                  <a:latin typeface="ＭＳ Ｐゴシック"/>
                  <a:ea typeface="ＭＳ Ｐゴシック"/>
                </a:rPr>
                <a:t>による健全な生態系の保全・再生の促進</a:t>
              </a:r>
              <a:r>
                <a:rPr lang="en-US" altLang="ja-JP" sz="1315" b="1" dirty="0">
                  <a:solidFill>
                    <a:srgbClr val="FF0000"/>
                  </a:solidFill>
                  <a:latin typeface="ＭＳ Ｐゴシック"/>
                  <a:ea typeface="ＭＳ Ｐゴシック"/>
                </a:rPr>
                <a:t>》</a:t>
              </a:r>
            </a:p>
            <a:p>
              <a:pPr marL="309519" indent="-176868" defTabSz="990460">
                <a:spcBef>
                  <a:spcPts val="232"/>
                </a:spcBef>
                <a:buFont typeface="Wingdings" panose="05000000000000000000" pitchFamily="2" charset="2"/>
                <a:buChar char="Ø"/>
                <a:defRPr/>
              </a:pPr>
              <a:r>
                <a:rPr lang="ja-JP" altLang="en-US" sz="1083" dirty="0">
                  <a:solidFill>
                    <a:srgbClr val="000000"/>
                  </a:solidFill>
                  <a:latin typeface="ＭＳ Ｐゴシック"/>
                  <a:ea typeface="ＭＳ Ｐゴシック"/>
                </a:rPr>
                <a:t>森・里・まち・川・海のつながりを確保した</a:t>
              </a:r>
              <a:r>
                <a:rPr lang="ja-JP" altLang="en-US" sz="1315" b="1" dirty="0">
                  <a:solidFill>
                    <a:srgbClr val="000000"/>
                  </a:solidFill>
                  <a:latin typeface="ＭＳ Ｐゴシック"/>
                  <a:ea typeface="ＭＳ Ｐゴシック"/>
                  <a:cs typeface="Times New Roman" panose="02020603050405020304" pitchFamily="18" charset="0"/>
                </a:rPr>
                <a:t>広域的な生態系ネットワーク</a:t>
              </a:r>
              <a:r>
                <a:rPr lang="ja-JP" altLang="en-US" sz="1083" dirty="0">
                  <a:solidFill>
                    <a:srgbClr val="000000"/>
                  </a:solidFill>
                  <a:latin typeface="ＭＳ Ｐゴシック"/>
                  <a:ea typeface="ＭＳ Ｐゴシック"/>
                </a:rPr>
                <a:t>の形成促進</a:t>
              </a:r>
              <a:endParaRPr lang="en-US" altLang="ja-JP" sz="1083" dirty="0">
                <a:solidFill>
                  <a:srgbClr val="000000"/>
                </a:solidFill>
                <a:latin typeface="ＭＳ Ｐゴシック"/>
                <a:ea typeface="ＭＳ Ｐゴシック"/>
              </a:endParaRPr>
            </a:p>
            <a:p>
              <a:pPr marL="309519" indent="-176868" defTabSz="990460">
                <a:spcBef>
                  <a:spcPts val="232"/>
                </a:spcBef>
                <a:buFont typeface="Wingdings" panose="05000000000000000000" pitchFamily="2" charset="2"/>
                <a:buChar char="Ø"/>
                <a:defRPr/>
              </a:pPr>
              <a:r>
                <a:rPr lang="ja-JP" altLang="en-US" sz="1083" dirty="0">
                  <a:solidFill>
                    <a:srgbClr val="000000"/>
                  </a:solidFill>
                  <a:latin typeface="ＭＳ Ｐゴシック"/>
                  <a:ea typeface="ＭＳ Ｐゴシック"/>
                </a:rPr>
                <a:t>自然を活用した解決策（</a:t>
              </a:r>
              <a:r>
                <a:rPr lang="en-US" altLang="ja-JP" sz="1083" dirty="0">
                  <a:solidFill>
                    <a:srgbClr val="000000"/>
                  </a:solidFill>
                  <a:latin typeface="ＭＳ Ｐゴシック"/>
                  <a:ea typeface="ＭＳ Ｐゴシック"/>
                </a:rPr>
                <a:t>Nature-based Solutions: </a:t>
              </a:r>
              <a:r>
                <a:rPr lang="en-US" altLang="ja-JP" sz="1083" dirty="0" err="1">
                  <a:solidFill>
                    <a:srgbClr val="000000"/>
                  </a:solidFill>
                  <a:latin typeface="ＭＳ Ｐゴシック"/>
                  <a:ea typeface="ＭＳ Ｐゴシック"/>
                </a:rPr>
                <a:t>NbS</a:t>
              </a:r>
              <a:r>
                <a:rPr lang="ja-JP" altLang="en-US" sz="1083" dirty="0">
                  <a:solidFill>
                    <a:srgbClr val="000000"/>
                  </a:solidFill>
                  <a:latin typeface="ＭＳ Ｐゴシック"/>
                  <a:ea typeface="ＭＳ Ｐゴシック"/>
                </a:rPr>
                <a:t>）の発想に即した　　</a:t>
              </a:r>
              <a:r>
                <a:rPr lang="ja-JP" altLang="en-US" sz="1315" b="1" dirty="0">
                  <a:solidFill>
                    <a:srgbClr val="000000"/>
                  </a:solidFill>
                  <a:latin typeface="ＭＳ Ｐゴシック"/>
                  <a:ea typeface="ＭＳ Ｐゴシック"/>
                  <a:cs typeface="Times New Roman" panose="02020603050405020304" pitchFamily="18" charset="0"/>
                </a:rPr>
                <a:t>グリーンインフラ</a:t>
              </a:r>
              <a:r>
                <a:rPr lang="ja-JP" altLang="en-US" sz="1083" dirty="0">
                  <a:solidFill>
                    <a:srgbClr val="000000"/>
                  </a:solidFill>
                  <a:latin typeface="ＭＳ Ｐゴシック"/>
                  <a:ea typeface="ＭＳ Ｐゴシック"/>
                </a:rPr>
                <a:t>による複合的な地域課題の解決</a:t>
              </a:r>
              <a:endParaRPr lang="en-US" altLang="ja-JP" sz="1083" dirty="0">
                <a:solidFill>
                  <a:srgbClr val="000000"/>
                </a:solidFill>
                <a:latin typeface="ＭＳ Ｐゴシック"/>
                <a:ea typeface="ＭＳ Ｐゴシック"/>
              </a:endParaRPr>
            </a:p>
            <a:p>
              <a:pPr defTabSz="990460">
                <a:spcBef>
                  <a:spcPts val="464"/>
                </a:spcBef>
                <a:defRPr/>
              </a:pPr>
              <a:r>
                <a:rPr lang="en-US" altLang="ja-JP" sz="1315" b="1" dirty="0">
                  <a:solidFill>
                    <a:srgbClr val="FF0000"/>
                  </a:solidFill>
                  <a:latin typeface="ＭＳ Ｐゴシック"/>
                  <a:ea typeface="ＭＳ Ｐゴシック"/>
                </a:rPr>
                <a:t>《</a:t>
              </a:r>
              <a:r>
                <a:rPr lang="ja-JP" altLang="en-US" sz="1315" b="1" dirty="0">
                  <a:solidFill>
                    <a:srgbClr val="FF0000"/>
                  </a:solidFill>
                  <a:latin typeface="ＭＳ Ｐゴシック"/>
                  <a:ea typeface="ＭＳ Ｐゴシック"/>
                </a:rPr>
                <a:t>カーボンニュートラルの実現を図る地域づくり</a:t>
              </a:r>
              <a:r>
                <a:rPr lang="en-US" altLang="ja-JP" sz="1315" b="1" dirty="0">
                  <a:solidFill>
                    <a:srgbClr val="FF0000"/>
                  </a:solidFill>
                  <a:latin typeface="ＭＳ Ｐゴシック"/>
                  <a:ea typeface="ＭＳ Ｐゴシック"/>
                </a:rPr>
                <a:t>》</a:t>
              </a:r>
              <a:endParaRPr lang="ja-JP" altLang="en-US" sz="1315" b="1" dirty="0">
                <a:solidFill>
                  <a:srgbClr val="FF0000"/>
                </a:solidFill>
                <a:latin typeface="ＭＳ Ｐゴシック"/>
                <a:ea typeface="ＭＳ Ｐゴシック"/>
              </a:endParaRPr>
            </a:p>
            <a:p>
              <a:pPr marL="309519" indent="-176868" defTabSz="990460">
                <a:spcBef>
                  <a:spcPts val="232"/>
                </a:spcBef>
                <a:buFont typeface="Wingdings" panose="05000000000000000000" pitchFamily="2" charset="2"/>
                <a:buChar char="Ø"/>
                <a:defRPr/>
              </a:pPr>
              <a:r>
                <a:rPr lang="ja-JP" altLang="en-US" sz="1315" b="1" dirty="0">
                  <a:solidFill>
                    <a:srgbClr val="000000"/>
                  </a:solidFill>
                  <a:latin typeface="ＭＳ Ｐゴシック"/>
                  <a:ea typeface="ＭＳ Ｐゴシック"/>
                  <a:cs typeface="Times New Roman" panose="02020603050405020304" pitchFamily="18" charset="0"/>
                </a:rPr>
                <a:t>地域の脱炭素化</a:t>
              </a:r>
              <a:r>
                <a:rPr lang="ja-JP" altLang="en-US" sz="1083" dirty="0">
                  <a:solidFill>
                    <a:srgbClr val="000000"/>
                  </a:solidFill>
                  <a:latin typeface="ＭＳ Ｐゴシック"/>
                  <a:ea typeface="ＭＳ Ｐゴシック"/>
                </a:rPr>
                <a:t>に向けた脱炭素先行地域の創出、くらし・まちづくり・交通・インフラ・農林水産業等におけるグリーン化の推進</a:t>
              </a:r>
              <a:endParaRPr lang="en-US" altLang="ja-JP" sz="1083" dirty="0">
                <a:solidFill>
                  <a:srgbClr val="000000"/>
                </a:solidFill>
                <a:latin typeface="ＭＳ Ｐゴシック"/>
                <a:ea typeface="ＭＳ Ｐゴシック"/>
              </a:endParaRPr>
            </a:p>
            <a:p>
              <a:pPr marL="309519" indent="-176868" defTabSz="990460">
                <a:spcBef>
                  <a:spcPts val="232"/>
                </a:spcBef>
                <a:buFont typeface="Wingdings" panose="05000000000000000000" pitchFamily="2" charset="2"/>
                <a:buChar char="Ø"/>
                <a:defRPr/>
              </a:pPr>
              <a:r>
                <a:rPr lang="ja-JP" altLang="en-US" sz="1315" b="1" dirty="0">
                  <a:solidFill>
                    <a:srgbClr val="000000"/>
                  </a:solidFill>
                  <a:latin typeface="ＭＳ Ｐゴシック"/>
                  <a:ea typeface="ＭＳ Ｐゴシック"/>
                  <a:cs typeface="Times New Roman" panose="02020603050405020304" pitchFamily="18" charset="0"/>
                </a:rPr>
                <a:t>森林資源の循環利用</a:t>
              </a:r>
              <a:r>
                <a:rPr lang="ja-JP" altLang="en-US" sz="1083" dirty="0">
                  <a:solidFill>
                    <a:srgbClr val="000000"/>
                  </a:solidFill>
                  <a:latin typeface="ＭＳ Ｐゴシック"/>
                  <a:ea typeface="ＭＳ Ｐゴシック"/>
                </a:rPr>
                <a:t>の確立</a:t>
              </a:r>
              <a:endParaRPr lang="en-US" altLang="ja-JP" sz="1083" dirty="0">
                <a:solidFill>
                  <a:srgbClr val="000000"/>
                </a:solidFill>
                <a:latin typeface="ＭＳ Ｐゴシック"/>
                <a:ea typeface="ＭＳ Ｐゴシック"/>
              </a:endParaRPr>
            </a:p>
            <a:p>
              <a:pPr marL="309519" indent="-176868" defTabSz="990460">
                <a:spcBef>
                  <a:spcPts val="232"/>
                </a:spcBef>
                <a:buFont typeface="Wingdings" panose="05000000000000000000" pitchFamily="2" charset="2"/>
                <a:buChar char="Ø"/>
                <a:defRPr/>
              </a:pPr>
              <a:r>
                <a:rPr lang="ja-JP" altLang="en-US" sz="1315" b="1" dirty="0">
                  <a:solidFill>
                    <a:srgbClr val="000000"/>
                  </a:solidFill>
                  <a:latin typeface="ＭＳ Ｐゴシック"/>
                  <a:ea typeface="ＭＳ Ｐゴシック"/>
                  <a:cs typeface="Times New Roman" panose="02020603050405020304" pitchFamily="18" charset="0"/>
                </a:rPr>
                <a:t>地域共生型再エネ</a:t>
              </a:r>
              <a:r>
                <a:rPr lang="ja-JP" altLang="en-US" sz="1083" dirty="0">
                  <a:solidFill>
                    <a:srgbClr val="000000"/>
                  </a:solidFill>
                  <a:latin typeface="ＭＳ Ｐゴシック"/>
                  <a:ea typeface="ＭＳ Ｐゴシック"/>
                </a:rPr>
                <a:t>導入の促進、</a:t>
              </a:r>
              <a:r>
                <a:rPr lang="ja-JP" altLang="en-US" sz="1315" b="1" dirty="0">
                  <a:solidFill>
                    <a:srgbClr val="000000"/>
                  </a:solidFill>
                  <a:latin typeface="ＭＳ Ｐゴシック"/>
                  <a:ea typeface="ＭＳ Ｐゴシック"/>
                  <a:cs typeface="Times New Roman" panose="02020603050405020304" pitchFamily="18" charset="0"/>
                </a:rPr>
                <a:t>ハイブリッドダム</a:t>
              </a:r>
              <a:r>
                <a:rPr lang="ja-JP" altLang="en-US" sz="1083" dirty="0">
                  <a:solidFill>
                    <a:srgbClr val="000000"/>
                  </a:solidFill>
                  <a:latin typeface="ＭＳ Ｐゴシック"/>
                  <a:ea typeface="ＭＳ Ｐゴシック"/>
                </a:rPr>
                <a:t>の全国への展開</a:t>
              </a:r>
            </a:p>
          </p:txBody>
        </p:sp>
        <p:sp>
          <p:nvSpPr>
            <p:cNvPr id="14" name="テキスト ボックス 13">
              <a:extLst>
                <a:ext uri="{FF2B5EF4-FFF2-40B4-BE49-F238E27FC236}">
                  <a16:creationId xmlns:a16="http://schemas.microsoft.com/office/drawing/2014/main" id="{13B3E12B-8FF6-4262-B053-C8D197EA1B90}"/>
                </a:ext>
              </a:extLst>
            </p:cNvPr>
            <p:cNvSpPr txBox="1"/>
            <p:nvPr/>
          </p:nvSpPr>
          <p:spPr>
            <a:xfrm>
              <a:off x="340188" y="5518072"/>
              <a:ext cx="2180235" cy="217077"/>
            </a:xfrm>
            <a:prstGeom prst="rect">
              <a:avLst/>
            </a:prstGeom>
            <a:noFill/>
          </p:spPr>
          <p:txBody>
            <a:bodyPr wrap="none" rtlCol="0">
              <a:spAutoFit/>
            </a:bodyPr>
            <a:lstStyle/>
            <a:p>
              <a:pPr defTabSz="990460">
                <a:defRPr/>
              </a:pPr>
              <a:r>
                <a:rPr lang="ja-JP" altLang="en-US" sz="928" dirty="0">
                  <a:solidFill>
                    <a:srgbClr val="000000"/>
                  </a:solidFill>
                  <a:latin typeface="ＭＳ Ｐゴシック"/>
                  <a:ea typeface="ＭＳ Ｐゴシック"/>
                </a:rPr>
                <a:t>広域的な生態系ネットワークの形成イメージ</a:t>
              </a:r>
              <a:endParaRPr lang="en-US" altLang="ja-JP" sz="928" dirty="0">
                <a:solidFill>
                  <a:srgbClr val="000000"/>
                </a:solidFill>
                <a:latin typeface="ＭＳ Ｐゴシック"/>
                <a:ea typeface="ＭＳ Ｐゴシック"/>
              </a:endParaRPr>
            </a:p>
          </p:txBody>
        </p:sp>
      </p:grpSp>
      <p:pic>
        <p:nvPicPr>
          <p:cNvPr id="15" name="図 5">
            <a:extLst>
              <a:ext uri="{FF2B5EF4-FFF2-40B4-BE49-F238E27FC236}">
                <a16:creationId xmlns:a16="http://schemas.microsoft.com/office/drawing/2014/main" id="{D5F04C15-59A8-5612-4AC0-1CF4D05F86B4}"/>
              </a:ext>
            </a:extLst>
          </p:cNvPr>
          <p:cNvPicPr>
            <a:picLocks noChangeAspect="1"/>
          </p:cNvPicPr>
          <p:nvPr/>
        </p:nvPicPr>
        <p:blipFill>
          <a:blip r:embed="rId3"/>
          <a:stretch>
            <a:fillRect/>
          </a:stretch>
        </p:blipFill>
        <p:spPr>
          <a:xfrm>
            <a:off x="5152745" y="3357504"/>
            <a:ext cx="2265193" cy="1530910"/>
          </a:xfrm>
          <a:prstGeom prst="rect">
            <a:avLst/>
          </a:prstGeom>
        </p:spPr>
      </p:pic>
      <p:grpSp>
        <p:nvGrpSpPr>
          <p:cNvPr id="16" name="グループ化 15">
            <a:extLst>
              <a:ext uri="{FF2B5EF4-FFF2-40B4-BE49-F238E27FC236}">
                <a16:creationId xmlns:a16="http://schemas.microsoft.com/office/drawing/2014/main" id="{3CD7BCE7-FC8C-D1C9-194A-A1F88AB0852F}"/>
              </a:ext>
            </a:extLst>
          </p:cNvPr>
          <p:cNvGrpSpPr/>
          <p:nvPr/>
        </p:nvGrpSpPr>
        <p:grpSpPr>
          <a:xfrm>
            <a:off x="55705" y="5318441"/>
            <a:ext cx="9776289" cy="2256067"/>
            <a:chOff x="143685" y="1330320"/>
            <a:chExt cx="4420757" cy="2082856"/>
          </a:xfrm>
        </p:grpSpPr>
        <p:sp>
          <p:nvSpPr>
            <p:cNvPr id="17" name="テキスト ボックス 16">
              <a:extLst>
                <a:ext uri="{FF2B5EF4-FFF2-40B4-BE49-F238E27FC236}">
                  <a16:creationId xmlns:a16="http://schemas.microsoft.com/office/drawing/2014/main" id="{9EFFF6F0-FCBE-4387-957B-E4333060A694}"/>
                </a:ext>
              </a:extLst>
            </p:cNvPr>
            <p:cNvSpPr txBox="1"/>
            <p:nvPr/>
          </p:nvSpPr>
          <p:spPr>
            <a:xfrm>
              <a:off x="143685" y="1330320"/>
              <a:ext cx="4420757" cy="334286"/>
            </a:xfrm>
            <a:prstGeom prst="rect">
              <a:avLst/>
            </a:prstGeom>
            <a:solidFill>
              <a:srgbClr val="FB7051"/>
            </a:solidFill>
            <a:ln>
              <a:solidFill>
                <a:srgbClr val="0070C0"/>
              </a:solidFill>
            </a:ln>
          </p:spPr>
          <p:txBody>
            <a:bodyPr wrap="square" lIns="38994" tIns="0" rIns="38994" bIns="0" rtlCol="0" anchor="ctr">
              <a:noAutofit/>
            </a:bodyPr>
            <a:lstStyle/>
            <a:p>
              <a:pPr algn="ctr" defTabSz="990460">
                <a:defRPr/>
              </a:pPr>
              <a:r>
                <a:rPr lang="ja-JP" altLang="en-US" sz="1857" b="1" dirty="0">
                  <a:solidFill>
                    <a:srgbClr val="FFFFFF"/>
                  </a:solidFill>
                  <a:latin typeface="BIZ UDPゴシック" panose="020B0400000000000000" pitchFamily="50" charset="-128"/>
                  <a:ea typeface="BIZ UDPゴシック" panose="020B0400000000000000" pitchFamily="50" charset="-128"/>
                </a:rPr>
                <a:t>人口減少下の国土利用・管理</a:t>
              </a:r>
            </a:p>
          </p:txBody>
        </p:sp>
        <p:sp>
          <p:nvSpPr>
            <p:cNvPr id="18" name="正方形/長方形 17">
              <a:extLst>
                <a:ext uri="{FF2B5EF4-FFF2-40B4-BE49-F238E27FC236}">
                  <a16:creationId xmlns:a16="http://schemas.microsoft.com/office/drawing/2014/main" id="{36279567-5337-4001-B7DD-2B72CEBC313A}"/>
                </a:ext>
              </a:extLst>
            </p:cNvPr>
            <p:cNvSpPr/>
            <p:nvPr/>
          </p:nvSpPr>
          <p:spPr>
            <a:xfrm>
              <a:off x="143685" y="1330320"/>
              <a:ext cx="4420757" cy="2082856"/>
            </a:xfrm>
            <a:prstGeom prst="rect">
              <a:avLst/>
            </a:prstGeom>
            <a:noFill/>
            <a:ln w="19050">
              <a:solidFill>
                <a:srgbClr val="FB70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60">
                <a:defRPr/>
              </a:pPr>
              <a:endParaRPr lang="ja-JP" altLang="en-US" sz="1516" dirty="0">
                <a:solidFill>
                  <a:srgbClr val="000000"/>
                </a:solidFill>
                <a:latin typeface="Arial"/>
                <a:ea typeface="ＭＳ Ｐゴシック"/>
              </a:endParaRPr>
            </a:p>
          </p:txBody>
        </p:sp>
      </p:grpSp>
      <p:sp>
        <p:nvSpPr>
          <p:cNvPr id="19" name="テキスト ボックス 18">
            <a:extLst>
              <a:ext uri="{FF2B5EF4-FFF2-40B4-BE49-F238E27FC236}">
                <a16:creationId xmlns:a16="http://schemas.microsoft.com/office/drawing/2014/main" id="{CDCC298D-C51C-1519-6DFB-20ABF2D396D3}"/>
              </a:ext>
            </a:extLst>
          </p:cNvPr>
          <p:cNvSpPr txBox="1"/>
          <p:nvPr/>
        </p:nvSpPr>
        <p:spPr>
          <a:xfrm>
            <a:off x="139262" y="5680526"/>
            <a:ext cx="6963170" cy="1929246"/>
          </a:xfrm>
          <a:prstGeom prst="rect">
            <a:avLst/>
          </a:prstGeom>
          <a:noFill/>
        </p:spPr>
        <p:txBody>
          <a:bodyPr wrap="square">
            <a:spAutoFit/>
          </a:bodyPr>
          <a:lstStyle/>
          <a:p>
            <a:pPr defTabSz="990460">
              <a:spcBef>
                <a:spcPts val="464"/>
              </a:spcBef>
              <a:defRPr/>
            </a:pPr>
            <a:r>
              <a:rPr lang="en-US" altLang="ja-JP" sz="1315" b="1" dirty="0">
                <a:solidFill>
                  <a:srgbClr val="FF0000"/>
                </a:solidFill>
                <a:latin typeface="ＭＳ Ｐゴシック"/>
                <a:ea typeface="ＭＳ Ｐゴシック"/>
              </a:rPr>
              <a:t>《</a:t>
            </a:r>
            <a:r>
              <a:rPr lang="ja-JP" altLang="en-US" sz="1315" b="1" dirty="0">
                <a:solidFill>
                  <a:srgbClr val="FF0000"/>
                </a:solidFill>
                <a:latin typeface="ＭＳ Ｐゴシック"/>
                <a:ea typeface="ＭＳ Ｐゴシック"/>
              </a:rPr>
              <a:t>持続可能な国土と地域の形成に資する最適利用・管理</a:t>
            </a:r>
            <a:r>
              <a:rPr lang="en-US" altLang="ja-JP" sz="1315" b="1" dirty="0">
                <a:solidFill>
                  <a:srgbClr val="FF0000"/>
                </a:solidFill>
                <a:latin typeface="ＭＳ Ｐゴシック"/>
                <a:ea typeface="ＭＳ Ｐゴシック"/>
              </a:rPr>
              <a:t>》</a:t>
            </a:r>
            <a:endParaRPr lang="ja-JP" altLang="en-US" sz="1315" b="1" dirty="0">
              <a:solidFill>
                <a:srgbClr val="FF0000"/>
              </a:solidFill>
              <a:latin typeface="ＭＳ Ｐゴシック"/>
              <a:ea typeface="ＭＳ Ｐゴシック"/>
            </a:endParaRPr>
          </a:p>
          <a:p>
            <a:pPr marL="309519" indent="-221085" defTabSz="990460">
              <a:spcBef>
                <a:spcPts val="232"/>
              </a:spcBef>
              <a:buFont typeface="Wingdings" panose="05000000000000000000" pitchFamily="2" charset="2"/>
              <a:buChar char="Ø"/>
              <a:defRPr/>
            </a:pPr>
            <a:r>
              <a:rPr lang="ja-JP" altLang="en-US" sz="1083" dirty="0">
                <a:solidFill>
                  <a:srgbClr val="000000"/>
                </a:solidFill>
                <a:latin typeface="ＭＳ Ｐゴシック"/>
                <a:ea typeface="ＭＳ Ｐゴシック"/>
              </a:rPr>
              <a:t>住民発意と合意形成に基づき将来像を見据えて土地の管理方法の転換等を図る</a:t>
            </a:r>
            <a:r>
              <a:rPr lang="ja-JP" altLang="en-US" sz="1315" b="1" dirty="0">
                <a:solidFill>
                  <a:srgbClr val="000000"/>
                </a:solidFill>
                <a:latin typeface="ＭＳ Ｐゴシック"/>
                <a:ea typeface="ＭＳ Ｐゴシック"/>
                <a:cs typeface="Times New Roman" panose="02020603050405020304" pitchFamily="18" charset="0"/>
              </a:rPr>
              <a:t>地域管理構想</a:t>
            </a:r>
            <a:r>
              <a:rPr lang="ja-JP" altLang="en-US" sz="1083" dirty="0">
                <a:solidFill>
                  <a:srgbClr val="000000"/>
                </a:solidFill>
                <a:latin typeface="ＭＳ Ｐゴシック"/>
                <a:ea typeface="ＭＳ Ｐゴシック"/>
              </a:rPr>
              <a:t>の全国展開</a:t>
            </a:r>
          </a:p>
          <a:p>
            <a:pPr marL="309519" indent="-221085" defTabSz="990460">
              <a:spcBef>
                <a:spcPts val="232"/>
              </a:spcBef>
              <a:buFont typeface="Wingdings" panose="05000000000000000000" pitchFamily="2" charset="2"/>
              <a:buChar char="Ø"/>
              <a:defRPr/>
            </a:pPr>
            <a:r>
              <a:rPr lang="ja-JP" altLang="en-US" sz="1315" b="1" dirty="0">
                <a:solidFill>
                  <a:srgbClr val="000000"/>
                </a:solidFill>
                <a:latin typeface="ＭＳ Ｐゴシック"/>
                <a:ea typeface="ＭＳ Ｐゴシック"/>
                <a:cs typeface="Times New Roman" panose="02020603050405020304" pitchFamily="18" charset="0"/>
              </a:rPr>
              <a:t>所有者不明土地</a:t>
            </a:r>
            <a:r>
              <a:rPr lang="ja-JP" altLang="en-US" sz="1083" dirty="0">
                <a:solidFill>
                  <a:srgbClr val="000000"/>
                </a:solidFill>
                <a:latin typeface="ＭＳ Ｐゴシック"/>
                <a:ea typeface="ＭＳ Ｐゴシック"/>
              </a:rPr>
              <a:t>、</a:t>
            </a:r>
            <a:r>
              <a:rPr lang="ja-JP" altLang="en-US" sz="1315" b="1" dirty="0">
                <a:solidFill>
                  <a:srgbClr val="000000"/>
                </a:solidFill>
                <a:latin typeface="ＭＳ Ｐゴシック"/>
                <a:ea typeface="ＭＳ Ｐゴシック"/>
                <a:cs typeface="Times New Roman" panose="02020603050405020304" pitchFamily="18" charset="0"/>
              </a:rPr>
              <a:t>空き家</a:t>
            </a:r>
            <a:r>
              <a:rPr lang="ja-JP" altLang="en-US" sz="1083" dirty="0">
                <a:solidFill>
                  <a:srgbClr val="000000"/>
                </a:solidFill>
                <a:latin typeface="ＭＳ Ｐゴシック"/>
                <a:ea typeface="ＭＳ Ｐゴシック"/>
              </a:rPr>
              <a:t>の利活用円滑化等、</a:t>
            </a:r>
            <a:r>
              <a:rPr lang="ja-JP" altLang="en-US" sz="1315" b="1" dirty="0">
                <a:solidFill>
                  <a:srgbClr val="000000"/>
                </a:solidFill>
                <a:latin typeface="ＭＳ Ｐゴシック"/>
                <a:ea typeface="ＭＳ Ｐゴシック"/>
                <a:cs typeface="Times New Roman" panose="02020603050405020304" pitchFamily="18" charset="0"/>
              </a:rPr>
              <a:t>荒廃農地</a:t>
            </a:r>
            <a:r>
              <a:rPr lang="ja-JP" altLang="en-US" sz="1083" dirty="0">
                <a:solidFill>
                  <a:srgbClr val="000000"/>
                </a:solidFill>
                <a:latin typeface="ＭＳ Ｐゴシック"/>
                <a:ea typeface="ＭＳ Ｐゴシック"/>
              </a:rPr>
              <a:t>、</a:t>
            </a:r>
            <a:r>
              <a:rPr lang="ja-JP" altLang="en-US" sz="1315" b="1" dirty="0">
                <a:solidFill>
                  <a:srgbClr val="000000"/>
                </a:solidFill>
                <a:latin typeface="ＭＳ Ｐゴシック"/>
                <a:ea typeface="ＭＳ Ｐゴシック"/>
                <a:cs typeface="Times New Roman" panose="02020603050405020304" pitchFamily="18" charset="0"/>
              </a:rPr>
              <a:t>手入れが不十分な森林</a:t>
            </a:r>
            <a:r>
              <a:rPr lang="ja-JP" altLang="en-US" sz="1083" dirty="0">
                <a:solidFill>
                  <a:srgbClr val="000000"/>
                </a:solidFill>
                <a:latin typeface="ＭＳ Ｐゴシック"/>
                <a:ea typeface="ＭＳ Ｐゴシック"/>
              </a:rPr>
              <a:t>の発生防止・解消</a:t>
            </a:r>
            <a:endParaRPr lang="en-US" altLang="ja-JP" sz="1083" dirty="0">
              <a:solidFill>
                <a:srgbClr val="000000"/>
              </a:solidFill>
              <a:latin typeface="ＭＳ Ｐゴシック"/>
              <a:ea typeface="ＭＳ Ｐゴシック"/>
            </a:endParaRPr>
          </a:p>
          <a:p>
            <a:pPr marL="309519" indent="-221085" defTabSz="990460">
              <a:spcBef>
                <a:spcPts val="232"/>
              </a:spcBef>
              <a:buFont typeface="Wingdings" panose="05000000000000000000" pitchFamily="2" charset="2"/>
              <a:buChar char="Ø"/>
              <a:defRPr/>
            </a:pPr>
            <a:r>
              <a:rPr lang="ja-JP" altLang="en-US" sz="1083" dirty="0">
                <a:solidFill>
                  <a:srgbClr val="000000"/>
                </a:solidFill>
                <a:latin typeface="ＭＳ Ｐゴシック"/>
                <a:ea typeface="ＭＳ Ｐゴシック"/>
              </a:rPr>
              <a:t>地域の持続性確保につながる産業集積のための</a:t>
            </a:r>
            <a:r>
              <a:rPr lang="ja-JP" altLang="en-US" sz="1315" b="1" dirty="0">
                <a:solidFill>
                  <a:srgbClr val="000000"/>
                </a:solidFill>
                <a:latin typeface="ＭＳ Ｐゴシック"/>
                <a:ea typeface="ＭＳ Ｐゴシック"/>
                <a:cs typeface="Times New Roman" panose="02020603050405020304" pitchFamily="18" charset="0"/>
              </a:rPr>
              <a:t>土地利用転換など関連制度の弾力的活用</a:t>
            </a:r>
            <a:endParaRPr lang="en-US" altLang="ja-JP" sz="1315" b="1" dirty="0">
              <a:solidFill>
                <a:srgbClr val="000000"/>
              </a:solidFill>
              <a:latin typeface="ＭＳ Ｐゴシック"/>
              <a:ea typeface="ＭＳ Ｐゴシック"/>
              <a:cs typeface="Times New Roman" panose="02020603050405020304" pitchFamily="18" charset="0"/>
            </a:endParaRPr>
          </a:p>
          <a:p>
            <a:pPr marL="309519" indent="-221085" defTabSz="990460">
              <a:spcBef>
                <a:spcPts val="232"/>
              </a:spcBef>
              <a:buFont typeface="Wingdings" panose="05000000000000000000" pitchFamily="2" charset="2"/>
              <a:buChar char="Ø"/>
              <a:defRPr/>
            </a:pPr>
            <a:r>
              <a:rPr lang="ja-JP" altLang="en-US" sz="1315" b="1" dirty="0">
                <a:solidFill>
                  <a:srgbClr val="000000"/>
                </a:solidFill>
                <a:latin typeface="ＭＳ Ｐゴシック"/>
                <a:ea typeface="ＭＳ Ｐゴシック"/>
                <a:cs typeface="Times New Roman" panose="02020603050405020304" pitchFamily="18" charset="0"/>
              </a:rPr>
              <a:t>土地の利用と管理</a:t>
            </a:r>
            <a:r>
              <a:rPr lang="ja-JP" altLang="en-US" sz="1083" dirty="0">
                <a:solidFill>
                  <a:srgbClr val="000000"/>
                </a:solidFill>
                <a:latin typeface="ＭＳ Ｐゴシック"/>
                <a:ea typeface="ＭＳ Ｐゴシック"/>
              </a:rPr>
              <a:t>についての</a:t>
            </a:r>
            <a:r>
              <a:rPr lang="ja-JP" altLang="en-US" sz="1315" b="1" dirty="0">
                <a:solidFill>
                  <a:srgbClr val="000000"/>
                </a:solidFill>
                <a:latin typeface="ＭＳ Ｐゴシック"/>
                <a:ea typeface="ＭＳ Ｐゴシック"/>
                <a:cs typeface="Times New Roman" panose="02020603050405020304" pitchFamily="18" charset="0"/>
              </a:rPr>
              <a:t>安全保障をめぐる内外情勢の変化等を踏まえた対応</a:t>
            </a:r>
            <a:endParaRPr lang="en-US" altLang="ja-JP" sz="1315" b="1" dirty="0">
              <a:solidFill>
                <a:srgbClr val="000000"/>
              </a:solidFill>
              <a:latin typeface="ＭＳ Ｐゴシック"/>
              <a:ea typeface="ＭＳ Ｐゴシック"/>
              <a:cs typeface="Times New Roman" panose="02020603050405020304" pitchFamily="18" charset="0"/>
            </a:endParaRPr>
          </a:p>
          <a:p>
            <a:pPr defTabSz="990460">
              <a:spcBef>
                <a:spcPts val="464"/>
              </a:spcBef>
              <a:defRPr/>
            </a:pPr>
            <a:r>
              <a:rPr lang="en-US" altLang="ja-JP" sz="1315" b="1" dirty="0">
                <a:solidFill>
                  <a:srgbClr val="FF0000"/>
                </a:solidFill>
                <a:latin typeface="ＭＳ Ｐゴシック"/>
                <a:ea typeface="ＭＳ Ｐゴシック"/>
              </a:rPr>
              <a:t>《</a:t>
            </a:r>
            <a:r>
              <a:rPr lang="ja-JP" altLang="en-US" sz="1315" b="1" dirty="0">
                <a:solidFill>
                  <a:srgbClr val="FF0000"/>
                </a:solidFill>
                <a:latin typeface="ＭＳ Ｐゴシック"/>
                <a:ea typeface="ＭＳ Ｐゴシック"/>
              </a:rPr>
              <a:t>安全・安心な国土利用・管理</a:t>
            </a:r>
            <a:r>
              <a:rPr lang="en-US" altLang="ja-JP" sz="1315" b="1" dirty="0">
                <a:solidFill>
                  <a:srgbClr val="FF0000"/>
                </a:solidFill>
                <a:latin typeface="ＭＳ Ｐゴシック"/>
                <a:ea typeface="ＭＳ Ｐゴシック"/>
              </a:rPr>
              <a:t>》</a:t>
            </a:r>
          </a:p>
          <a:p>
            <a:pPr marL="309519" indent="-221085" defTabSz="990460">
              <a:spcBef>
                <a:spcPts val="232"/>
              </a:spcBef>
              <a:buFont typeface="Wingdings" panose="05000000000000000000" pitchFamily="2" charset="2"/>
              <a:buChar char="Ø"/>
              <a:defRPr/>
            </a:pPr>
            <a:r>
              <a:rPr lang="ja-JP" altLang="en-US" sz="1083" dirty="0">
                <a:solidFill>
                  <a:srgbClr val="000000"/>
                </a:solidFill>
                <a:latin typeface="ＭＳ Ｐゴシック"/>
                <a:ea typeface="ＭＳ Ｐゴシック"/>
              </a:rPr>
              <a:t>あらゆる関係者が協働して流域全体で行う総合的かつ多層的な水災害対策である</a:t>
            </a:r>
            <a:r>
              <a:rPr lang="ja-JP" altLang="en-US" sz="1315" b="1" dirty="0">
                <a:solidFill>
                  <a:srgbClr val="000000"/>
                </a:solidFill>
                <a:latin typeface="ＭＳ Ｐゴシック"/>
                <a:ea typeface="ＭＳ Ｐゴシック"/>
                <a:cs typeface="Times New Roman" panose="02020603050405020304" pitchFamily="18" charset="0"/>
              </a:rPr>
              <a:t>「流域治水」</a:t>
            </a:r>
            <a:r>
              <a:rPr lang="ja-JP" altLang="en-US" sz="1083" dirty="0">
                <a:solidFill>
                  <a:srgbClr val="000000"/>
                </a:solidFill>
                <a:latin typeface="ＭＳ Ｐゴシック"/>
                <a:ea typeface="ＭＳ Ｐゴシック"/>
              </a:rPr>
              <a:t>の推進</a:t>
            </a:r>
          </a:p>
          <a:p>
            <a:pPr marL="309519" indent="-221085" defTabSz="990460">
              <a:spcBef>
                <a:spcPts val="232"/>
              </a:spcBef>
              <a:buFont typeface="Wingdings" panose="05000000000000000000" pitchFamily="2" charset="2"/>
              <a:buChar char="Ø"/>
              <a:defRPr/>
            </a:pPr>
            <a:r>
              <a:rPr lang="ja-JP" altLang="en-US" sz="1315" b="1" dirty="0">
                <a:solidFill>
                  <a:srgbClr val="000000"/>
                </a:solidFill>
                <a:latin typeface="ＭＳ Ｐゴシック"/>
                <a:ea typeface="ＭＳ Ｐゴシック"/>
                <a:cs typeface="Times New Roman" panose="02020603050405020304" pitchFamily="18" charset="0"/>
              </a:rPr>
              <a:t>災害ハザードエリアにおける開発抑制</a:t>
            </a:r>
            <a:r>
              <a:rPr lang="ja-JP" altLang="en-US" sz="1083" dirty="0">
                <a:solidFill>
                  <a:srgbClr val="000000"/>
                </a:solidFill>
                <a:latin typeface="ＭＳ Ｐゴシック"/>
                <a:ea typeface="ＭＳ Ｐゴシック"/>
              </a:rPr>
              <a:t>とより安全な地域への</a:t>
            </a:r>
            <a:r>
              <a:rPr lang="ja-JP" altLang="en-US" sz="1315" b="1" dirty="0">
                <a:solidFill>
                  <a:srgbClr val="000000"/>
                </a:solidFill>
                <a:latin typeface="ＭＳ Ｐゴシック"/>
                <a:ea typeface="ＭＳ Ｐゴシック"/>
                <a:cs typeface="Times New Roman" panose="02020603050405020304" pitchFamily="18" charset="0"/>
              </a:rPr>
              <a:t>居住誘導</a:t>
            </a:r>
            <a:endParaRPr lang="en-US" altLang="ja-JP" sz="1315" b="1" dirty="0">
              <a:solidFill>
                <a:srgbClr val="000000"/>
              </a:solidFill>
              <a:latin typeface="ＭＳ Ｐゴシック"/>
              <a:ea typeface="ＭＳ Ｐゴシック"/>
              <a:cs typeface="Times New Roman" panose="02020603050405020304" pitchFamily="18" charset="0"/>
            </a:endParaRPr>
          </a:p>
        </p:txBody>
      </p:sp>
      <p:sp>
        <p:nvSpPr>
          <p:cNvPr id="20" name="タイトル 98"/>
          <p:cNvSpPr txBox="1"/>
          <p:nvPr/>
        </p:nvSpPr>
        <p:spPr>
          <a:xfrm>
            <a:off x="2" y="63426"/>
            <a:ext cx="9904412" cy="557054"/>
          </a:xfrm>
          <a:prstGeom prst="rect">
            <a:avLst/>
          </a:prstGeom>
        </p:spPr>
        <p:txBody>
          <a:bodyPr anchor="ct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5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11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16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221"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717312"/>
            <a:r>
              <a:rPr lang="ja-JP" altLang="en-US" sz="2400" kern="0" dirty="0">
                <a:latin typeface="HGP創英角ｺﾞｼｯｸUB"/>
                <a:ea typeface="HGP創英角ｺﾞｼｯｸUB"/>
              </a:rPr>
              <a:t>国土の刷新に向けた重点テーマ　</a:t>
            </a:r>
            <a:r>
              <a:rPr lang="en-US" altLang="ja-JP" sz="2400" kern="0" dirty="0">
                <a:latin typeface="HGP創英角ｺﾞｼｯｸUB"/>
                <a:ea typeface="HGP創英角ｺﾞｼｯｸUB"/>
              </a:rPr>
              <a:t>【</a:t>
            </a:r>
            <a:r>
              <a:rPr lang="ja-JP" altLang="en-US" sz="2400" kern="0" dirty="0">
                <a:latin typeface="HGP創英角ｺﾞｼｯｸUB"/>
                <a:ea typeface="HGP創英角ｺﾞｼｯｸUB"/>
              </a:rPr>
              <a:t>産業、環境、国土利用・管理</a:t>
            </a:r>
            <a:r>
              <a:rPr lang="en-US" altLang="ja-JP" sz="2400" kern="0" dirty="0">
                <a:latin typeface="HGP創英角ｺﾞｼｯｸUB"/>
                <a:ea typeface="HGP創英角ｺﾞｼｯｸUB"/>
              </a:rPr>
              <a:t>】</a:t>
            </a:r>
            <a:endParaRPr lang="ja-JP" altLang="en-US" sz="2400" kern="0" dirty="0">
              <a:latin typeface="HGP創英角ｺﾞｼｯｸUB"/>
              <a:ea typeface="HGP創英角ｺﾞｼｯｸUB"/>
            </a:endParaRPr>
          </a:p>
        </p:txBody>
      </p:sp>
      <p:pic>
        <p:nvPicPr>
          <p:cNvPr id="21" name="図 20"/>
          <p:cNvPicPr>
            <a:picLocks noChangeAspect="1"/>
          </p:cNvPicPr>
          <p:nvPr/>
        </p:nvPicPr>
        <p:blipFill>
          <a:blip r:embed="rId4"/>
          <a:stretch>
            <a:fillRect/>
          </a:stretch>
        </p:blipFill>
        <p:spPr>
          <a:xfrm>
            <a:off x="2785268" y="3636031"/>
            <a:ext cx="1676249" cy="1197665"/>
          </a:xfrm>
          <a:prstGeom prst="rect">
            <a:avLst/>
          </a:prstGeom>
        </p:spPr>
      </p:pic>
      <p:sp>
        <p:nvSpPr>
          <p:cNvPr id="22" name="テキスト ボックス 21">
            <a:extLst>
              <a:ext uri="{FF2B5EF4-FFF2-40B4-BE49-F238E27FC236}">
                <a16:creationId xmlns:a16="http://schemas.microsoft.com/office/drawing/2014/main" id="{13B3E12B-8FF6-4262-B053-C8D197EA1B90}"/>
              </a:ext>
            </a:extLst>
          </p:cNvPr>
          <p:cNvSpPr txBox="1"/>
          <p:nvPr/>
        </p:nvSpPr>
        <p:spPr>
          <a:xfrm>
            <a:off x="222821" y="4887962"/>
            <a:ext cx="2476098" cy="242374"/>
          </a:xfrm>
          <a:prstGeom prst="rect">
            <a:avLst/>
          </a:prstGeom>
          <a:noFill/>
        </p:spPr>
        <p:txBody>
          <a:bodyPr wrap="square" rtlCol="0">
            <a:spAutoFit/>
          </a:bodyPr>
          <a:lstStyle/>
          <a:p>
            <a:pPr defTabSz="990460">
              <a:defRPr/>
            </a:pPr>
            <a:r>
              <a:rPr lang="ja-JP" altLang="en-US" sz="928" dirty="0">
                <a:solidFill>
                  <a:srgbClr val="000000"/>
                </a:solidFill>
                <a:latin typeface="ＭＳ Ｐゴシック"/>
                <a:ea typeface="ＭＳ Ｐゴシック"/>
              </a:rPr>
              <a:t>高度な半導体工場の国内立地（熊本 </a:t>
            </a:r>
            <a:r>
              <a:rPr lang="en-US" altLang="ja-JP" sz="928" dirty="0">
                <a:solidFill>
                  <a:srgbClr val="000000"/>
                </a:solidFill>
                <a:latin typeface="ＭＳ Ｐゴシック"/>
                <a:ea typeface="ＭＳ Ｐゴシック"/>
              </a:rPr>
              <a:t>TSMC</a:t>
            </a:r>
            <a:r>
              <a:rPr lang="ja-JP" altLang="en-US" sz="975" dirty="0">
                <a:solidFill>
                  <a:srgbClr val="000000"/>
                </a:solidFill>
                <a:latin typeface="ＭＳ Ｐゴシック"/>
                <a:ea typeface="ＭＳ Ｐゴシック"/>
              </a:rPr>
              <a:t>）</a:t>
            </a:r>
            <a:endParaRPr lang="en-US" altLang="ja-JP" sz="975" dirty="0">
              <a:solidFill>
                <a:srgbClr val="000000"/>
              </a:solidFill>
              <a:latin typeface="ＭＳ Ｐゴシック"/>
              <a:ea typeface="ＭＳ Ｐゴシック"/>
            </a:endParaRPr>
          </a:p>
        </p:txBody>
      </p:sp>
      <p:sp>
        <p:nvSpPr>
          <p:cNvPr id="23" name="テキスト ボックス 22">
            <a:extLst>
              <a:ext uri="{FF2B5EF4-FFF2-40B4-BE49-F238E27FC236}">
                <a16:creationId xmlns:a16="http://schemas.microsoft.com/office/drawing/2014/main" id="{13B3E12B-8FF6-4262-B053-C8D197EA1B90}"/>
              </a:ext>
            </a:extLst>
          </p:cNvPr>
          <p:cNvSpPr txBox="1"/>
          <p:nvPr/>
        </p:nvSpPr>
        <p:spPr>
          <a:xfrm>
            <a:off x="2646003" y="4798070"/>
            <a:ext cx="2077605" cy="377924"/>
          </a:xfrm>
          <a:prstGeom prst="rect">
            <a:avLst/>
          </a:prstGeom>
          <a:noFill/>
        </p:spPr>
        <p:txBody>
          <a:bodyPr wrap="square" rtlCol="0">
            <a:spAutoFit/>
          </a:bodyPr>
          <a:lstStyle/>
          <a:p>
            <a:pPr defTabSz="990460">
              <a:defRPr/>
            </a:pPr>
            <a:r>
              <a:rPr lang="ja-JP" altLang="en-US" sz="928" dirty="0">
                <a:solidFill>
                  <a:srgbClr val="000000"/>
                </a:solidFill>
                <a:latin typeface="Arial" panose="020B0604020202020204" pitchFamily="34" charset="0"/>
                <a:ea typeface="ＭＳ Ｐゴシック" panose="020B0600070205080204" charset="-128"/>
              </a:rPr>
              <a:t>アンモニア混焼実証事業が行われる</a:t>
            </a:r>
            <a:endParaRPr lang="en-US" altLang="ja-JP" sz="928" dirty="0">
              <a:solidFill>
                <a:srgbClr val="000000"/>
              </a:solidFill>
              <a:latin typeface="Arial" panose="020B0604020202020204" pitchFamily="34" charset="0"/>
              <a:ea typeface="ＭＳ Ｐゴシック" panose="020B0600070205080204" charset="-128"/>
            </a:endParaRPr>
          </a:p>
          <a:p>
            <a:pPr defTabSz="990460">
              <a:defRPr/>
            </a:pPr>
            <a:r>
              <a:rPr lang="ja-JP" altLang="en-US" sz="928" dirty="0">
                <a:solidFill>
                  <a:srgbClr val="000000"/>
                </a:solidFill>
                <a:latin typeface="Arial" panose="020B0604020202020204" pitchFamily="34" charset="0"/>
                <a:ea typeface="ＭＳ Ｐゴシック" panose="020B0600070205080204" charset="-128"/>
              </a:rPr>
              <a:t>愛知県碧南火力発電所</a:t>
            </a:r>
            <a:endParaRPr lang="en-US" altLang="ja-JP" sz="928" dirty="0">
              <a:solidFill>
                <a:srgbClr val="000000"/>
              </a:solidFill>
              <a:latin typeface="Arial" panose="020B0604020202020204" pitchFamily="34" charset="0"/>
              <a:ea typeface="ＭＳ Ｐゴシック" panose="020B0600070205080204" charset="-128"/>
            </a:endParaRPr>
          </a:p>
        </p:txBody>
      </p:sp>
      <p:sp>
        <p:nvSpPr>
          <p:cNvPr id="24" name="テキスト ボックス 23">
            <a:extLst>
              <a:ext uri="{FF2B5EF4-FFF2-40B4-BE49-F238E27FC236}">
                <a16:creationId xmlns:a16="http://schemas.microsoft.com/office/drawing/2014/main" id="{13B3E12B-8FF6-4262-B053-C8D197EA1B90}"/>
              </a:ext>
            </a:extLst>
          </p:cNvPr>
          <p:cNvSpPr txBox="1"/>
          <p:nvPr/>
        </p:nvSpPr>
        <p:spPr>
          <a:xfrm>
            <a:off x="8021571" y="4889402"/>
            <a:ext cx="1515158" cy="235129"/>
          </a:xfrm>
          <a:prstGeom prst="rect">
            <a:avLst/>
          </a:prstGeom>
          <a:noFill/>
        </p:spPr>
        <p:txBody>
          <a:bodyPr wrap="none" rtlCol="0">
            <a:spAutoFit/>
          </a:bodyPr>
          <a:lstStyle/>
          <a:p>
            <a:pPr defTabSz="990460">
              <a:defRPr/>
            </a:pPr>
            <a:r>
              <a:rPr lang="ja-JP" altLang="en-US" sz="928" dirty="0">
                <a:solidFill>
                  <a:srgbClr val="000000"/>
                </a:solidFill>
                <a:latin typeface="ＭＳ Ｐゴシック"/>
                <a:ea typeface="ＭＳ Ｐゴシック"/>
              </a:rPr>
              <a:t>ハイブリッドダムのイメージ</a:t>
            </a:r>
            <a:endParaRPr lang="en-US" altLang="ja-JP" sz="928" dirty="0">
              <a:solidFill>
                <a:srgbClr val="000000"/>
              </a:solidFill>
              <a:latin typeface="ＭＳ Ｐゴシック"/>
              <a:ea typeface="ＭＳ Ｐゴシック"/>
            </a:endParaRPr>
          </a:p>
        </p:txBody>
      </p:sp>
      <p:sp>
        <p:nvSpPr>
          <p:cNvPr id="25" name="テキスト ボックス 24">
            <a:extLst>
              <a:ext uri="{FF2B5EF4-FFF2-40B4-BE49-F238E27FC236}">
                <a16:creationId xmlns:a16="http://schemas.microsoft.com/office/drawing/2014/main" id="{13B3E12B-8FF6-4262-B053-C8D197EA1B90}"/>
              </a:ext>
            </a:extLst>
          </p:cNvPr>
          <p:cNvSpPr txBox="1"/>
          <p:nvPr/>
        </p:nvSpPr>
        <p:spPr>
          <a:xfrm>
            <a:off x="7381971" y="7336234"/>
            <a:ext cx="2088951" cy="235129"/>
          </a:xfrm>
          <a:prstGeom prst="rect">
            <a:avLst/>
          </a:prstGeom>
          <a:noFill/>
        </p:spPr>
        <p:txBody>
          <a:bodyPr wrap="square" rtlCol="0">
            <a:spAutoFit/>
          </a:bodyPr>
          <a:lstStyle/>
          <a:p>
            <a:pPr algn="ctr" defTabSz="990460">
              <a:defRPr/>
            </a:pPr>
            <a:r>
              <a:rPr lang="ja-JP" altLang="en-US" sz="928" dirty="0">
                <a:solidFill>
                  <a:srgbClr val="000000"/>
                </a:solidFill>
                <a:latin typeface="Arial" panose="020B0604020202020204" pitchFamily="34" charset="0"/>
                <a:ea typeface="ＭＳ Ｐゴシック" panose="020B0600070205080204" charset="-128"/>
              </a:rPr>
              <a:t>流域治水の推進</a:t>
            </a:r>
            <a:endParaRPr lang="en-US" altLang="ja-JP" sz="928" dirty="0">
              <a:solidFill>
                <a:srgbClr val="000000"/>
              </a:solidFill>
              <a:latin typeface="Arial" panose="020B0604020202020204" pitchFamily="34" charset="0"/>
              <a:ea typeface="ＭＳ Ｐゴシック" panose="020B0600070205080204" charset="-128"/>
            </a:endParaRPr>
          </a:p>
        </p:txBody>
      </p:sp>
      <p:pic>
        <p:nvPicPr>
          <p:cNvPr id="26" name="図 25"/>
          <p:cNvPicPr>
            <a:picLocks noChangeAspect="1"/>
          </p:cNvPicPr>
          <p:nvPr/>
        </p:nvPicPr>
        <p:blipFill>
          <a:blip r:embed="rId5"/>
          <a:stretch>
            <a:fillRect/>
          </a:stretch>
        </p:blipFill>
        <p:spPr>
          <a:xfrm>
            <a:off x="7328010" y="5696047"/>
            <a:ext cx="2155806" cy="1735832"/>
          </a:xfrm>
          <a:prstGeom prst="rect">
            <a:avLst/>
          </a:prstGeom>
        </p:spPr>
      </p:pic>
      <p:grpSp>
        <p:nvGrpSpPr>
          <p:cNvPr id="27" name="グループ化 26"/>
          <p:cNvGrpSpPr>
            <a:grpSpLocks noChangeAspect="1"/>
          </p:cNvGrpSpPr>
          <p:nvPr/>
        </p:nvGrpSpPr>
        <p:grpSpPr>
          <a:xfrm>
            <a:off x="7756517" y="3396049"/>
            <a:ext cx="1732755" cy="1451573"/>
            <a:chOff x="10025413" y="5059738"/>
            <a:chExt cx="1373077" cy="1150261"/>
          </a:xfrm>
        </p:grpSpPr>
        <p:grpSp>
          <p:nvGrpSpPr>
            <p:cNvPr id="28" name="グループ化 27"/>
            <p:cNvGrpSpPr>
              <a:grpSpLocks noChangeAspect="1"/>
            </p:cNvGrpSpPr>
            <p:nvPr/>
          </p:nvGrpSpPr>
          <p:grpSpPr>
            <a:xfrm>
              <a:off x="10025413" y="5059738"/>
              <a:ext cx="1373077" cy="1150261"/>
              <a:chOff x="10152451" y="511890"/>
              <a:chExt cx="2783891" cy="2332133"/>
            </a:xfrm>
          </p:grpSpPr>
          <p:sp>
            <p:nvSpPr>
              <p:cNvPr id="30" name="テキスト ボックス 29"/>
              <p:cNvSpPr txBox="1"/>
              <p:nvPr/>
            </p:nvSpPr>
            <p:spPr>
              <a:xfrm>
                <a:off x="11035696" y="511890"/>
                <a:ext cx="797134" cy="282371"/>
              </a:xfrm>
              <a:prstGeom prst="rect">
                <a:avLst/>
              </a:prstGeom>
              <a:noFill/>
            </p:spPr>
            <p:txBody>
              <a:bodyPr wrap="square" rtlCol="0">
                <a:spAutoFit/>
              </a:bodyPr>
              <a:lstStyle/>
              <a:p>
                <a:pPr defTabSz="707471" fontAlgn="auto">
                  <a:spcBef>
                    <a:spcPts val="0"/>
                  </a:spcBef>
                  <a:spcAft>
                    <a:spcPts val="0"/>
                  </a:spcAft>
                  <a:defRPr/>
                </a:pPr>
                <a:r>
                  <a:rPr lang="ja-JP" altLang="en-US" sz="542" b="1" dirty="0">
                    <a:solidFill>
                      <a:prstClr val="black"/>
                    </a:solidFill>
                    <a:latin typeface="ＭＳ Ｐゴシック"/>
                    <a:ea typeface="ＭＳ Ｐゴシック"/>
                  </a:rPr>
                  <a:t>嵩上げ</a:t>
                </a:r>
              </a:p>
            </p:txBody>
          </p:sp>
          <p:sp>
            <p:nvSpPr>
              <p:cNvPr id="31" name="台形 2"/>
              <p:cNvSpPr/>
              <p:nvPr/>
            </p:nvSpPr>
            <p:spPr>
              <a:xfrm>
                <a:off x="11055007" y="1054229"/>
                <a:ext cx="590955" cy="1781041"/>
              </a:xfrm>
              <a:custGeom>
                <a:avLst/>
                <a:gdLst>
                  <a:gd name="connsiteX0" fmla="*/ 0 w 432048"/>
                  <a:gd name="connsiteY0" fmla="*/ 1512168 h 1512168"/>
                  <a:gd name="connsiteX1" fmla="*/ 108012 w 432048"/>
                  <a:gd name="connsiteY1" fmla="*/ 0 h 1512168"/>
                  <a:gd name="connsiteX2" fmla="*/ 324036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108012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246558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048" h="1512168">
                    <a:moveTo>
                      <a:pt x="0" y="1512168"/>
                    </a:moveTo>
                    <a:lnTo>
                      <a:pt x="246558" y="0"/>
                    </a:lnTo>
                    <a:lnTo>
                      <a:pt x="421018" y="0"/>
                    </a:lnTo>
                    <a:cubicBezTo>
                      <a:pt x="424695" y="504056"/>
                      <a:pt x="428371" y="1008112"/>
                      <a:pt x="432048" y="1512168"/>
                    </a:cubicBezTo>
                    <a:lnTo>
                      <a:pt x="0" y="1512168"/>
                    </a:lnTo>
                    <a:close/>
                  </a:path>
                </a:pathLst>
              </a:custGeom>
              <a:solidFill>
                <a:srgbClr val="FFFFFF">
                  <a:lumMod val="85000"/>
                </a:srgbClr>
              </a:solidFill>
              <a:ln w="25400" cap="flat" cmpd="sng" algn="ctr">
                <a:solidFill>
                  <a:srgbClr val="FFFFFF">
                    <a:lumMod val="65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32" name="正方形/長方形 31"/>
              <p:cNvSpPr/>
              <p:nvPr/>
            </p:nvSpPr>
            <p:spPr>
              <a:xfrm>
                <a:off x="11672934" y="1973383"/>
                <a:ext cx="1072675" cy="772558"/>
              </a:xfrm>
              <a:prstGeom prst="rect">
                <a:avLst/>
              </a:prstGeom>
              <a:solidFill>
                <a:srgbClr val="FFCCFF"/>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33" name="正方形/長方形 32"/>
              <p:cNvSpPr/>
              <p:nvPr/>
            </p:nvSpPr>
            <p:spPr>
              <a:xfrm>
                <a:off x="11669488" y="1131471"/>
                <a:ext cx="1076121" cy="839872"/>
              </a:xfrm>
              <a:prstGeom prst="rect">
                <a:avLst/>
              </a:prstGeom>
              <a:solidFill>
                <a:srgbClr val="BBE0E3"/>
              </a:solidFill>
              <a:ln w="25400" cap="flat" cmpd="sng" algn="ctr">
                <a:solidFill>
                  <a:srgbClr val="808080"/>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34" name="台形 2"/>
              <p:cNvSpPr/>
              <p:nvPr/>
            </p:nvSpPr>
            <p:spPr>
              <a:xfrm>
                <a:off x="11405753" y="790128"/>
                <a:ext cx="216180" cy="255348"/>
              </a:xfrm>
              <a:custGeom>
                <a:avLst/>
                <a:gdLst>
                  <a:gd name="connsiteX0" fmla="*/ 0 w 432048"/>
                  <a:gd name="connsiteY0" fmla="*/ 1512168 h 1512168"/>
                  <a:gd name="connsiteX1" fmla="*/ 108012 w 432048"/>
                  <a:gd name="connsiteY1" fmla="*/ 0 h 1512168"/>
                  <a:gd name="connsiteX2" fmla="*/ 324036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108012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246558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185496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 name="connsiteX0" fmla="*/ 0 w 446972"/>
                  <a:gd name="connsiteY0" fmla="*/ 1530970 h 1530970"/>
                  <a:gd name="connsiteX1" fmla="*/ 185496 w 446972"/>
                  <a:gd name="connsiteY1" fmla="*/ 18802 h 1530970"/>
                  <a:gd name="connsiteX2" fmla="*/ 446553 w 446972"/>
                  <a:gd name="connsiteY2" fmla="*/ 0 h 1530970"/>
                  <a:gd name="connsiteX3" fmla="*/ 432048 w 446972"/>
                  <a:gd name="connsiteY3" fmla="*/ 1530970 h 1530970"/>
                  <a:gd name="connsiteX4" fmla="*/ 0 w 446972"/>
                  <a:gd name="connsiteY4" fmla="*/ 1530970 h 1530970"/>
                  <a:gd name="connsiteX0" fmla="*/ 0 w 440739"/>
                  <a:gd name="connsiteY0" fmla="*/ 1530970 h 1530970"/>
                  <a:gd name="connsiteX1" fmla="*/ 185496 w 440739"/>
                  <a:gd name="connsiteY1" fmla="*/ 18802 h 1530970"/>
                  <a:gd name="connsiteX2" fmla="*/ 440170 w 440739"/>
                  <a:gd name="connsiteY2" fmla="*/ 0 h 1530970"/>
                  <a:gd name="connsiteX3" fmla="*/ 432048 w 440739"/>
                  <a:gd name="connsiteY3" fmla="*/ 1530970 h 1530970"/>
                  <a:gd name="connsiteX4" fmla="*/ 0 w 440739"/>
                  <a:gd name="connsiteY4" fmla="*/ 1530970 h 1530970"/>
                  <a:gd name="connsiteX0" fmla="*/ 0 w 432049"/>
                  <a:gd name="connsiteY0" fmla="*/ 1530970 h 1530970"/>
                  <a:gd name="connsiteX1" fmla="*/ 185496 w 432049"/>
                  <a:gd name="connsiteY1" fmla="*/ 18802 h 1530970"/>
                  <a:gd name="connsiteX2" fmla="*/ 427402 w 432049"/>
                  <a:gd name="connsiteY2" fmla="*/ 0 h 1530970"/>
                  <a:gd name="connsiteX3" fmla="*/ 432048 w 432049"/>
                  <a:gd name="connsiteY3" fmla="*/ 1530970 h 1530970"/>
                  <a:gd name="connsiteX4" fmla="*/ 0 w 432049"/>
                  <a:gd name="connsiteY4" fmla="*/ 1530970 h 1530970"/>
                  <a:gd name="connsiteX0" fmla="*/ 0 w 434679"/>
                  <a:gd name="connsiteY0" fmla="*/ 1512168 h 1512168"/>
                  <a:gd name="connsiteX1" fmla="*/ 185496 w 434679"/>
                  <a:gd name="connsiteY1" fmla="*/ 0 h 1512168"/>
                  <a:gd name="connsiteX2" fmla="*/ 433786 w 434679"/>
                  <a:gd name="connsiteY2" fmla="*/ 0 h 1512168"/>
                  <a:gd name="connsiteX3" fmla="*/ 432048 w 434679"/>
                  <a:gd name="connsiteY3" fmla="*/ 1512168 h 1512168"/>
                  <a:gd name="connsiteX4" fmla="*/ 0 w 434679"/>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79" h="1512168">
                    <a:moveTo>
                      <a:pt x="0" y="1512168"/>
                    </a:moveTo>
                    <a:lnTo>
                      <a:pt x="185496" y="0"/>
                    </a:lnTo>
                    <a:lnTo>
                      <a:pt x="433786" y="0"/>
                    </a:lnTo>
                    <a:cubicBezTo>
                      <a:pt x="437463" y="504056"/>
                      <a:pt x="428371" y="1008112"/>
                      <a:pt x="432048" y="1512168"/>
                    </a:cubicBezTo>
                    <a:lnTo>
                      <a:pt x="0" y="1512168"/>
                    </a:lnTo>
                    <a:close/>
                  </a:path>
                </a:pathLst>
              </a:custGeom>
              <a:solidFill>
                <a:srgbClr val="FF33CC"/>
              </a:solidFill>
              <a:ln w="25400" cap="flat" cmpd="sng" algn="ctr">
                <a:solidFill>
                  <a:srgbClr val="FFFFFF">
                    <a:lumMod val="65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35" name="テキスト ボックス 206">
                <a:extLst>
                  <a:ext uri="{FF2B5EF4-FFF2-40B4-BE49-F238E27FC236}">
                    <a16:creationId xmlns:a16="http://schemas.microsoft.com/office/drawing/2014/main" id="{B50C73CD-9EDF-EEC7-7A4D-EBB3BA3E9FB4}"/>
                  </a:ext>
                </a:extLst>
              </p:cNvPr>
              <p:cNvSpPr txBox="1"/>
              <p:nvPr/>
            </p:nvSpPr>
            <p:spPr>
              <a:xfrm>
                <a:off x="11640588" y="1135697"/>
                <a:ext cx="1148448" cy="282371"/>
              </a:xfrm>
              <a:prstGeom prst="rect">
                <a:avLst/>
              </a:prstGeom>
              <a:noFill/>
            </p:spPr>
            <p:txBody>
              <a:bodyPr wrap="square" rtlCol="0">
                <a:spAutoFit/>
              </a:bodyPr>
              <a:lstStyle>
                <a:defPPr>
                  <a:defRPr lang="ja-JP"/>
                </a:defPPr>
                <a:lvl1pPr marL="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1pPr>
                <a:lvl2pPr marL="4572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2pPr>
                <a:lvl3pPr marL="9144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3pPr>
                <a:lvl4pPr marL="13716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4pPr>
                <a:lvl5pPr marL="18288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5pPr>
                <a:lvl6pPr marL="22860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6pPr>
                <a:lvl7pPr marL="27432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7pPr>
                <a:lvl8pPr marL="32004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8pPr>
                <a:lvl9pPr marL="36576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9pPr>
              </a:lstStyle>
              <a:p>
                <a:pPr algn="ctr" defTabSz="355196" fontAlgn="auto">
                  <a:spcBef>
                    <a:spcPts val="0"/>
                  </a:spcBef>
                  <a:spcAft>
                    <a:spcPts val="0"/>
                  </a:spcAft>
                  <a:defRPr/>
                </a:pPr>
                <a:r>
                  <a:rPr lang="ja-JP" altLang="en-US" sz="542" b="1" dirty="0">
                    <a:solidFill>
                      <a:srgbClr val="0070C0"/>
                    </a:solidFill>
                    <a:latin typeface="Calibri"/>
                  </a:rPr>
                  <a:t>洪水調節容量</a:t>
                </a:r>
              </a:p>
            </p:txBody>
          </p:sp>
          <p:sp>
            <p:nvSpPr>
              <p:cNvPr id="36" name="テキスト ボックス 207">
                <a:extLst>
                  <a:ext uri="{FF2B5EF4-FFF2-40B4-BE49-F238E27FC236}">
                    <a16:creationId xmlns:a16="http://schemas.microsoft.com/office/drawing/2014/main" id="{55158992-645C-964C-67D6-099D9ECA1795}"/>
                  </a:ext>
                </a:extLst>
              </p:cNvPr>
              <p:cNvSpPr txBox="1"/>
              <p:nvPr/>
            </p:nvSpPr>
            <p:spPr>
              <a:xfrm>
                <a:off x="11794646" y="2429949"/>
                <a:ext cx="899788" cy="282371"/>
              </a:xfrm>
              <a:prstGeom prst="rect">
                <a:avLst/>
              </a:prstGeom>
              <a:noFill/>
            </p:spPr>
            <p:txBody>
              <a:bodyPr wrap="square" rtlCol="0">
                <a:spAutoFit/>
              </a:bodyPr>
              <a:lstStyle>
                <a:defPPr>
                  <a:defRPr lang="ja-JP"/>
                </a:defPPr>
                <a:lvl1pPr marL="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1pPr>
                <a:lvl2pPr marL="4572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2pPr>
                <a:lvl3pPr marL="9144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3pPr>
                <a:lvl4pPr marL="13716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4pPr>
                <a:lvl5pPr marL="18288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5pPr>
                <a:lvl6pPr marL="22860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6pPr>
                <a:lvl7pPr marL="27432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7pPr>
                <a:lvl8pPr marL="32004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8pPr>
                <a:lvl9pPr marL="36576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9pPr>
              </a:lstStyle>
              <a:p>
                <a:pPr algn="ctr" defTabSz="355196" fontAlgn="auto">
                  <a:spcBef>
                    <a:spcPts val="0"/>
                  </a:spcBef>
                  <a:spcAft>
                    <a:spcPts val="0"/>
                  </a:spcAft>
                  <a:defRPr/>
                </a:pPr>
                <a:r>
                  <a:rPr lang="ja-JP" altLang="en-US" sz="542" b="1" dirty="0">
                    <a:solidFill>
                      <a:srgbClr val="FF0000"/>
                    </a:solidFill>
                    <a:latin typeface="Calibri"/>
                  </a:rPr>
                  <a:t>利水容量</a:t>
                </a:r>
              </a:p>
            </p:txBody>
          </p:sp>
          <p:sp>
            <p:nvSpPr>
              <p:cNvPr id="37" name="フリーフォーム 36"/>
              <p:cNvSpPr/>
              <p:nvPr/>
            </p:nvSpPr>
            <p:spPr>
              <a:xfrm>
                <a:off x="11205757" y="1699279"/>
                <a:ext cx="449599" cy="285750"/>
              </a:xfrm>
              <a:custGeom>
                <a:avLst/>
                <a:gdLst>
                  <a:gd name="connsiteX0" fmla="*/ 0 w 447675"/>
                  <a:gd name="connsiteY0" fmla="*/ 285750 h 285750"/>
                  <a:gd name="connsiteX1" fmla="*/ 447675 w 447675"/>
                  <a:gd name="connsiteY1" fmla="*/ 285750 h 285750"/>
                  <a:gd name="connsiteX2" fmla="*/ 438150 w 447675"/>
                  <a:gd name="connsiteY2" fmla="*/ 0 h 285750"/>
                  <a:gd name="connsiteX3" fmla="*/ 76200 w 447675"/>
                  <a:gd name="connsiteY3" fmla="*/ 0 h 285750"/>
                  <a:gd name="connsiteX4" fmla="*/ 0 w 447675"/>
                  <a:gd name="connsiteY4" fmla="*/ 285750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5" h="285750">
                    <a:moveTo>
                      <a:pt x="0" y="285750"/>
                    </a:moveTo>
                    <a:lnTo>
                      <a:pt x="447675" y="285750"/>
                    </a:lnTo>
                    <a:lnTo>
                      <a:pt x="438150" y="0"/>
                    </a:lnTo>
                    <a:lnTo>
                      <a:pt x="76200" y="0"/>
                    </a:lnTo>
                    <a:lnTo>
                      <a:pt x="0" y="285750"/>
                    </a:lnTo>
                    <a:close/>
                  </a:path>
                </a:pathLst>
              </a:custGeom>
              <a:solidFill>
                <a:srgbClr val="FFFFFF"/>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38" name="フリーフォーム 37"/>
              <p:cNvSpPr/>
              <p:nvPr/>
            </p:nvSpPr>
            <p:spPr>
              <a:xfrm>
                <a:off x="11051677" y="2609997"/>
                <a:ext cx="609600" cy="180975"/>
              </a:xfrm>
              <a:custGeom>
                <a:avLst/>
                <a:gdLst>
                  <a:gd name="connsiteX0" fmla="*/ 600075 w 609600"/>
                  <a:gd name="connsiteY0" fmla="*/ 85725 h 180975"/>
                  <a:gd name="connsiteX1" fmla="*/ 0 w 609600"/>
                  <a:gd name="connsiteY1" fmla="*/ 180975 h 180975"/>
                  <a:gd name="connsiteX2" fmla="*/ 47625 w 609600"/>
                  <a:gd name="connsiteY2" fmla="*/ 85725 h 180975"/>
                  <a:gd name="connsiteX3" fmla="*/ 609600 w 609600"/>
                  <a:gd name="connsiteY3" fmla="*/ 0 h 180975"/>
                  <a:gd name="connsiteX4" fmla="*/ 600075 w 609600"/>
                  <a:gd name="connsiteY4" fmla="*/ 85725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180975">
                    <a:moveTo>
                      <a:pt x="600075" y="85725"/>
                    </a:moveTo>
                    <a:lnTo>
                      <a:pt x="0" y="180975"/>
                    </a:lnTo>
                    <a:lnTo>
                      <a:pt x="47625" y="85725"/>
                    </a:lnTo>
                    <a:lnTo>
                      <a:pt x="609600" y="0"/>
                    </a:lnTo>
                    <a:lnTo>
                      <a:pt x="600075" y="85725"/>
                    </a:lnTo>
                    <a:close/>
                  </a:path>
                </a:pathLst>
              </a:custGeom>
              <a:solidFill>
                <a:srgbClr val="FFFFFF"/>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39" name="正方形/長方形 38"/>
              <p:cNvSpPr/>
              <p:nvPr/>
            </p:nvSpPr>
            <p:spPr>
              <a:xfrm>
                <a:off x="11675032" y="2706487"/>
                <a:ext cx="1072675" cy="114693"/>
              </a:xfrm>
              <a:prstGeom prst="rect">
                <a:avLst/>
              </a:prstGeom>
              <a:solidFill>
                <a:srgbClr val="FFFFFF">
                  <a:lumMod val="85000"/>
                </a:srgbClr>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40" name="テキスト ボックス 208">
                <a:extLst>
                  <a:ext uri="{FF2B5EF4-FFF2-40B4-BE49-F238E27FC236}">
                    <a16:creationId xmlns:a16="http://schemas.microsoft.com/office/drawing/2014/main" id="{A69F0DCE-00D0-A24A-B1BE-41F5AA8069EA}"/>
                  </a:ext>
                </a:extLst>
              </p:cNvPr>
              <p:cNvSpPr txBox="1"/>
              <p:nvPr/>
            </p:nvSpPr>
            <p:spPr>
              <a:xfrm>
                <a:off x="11022136" y="1265554"/>
                <a:ext cx="853946" cy="416395"/>
              </a:xfrm>
              <a:prstGeom prst="rect">
                <a:avLst/>
              </a:prstGeom>
              <a:noFill/>
              <a:ln/>
            </p:spPr>
            <p:txBody>
              <a:bodyPr wrap="square" rtlCol="0">
                <a:spAutoFit/>
              </a:bodyPr>
              <a:lstStyle/>
              <a:p>
                <a:pPr algn="ctr" defTabSz="355196">
                  <a:spcBef>
                    <a:spcPts val="0"/>
                  </a:spcBef>
                  <a:spcAft>
                    <a:spcPts val="0"/>
                  </a:spcAft>
                  <a:defRPr/>
                </a:pPr>
                <a:r>
                  <a:rPr kumimoji="0" lang="ja-JP" altLang="en-US" sz="542" b="1" kern="0" dirty="0">
                    <a:solidFill>
                      <a:srgbClr val="000000"/>
                    </a:solidFill>
                    <a:latin typeface="Arial"/>
                    <a:ea typeface="ＭＳ Ｐゴシック"/>
                  </a:rPr>
                  <a:t>洪水吐</a:t>
                </a:r>
              </a:p>
              <a:p>
                <a:pPr algn="ctr" defTabSz="355196">
                  <a:spcBef>
                    <a:spcPts val="0"/>
                  </a:spcBef>
                  <a:spcAft>
                    <a:spcPts val="0"/>
                  </a:spcAft>
                  <a:defRPr/>
                </a:pPr>
                <a:r>
                  <a:rPr kumimoji="0" lang="ja-JP" altLang="en-US" sz="542" b="1" kern="0" dirty="0">
                    <a:solidFill>
                      <a:srgbClr val="000000"/>
                    </a:solidFill>
                    <a:latin typeface="Arial"/>
                    <a:ea typeface="ＭＳ Ｐゴシック"/>
                  </a:rPr>
                  <a:t>ゲート</a:t>
                </a:r>
              </a:p>
            </p:txBody>
          </p:sp>
          <p:sp>
            <p:nvSpPr>
              <p:cNvPr id="41" name="正方形/長方形 40">
                <a:extLst>
                  <a:ext uri="{FF2B5EF4-FFF2-40B4-BE49-F238E27FC236}">
                    <a16:creationId xmlns:a16="http://schemas.microsoft.com/office/drawing/2014/main" id="{154DD50D-DF07-1497-3FC5-18B8C53D70FD}"/>
                  </a:ext>
                </a:extLst>
              </p:cNvPr>
              <p:cNvSpPr/>
              <p:nvPr/>
            </p:nvSpPr>
            <p:spPr>
              <a:xfrm>
                <a:off x="10407467" y="2317210"/>
                <a:ext cx="618469" cy="526813"/>
              </a:xfrm>
              <a:prstGeom prst="rect">
                <a:avLst/>
              </a:prstGeom>
              <a:solidFill>
                <a:srgbClr val="BBE0E3"/>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42" name="矢印: 上 2">
                <a:extLst>
                  <a:ext uri="{FF2B5EF4-FFF2-40B4-BE49-F238E27FC236}">
                    <a16:creationId xmlns:a16="http://schemas.microsoft.com/office/drawing/2014/main" id="{08B175C8-87EC-3BCD-E14C-3FE44C2C8962}"/>
                  </a:ext>
                </a:extLst>
              </p:cNvPr>
              <p:cNvSpPr/>
              <p:nvPr/>
            </p:nvSpPr>
            <p:spPr>
              <a:xfrm>
                <a:off x="11692267" y="1542521"/>
                <a:ext cx="144385" cy="414758"/>
              </a:xfrm>
              <a:prstGeom prst="upArrow">
                <a:avLst/>
              </a:prstGeom>
              <a:solidFill>
                <a:srgbClr val="C00000"/>
              </a:solidFill>
              <a:ln w="25400" cap="flat" cmpd="sng" algn="ctr">
                <a:no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43" name="矢印: 上 3">
                <a:extLst>
                  <a:ext uri="{FF2B5EF4-FFF2-40B4-BE49-F238E27FC236}">
                    <a16:creationId xmlns:a16="http://schemas.microsoft.com/office/drawing/2014/main" id="{E3885A58-3018-8EAA-A73D-094750A3B9F1}"/>
                  </a:ext>
                </a:extLst>
              </p:cNvPr>
              <p:cNvSpPr/>
              <p:nvPr/>
            </p:nvSpPr>
            <p:spPr>
              <a:xfrm rot="10800000">
                <a:off x="11689536" y="1978599"/>
                <a:ext cx="144000" cy="413891"/>
              </a:xfrm>
              <a:prstGeom prst="upArrow">
                <a:avLst/>
              </a:prstGeom>
              <a:solidFill>
                <a:srgbClr val="0070C0"/>
              </a:solidFill>
              <a:ln w="25400" cap="flat" cmpd="sng" algn="ctr">
                <a:no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44" name="テキスト ボックス 209">
                <a:extLst>
                  <a:ext uri="{FF2B5EF4-FFF2-40B4-BE49-F238E27FC236}">
                    <a16:creationId xmlns:a16="http://schemas.microsoft.com/office/drawing/2014/main" id="{450A229E-7B1D-84A8-511A-44A056CD22A7}"/>
                  </a:ext>
                </a:extLst>
              </p:cNvPr>
              <p:cNvSpPr txBox="1"/>
              <p:nvPr/>
            </p:nvSpPr>
            <p:spPr>
              <a:xfrm>
                <a:off x="10152451" y="2427862"/>
                <a:ext cx="1139778" cy="282371"/>
              </a:xfrm>
              <a:prstGeom prst="rect">
                <a:avLst/>
              </a:prstGeom>
              <a:noFill/>
              <a:ln/>
            </p:spPr>
            <p:txBody>
              <a:bodyPr wrap="square" rtlCol="0">
                <a:spAutoFit/>
              </a:bodyPr>
              <a:lstStyle/>
              <a:p>
                <a:pPr algn="ctr" defTabSz="355196">
                  <a:spcBef>
                    <a:spcPts val="0"/>
                  </a:spcBef>
                  <a:spcAft>
                    <a:spcPts val="0"/>
                  </a:spcAft>
                  <a:defRPr/>
                </a:pPr>
                <a:r>
                  <a:rPr kumimoji="0" lang="ja-JP" altLang="en-US" sz="542" b="1" kern="0" dirty="0">
                    <a:solidFill>
                      <a:srgbClr val="0070C0"/>
                    </a:solidFill>
                    <a:latin typeface="Arial"/>
                    <a:ea typeface="ＭＳ Ｐゴシック"/>
                  </a:rPr>
                  <a:t>発電施設</a:t>
                </a:r>
              </a:p>
            </p:txBody>
          </p:sp>
          <p:sp>
            <p:nvSpPr>
              <p:cNvPr id="45" name="テキスト ボックス 44"/>
              <p:cNvSpPr txBox="1"/>
              <p:nvPr/>
            </p:nvSpPr>
            <p:spPr>
              <a:xfrm>
                <a:off x="11602560" y="1531367"/>
                <a:ext cx="1333782" cy="377867"/>
              </a:xfrm>
              <a:prstGeom prst="rect">
                <a:avLst/>
              </a:prstGeom>
              <a:noFill/>
              <a:ln>
                <a:noFill/>
              </a:ln>
            </p:spPr>
            <p:txBody>
              <a:bodyPr wrap="square" rtlCol="0">
                <a:spAutoFit/>
              </a:bodyPr>
              <a:lstStyle/>
              <a:p>
                <a:pPr algn="ctr" defTabSz="707467" fontAlgn="auto">
                  <a:spcBef>
                    <a:spcPts val="0"/>
                  </a:spcBef>
                  <a:spcAft>
                    <a:spcPts val="0"/>
                  </a:spcAft>
                  <a:defRPr/>
                </a:pPr>
                <a:r>
                  <a:rPr lang="ja-JP" altLang="en-US" sz="464" b="1" dirty="0">
                    <a:solidFill>
                      <a:srgbClr val="C00000"/>
                    </a:solidFill>
                    <a:latin typeface="Yu Gothic UI" panose="020B0500000000000000" pitchFamily="50" charset="-128"/>
                    <a:ea typeface="Yu Gothic UI" panose="020B0500000000000000" pitchFamily="50" charset="-128"/>
                  </a:rPr>
                  <a:t>雨が予測されない場合</a:t>
                </a:r>
                <a:endParaRPr lang="en-US" altLang="ja-JP" sz="464" b="1" dirty="0">
                  <a:solidFill>
                    <a:srgbClr val="C00000"/>
                  </a:solidFill>
                  <a:latin typeface="Yu Gothic UI" panose="020B0500000000000000" pitchFamily="50" charset="-128"/>
                  <a:ea typeface="Yu Gothic UI" panose="020B0500000000000000" pitchFamily="50" charset="-128"/>
                </a:endParaRPr>
              </a:p>
              <a:p>
                <a:pPr algn="ctr" defTabSz="707467" fontAlgn="auto">
                  <a:spcBef>
                    <a:spcPts val="0"/>
                  </a:spcBef>
                  <a:spcAft>
                    <a:spcPts val="0"/>
                  </a:spcAft>
                  <a:defRPr/>
                </a:pPr>
                <a:r>
                  <a:rPr lang="ja-JP" altLang="en-US" sz="464" b="1" dirty="0">
                    <a:solidFill>
                      <a:srgbClr val="C00000"/>
                    </a:solidFill>
                    <a:latin typeface="Yu Gothic UI" panose="020B0500000000000000" pitchFamily="50" charset="-128"/>
                    <a:ea typeface="Yu Gothic UI" panose="020B0500000000000000" pitchFamily="50" charset="-128"/>
                  </a:rPr>
                  <a:t>貯水位を上昇</a:t>
                </a:r>
              </a:p>
            </p:txBody>
          </p:sp>
          <p:sp>
            <p:nvSpPr>
              <p:cNvPr id="46" name="テキスト ボックス 45"/>
              <p:cNvSpPr txBox="1"/>
              <p:nvPr/>
            </p:nvSpPr>
            <p:spPr>
              <a:xfrm>
                <a:off x="11720500" y="1950610"/>
                <a:ext cx="1007167" cy="377867"/>
              </a:xfrm>
              <a:prstGeom prst="rect">
                <a:avLst/>
              </a:prstGeom>
              <a:noFill/>
              <a:ln>
                <a:noFill/>
              </a:ln>
            </p:spPr>
            <p:txBody>
              <a:bodyPr wrap="square" rtlCol="0">
                <a:spAutoFit/>
              </a:bodyPr>
              <a:lstStyle/>
              <a:p>
                <a:pPr algn="ctr" defTabSz="707467" fontAlgn="auto">
                  <a:spcBef>
                    <a:spcPts val="0"/>
                  </a:spcBef>
                  <a:spcAft>
                    <a:spcPts val="0"/>
                  </a:spcAft>
                  <a:defRPr/>
                </a:pPr>
                <a:r>
                  <a:rPr lang="ja-JP" altLang="en-US" sz="464" b="1" dirty="0">
                    <a:solidFill>
                      <a:srgbClr val="4133C8"/>
                    </a:solidFill>
                    <a:latin typeface="Yu Gothic UI" panose="020B0500000000000000" pitchFamily="50" charset="-128"/>
                    <a:ea typeface="Yu Gothic UI" panose="020B0500000000000000" pitchFamily="50" charset="-128"/>
                  </a:rPr>
                  <a:t>洪水前に</a:t>
                </a:r>
                <a:endParaRPr lang="en-US" altLang="ja-JP" sz="464" b="1" dirty="0">
                  <a:solidFill>
                    <a:srgbClr val="4133C8"/>
                  </a:solidFill>
                  <a:latin typeface="Yu Gothic UI" panose="020B0500000000000000" pitchFamily="50" charset="-128"/>
                  <a:ea typeface="Yu Gothic UI" panose="020B0500000000000000" pitchFamily="50" charset="-128"/>
                </a:endParaRPr>
              </a:p>
              <a:p>
                <a:pPr algn="ctr" defTabSz="707467" fontAlgn="auto">
                  <a:spcBef>
                    <a:spcPts val="0"/>
                  </a:spcBef>
                  <a:spcAft>
                    <a:spcPts val="0"/>
                  </a:spcAft>
                  <a:defRPr/>
                </a:pPr>
                <a:r>
                  <a:rPr lang="ja-JP" altLang="en-US" sz="464" b="1" dirty="0">
                    <a:solidFill>
                      <a:srgbClr val="4133C8"/>
                    </a:solidFill>
                    <a:latin typeface="Yu Gothic UI" panose="020B0500000000000000" pitchFamily="50" charset="-128"/>
                    <a:ea typeface="Yu Gothic UI" panose="020B0500000000000000" pitchFamily="50" charset="-128"/>
                  </a:rPr>
                  <a:t>貯水位を低下</a:t>
                </a:r>
                <a:endParaRPr lang="en-US" altLang="ja-JP" sz="464" b="1" dirty="0">
                  <a:solidFill>
                    <a:srgbClr val="4133C8"/>
                  </a:solidFill>
                  <a:latin typeface="Yu Gothic UI" panose="020B0500000000000000" pitchFamily="50" charset="-128"/>
                  <a:ea typeface="Yu Gothic UI" panose="020B0500000000000000" pitchFamily="50" charset="-128"/>
                </a:endParaRPr>
              </a:p>
            </p:txBody>
          </p:sp>
          <p:sp>
            <p:nvSpPr>
              <p:cNvPr id="47" name="テキスト ボックス 209">
                <a:extLst>
                  <a:ext uri="{FF2B5EF4-FFF2-40B4-BE49-F238E27FC236}">
                    <a16:creationId xmlns:a16="http://schemas.microsoft.com/office/drawing/2014/main" id="{450A229E-7B1D-84A8-511A-44A056CD22A7}"/>
                  </a:ext>
                </a:extLst>
              </p:cNvPr>
              <p:cNvSpPr txBox="1"/>
              <p:nvPr/>
            </p:nvSpPr>
            <p:spPr>
              <a:xfrm>
                <a:off x="10854060" y="2251979"/>
                <a:ext cx="1042550" cy="416395"/>
              </a:xfrm>
              <a:prstGeom prst="rect">
                <a:avLst/>
              </a:prstGeom>
              <a:noFill/>
              <a:ln/>
            </p:spPr>
            <p:txBody>
              <a:bodyPr wrap="square" rtlCol="0">
                <a:spAutoFit/>
              </a:bodyPr>
              <a:lstStyle/>
              <a:p>
                <a:pPr algn="ctr" defTabSz="355196">
                  <a:spcBef>
                    <a:spcPts val="0"/>
                  </a:spcBef>
                  <a:spcAft>
                    <a:spcPts val="0"/>
                  </a:spcAft>
                  <a:defRPr/>
                </a:pPr>
                <a:r>
                  <a:rPr kumimoji="0" lang="ja-JP" altLang="en-US" sz="542" b="1" kern="0" dirty="0">
                    <a:solidFill>
                      <a:srgbClr val="000000"/>
                    </a:solidFill>
                    <a:latin typeface="Arial"/>
                    <a:ea typeface="ＭＳ Ｐゴシック"/>
                  </a:rPr>
                  <a:t>発電</a:t>
                </a:r>
              </a:p>
              <a:p>
                <a:pPr algn="ctr" defTabSz="355196">
                  <a:spcBef>
                    <a:spcPts val="0"/>
                  </a:spcBef>
                  <a:spcAft>
                    <a:spcPts val="0"/>
                  </a:spcAft>
                  <a:defRPr/>
                </a:pPr>
                <a:r>
                  <a:rPr kumimoji="0" lang="ja-JP" altLang="en-US" sz="542" b="1" kern="0" dirty="0">
                    <a:solidFill>
                      <a:srgbClr val="000000"/>
                    </a:solidFill>
                    <a:latin typeface="Arial"/>
                    <a:ea typeface="ＭＳ Ｐゴシック"/>
                  </a:rPr>
                  <a:t>放流管増設</a:t>
                </a:r>
              </a:p>
            </p:txBody>
          </p:sp>
        </p:grpSp>
        <p:sp>
          <p:nvSpPr>
            <p:cNvPr id="29" name="正方形/長方形 28"/>
            <p:cNvSpPr/>
            <p:nvPr/>
          </p:nvSpPr>
          <p:spPr>
            <a:xfrm>
              <a:off x="10773467" y="5548642"/>
              <a:ext cx="536896" cy="454540"/>
            </a:xfrm>
            <a:prstGeom prst="rect">
              <a:avLst/>
            </a:prstGeom>
            <a:noFill/>
            <a:ln w="25400" cap="flat" cmpd="sng" algn="ctr">
              <a:solidFill>
                <a:srgbClr val="FF0000"/>
              </a:solidFill>
              <a:prstDash val="sysDash"/>
            </a:ln>
            <a:effectLst/>
          </p:spPr>
          <p:txBody>
            <a:bodyPr rtlCol="0" anchor="ctr"/>
            <a:lstStyle/>
            <a:p>
              <a:pPr algn="ctr" defTabSz="707467" fontAlgn="auto">
                <a:spcBef>
                  <a:spcPts val="0"/>
                </a:spcBef>
                <a:spcAft>
                  <a:spcPts val="0"/>
                </a:spcAft>
                <a:defRPr/>
              </a:pPr>
              <a:endParaRPr kumimoji="0" lang="ja-JP" altLang="en-US" sz="1857" kern="0">
                <a:solidFill>
                  <a:srgbClr val="FFFFFF"/>
                </a:solidFill>
                <a:latin typeface="Yu Gothic UI" panose="020B0500000000000000" pitchFamily="50" charset="-128"/>
                <a:ea typeface="Yu Gothic UI" panose="020B0500000000000000" pitchFamily="50" charset="-128"/>
              </a:endParaRPr>
            </a:p>
          </p:txBody>
        </p:sp>
      </p:grpSp>
      <p:sp>
        <p:nvSpPr>
          <p:cNvPr id="2" name="フッター プレースホルダー 1">
            <a:extLst>
              <a:ext uri="{FF2B5EF4-FFF2-40B4-BE49-F238E27FC236}">
                <a16:creationId xmlns:a16="http://schemas.microsoft.com/office/drawing/2014/main" id="{D3D59708-1233-F99F-3747-7574F8E9F1E5}"/>
              </a:ext>
            </a:extLst>
          </p:cNvPr>
          <p:cNvSpPr>
            <a:spLocks noGrp="1"/>
          </p:cNvSpPr>
          <p:nvPr>
            <p:ph type="ftr" sz="quarter" idx="11"/>
          </p:nvPr>
        </p:nvSpPr>
        <p:spPr/>
        <p:txBody>
          <a:bodyPr/>
          <a:lstStyle/>
          <a:p>
            <a:pPr>
              <a:defRPr/>
            </a:pPr>
            <a:endParaRPr lang="en-US" altLang="ja-JP"/>
          </a:p>
        </p:txBody>
      </p:sp>
      <p:sp>
        <p:nvSpPr>
          <p:cNvPr id="3" name="スライド番号プレースホルダー 2">
            <a:extLst>
              <a:ext uri="{FF2B5EF4-FFF2-40B4-BE49-F238E27FC236}">
                <a16:creationId xmlns:a16="http://schemas.microsoft.com/office/drawing/2014/main" id="{D4F677AA-493A-9E18-B2BD-DEEF45C2B9BE}"/>
              </a:ext>
            </a:extLst>
          </p:cNvPr>
          <p:cNvSpPr>
            <a:spLocks noGrp="1"/>
          </p:cNvSpPr>
          <p:nvPr>
            <p:ph type="sldNum" sz="quarter" idx="12"/>
          </p:nvPr>
        </p:nvSpPr>
        <p:spPr/>
        <p:txBody>
          <a:bodyPr/>
          <a:lstStyle/>
          <a:p>
            <a:pPr>
              <a:defRPr/>
            </a:pPr>
            <a:fld id="{9C66F1FC-77AF-4AA3-AB67-8C31B36199A9}" type="slidenum">
              <a:rPr lang="en-US" altLang="ja-JP" smtClean="0"/>
              <a:pPr>
                <a:defRPr/>
              </a:pPr>
              <a:t>15</a:t>
            </a:fld>
            <a:endParaRPr lang="en-US" altLang="ja-JP"/>
          </a:p>
        </p:txBody>
      </p:sp>
    </p:spTree>
    <p:extLst>
      <p:ext uri="{BB962C8B-B14F-4D97-AF65-F5344CB8AC3E}">
        <p14:creationId xmlns:p14="http://schemas.microsoft.com/office/powerpoint/2010/main" val="36575988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3119500" y="5652673"/>
            <a:ext cx="2840973" cy="675506"/>
          </a:xfrm>
          <a:prstGeom prst="rect">
            <a:avLst/>
          </a:prstGeom>
          <a:noFill/>
        </p:spPr>
        <p:txBody>
          <a:bodyPr wrap="square" rtlCol="0">
            <a:spAutoFit/>
          </a:bodyPr>
          <a:lstStyle/>
          <a:p>
            <a:pPr defTabSz="707471"/>
            <a:r>
              <a:rPr lang="ja-JP" altLang="en-US" sz="1006" dirty="0">
                <a:solidFill>
                  <a:srgbClr val="000000"/>
                </a:solidFill>
                <a:latin typeface="ＭＳ Ｐゴシック"/>
                <a:ea typeface="ＭＳ Ｐゴシック"/>
              </a:rPr>
              <a:t>●コンセッション等の</a:t>
            </a:r>
            <a:r>
              <a:rPr lang="en-US" altLang="ja-JP" sz="1006" dirty="0">
                <a:solidFill>
                  <a:srgbClr val="000000"/>
                </a:solidFill>
                <a:latin typeface="ＭＳ Ｐゴシック"/>
                <a:ea typeface="ＭＳ Ｐゴシック"/>
              </a:rPr>
              <a:t>PPP/PFI</a:t>
            </a:r>
            <a:r>
              <a:rPr lang="ja-JP" altLang="en-US" sz="1006" dirty="0">
                <a:solidFill>
                  <a:srgbClr val="000000"/>
                </a:solidFill>
                <a:latin typeface="ＭＳ Ｐゴシック"/>
                <a:ea typeface="ＭＳ Ｐゴシック"/>
              </a:rPr>
              <a:t>の活用拡大</a:t>
            </a:r>
            <a:endParaRPr lang="en-US" altLang="ja-JP" sz="1006" dirty="0">
              <a:solidFill>
                <a:srgbClr val="000000"/>
              </a:solidFill>
              <a:latin typeface="ＭＳ Ｐゴシック"/>
              <a:ea typeface="ＭＳ Ｐゴシック"/>
            </a:endParaRPr>
          </a:p>
          <a:p>
            <a:pPr marL="206346" indent="-132651" defTabSz="707471">
              <a:buFont typeface="Wingdings" panose="05000000000000000000" pitchFamily="2" charset="2"/>
              <a:buChar char="ü"/>
            </a:pPr>
            <a:r>
              <a:rPr lang="ja-JP" altLang="en-US" sz="928" dirty="0">
                <a:solidFill>
                  <a:srgbClr val="000000"/>
                </a:solidFill>
                <a:latin typeface="ＭＳ Ｐゴシック"/>
                <a:ea typeface="ＭＳ Ｐゴシック"/>
              </a:rPr>
              <a:t>原則、全空港へのコンセッションの導入促進</a:t>
            </a:r>
            <a:endParaRPr lang="en-US" altLang="ja-JP" sz="928" dirty="0">
              <a:solidFill>
                <a:srgbClr val="000000"/>
              </a:solidFill>
              <a:latin typeface="ＭＳ Ｐゴシック"/>
              <a:ea typeface="ＭＳ Ｐゴシック"/>
            </a:endParaRPr>
          </a:p>
          <a:p>
            <a:pPr marL="206346" indent="-132651" defTabSz="707471">
              <a:buFont typeface="Wingdings" panose="05000000000000000000" pitchFamily="2" charset="2"/>
              <a:buChar char="ü"/>
            </a:pPr>
            <a:r>
              <a:rPr lang="ja-JP" altLang="en-US" sz="928" dirty="0">
                <a:solidFill>
                  <a:srgbClr val="000000"/>
                </a:solidFill>
                <a:latin typeface="ＭＳ Ｐゴシック"/>
                <a:ea typeface="ＭＳ Ｐゴシック"/>
              </a:rPr>
              <a:t>上下水道、工業用水道等でのコンセッション拡大</a:t>
            </a:r>
            <a:endParaRPr lang="en-US" altLang="ja-JP" sz="928" dirty="0">
              <a:solidFill>
                <a:srgbClr val="000000"/>
              </a:solidFill>
              <a:latin typeface="ＭＳ Ｐゴシック"/>
              <a:ea typeface="ＭＳ Ｐゴシック"/>
            </a:endParaRPr>
          </a:p>
          <a:p>
            <a:pPr marL="206346" indent="-132651" defTabSz="707471">
              <a:buFont typeface="Wingdings" panose="05000000000000000000" pitchFamily="2" charset="2"/>
              <a:buChar char="ü"/>
            </a:pPr>
            <a:r>
              <a:rPr lang="en-US" altLang="ja-JP" sz="928" dirty="0">
                <a:solidFill>
                  <a:srgbClr val="000000"/>
                </a:solidFill>
                <a:latin typeface="ＭＳ Ｐゴシック"/>
                <a:ea typeface="ＭＳ Ｐゴシック"/>
              </a:rPr>
              <a:t>Park-PFI</a:t>
            </a:r>
            <a:r>
              <a:rPr lang="ja-JP" altLang="en-US" sz="928" dirty="0" err="1">
                <a:solidFill>
                  <a:srgbClr val="000000"/>
                </a:solidFill>
                <a:latin typeface="ＭＳ Ｐゴシック"/>
                <a:ea typeface="ＭＳ Ｐゴシック"/>
              </a:rPr>
              <a:t>、</a:t>
            </a:r>
            <a:r>
              <a:rPr lang="ja-JP" altLang="en-US" sz="928" dirty="0">
                <a:solidFill>
                  <a:srgbClr val="000000"/>
                </a:solidFill>
                <a:latin typeface="ＭＳ Ｐゴシック"/>
                <a:ea typeface="ＭＳ Ｐゴシック"/>
              </a:rPr>
              <a:t>高速道路</a:t>
            </a:r>
            <a:r>
              <a:rPr lang="en-US" altLang="ja-JP" sz="928" dirty="0">
                <a:solidFill>
                  <a:srgbClr val="000000"/>
                </a:solidFill>
                <a:latin typeface="ＭＳ Ｐゴシック"/>
                <a:ea typeface="ＭＳ Ｐゴシック"/>
              </a:rPr>
              <a:t>SA/PA</a:t>
            </a:r>
            <a:r>
              <a:rPr lang="ja-JP" altLang="en-US" sz="928" dirty="0">
                <a:solidFill>
                  <a:srgbClr val="000000"/>
                </a:solidFill>
                <a:latin typeface="ＭＳ Ｐゴシック"/>
                <a:ea typeface="ＭＳ Ｐゴシック"/>
              </a:rPr>
              <a:t>の</a:t>
            </a:r>
            <a:r>
              <a:rPr lang="en-US" altLang="ja-JP" sz="928" dirty="0">
                <a:solidFill>
                  <a:srgbClr val="000000"/>
                </a:solidFill>
                <a:latin typeface="ＭＳ Ｐゴシック"/>
                <a:ea typeface="ＭＳ Ｐゴシック"/>
              </a:rPr>
              <a:t>PFI</a:t>
            </a:r>
            <a:r>
              <a:rPr lang="ja-JP" altLang="en-US" sz="928" dirty="0">
                <a:solidFill>
                  <a:srgbClr val="000000"/>
                </a:solidFill>
                <a:latin typeface="ＭＳ Ｐゴシック"/>
                <a:ea typeface="ＭＳ Ｐゴシック"/>
              </a:rPr>
              <a:t>　等</a:t>
            </a:r>
            <a:endParaRPr lang="en-US" altLang="ja-JP" sz="928" dirty="0">
              <a:solidFill>
                <a:srgbClr val="000000"/>
              </a:solidFill>
              <a:latin typeface="ＭＳ Ｐゴシック"/>
              <a:ea typeface="ＭＳ Ｐゴシック"/>
            </a:endParaRPr>
          </a:p>
        </p:txBody>
      </p:sp>
      <p:pic>
        <p:nvPicPr>
          <p:cNvPr id="6" name="図 5"/>
          <p:cNvPicPr>
            <a:picLocks/>
          </p:cNvPicPr>
          <p:nvPr/>
        </p:nvPicPr>
        <p:blipFill rotWithShape="1">
          <a:blip r:embed="rId2"/>
          <a:srcRect l="13668" t="17394" r="23480" b="8078"/>
          <a:stretch/>
        </p:blipFill>
        <p:spPr>
          <a:xfrm>
            <a:off x="4595692" y="6293285"/>
            <a:ext cx="1336929" cy="1114107"/>
          </a:xfrm>
          <a:prstGeom prst="rect">
            <a:avLst/>
          </a:prstGeom>
        </p:spPr>
      </p:pic>
      <p:sp>
        <p:nvSpPr>
          <p:cNvPr id="7" name="タイトル 98">
            <a:extLst>
              <a:ext uri="{FF2B5EF4-FFF2-40B4-BE49-F238E27FC236}">
                <a16:creationId xmlns:a16="http://schemas.microsoft.com/office/drawing/2014/main" id="{03871419-2038-3830-1814-3343F5D10839}"/>
              </a:ext>
            </a:extLst>
          </p:cNvPr>
          <p:cNvSpPr txBox="1"/>
          <p:nvPr/>
        </p:nvSpPr>
        <p:spPr>
          <a:xfrm>
            <a:off x="2" y="63426"/>
            <a:ext cx="9904412" cy="557054"/>
          </a:xfrm>
          <a:prstGeom prst="rect">
            <a:avLst/>
          </a:prstGeom>
        </p:spPr>
        <p:txBody>
          <a:bodyPr anchor="ct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5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11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16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221"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717312"/>
            <a:r>
              <a:rPr lang="ja-JP" altLang="en-US" sz="2785" kern="0" dirty="0">
                <a:latin typeface="HGP創英角ｺﾞｼｯｸUB"/>
                <a:ea typeface="HGP創英角ｺﾞｼｯｸUB"/>
              </a:rPr>
              <a:t>国土基盤の高質化</a:t>
            </a:r>
            <a:r>
              <a:rPr lang="ja-JP" altLang="en-US" sz="1800" kern="0" dirty="0">
                <a:latin typeface="HGP創英角ｺﾞｼｯｸUB"/>
                <a:ea typeface="HGP創英角ｺﾞｼｯｸUB"/>
              </a:rPr>
              <a:t>（ストック効果の最大化に向けた戦略的マネジメントの徹底）</a:t>
            </a:r>
          </a:p>
        </p:txBody>
      </p:sp>
      <p:sp>
        <p:nvSpPr>
          <p:cNvPr id="8" name="テキスト ボックス 7">
            <a:extLst>
              <a:ext uri="{FF2B5EF4-FFF2-40B4-BE49-F238E27FC236}">
                <a16:creationId xmlns:a16="http://schemas.microsoft.com/office/drawing/2014/main" id="{64C98BD1-7589-D4AB-4380-94638E92B512}"/>
              </a:ext>
            </a:extLst>
          </p:cNvPr>
          <p:cNvSpPr txBox="1"/>
          <p:nvPr/>
        </p:nvSpPr>
        <p:spPr>
          <a:xfrm>
            <a:off x="55705" y="823674"/>
            <a:ext cx="9748438" cy="663900"/>
          </a:xfrm>
          <a:prstGeom prst="rect">
            <a:avLst/>
          </a:prstGeom>
          <a:noFill/>
          <a:ln>
            <a:solidFill>
              <a:schemeClr val="tx1"/>
            </a:solidFill>
          </a:ln>
        </p:spPr>
        <p:txBody>
          <a:bodyPr wrap="square" lIns="139263" rIns="139263" rtlCol="0" anchor="ctr">
            <a:spAutoFit/>
          </a:bodyPr>
          <a:lstStyle/>
          <a:p>
            <a:pPr defTabSz="707485">
              <a:spcBef>
                <a:spcPts val="232"/>
              </a:spcBef>
            </a:pPr>
            <a:r>
              <a:rPr lang="ja-JP" altLang="en-US" sz="1393" b="1" dirty="0">
                <a:solidFill>
                  <a:srgbClr val="000000"/>
                </a:solidFill>
                <a:latin typeface="ＭＳ Ｐゴシック"/>
                <a:ea typeface="ＭＳ Ｐゴシック"/>
              </a:rPr>
              <a:t>国土基盤が果たすべき機能・役割が最大限に発揮されるよう、</a:t>
            </a:r>
            <a:r>
              <a:rPr lang="ja-JP" altLang="en-US" sz="1857" b="1" dirty="0">
                <a:solidFill>
                  <a:srgbClr val="FF0000"/>
                </a:solidFill>
                <a:latin typeface="ＭＳ Ｐゴシック"/>
                <a:ea typeface="ＭＳ Ｐゴシック"/>
              </a:rPr>
              <a:t>安定的・持続的な公共投資の見通し</a:t>
            </a:r>
            <a:r>
              <a:rPr lang="ja-JP" altLang="en-US" sz="1393" b="1" dirty="0">
                <a:solidFill>
                  <a:srgbClr val="000000"/>
                </a:solidFill>
                <a:latin typeface="ＭＳ Ｐゴシック"/>
                <a:ea typeface="ＭＳ Ｐゴシック"/>
              </a:rPr>
              <a:t>を持ち、計画的な整備や維持管理更新、効果的活用を通じた</a:t>
            </a:r>
            <a:r>
              <a:rPr lang="ja-JP" altLang="en-US" sz="1857" b="1" dirty="0">
                <a:solidFill>
                  <a:srgbClr val="FF0000"/>
                </a:solidFill>
                <a:latin typeface="ＭＳ Ｐゴシック"/>
                <a:ea typeface="ＭＳ Ｐゴシック"/>
              </a:rPr>
              <a:t>戦略的マネジメントの徹底</a:t>
            </a:r>
            <a:r>
              <a:rPr lang="ja-JP" altLang="en-US" sz="1393" b="1" dirty="0">
                <a:solidFill>
                  <a:srgbClr val="000000"/>
                </a:solidFill>
                <a:latin typeface="ＭＳ Ｐゴシック"/>
                <a:ea typeface="ＭＳ Ｐゴシック"/>
              </a:rPr>
              <a:t>により、</a:t>
            </a:r>
            <a:r>
              <a:rPr lang="ja-JP" altLang="en-US" sz="1857" b="1" dirty="0">
                <a:solidFill>
                  <a:srgbClr val="FF0000"/>
                </a:solidFill>
                <a:latin typeface="ＭＳ Ｐゴシック"/>
                <a:ea typeface="ＭＳ Ｐゴシック"/>
              </a:rPr>
              <a:t>ストック効果を最大化</a:t>
            </a:r>
            <a:r>
              <a:rPr lang="ja-JP" altLang="en-US" sz="1393" b="1" dirty="0">
                <a:solidFill>
                  <a:srgbClr val="000000"/>
                </a:solidFill>
                <a:latin typeface="ＭＳ Ｐゴシック"/>
                <a:ea typeface="ＭＳ Ｐゴシック"/>
              </a:rPr>
              <a:t>。</a:t>
            </a:r>
          </a:p>
        </p:txBody>
      </p:sp>
      <p:sp>
        <p:nvSpPr>
          <p:cNvPr id="9" name="正方形/長方形 8">
            <a:extLst>
              <a:ext uri="{FF2B5EF4-FFF2-40B4-BE49-F238E27FC236}">
                <a16:creationId xmlns:a16="http://schemas.microsoft.com/office/drawing/2014/main" id="{3F5E1875-88B3-37D4-5605-E4F2D0037B86}"/>
              </a:ext>
            </a:extLst>
          </p:cNvPr>
          <p:cNvSpPr/>
          <p:nvPr/>
        </p:nvSpPr>
        <p:spPr>
          <a:xfrm>
            <a:off x="278526" y="1558329"/>
            <a:ext cx="9330647" cy="11141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07471"/>
            <a:r>
              <a:rPr lang="ja-JP" altLang="en-US" sz="1547" b="1" dirty="0">
                <a:solidFill>
                  <a:srgbClr val="000000"/>
                </a:solidFill>
                <a:latin typeface="Arial"/>
                <a:ea typeface="ＭＳ Ｐゴシック"/>
              </a:rPr>
              <a:t>国土基盤の機能・役割の最大限の発揮</a:t>
            </a:r>
            <a:r>
              <a:rPr lang="ja-JP" altLang="en-US" sz="1238" b="1" dirty="0">
                <a:solidFill>
                  <a:srgbClr val="000000"/>
                </a:solidFill>
                <a:latin typeface="Arial"/>
                <a:ea typeface="ＭＳ Ｐゴシック"/>
              </a:rPr>
              <a:t>（機能・役割に応じた国土基盤の充実・強化）</a:t>
            </a:r>
          </a:p>
        </p:txBody>
      </p:sp>
      <p:sp>
        <p:nvSpPr>
          <p:cNvPr id="10" name="四角形: 角を丸くする 4">
            <a:extLst>
              <a:ext uri="{FF2B5EF4-FFF2-40B4-BE49-F238E27FC236}">
                <a16:creationId xmlns:a16="http://schemas.microsoft.com/office/drawing/2014/main" id="{BE18961B-93D6-B850-7AD1-028E31401A28}"/>
              </a:ext>
            </a:extLst>
          </p:cNvPr>
          <p:cNvSpPr/>
          <p:nvPr/>
        </p:nvSpPr>
        <p:spPr>
          <a:xfrm>
            <a:off x="417790" y="1892561"/>
            <a:ext cx="2924531" cy="72417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393" b="1" dirty="0">
                <a:solidFill>
                  <a:srgbClr val="FF0000"/>
                </a:solidFill>
                <a:latin typeface="Arial"/>
                <a:ea typeface="ＭＳ Ｐゴシック"/>
              </a:rPr>
              <a:t>地域の安全・安心を支える</a:t>
            </a:r>
          </a:p>
          <a:p>
            <a:pPr marL="221085" indent="-221085" defTabSz="707471">
              <a:spcBef>
                <a:spcPts val="232"/>
              </a:spcBef>
              <a:buFont typeface="Wingdings" panose="05000000000000000000" pitchFamily="2" charset="2"/>
              <a:buChar char="Ø"/>
            </a:pPr>
            <a:r>
              <a:rPr lang="ja-JP" altLang="en-US" sz="1238" b="1" dirty="0">
                <a:solidFill>
                  <a:srgbClr val="000000"/>
                </a:solidFill>
                <a:latin typeface="Arial"/>
                <a:ea typeface="ＭＳ Ｐゴシック"/>
              </a:rPr>
              <a:t>国土強靱化基本計画</a:t>
            </a:r>
            <a:r>
              <a:rPr lang="ja-JP" altLang="en-US" sz="928" dirty="0">
                <a:solidFill>
                  <a:srgbClr val="000000"/>
                </a:solidFill>
                <a:latin typeface="Arial"/>
                <a:ea typeface="ＭＳ Ｐゴシック"/>
              </a:rPr>
              <a:t>に基づき、中長期的かつ明確な見通しの下、継続的・安定的に防災・減災、国土強靱化の取組を推進</a:t>
            </a:r>
          </a:p>
        </p:txBody>
      </p:sp>
      <p:sp>
        <p:nvSpPr>
          <p:cNvPr id="11" name="四角形: 角を丸くする 5">
            <a:extLst>
              <a:ext uri="{FF2B5EF4-FFF2-40B4-BE49-F238E27FC236}">
                <a16:creationId xmlns:a16="http://schemas.microsoft.com/office/drawing/2014/main" id="{B686568F-39F0-8841-E8D0-8BA22BC8B272}"/>
              </a:ext>
            </a:extLst>
          </p:cNvPr>
          <p:cNvSpPr/>
          <p:nvPr/>
        </p:nvSpPr>
        <p:spPr>
          <a:xfrm>
            <a:off x="3481585" y="1892561"/>
            <a:ext cx="2924531" cy="72417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393" b="1" dirty="0">
                <a:solidFill>
                  <a:srgbClr val="FF0000"/>
                </a:solidFill>
                <a:latin typeface="Arial"/>
                <a:ea typeface="ＭＳ Ｐゴシック"/>
              </a:rPr>
              <a:t>地域における生活の質を向上する</a:t>
            </a:r>
          </a:p>
          <a:p>
            <a:pPr marL="221085" indent="-221085" defTabSz="707471">
              <a:spcBef>
                <a:spcPts val="232"/>
              </a:spcBef>
              <a:buFont typeface="Wingdings" panose="05000000000000000000" pitchFamily="2" charset="2"/>
              <a:buChar char="Ø"/>
            </a:pPr>
            <a:r>
              <a:rPr lang="ja-JP" altLang="en-US" sz="1238" b="1" dirty="0">
                <a:solidFill>
                  <a:srgbClr val="000000"/>
                </a:solidFill>
                <a:latin typeface="Arial"/>
                <a:ea typeface="ＭＳ Ｐゴシック"/>
              </a:rPr>
              <a:t>地域生活圏の形成</a:t>
            </a:r>
            <a:r>
              <a:rPr lang="ja-JP" altLang="en-US" sz="928" dirty="0">
                <a:solidFill>
                  <a:srgbClr val="000000"/>
                </a:solidFill>
                <a:latin typeface="Arial"/>
                <a:ea typeface="ＭＳ Ｐゴシック"/>
              </a:rPr>
              <a:t>に向けた取組とも連動し、生活者の視点を重視して、デジタルの徹底活用により、リアルの地域空間の質的向上を図る</a:t>
            </a:r>
          </a:p>
        </p:txBody>
      </p:sp>
      <p:sp>
        <p:nvSpPr>
          <p:cNvPr id="12" name="四角形: 角を丸くする 6">
            <a:extLst>
              <a:ext uri="{FF2B5EF4-FFF2-40B4-BE49-F238E27FC236}">
                <a16:creationId xmlns:a16="http://schemas.microsoft.com/office/drawing/2014/main" id="{82F4F77E-5E56-4520-D829-AC08C5165060}"/>
              </a:ext>
            </a:extLst>
          </p:cNvPr>
          <p:cNvSpPr/>
          <p:nvPr/>
        </p:nvSpPr>
        <p:spPr>
          <a:xfrm>
            <a:off x="6545379" y="1892561"/>
            <a:ext cx="2924531" cy="724170"/>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r>
              <a:rPr lang="ja-JP" altLang="en-US" sz="1393" b="1" dirty="0">
                <a:solidFill>
                  <a:srgbClr val="FF0000"/>
                </a:solidFill>
                <a:latin typeface="Arial"/>
                <a:ea typeface="ＭＳ Ｐゴシック"/>
              </a:rPr>
              <a:t>経済活動を下支えし、生産性を高める</a:t>
            </a:r>
          </a:p>
          <a:p>
            <a:pPr marL="221085" indent="-158444" defTabSz="707471">
              <a:spcBef>
                <a:spcPts val="232"/>
              </a:spcBef>
              <a:buSzPct val="120000"/>
              <a:buFont typeface="Wingdings" panose="05000000000000000000" pitchFamily="2" charset="2"/>
              <a:buChar char="Ø"/>
            </a:pPr>
            <a:r>
              <a:rPr lang="ja-JP" altLang="en-US" sz="928" dirty="0">
                <a:solidFill>
                  <a:srgbClr val="000000"/>
                </a:solidFill>
                <a:latin typeface="Arial"/>
                <a:ea typeface="ＭＳ Ｐゴシック"/>
              </a:rPr>
              <a:t>移動時間の短縮や定時性の向上、生産活動の効率化や高度化等により</a:t>
            </a:r>
            <a:r>
              <a:rPr lang="ja-JP" altLang="en-US" sz="1238" b="1" dirty="0">
                <a:solidFill>
                  <a:srgbClr val="000000"/>
                </a:solidFill>
                <a:latin typeface="Arial"/>
                <a:ea typeface="ＭＳ Ｐゴシック"/>
              </a:rPr>
              <a:t>民間投資を誘発</a:t>
            </a:r>
            <a:r>
              <a:rPr lang="ja-JP" altLang="en-US" sz="928" dirty="0">
                <a:solidFill>
                  <a:srgbClr val="000000"/>
                </a:solidFill>
                <a:latin typeface="Arial"/>
                <a:ea typeface="ＭＳ Ｐゴシック"/>
              </a:rPr>
              <a:t>し、様々な経済活動を下支え</a:t>
            </a:r>
          </a:p>
        </p:txBody>
      </p:sp>
      <p:sp>
        <p:nvSpPr>
          <p:cNvPr id="13" name="正方形/長方形 12">
            <a:extLst>
              <a:ext uri="{FF2B5EF4-FFF2-40B4-BE49-F238E27FC236}">
                <a16:creationId xmlns:a16="http://schemas.microsoft.com/office/drawing/2014/main" id="{500BDF74-0955-56B4-FD3E-597AB486F5C0}"/>
              </a:ext>
            </a:extLst>
          </p:cNvPr>
          <p:cNvSpPr/>
          <p:nvPr/>
        </p:nvSpPr>
        <p:spPr>
          <a:xfrm>
            <a:off x="55705" y="2672436"/>
            <a:ext cx="9748438" cy="4723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707471"/>
            <a:r>
              <a:rPr lang="ja-JP" altLang="en-US" sz="1857" b="1" dirty="0">
                <a:solidFill>
                  <a:srgbClr val="FF0000"/>
                </a:solidFill>
                <a:latin typeface="Arial"/>
                <a:ea typeface="ＭＳ Ｐゴシック"/>
              </a:rPr>
              <a:t>国土基盤の高質化に向けた戦略的マネジメントの徹底</a:t>
            </a:r>
          </a:p>
        </p:txBody>
      </p:sp>
      <p:sp>
        <p:nvSpPr>
          <p:cNvPr id="14" name="四角形: 角を丸くする 8">
            <a:extLst>
              <a:ext uri="{FF2B5EF4-FFF2-40B4-BE49-F238E27FC236}">
                <a16:creationId xmlns:a16="http://schemas.microsoft.com/office/drawing/2014/main" id="{C9C11CEA-0619-48DE-8AF6-1B58BF12EF40}"/>
              </a:ext>
            </a:extLst>
          </p:cNvPr>
          <p:cNvSpPr/>
          <p:nvPr/>
        </p:nvSpPr>
        <p:spPr>
          <a:xfrm>
            <a:off x="55705" y="3006669"/>
            <a:ext cx="5849063" cy="50134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547" b="1" dirty="0">
                <a:solidFill>
                  <a:srgbClr val="FFFFFF"/>
                </a:solidFill>
                <a:latin typeface="ＭＳ Ｐゴシック"/>
                <a:ea typeface="ＭＳ Ｐゴシック"/>
              </a:rPr>
              <a:t>社会経済状況の変化に応じた国土基盤の機能高度化</a:t>
            </a:r>
          </a:p>
        </p:txBody>
      </p:sp>
      <p:sp>
        <p:nvSpPr>
          <p:cNvPr id="15" name="四角形: 角を丸くする 9">
            <a:extLst>
              <a:ext uri="{FF2B5EF4-FFF2-40B4-BE49-F238E27FC236}">
                <a16:creationId xmlns:a16="http://schemas.microsoft.com/office/drawing/2014/main" id="{02085DFF-93A2-781A-5686-BFF8DA8C75D6}"/>
              </a:ext>
            </a:extLst>
          </p:cNvPr>
          <p:cNvSpPr/>
          <p:nvPr/>
        </p:nvSpPr>
        <p:spPr>
          <a:xfrm>
            <a:off x="6016178" y="3006669"/>
            <a:ext cx="3815817" cy="50134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547" b="1" dirty="0">
                <a:solidFill>
                  <a:srgbClr val="FFFFFF"/>
                </a:solidFill>
                <a:latin typeface="ＭＳ Ｐゴシック"/>
                <a:ea typeface="ＭＳ Ｐゴシック"/>
              </a:rPr>
              <a:t>賢く使う観点からの</a:t>
            </a:r>
            <a:endParaRPr lang="en-US" altLang="ja-JP" sz="1547" b="1" dirty="0">
              <a:solidFill>
                <a:srgbClr val="FFFFFF"/>
              </a:solidFill>
              <a:latin typeface="ＭＳ Ｐゴシック"/>
              <a:ea typeface="ＭＳ Ｐゴシック"/>
            </a:endParaRPr>
          </a:p>
          <a:p>
            <a:pPr algn="ctr" defTabSz="707471"/>
            <a:r>
              <a:rPr lang="ja-JP" altLang="en-US" sz="1547" b="1" dirty="0">
                <a:solidFill>
                  <a:srgbClr val="FFFFFF"/>
                </a:solidFill>
                <a:latin typeface="ＭＳ Ｐゴシック"/>
                <a:ea typeface="ＭＳ Ｐゴシック"/>
              </a:rPr>
              <a:t>国土基盤の複合化・多機能化・効果最大化</a:t>
            </a:r>
          </a:p>
        </p:txBody>
      </p:sp>
      <p:sp>
        <p:nvSpPr>
          <p:cNvPr id="16" name="四角形: 角を丸くする 10">
            <a:extLst>
              <a:ext uri="{FF2B5EF4-FFF2-40B4-BE49-F238E27FC236}">
                <a16:creationId xmlns:a16="http://schemas.microsoft.com/office/drawing/2014/main" id="{4AC1E612-F4ED-3E81-1C96-F91C01B7B681}"/>
              </a:ext>
            </a:extLst>
          </p:cNvPr>
          <p:cNvSpPr/>
          <p:nvPr/>
        </p:nvSpPr>
        <p:spPr>
          <a:xfrm>
            <a:off x="6016178" y="5569115"/>
            <a:ext cx="3815817" cy="50134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547" b="1" dirty="0">
                <a:solidFill>
                  <a:srgbClr val="FFFFFF"/>
                </a:solidFill>
                <a:latin typeface="ＭＳ Ｐゴシック"/>
                <a:ea typeface="ＭＳ Ｐゴシック"/>
              </a:rPr>
              <a:t>戦略的メンテナンスによる</a:t>
            </a:r>
            <a:endParaRPr lang="en-US" altLang="ja-JP" sz="1547" b="1" dirty="0">
              <a:solidFill>
                <a:srgbClr val="FFFFFF"/>
              </a:solidFill>
              <a:latin typeface="ＭＳ Ｐゴシック"/>
              <a:ea typeface="ＭＳ Ｐゴシック"/>
            </a:endParaRPr>
          </a:p>
          <a:p>
            <a:pPr algn="ctr" defTabSz="707471"/>
            <a:r>
              <a:rPr lang="ja-JP" altLang="en-US" sz="1547" b="1" dirty="0">
                <a:solidFill>
                  <a:srgbClr val="FFFFFF"/>
                </a:solidFill>
                <a:latin typeface="ＭＳ Ｐゴシック"/>
                <a:ea typeface="ＭＳ Ｐゴシック"/>
              </a:rPr>
              <a:t>国土基盤の持続的な機能発揮</a:t>
            </a:r>
          </a:p>
        </p:txBody>
      </p:sp>
      <p:sp>
        <p:nvSpPr>
          <p:cNvPr id="17" name="四角形: 角を丸くする 16">
            <a:extLst>
              <a:ext uri="{FF2B5EF4-FFF2-40B4-BE49-F238E27FC236}">
                <a16:creationId xmlns:a16="http://schemas.microsoft.com/office/drawing/2014/main" id="{83084300-F8D8-F8FE-8F0C-0EBEF07F6DB6}"/>
              </a:ext>
            </a:extLst>
          </p:cNvPr>
          <p:cNvSpPr/>
          <p:nvPr/>
        </p:nvSpPr>
        <p:spPr>
          <a:xfrm>
            <a:off x="55705" y="3563722"/>
            <a:ext cx="3760112" cy="19496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238" b="1" dirty="0">
                <a:solidFill>
                  <a:srgbClr val="FF0000"/>
                </a:solidFill>
                <a:latin typeface="Arial"/>
                <a:ea typeface="ＭＳ Ｐゴシック"/>
              </a:rPr>
              <a:t>ＤＸ</a:t>
            </a:r>
          </a:p>
        </p:txBody>
      </p:sp>
      <p:sp>
        <p:nvSpPr>
          <p:cNvPr id="18" name="四角形: 角を丸くする 17">
            <a:extLst>
              <a:ext uri="{FF2B5EF4-FFF2-40B4-BE49-F238E27FC236}">
                <a16:creationId xmlns:a16="http://schemas.microsoft.com/office/drawing/2014/main" id="{56D110A3-C877-8779-A04F-444184786C92}"/>
              </a:ext>
            </a:extLst>
          </p:cNvPr>
          <p:cNvSpPr/>
          <p:nvPr/>
        </p:nvSpPr>
        <p:spPr>
          <a:xfrm>
            <a:off x="3955080" y="3563722"/>
            <a:ext cx="1949688" cy="19496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238" b="1" dirty="0">
                <a:solidFill>
                  <a:srgbClr val="FF0000"/>
                </a:solidFill>
                <a:latin typeface="Arial"/>
                <a:ea typeface="ＭＳ Ｐゴシック"/>
              </a:rPr>
              <a:t>ＧＸ</a:t>
            </a:r>
          </a:p>
        </p:txBody>
      </p:sp>
      <p:sp>
        <p:nvSpPr>
          <p:cNvPr id="19" name="四角形: 角を丸くする 18">
            <a:extLst>
              <a:ext uri="{FF2B5EF4-FFF2-40B4-BE49-F238E27FC236}">
                <a16:creationId xmlns:a16="http://schemas.microsoft.com/office/drawing/2014/main" id="{E94DB949-50E7-FCD1-EDD2-1AD2E4E08B61}"/>
              </a:ext>
            </a:extLst>
          </p:cNvPr>
          <p:cNvSpPr/>
          <p:nvPr/>
        </p:nvSpPr>
        <p:spPr>
          <a:xfrm>
            <a:off x="55705" y="5429851"/>
            <a:ext cx="2924531" cy="19496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r>
              <a:rPr lang="ja-JP" altLang="en-US" sz="1238" b="1" dirty="0">
                <a:solidFill>
                  <a:srgbClr val="FF0000"/>
                </a:solidFill>
                <a:latin typeface="Arial"/>
                <a:ea typeface="ＭＳ Ｐゴシック"/>
              </a:rPr>
              <a:t>リダンダンシー確保、安全保障</a:t>
            </a:r>
          </a:p>
        </p:txBody>
      </p:sp>
      <p:sp>
        <p:nvSpPr>
          <p:cNvPr id="20" name="四角形: 角を丸くする 19">
            <a:extLst>
              <a:ext uri="{FF2B5EF4-FFF2-40B4-BE49-F238E27FC236}">
                <a16:creationId xmlns:a16="http://schemas.microsoft.com/office/drawing/2014/main" id="{478E2E92-D3E6-04EA-A582-BCBE9D6C225A}"/>
              </a:ext>
            </a:extLst>
          </p:cNvPr>
          <p:cNvSpPr/>
          <p:nvPr/>
        </p:nvSpPr>
        <p:spPr>
          <a:xfrm>
            <a:off x="3119500" y="5429851"/>
            <a:ext cx="2785268" cy="194969"/>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238" b="1" dirty="0">
                <a:solidFill>
                  <a:srgbClr val="FF0000"/>
                </a:solidFill>
                <a:latin typeface="Arial"/>
                <a:ea typeface="ＭＳ Ｐゴシック"/>
              </a:rPr>
              <a:t>ＰＰＰ／ＰＦＩ</a:t>
            </a:r>
          </a:p>
        </p:txBody>
      </p:sp>
      <p:pic>
        <p:nvPicPr>
          <p:cNvPr id="21" name="図 20"/>
          <p:cNvPicPr>
            <a:picLocks noChangeAspect="1"/>
          </p:cNvPicPr>
          <p:nvPr/>
        </p:nvPicPr>
        <p:blipFill>
          <a:blip r:embed="rId3"/>
          <a:stretch>
            <a:fillRect/>
          </a:stretch>
        </p:blipFill>
        <p:spPr>
          <a:xfrm>
            <a:off x="2005393" y="4176482"/>
            <a:ext cx="1810424" cy="944544"/>
          </a:xfrm>
          <a:prstGeom prst="rect">
            <a:avLst/>
          </a:prstGeom>
        </p:spPr>
      </p:pic>
      <p:grpSp>
        <p:nvGrpSpPr>
          <p:cNvPr id="22" name="グループ化 21"/>
          <p:cNvGrpSpPr/>
          <p:nvPr/>
        </p:nvGrpSpPr>
        <p:grpSpPr>
          <a:xfrm>
            <a:off x="4038638" y="4176480"/>
            <a:ext cx="1866129" cy="1186880"/>
            <a:chOff x="5759398" y="5135965"/>
            <a:chExt cx="2861752" cy="1866267"/>
          </a:xfrm>
        </p:grpSpPr>
        <p:pic>
          <p:nvPicPr>
            <p:cNvPr id="23" name="図 173">
              <a:extLst>
                <a:ext uri="{FF2B5EF4-FFF2-40B4-BE49-F238E27FC236}">
                  <a16:creationId xmlns:a16="http://schemas.microsoft.com/office/drawing/2014/main" id="{78B88A0F-908C-2120-2598-7833AF68B0E9}"/>
                </a:ext>
              </a:extLst>
            </p:cNvPr>
            <p:cNvPicPr>
              <a:picLocks noChangeAspect="1"/>
            </p:cNvPicPr>
            <p:nvPr/>
          </p:nvPicPr>
          <p:blipFill>
            <a:blip r:embed="rId4"/>
            <a:stretch>
              <a:fillRect/>
            </a:stretch>
          </p:blipFill>
          <p:spPr>
            <a:xfrm>
              <a:off x="5759398" y="5135965"/>
              <a:ext cx="2861752" cy="1616822"/>
            </a:xfrm>
            <a:prstGeom prst="rect">
              <a:avLst/>
            </a:prstGeom>
          </p:spPr>
        </p:pic>
        <p:grpSp>
          <p:nvGrpSpPr>
            <p:cNvPr id="24" name="グループ化 23">
              <a:extLst>
                <a:ext uri="{FF2B5EF4-FFF2-40B4-BE49-F238E27FC236}">
                  <a16:creationId xmlns:a16="http://schemas.microsoft.com/office/drawing/2014/main" id="{F242291B-4C72-518F-51B2-2637C8083A61}"/>
                </a:ext>
              </a:extLst>
            </p:cNvPr>
            <p:cNvGrpSpPr/>
            <p:nvPr/>
          </p:nvGrpSpPr>
          <p:grpSpPr>
            <a:xfrm>
              <a:off x="5763943" y="6583135"/>
              <a:ext cx="2374240" cy="419097"/>
              <a:chOff x="-482088" y="6297947"/>
              <a:chExt cx="1837210" cy="355020"/>
            </a:xfrm>
          </p:grpSpPr>
          <p:sp>
            <p:nvSpPr>
              <p:cNvPr id="25" name="テキスト ボックス 111">
                <a:extLst>
                  <a:ext uri="{FF2B5EF4-FFF2-40B4-BE49-F238E27FC236}">
                    <a16:creationId xmlns:a16="http://schemas.microsoft.com/office/drawing/2014/main" id="{BF118F37-98E8-A365-E27B-C9F78B302AE0}"/>
                  </a:ext>
                </a:extLst>
              </p:cNvPr>
              <p:cNvSpPr txBox="1"/>
              <p:nvPr/>
            </p:nvSpPr>
            <p:spPr>
              <a:xfrm>
                <a:off x="-416804" y="6322845"/>
                <a:ext cx="330434" cy="245975"/>
              </a:xfrm>
              <a:prstGeom prst="rect">
                <a:avLst/>
              </a:prstGeom>
              <a:solidFill>
                <a:srgbClr val="7030A0"/>
              </a:solidFill>
              <a:ln w="9525">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defTabSz="707471"/>
                <a:endParaRPr lang="ja-JP" altLang="en-US" sz="600" dirty="0">
                  <a:solidFill>
                    <a:srgbClr val="FFFFFF"/>
                  </a:solidFill>
                  <a:latin typeface="Arial"/>
                  <a:ea typeface="ＭＳ Ｐゴシック"/>
                </a:endParaRPr>
              </a:p>
            </p:txBody>
          </p:sp>
          <p:sp>
            <p:nvSpPr>
              <p:cNvPr id="26" name="正方形/長方形 19">
                <a:extLst>
                  <a:ext uri="{FF2B5EF4-FFF2-40B4-BE49-F238E27FC236}">
                    <a16:creationId xmlns:a16="http://schemas.microsoft.com/office/drawing/2014/main" id="{AD00A2C8-6EAF-7EFD-B490-B1B96A2E77B6}"/>
                  </a:ext>
                </a:extLst>
              </p:cNvPr>
              <p:cNvSpPr/>
              <p:nvPr/>
            </p:nvSpPr>
            <p:spPr>
              <a:xfrm>
                <a:off x="-482088" y="6297947"/>
                <a:ext cx="1837210" cy="355020"/>
              </a:xfrm>
              <a:prstGeom prst="rect">
                <a:avLst/>
              </a:prstGeom>
              <a:noFill/>
            </p:spPr>
            <p:txBody>
              <a:bodyPr wrap="square" lIns="91426" tIns="45712" rIns="91426" bIns="45712" anchor="t">
                <a:spAutoFit/>
              </a:bodyPr>
              <a:lstStyle/>
              <a:p>
                <a:pPr defTabSz="707471"/>
                <a:r>
                  <a:rPr lang="ja-JP" altLang="en-US" sz="232" b="1" dirty="0">
                    <a:solidFill>
                      <a:srgbClr val="FFFFFF"/>
                    </a:solidFill>
                    <a:latin typeface="Yu Gothic UI" panose="020B0500000000000000" pitchFamily="50" charset="-128"/>
                    <a:ea typeface="Yu Gothic UI" panose="020B0500000000000000" pitchFamily="50" charset="-128"/>
                  </a:rPr>
                  <a:t>洋上風力発電</a:t>
                </a:r>
                <a:endParaRPr lang="en-US" altLang="ja-JP" sz="232" b="1" dirty="0">
                  <a:solidFill>
                    <a:srgbClr val="FFFFFF"/>
                  </a:solidFill>
                  <a:latin typeface="Yu Gothic UI" panose="020B0500000000000000" pitchFamily="50" charset="-128"/>
                  <a:ea typeface="Yu Gothic UI" panose="020B0500000000000000" pitchFamily="50" charset="-128"/>
                </a:endParaRPr>
              </a:p>
              <a:p>
                <a:pPr defTabSz="707471"/>
                <a:endParaRPr lang="en-US" altLang="ja-JP" sz="900" b="1" dirty="0">
                  <a:solidFill>
                    <a:srgbClr val="FFFFFF"/>
                  </a:solidFill>
                  <a:latin typeface="Yu Gothic UI" panose="020B0500000000000000" pitchFamily="50" charset="-128"/>
                  <a:ea typeface="Yu Gothic UI" panose="020B0500000000000000" pitchFamily="50" charset="-128"/>
                </a:endParaRPr>
              </a:p>
            </p:txBody>
          </p:sp>
        </p:grpSp>
      </p:grpSp>
      <p:pic>
        <p:nvPicPr>
          <p:cNvPr id="27" name="図 26">
            <a:extLst>
              <a:ext uri="{FF2B5EF4-FFF2-40B4-BE49-F238E27FC236}">
                <a16:creationId xmlns:a16="http://schemas.microsoft.com/office/drawing/2014/main" id="{83E64758-8698-4460-ADF4-60BB7D4A0846}"/>
              </a:ext>
            </a:extLst>
          </p:cNvPr>
          <p:cNvPicPr>
            <a:picLocks/>
          </p:cNvPicPr>
          <p:nvPr/>
        </p:nvPicPr>
        <p:blipFill rotWithShape="1">
          <a:blip r:embed="rId5" cstate="email">
            <a:extLst>
              <a:ext uri="{28A0092B-C50C-407E-A947-70E740481C1C}">
                <a14:useLocalDpi xmlns:a14="http://schemas.microsoft.com/office/drawing/2010/main" val="0"/>
              </a:ext>
            </a:extLst>
          </a:blip>
          <a:srcRect/>
          <a:stretch/>
        </p:blipFill>
        <p:spPr>
          <a:xfrm>
            <a:off x="7938013" y="3925807"/>
            <a:ext cx="1810424" cy="1336929"/>
          </a:xfrm>
          <a:prstGeom prst="rect">
            <a:avLst/>
          </a:prstGeom>
        </p:spPr>
      </p:pic>
      <p:pic>
        <p:nvPicPr>
          <p:cNvPr id="28" name="図 27"/>
          <p:cNvPicPr>
            <a:picLocks/>
          </p:cNvPicPr>
          <p:nvPr/>
        </p:nvPicPr>
        <p:blipFill>
          <a:blip r:embed="rId6"/>
          <a:stretch>
            <a:fillRect/>
          </a:stretch>
        </p:blipFill>
        <p:spPr>
          <a:xfrm>
            <a:off x="6044031" y="6432548"/>
            <a:ext cx="1838277" cy="1002696"/>
          </a:xfrm>
          <a:prstGeom prst="rect">
            <a:avLst/>
          </a:prstGeom>
        </p:spPr>
      </p:pic>
      <p:pic>
        <p:nvPicPr>
          <p:cNvPr id="29" name="図 28"/>
          <p:cNvPicPr>
            <a:picLocks noChangeAspect="1"/>
          </p:cNvPicPr>
          <p:nvPr/>
        </p:nvPicPr>
        <p:blipFill rotWithShape="1">
          <a:blip r:embed="rId7"/>
          <a:srcRect l="31162" t="18749" r="26964" b="19413"/>
          <a:stretch/>
        </p:blipFill>
        <p:spPr>
          <a:xfrm>
            <a:off x="55705" y="6070464"/>
            <a:ext cx="1531897" cy="1271876"/>
          </a:xfrm>
          <a:prstGeom prst="rect">
            <a:avLst/>
          </a:prstGeom>
        </p:spPr>
      </p:pic>
      <p:pic>
        <p:nvPicPr>
          <p:cNvPr id="30" name="Picture 2" descr="石油緊急輸送（郡山行き）"/>
          <p:cNvPicPr>
            <a:picLocks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1587602" y="6070463"/>
            <a:ext cx="1392634" cy="1114107"/>
          </a:xfrm>
          <a:prstGeom prst="rect">
            <a:avLst/>
          </a:prstGeom>
          <a:noFill/>
          <a:extLst>
            <a:ext uri="{909E8E84-426E-40DD-AFC4-6F175D3DCCD1}">
              <a14:hiddenFill xmlns:a14="http://schemas.microsoft.com/office/drawing/2010/main">
                <a:solidFill>
                  <a:srgbClr val="FFFFFF"/>
                </a:solidFill>
              </a14:hiddenFill>
            </a:ext>
          </a:extLst>
        </p:spPr>
      </p:pic>
      <p:sp>
        <p:nvSpPr>
          <p:cNvPr id="31" name="テキスト ボックス 88"/>
          <p:cNvSpPr txBox="1"/>
          <p:nvPr/>
        </p:nvSpPr>
        <p:spPr>
          <a:xfrm>
            <a:off x="278527" y="5179178"/>
            <a:ext cx="1503623" cy="235129"/>
          </a:xfrm>
          <a:prstGeom prst="rect">
            <a:avLst/>
          </a:prstGeom>
          <a:noFill/>
        </p:spPr>
        <p:txBody>
          <a:bodyPr wrap="square">
            <a:spAutoFit/>
          </a:bodyPr>
          <a:lstStyle/>
          <a:p>
            <a:pPr defTabSz="707471"/>
            <a:r>
              <a:rPr lang="ja-JP" altLang="en-US" sz="928" dirty="0">
                <a:solidFill>
                  <a:prstClr val="black"/>
                </a:solidFill>
                <a:latin typeface="ＭＳ Ｐゴシック"/>
                <a:ea typeface="ＭＳ Ｐゴシック"/>
              </a:rPr>
              <a:t>自動運転車の走行支援</a:t>
            </a:r>
            <a:endParaRPr lang="en-US" altLang="ja-JP" sz="928" dirty="0">
              <a:solidFill>
                <a:srgbClr val="000000"/>
              </a:solidFill>
              <a:latin typeface="ＭＳ Ｐゴシック"/>
              <a:ea typeface="ＭＳ Ｐゴシック"/>
            </a:endParaRPr>
          </a:p>
        </p:txBody>
      </p:sp>
      <p:sp>
        <p:nvSpPr>
          <p:cNvPr id="32" name="正方形/長方形 84"/>
          <p:cNvSpPr/>
          <p:nvPr/>
        </p:nvSpPr>
        <p:spPr>
          <a:xfrm>
            <a:off x="2005393" y="5179178"/>
            <a:ext cx="1854011" cy="361637"/>
          </a:xfrm>
          <a:prstGeom prst="rect">
            <a:avLst/>
          </a:prstGeom>
        </p:spPr>
        <p:txBody>
          <a:bodyPr wrap="square">
            <a:spAutoFit/>
          </a:bodyPr>
          <a:lstStyle/>
          <a:p>
            <a:pPr defTabSz="353736" fontAlgn="auto">
              <a:lnSpc>
                <a:spcPts val="696"/>
              </a:lnSpc>
              <a:spcBef>
                <a:spcPts val="0"/>
              </a:spcBef>
              <a:spcAft>
                <a:spcPts val="0"/>
              </a:spcAft>
              <a:defRPr/>
            </a:pPr>
            <a:endParaRPr kumimoji="0" lang="en-US" altLang="ja-JP" sz="928" dirty="0">
              <a:solidFill>
                <a:prstClr val="black"/>
              </a:solidFill>
              <a:latin typeface="ＭＳ Ｐゴシック"/>
              <a:ea typeface="ＭＳ Ｐゴシック"/>
            </a:endParaRPr>
          </a:p>
          <a:p>
            <a:pPr defTabSz="353736">
              <a:lnSpc>
                <a:spcPts val="696"/>
              </a:lnSpc>
              <a:defRPr/>
            </a:pPr>
            <a:r>
              <a:rPr lang="ja-JP" altLang="en-US" sz="928" dirty="0">
                <a:solidFill>
                  <a:srgbClr val="000000"/>
                </a:solidFill>
                <a:latin typeface="ＭＳ Ｐゴシック"/>
                <a:ea typeface="ＭＳ Ｐゴシック"/>
              </a:rPr>
              <a:t>ヒトを支援する</a:t>
            </a:r>
            <a:r>
              <a:rPr lang="en-US" altLang="ja-JP" sz="928" dirty="0">
                <a:solidFill>
                  <a:srgbClr val="000000"/>
                </a:solidFill>
                <a:latin typeface="ＭＳ Ｐゴシック"/>
                <a:ea typeface="ＭＳ Ｐゴシック"/>
              </a:rPr>
              <a:t>AI</a:t>
            </a:r>
            <a:r>
              <a:rPr lang="ja-JP" altLang="en-US" sz="928" dirty="0">
                <a:solidFill>
                  <a:srgbClr val="000000"/>
                </a:solidFill>
                <a:latin typeface="ＭＳ Ｐゴシック"/>
                <a:ea typeface="ＭＳ Ｐゴシック"/>
              </a:rPr>
              <a:t>ターミナルの実現</a:t>
            </a:r>
            <a:endParaRPr lang="en-US" altLang="ja-JP" sz="928" dirty="0">
              <a:solidFill>
                <a:srgbClr val="000000"/>
              </a:solidFill>
              <a:latin typeface="ＭＳ Ｐゴシック"/>
              <a:ea typeface="ＭＳ Ｐゴシック"/>
            </a:endParaRPr>
          </a:p>
        </p:txBody>
      </p:sp>
      <p:sp>
        <p:nvSpPr>
          <p:cNvPr id="33" name="正方形/長方形 32"/>
          <p:cNvSpPr/>
          <p:nvPr/>
        </p:nvSpPr>
        <p:spPr>
          <a:xfrm>
            <a:off x="4038638" y="5179178"/>
            <a:ext cx="1911443" cy="235129"/>
          </a:xfrm>
          <a:prstGeom prst="rect">
            <a:avLst/>
          </a:prstGeom>
        </p:spPr>
        <p:txBody>
          <a:bodyPr wrap="square">
            <a:spAutoFit/>
          </a:bodyPr>
          <a:lstStyle/>
          <a:p>
            <a:pPr defTabSz="707471"/>
            <a:r>
              <a:rPr lang="ja-JP" altLang="en-US" sz="928" dirty="0">
                <a:solidFill>
                  <a:srgbClr val="000000"/>
                </a:solidFill>
                <a:latin typeface="ＭＳ Ｐゴシック"/>
                <a:ea typeface="ＭＳ Ｐゴシック"/>
              </a:rPr>
              <a:t>カーボンニュートラルポートの形成</a:t>
            </a:r>
          </a:p>
        </p:txBody>
      </p:sp>
      <p:sp>
        <p:nvSpPr>
          <p:cNvPr id="34" name="正方形/長方形 33"/>
          <p:cNvSpPr/>
          <p:nvPr/>
        </p:nvSpPr>
        <p:spPr>
          <a:xfrm>
            <a:off x="1531897" y="7379539"/>
            <a:ext cx="1638254" cy="235129"/>
          </a:xfrm>
          <a:prstGeom prst="rect">
            <a:avLst/>
          </a:prstGeom>
        </p:spPr>
        <p:txBody>
          <a:bodyPr wrap="square">
            <a:spAutoFit/>
          </a:bodyPr>
          <a:lstStyle/>
          <a:p>
            <a:pPr defTabSz="707471"/>
            <a:r>
              <a:rPr lang="ja-JP" altLang="en-US" sz="928" dirty="0">
                <a:solidFill>
                  <a:srgbClr val="000000"/>
                </a:solidFill>
                <a:latin typeface="ＭＳ Ｐゴシック"/>
                <a:ea typeface="ＭＳ Ｐゴシック"/>
              </a:rPr>
              <a:t>貨物鉄道ネットワークの強化</a:t>
            </a:r>
          </a:p>
        </p:txBody>
      </p:sp>
      <p:sp>
        <p:nvSpPr>
          <p:cNvPr id="35" name="正方形/長方形 216"/>
          <p:cNvSpPr/>
          <p:nvPr/>
        </p:nvSpPr>
        <p:spPr>
          <a:xfrm>
            <a:off x="3342322" y="7379539"/>
            <a:ext cx="1154333" cy="235129"/>
          </a:xfrm>
          <a:prstGeom prst="rect">
            <a:avLst/>
          </a:prstGeom>
        </p:spPr>
        <p:txBody>
          <a:bodyPr wrap="square">
            <a:spAutoFit/>
          </a:bodyPr>
          <a:lstStyle/>
          <a:p>
            <a:pPr marL="111413" indent="-111413" defTabSz="707471">
              <a:defRPr/>
            </a:pPr>
            <a:r>
              <a:rPr lang="ja-JP" altLang="en-US" sz="928" dirty="0">
                <a:solidFill>
                  <a:srgbClr val="000000"/>
                </a:solidFill>
                <a:latin typeface="ＭＳ Ｐゴシック"/>
                <a:ea typeface="ＭＳ Ｐゴシック"/>
              </a:rPr>
              <a:t>空港コンセッション</a:t>
            </a:r>
            <a:endParaRPr lang="en-US" altLang="ja-JP" sz="928" dirty="0">
              <a:solidFill>
                <a:srgbClr val="000000"/>
              </a:solidFill>
              <a:latin typeface="ＭＳ Ｐゴシック"/>
              <a:ea typeface="ＭＳ Ｐゴシック"/>
            </a:endParaRPr>
          </a:p>
        </p:txBody>
      </p:sp>
      <p:sp>
        <p:nvSpPr>
          <p:cNvPr id="36" name="正方形/長方形 35"/>
          <p:cNvSpPr/>
          <p:nvPr/>
        </p:nvSpPr>
        <p:spPr>
          <a:xfrm>
            <a:off x="6044031" y="7380615"/>
            <a:ext cx="1971359" cy="377924"/>
          </a:xfrm>
          <a:prstGeom prst="rect">
            <a:avLst/>
          </a:prstGeom>
        </p:spPr>
        <p:txBody>
          <a:bodyPr wrap="square">
            <a:spAutoFit/>
          </a:bodyPr>
          <a:lstStyle/>
          <a:p>
            <a:pPr defTabSz="707471"/>
            <a:r>
              <a:rPr kumimoji="0" lang="ja-JP" altLang="en-US" sz="928" kern="0" dirty="0">
                <a:solidFill>
                  <a:srgbClr val="000000"/>
                </a:solidFill>
                <a:latin typeface="ＭＳ Ｐゴシック"/>
                <a:ea typeface="ＭＳ Ｐゴシック"/>
                <a:cs typeface="Meiryo UI" panose="020B0604030504040204" pitchFamily="50" charset="-128"/>
              </a:rPr>
              <a:t>地域インフラ群再生戦略マネジメント</a:t>
            </a:r>
            <a:endParaRPr lang="ja-JP" altLang="en-US" sz="928" dirty="0">
              <a:solidFill>
                <a:srgbClr val="000000"/>
              </a:solidFill>
              <a:latin typeface="ＭＳ Ｐゴシック"/>
              <a:ea typeface="ＭＳ Ｐゴシック"/>
            </a:endParaRPr>
          </a:p>
        </p:txBody>
      </p:sp>
      <p:sp>
        <p:nvSpPr>
          <p:cNvPr id="37" name="正方形/長方形 36"/>
          <p:cNvSpPr/>
          <p:nvPr/>
        </p:nvSpPr>
        <p:spPr>
          <a:xfrm>
            <a:off x="167116" y="7379539"/>
            <a:ext cx="1647191" cy="235129"/>
          </a:xfrm>
          <a:prstGeom prst="rect">
            <a:avLst/>
          </a:prstGeom>
        </p:spPr>
        <p:txBody>
          <a:bodyPr wrap="square">
            <a:spAutoFit/>
          </a:bodyPr>
          <a:lstStyle/>
          <a:p>
            <a:pPr defTabSz="707471"/>
            <a:r>
              <a:rPr lang="ja-JP" altLang="en-US" sz="928" dirty="0">
                <a:solidFill>
                  <a:srgbClr val="000000"/>
                </a:solidFill>
                <a:latin typeface="ＭＳ Ｐゴシック"/>
                <a:ea typeface="ＭＳ Ｐゴシック"/>
              </a:rPr>
              <a:t>ミッシングリンクの解消</a:t>
            </a:r>
          </a:p>
        </p:txBody>
      </p:sp>
      <p:sp>
        <p:nvSpPr>
          <p:cNvPr id="38" name="正方形/長方形 37"/>
          <p:cNvSpPr/>
          <p:nvPr/>
        </p:nvSpPr>
        <p:spPr>
          <a:xfrm>
            <a:off x="7910161" y="7379539"/>
            <a:ext cx="1875835" cy="235129"/>
          </a:xfrm>
          <a:prstGeom prst="rect">
            <a:avLst/>
          </a:prstGeom>
        </p:spPr>
        <p:txBody>
          <a:bodyPr wrap="none">
            <a:spAutoFit/>
          </a:bodyPr>
          <a:lstStyle/>
          <a:p>
            <a:pPr defTabSz="707471"/>
            <a:r>
              <a:rPr kumimoji="0" lang="ja-JP" altLang="en-US" sz="928" kern="0" dirty="0">
                <a:solidFill>
                  <a:srgbClr val="000000"/>
                </a:solidFill>
                <a:latin typeface="ＭＳ Ｐゴシック"/>
                <a:ea typeface="ＭＳ Ｐゴシック"/>
                <a:cs typeface="Meiryo UI" panose="020B0604030504040204" pitchFamily="50" charset="-128"/>
              </a:rPr>
              <a:t>ドローンを活用したインフラの点検</a:t>
            </a:r>
            <a:endParaRPr lang="ja-JP" altLang="en-US" sz="928" dirty="0">
              <a:solidFill>
                <a:srgbClr val="000000"/>
              </a:solidFill>
              <a:latin typeface="ＭＳ Ｐゴシック"/>
              <a:ea typeface="ＭＳ Ｐゴシック"/>
            </a:endParaRPr>
          </a:p>
        </p:txBody>
      </p:sp>
      <p:sp>
        <p:nvSpPr>
          <p:cNvPr id="39" name="正方形/長方形 38"/>
          <p:cNvSpPr/>
          <p:nvPr/>
        </p:nvSpPr>
        <p:spPr>
          <a:xfrm>
            <a:off x="7938013" y="5318441"/>
            <a:ext cx="1863472" cy="377924"/>
          </a:xfrm>
          <a:prstGeom prst="rect">
            <a:avLst/>
          </a:prstGeom>
        </p:spPr>
        <p:txBody>
          <a:bodyPr wrap="square">
            <a:spAutoFit/>
          </a:bodyPr>
          <a:lstStyle/>
          <a:p>
            <a:pPr defTabSz="707471"/>
            <a:r>
              <a:rPr lang="ja-JP" altLang="en-US" sz="928" dirty="0">
                <a:solidFill>
                  <a:srgbClr val="000000"/>
                </a:solidFill>
                <a:latin typeface="ＭＳ Ｐゴシック"/>
                <a:ea typeface="ＭＳ Ｐゴシック"/>
              </a:rPr>
              <a:t>「道の駅」の防災機能の整備・強化</a:t>
            </a:r>
          </a:p>
        </p:txBody>
      </p:sp>
      <p:pic>
        <p:nvPicPr>
          <p:cNvPr id="40" name="図 39"/>
          <p:cNvPicPr>
            <a:picLocks/>
          </p:cNvPicPr>
          <p:nvPr/>
        </p:nvPicPr>
        <p:blipFill>
          <a:blip r:embed="rId9"/>
          <a:stretch>
            <a:fillRect/>
          </a:stretch>
        </p:blipFill>
        <p:spPr>
          <a:xfrm>
            <a:off x="7965866" y="6405546"/>
            <a:ext cx="1866129" cy="1002696"/>
          </a:xfrm>
          <a:prstGeom prst="rect">
            <a:avLst/>
          </a:prstGeom>
        </p:spPr>
      </p:pic>
      <p:pic>
        <p:nvPicPr>
          <p:cNvPr id="41" name="図 40"/>
          <p:cNvPicPr>
            <a:picLocks noChangeAspect="1"/>
          </p:cNvPicPr>
          <p:nvPr/>
        </p:nvPicPr>
        <p:blipFill rotWithShape="1">
          <a:blip r:embed="rId10"/>
          <a:srcRect l="16715" t="17536" r="18082" b="17882"/>
          <a:stretch/>
        </p:blipFill>
        <p:spPr>
          <a:xfrm>
            <a:off x="55705" y="4176482"/>
            <a:ext cx="1810424" cy="1008200"/>
          </a:xfrm>
          <a:prstGeom prst="rect">
            <a:avLst/>
          </a:prstGeom>
        </p:spPr>
      </p:pic>
      <p:sp>
        <p:nvSpPr>
          <p:cNvPr id="42" name="正方形/長方形 219">
            <a:extLst>
              <a:ext uri="{FF2B5EF4-FFF2-40B4-BE49-F238E27FC236}">
                <a16:creationId xmlns:a16="http://schemas.microsoft.com/office/drawing/2014/main" id="{F37A7D33-02C4-331A-3061-D85165E17A0C}"/>
              </a:ext>
            </a:extLst>
          </p:cNvPr>
          <p:cNvSpPr/>
          <p:nvPr/>
        </p:nvSpPr>
        <p:spPr>
          <a:xfrm>
            <a:off x="4595692" y="6293284"/>
            <a:ext cx="1380506" cy="223266"/>
          </a:xfrm>
          <a:prstGeom prst="rect">
            <a:avLst/>
          </a:prstGeom>
          <a:solidFill>
            <a:schemeClr val="bg1">
              <a:alpha val="70000"/>
            </a:schemeClr>
          </a:solidFill>
        </p:spPr>
        <p:txBody>
          <a:bodyPr wrap="none">
            <a:spAutoFit/>
          </a:bodyPr>
          <a:lstStyle/>
          <a:p>
            <a:pPr defTabSz="707471"/>
            <a:r>
              <a:rPr lang="ja-JP" altLang="en-US" sz="851" dirty="0">
                <a:solidFill>
                  <a:srgbClr val="000000"/>
                </a:solidFill>
                <a:latin typeface="Yu Gothic UI" panose="020B0500000000000000" pitchFamily="50" charset="-128"/>
                <a:ea typeface="Yu Gothic UI" panose="020B0500000000000000" pitchFamily="50" charset="-128"/>
              </a:rPr>
              <a:t>東京都芝浦水再生センター</a:t>
            </a:r>
          </a:p>
        </p:txBody>
      </p:sp>
      <p:sp>
        <p:nvSpPr>
          <p:cNvPr id="43" name="正方形/長方形 216"/>
          <p:cNvSpPr/>
          <p:nvPr/>
        </p:nvSpPr>
        <p:spPr>
          <a:xfrm>
            <a:off x="4592935" y="7379539"/>
            <a:ext cx="1491323" cy="235129"/>
          </a:xfrm>
          <a:prstGeom prst="rect">
            <a:avLst/>
          </a:prstGeom>
        </p:spPr>
        <p:txBody>
          <a:bodyPr wrap="square">
            <a:spAutoFit/>
          </a:bodyPr>
          <a:lstStyle/>
          <a:p>
            <a:pPr marL="111413" indent="-111413" defTabSz="707471">
              <a:defRPr/>
            </a:pPr>
            <a:r>
              <a:rPr lang="ja-JP" altLang="en-US" sz="928" dirty="0">
                <a:solidFill>
                  <a:srgbClr val="000000"/>
                </a:solidFill>
                <a:latin typeface="ＭＳ Ｐゴシック"/>
                <a:ea typeface="ＭＳ Ｐゴシック"/>
              </a:rPr>
              <a:t>下水道</a:t>
            </a:r>
            <a:r>
              <a:rPr lang="ja-JP" altLang="en-US" sz="812" dirty="0">
                <a:solidFill>
                  <a:srgbClr val="000000"/>
                </a:solidFill>
                <a:latin typeface="ＭＳ Ｐゴシック"/>
                <a:ea typeface="ＭＳ Ｐゴシック"/>
              </a:rPr>
              <a:t>（民間収益施設併設）</a:t>
            </a:r>
            <a:endParaRPr lang="en-US" altLang="ja-JP" sz="812" dirty="0">
              <a:solidFill>
                <a:srgbClr val="000000"/>
              </a:solidFill>
              <a:latin typeface="ＭＳ Ｐゴシック"/>
              <a:ea typeface="ＭＳ Ｐゴシック"/>
            </a:endParaRPr>
          </a:p>
        </p:txBody>
      </p:sp>
      <p:sp>
        <p:nvSpPr>
          <p:cNvPr id="44" name="テキスト ボックス 43"/>
          <p:cNvSpPr txBox="1"/>
          <p:nvPr/>
        </p:nvSpPr>
        <p:spPr>
          <a:xfrm>
            <a:off x="278527" y="3786544"/>
            <a:ext cx="3403108" cy="401905"/>
          </a:xfrm>
          <a:prstGeom prst="rect">
            <a:avLst/>
          </a:prstGeom>
          <a:noFill/>
        </p:spPr>
        <p:txBody>
          <a:bodyPr wrap="square" rtlCol="0">
            <a:spAutoFit/>
          </a:bodyPr>
          <a:lstStyle/>
          <a:p>
            <a:pPr defTabSz="707471"/>
            <a:r>
              <a:rPr lang="ja-JP" altLang="en-US" sz="1006" dirty="0">
                <a:solidFill>
                  <a:srgbClr val="000000"/>
                </a:solidFill>
                <a:latin typeface="ＭＳ Ｐゴシック"/>
                <a:ea typeface="ＭＳ Ｐゴシック"/>
              </a:rPr>
              <a:t>●光ファイバ・５</a:t>
            </a:r>
            <a:r>
              <a:rPr lang="en-US" altLang="ja-JP" sz="1006" dirty="0">
                <a:solidFill>
                  <a:srgbClr val="000000"/>
                </a:solidFill>
                <a:latin typeface="ＭＳ Ｐゴシック"/>
                <a:ea typeface="ＭＳ Ｐゴシック"/>
              </a:rPr>
              <a:t>G</a:t>
            </a:r>
            <a:r>
              <a:rPr lang="ja-JP" altLang="en-US" sz="1006" dirty="0">
                <a:solidFill>
                  <a:srgbClr val="000000"/>
                </a:solidFill>
                <a:latin typeface="ＭＳ Ｐゴシック"/>
                <a:ea typeface="ＭＳ Ｐゴシック"/>
              </a:rPr>
              <a:t>等のデジタルインフラ</a:t>
            </a:r>
            <a:endParaRPr lang="en-US" altLang="ja-JP" sz="1006" dirty="0">
              <a:solidFill>
                <a:srgbClr val="000000"/>
              </a:solidFill>
              <a:latin typeface="ＭＳ Ｐゴシック"/>
              <a:ea typeface="ＭＳ Ｐゴシック"/>
            </a:endParaRPr>
          </a:p>
          <a:p>
            <a:pPr defTabSz="707471"/>
            <a:r>
              <a:rPr lang="ja-JP" altLang="en-US" sz="1006" dirty="0">
                <a:solidFill>
                  <a:srgbClr val="000000"/>
                </a:solidFill>
                <a:latin typeface="ＭＳ Ｐゴシック"/>
                <a:ea typeface="ＭＳ Ｐゴシック"/>
              </a:rPr>
              <a:t>●国土基盤におけるデジタル活用　等</a:t>
            </a:r>
          </a:p>
        </p:txBody>
      </p:sp>
      <p:sp>
        <p:nvSpPr>
          <p:cNvPr id="45" name="テキスト ボックス 44"/>
          <p:cNvSpPr txBox="1"/>
          <p:nvPr/>
        </p:nvSpPr>
        <p:spPr>
          <a:xfrm>
            <a:off x="3955080" y="3786544"/>
            <a:ext cx="2266498" cy="401905"/>
          </a:xfrm>
          <a:prstGeom prst="rect">
            <a:avLst/>
          </a:prstGeom>
          <a:noFill/>
        </p:spPr>
        <p:txBody>
          <a:bodyPr wrap="square" rtlCol="0">
            <a:spAutoFit/>
          </a:bodyPr>
          <a:lstStyle/>
          <a:p>
            <a:pPr defTabSz="707471"/>
            <a:r>
              <a:rPr lang="ja-JP" altLang="en-US" sz="1006" dirty="0">
                <a:solidFill>
                  <a:srgbClr val="000000"/>
                </a:solidFill>
                <a:latin typeface="ＭＳ Ｐゴシック"/>
                <a:ea typeface="ＭＳ Ｐゴシック"/>
              </a:rPr>
              <a:t>●電力系統等のエネルギーインフラ</a:t>
            </a:r>
            <a:endParaRPr lang="en-US" altLang="ja-JP" sz="1006" dirty="0">
              <a:solidFill>
                <a:srgbClr val="000000"/>
              </a:solidFill>
              <a:latin typeface="ＭＳ Ｐゴシック"/>
              <a:ea typeface="ＭＳ Ｐゴシック"/>
            </a:endParaRPr>
          </a:p>
          <a:p>
            <a:pPr defTabSz="707471"/>
            <a:r>
              <a:rPr lang="ja-JP" altLang="en-US" sz="1006" dirty="0">
                <a:solidFill>
                  <a:srgbClr val="000000"/>
                </a:solidFill>
                <a:latin typeface="ＭＳ Ｐゴシック"/>
                <a:ea typeface="ＭＳ Ｐゴシック"/>
              </a:rPr>
              <a:t>●国土基盤における脱炭素化　等</a:t>
            </a:r>
          </a:p>
        </p:txBody>
      </p:sp>
      <p:sp>
        <p:nvSpPr>
          <p:cNvPr id="46" name="テキスト ボックス 45"/>
          <p:cNvSpPr txBox="1"/>
          <p:nvPr/>
        </p:nvSpPr>
        <p:spPr>
          <a:xfrm>
            <a:off x="55704" y="5652673"/>
            <a:ext cx="3008089" cy="401905"/>
          </a:xfrm>
          <a:prstGeom prst="rect">
            <a:avLst/>
          </a:prstGeom>
          <a:noFill/>
        </p:spPr>
        <p:txBody>
          <a:bodyPr wrap="square" rtlCol="0">
            <a:spAutoFit/>
          </a:bodyPr>
          <a:lstStyle/>
          <a:p>
            <a:pPr defTabSz="707471"/>
            <a:r>
              <a:rPr lang="ja-JP" altLang="en-US" sz="1006" dirty="0">
                <a:solidFill>
                  <a:srgbClr val="000000"/>
                </a:solidFill>
                <a:latin typeface="ＭＳ Ｐゴシック"/>
                <a:ea typeface="ＭＳ Ｐゴシック"/>
              </a:rPr>
              <a:t>●交通等の全国的な強靱なネットワーク機能の強化</a:t>
            </a:r>
            <a:endParaRPr lang="en-US" altLang="ja-JP" sz="1006" dirty="0">
              <a:solidFill>
                <a:srgbClr val="000000"/>
              </a:solidFill>
              <a:latin typeface="ＭＳ Ｐゴシック"/>
              <a:ea typeface="ＭＳ Ｐゴシック"/>
            </a:endParaRPr>
          </a:p>
          <a:p>
            <a:pPr defTabSz="707471"/>
            <a:r>
              <a:rPr lang="ja-JP" altLang="en-US" sz="1006" dirty="0">
                <a:solidFill>
                  <a:srgbClr val="000000"/>
                </a:solidFill>
                <a:latin typeface="ＭＳ Ｐゴシック"/>
                <a:ea typeface="ＭＳ Ｐゴシック"/>
              </a:rPr>
              <a:t>●安全保障の観点からの公共インフラの整備等　等</a:t>
            </a:r>
          </a:p>
        </p:txBody>
      </p:sp>
      <p:sp>
        <p:nvSpPr>
          <p:cNvPr id="47" name="テキスト ボックス 46"/>
          <p:cNvSpPr txBox="1"/>
          <p:nvPr/>
        </p:nvSpPr>
        <p:spPr>
          <a:xfrm>
            <a:off x="6155442" y="3508017"/>
            <a:ext cx="3403108" cy="401905"/>
          </a:xfrm>
          <a:prstGeom prst="rect">
            <a:avLst/>
          </a:prstGeom>
          <a:noFill/>
        </p:spPr>
        <p:txBody>
          <a:bodyPr wrap="square" rtlCol="0">
            <a:spAutoFit/>
          </a:bodyPr>
          <a:lstStyle/>
          <a:p>
            <a:pPr defTabSz="707471"/>
            <a:r>
              <a:rPr lang="ja-JP" altLang="en-US" sz="1006" dirty="0">
                <a:solidFill>
                  <a:srgbClr val="000000"/>
                </a:solidFill>
                <a:latin typeface="ＭＳ Ｐゴシック"/>
                <a:ea typeface="ＭＳ Ｐゴシック"/>
              </a:rPr>
              <a:t>●縦割り排除による複合的・多目的活用</a:t>
            </a:r>
            <a:endParaRPr lang="en-US" altLang="ja-JP" sz="1006" dirty="0">
              <a:solidFill>
                <a:srgbClr val="000000"/>
              </a:solidFill>
              <a:latin typeface="ＭＳ Ｐゴシック"/>
              <a:ea typeface="ＭＳ Ｐゴシック"/>
            </a:endParaRPr>
          </a:p>
          <a:p>
            <a:pPr defTabSz="707471"/>
            <a:r>
              <a:rPr lang="ja-JP" altLang="en-US" sz="1006" dirty="0">
                <a:solidFill>
                  <a:srgbClr val="000000"/>
                </a:solidFill>
                <a:latin typeface="ＭＳ Ｐゴシック"/>
                <a:ea typeface="ＭＳ Ｐゴシック"/>
              </a:rPr>
              <a:t>●ソフト施策と組み合わせた効果最大化　等</a:t>
            </a:r>
          </a:p>
        </p:txBody>
      </p:sp>
      <p:sp>
        <p:nvSpPr>
          <p:cNvPr id="48" name="テキスト ボックス 47"/>
          <p:cNvSpPr txBox="1"/>
          <p:nvPr/>
        </p:nvSpPr>
        <p:spPr>
          <a:xfrm>
            <a:off x="6016179" y="6070464"/>
            <a:ext cx="3955080" cy="401905"/>
          </a:xfrm>
          <a:prstGeom prst="rect">
            <a:avLst/>
          </a:prstGeom>
          <a:noFill/>
        </p:spPr>
        <p:txBody>
          <a:bodyPr wrap="square" rtlCol="0">
            <a:spAutoFit/>
          </a:bodyPr>
          <a:lstStyle/>
          <a:p>
            <a:pPr defTabSz="707471"/>
            <a:r>
              <a:rPr lang="ja-JP" altLang="en-US" sz="1006" dirty="0">
                <a:solidFill>
                  <a:srgbClr val="000000"/>
                </a:solidFill>
                <a:latin typeface="ＭＳ Ｐゴシック"/>
                <a:ea typeface="ＭＳ Ｐゴシック"/>
              </a:rPr>
              <a:t>●予防保全型メンテナンスへの本格転換、広域的・戦略的マネジメント</a:t>
            </a:r>
            <a:endParaRPr lang="en-US" altLang="ja-JP" sz="1006" dirty="0">
              <a:solidFill>
                <a:srgbClr val="000000"/>
              </a:solidFill>
              <a:latin typeface="ＭＳ Ｐゴシック"/>
              <a:ea typeface="ＭＳ Ｐゴシック"/>
            </a:endParaRPr>
          </a:p>
          <a:p>
            <a:pPr defTabSz="707471"/>
            <a:r>
              <a:rPr lang="ja-JP" altLang="en-US" sz="1006" dirty="0">
                <a:solidFill>
                  <a:srgbClr val="000000"/>
                </a:solidFill>
                <a:latin typeface="ＭＳ Ｐゴシック"/>
                <a:ea typeface="ＭＳ Ｐゴシック"/>
              </a:rPr>
              <a:t>●新技術・官民連携手法の普及による高度化・効率化　等</a:t>
            </a:r>
          </a:p>
        </p:txBody>
      </p:sp>
      <p:sp>
        <p:nvSpPr>
          <p:cNvPr id="50" name="テキスト ボックス 49">
            <a:extLst>
              <a:ext uri="{FF2B5EF4-FFF2-40B4-BE49-F238E27FC236}">
                <a16:creationId xmlns:a16="http://schemas.microsoft.com/office/drawing/2014/main" id="{13B3E12B-8FF6-4262-B053-C8D197EA1B90}"/>
              </a:ext>
            </a:extLst>
          </p:cNvPr>
          <p:cNvSpPr txBox="1"/>
          <p:nvPr/>
        </p:nvSpPr>
        <p:spPr>
          <a:xfrm>
            <a:off x="6247037" y="5318858"/>
            <a:ext cx="1515158" cy="235129"/>
          </a:xfrm>
          <a:prstGeom prst="rect">
            <a:avLst/>
          </a:prstGeom>
          <a:noFill/>
        </p:spPr>
        <p:txBody>
          <a:bodyPr wrap="none" rtlCol="0">
            <a:spAutoFit/>
          </a:bodyPr>
          <a:lstStyle/>
          <a:p>
            <a:pPr defTabSz="990460">
              <a:defRPr/>
            </a:pPr>
            <a:r>
              <a:rPr lang="ja-JP" altLang="en-US" sz="928" dirty="0">
                <a:solidFill>
                  <a:srgbClr val="000000"/>
                </a:solidFill>
                <a:latin typeface="ＭＳ Ｐゴシック"/>
                <a:ea typeface="ＭＳ Ｐゴシック"/>
              </a:rPr>
              <a:t>ハイブリッドダムのイメージ</a:t>
            </a:r>
            <a:endParaRPr lang="en-US" altLang="ja-JP" sz="928" dirty="0">
              <a:solidFill>
                <a:srgbClr val="000000"/>
              </a:solidFill>
              <a:latin typeface="ＭＳ Ｐゴシック"/>
              <a:ea typeface="ＭＳ Ｐゴシック"/>
            </a:endParaRPr>
          </a:p>
        </p:txBody>
      </p:sp>
      <p:grpSp>
        <p:nvGrpSpPr>
          <p:cNvPr id="51" name="グループ化 50"/>
          <p:cNvGrpSpPr>
            <a:grpSpLocks noChangeAspect="1"/>
          </p:cNvGrpSpPr>
          <p:nvPr/>
        </p:nvGrpSpPr>
        <p:grpSpPr>
          <a:xfrm>
            <a:off x="6109582" y="3870102"/>
            <a:ext cx="1732755" cy="1451573"/>
            <a:chOff x="10025413" y="5059738"/>
            <a:chExt cx="1373077" cy="1150261"/>
          </a:xfrm>
        </p:grpSpPr>
        <p:grpSp>
          <p:nvGrpSpPr>
            <p:cNvPr id="52" name="グループ化 51"/>
            <p:cNvGrpSpPr>
              <a:grpSpLocks noChangeAspect="1"/>
            </p:cNvGrpSpPr>
            <p:nvPr/>
          </p:nvGrpSpPr>
          <p:grpSpPr>
            <a:xfrm>
              <a:off x="10025413" y="5059738"/>
              <a:ext cx="1373077" cy="1150261"/>
              <a:chOff x="10152451" y="511890"/>
              <a:chExt cx="2783891" cy="2332133"/>
            </a:xfrm>
          </p:grpSpPr>
          <p:sp>
            <p:nvSpPr>
              <p:cNvPr id="54" name="テキスト ボックス 53"/>
              <p:cNvSpPr txBox="1"/>
              <p:nvPr/>
            </p:nvSpPr>
            <p:spPr>
              <a:xfrm>
                <a:off x="11035696" y="511890"/>
                <a:ext cx="797134" cy="282371"/>
              </a:xfrm>
              <a:prstGeom prst="rect">
                <a:avLst/>
              </a:prstGeom>
              <a:noFill/>
            </p:spPr>
            <p:txBody>
              <a:bodyPr wrap="square" rtlCol="0">
                <a:spAutoFit/>
              </a:bodyPr>
              <a:lstStyle/>
              <a:p>
                <a:pPr defTabSz="707471" fontAlgn="auto">
                  <a:spcBef>
                    <a:spcPts val="0"/>
                  </a:spcBef>
                  <a:spcAft>
                    <a:spcPts val="0"/>
                  </a:spcAft>
                  <a:defRPr/>
                </a:pPr>
                <a:r>
                  <a:rPr lang="ja-JP" altLang="en-US" sz="542" b="1" dirty="0">
                    <a:solidFill>
                      <a:prstClr val="black"/>
                    </a:solidFill>
                    <a:latin typeface="ＭＳ Ｐゴシック"/>
                    <a:ea typeface="ＭＳ Ｐゴシック"/>
                  </a:rPr>
                  <a:t>嵩上げ</a:t>
                </a:r>
              </a:p>
            </p:txBody>
          </p:sp>
          <p:sp>
            <p:nvSpPr>
              <p:cNvPr id="55" name="台形 2"/>
              <p:cNvSpPr/>
              <p:nvPr/>
            </p:nvSpPr>
            <p:spPr>
              <a:xfrm>
                <a:off x="11055007" y="1054229"/>
                <a:ext cx="590955" cy="1781041"/>
              </a:xfrm>
              <a:custGeom>
                <a:avLst/>
                <a:gdLst>
                  <a:gd name="connsiteX0" fmla="*/ 0 w 432048"/>
                  <a:gd name="connsiteY0" fmla="*/ 1512168 h 1512168"/>
                  <a:gd name="connsiteX1" fmla="*/ 108012 w 432048"/>
                  <a:gd name="connsiteY1" fmla="*/ 0 h 1512168"/>
                  <a:gd name="connsiteX2" fmla="*/ 324036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108012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246558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048" h="1512168">
                    <a:moveTo>
                      <a:pt x="0" y="1512168"/>
                    </a:moveTo>
                    <a:lnTo>
                      <a:pt x="246558" y="0"/>
                    </a:lnTo>
                    <a:lnTo>
                      <a:pt x="421018" y="0"/>
                    </a:lnTo>
                    <a:cubicBezTo>
                      <a:pt x="424695" y="504056"/>
                      <a:pt x="428371" y="1008112"/>
                      <a:pt x="432048" y="1512168"/>
                    </a:cubicBezTo>
                    <a:lnTo>
                      <a:pt x="0" y="1512168"/>
                    </a:lnTo>
                    <a:close/>
                  </a:path>
                </a:pathLst>
              </a:custGeom>
              <a:solidFill>
                <a:srgbClr val="FFFFFF">
                  <a:lumMod val="85000"/>
                </a:srgbClr>
              </a:solidFill>
              <a:ln w="25400" cap="flat" cmpd="sng" algn="ctr">
                <a:solidFill>
                  <a:srgbClr val="FFFFFF">
                    <a:lumMod val="65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56" name="正方形/長方形 55"/>
              <p:cNvSpPr/>
              <p:nvPr/>
            </p:nvSpPr>
            <p:spPr>
              <a:xfrm>
                <a:off x="11672934" y="1973383"/>
                <a:ext cx="1072675" cy="772558"/>
              </a:xfrm>
              <a:prstGeom prst="rect">
                <a:avLst/>
              </a:prstGeom>
              <a:solidFill>
                <a:srgbClr val="FFCCFF"/>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57" name="正方形/長方形 56"/>
              <p:cNvSpPr/>
              <p:nvPr/>
            </p:nvSpPr>
            <p:spPr>
              <a:xfrm>
                <a:off x="11669488" y="1131471"/>
                <a:ext cx="1076121" cy="839872"/>
              </a:xfrm>
              <a:prstGeom prst="rect">
                <a:avLst/>
              </a:prstGeom>
              <a:solidFill>
                <a:srgbClr val="BBE0E3"/>
              </a:solidFill>
              <a:ln w="25400" cap="flat" cmpd="sng" algn="ctr">
                <a:solidFill>
                  <a:srgbClr val="808080"/>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58" name="台形 2"/>
              <p:cNvSpPr/>
              <p:nvPr/>
            </p:nvSpPr>
            <p:spPr>
              <a:xfrm>
                <a:off x="11405753" y="790128"/>
                <a:ext cx="216180" cy="255348"/>
              </a:xfrm>
              <a:custGeom>
                <a:avLst/>
                <a:gdLst>
                  <a:gd name="connsiteX0" fmla="*/ 0 w 432048"/>
                  <a:gd name="connsiteY0" fmla="*/ 1512168 h 1512168"/>
                  <a:gd name="connsiteX1" fmla="*/ 108012 w 432048"/>
                  <a:gd name="connsiteY1" fmla="*/ 0 h 1512168"/>
                  <a:gd name="connsiteX2" fmla="*/ 324036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108012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246558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 name="connsiteX0" fmla="*/ 0 w 432048"/>
                  <a:gd name="connsiteY0" fmla="*/ 1512168 h 1512168"/>
                  <a:gd name="connsiteX1" fmla="*/ 185496 w 432048"/>
                  <a:gd name="connsiteY1" fmla="*/ 0 h 1512168"/>
                  <a:gd name="connsiteX2" fmla="*/ 421018 w 432048"/>
                  <a:gd name="connsiteY2" fmla="*/ 0 h 1512168"/>
                  <a:gd name="connsiteX3" fmla="*/ 432048 w 432048"/>
                  <a:gd name="connsiteY3" fmla="*/ 1512168 h 1512168"/>
                  <a:gd name="connsiteX4" fmla="*/ 0 w 432048"/>
                  <a:gd name="connsiteY4" fmla="*/ 1512168 h 1512168"/>
                  <a:gd name="connsiteX0" fmla="*/ 0 w 446972"/>
                  <a:gd name="connsiteY0" fmla="*/ 1530970 h 1530970"/>
                  <a:gd name="connsiteX1" fmla="*/ 185496 w 446972"/>
                  <a:gd name="connsiteY1" fmla="*/ 18802 h 1530970"/>
                  <a:gd name="connsiteX2" fmla="*/ 446553 w 446972"/>
                  <a:gd name="connsiteY2" fmla="*/ 0 h 1530970"/>
                  <a:gd name="connsiteX3" fmla="*/ 432048 w 446972"/>
                  <a:gd name="connsiteY3" fmla="*/ 1530970 h 1530970"/>
                  <a:gd name="connsiteX4" fmla="*/ 0 w 446972"/>
                  <a:gd name="connsiteY4" fmla="*/ 1530970 h 1530970"/>
                  <a:gd name="connsiteX0" fmla="*/ 0 w 440739"/>
                  <a:gd name="connsiteY0" fmla="*/ 1530970 h 1530970"/>
                  <a:gd name="connsiteX1" fmla="*/ 185496 w 440739"/>
                  <a:gd name="connsiteY1" fmla="*/ 18802 h 1530970"/>
                  <a:gd name="connsiteX2" fmla="*/ 440170 w 440739"/>
                  <a:gd name="connsiteY2" fmla="*/ 0 h 1530970"/>
                  <a:gd name="connsiteX3" fmla="*/ 432048 w 440739"/>
                  <a:gd name="connsiteY3" fmla="*/ 1530970 h 1530970"/>
                  <a:gd name="connsiteX4" fmla="*/ 0 w 440739"/>
                  <a:gd name="connsiteY4" fmla="*/ 1530970 h 1530970"/>
                  <a:gd name="connsiteX0" fmla="*/ 0 w 432049"/>
                  <a:gd name="connsiteY0" fmla="*/ 1530970 h 1530970"/>
                  <a:gd name="connsiteX1" fmla="*/ 185496 w 432049"/>
                  <a:gd name="connsiteY1" fmla="*/ 18802 h 1530970"/>
                  <a:gd name="connsiteX2" fmla="*/ 427402 w 432049"/>
                  <a:gd name="connsiteY2" fmla="*/ 0 h 1530970"/>
                  <a:gd name="connsiteX3" fmla="*/ 432048 w 432049"/>
                  <a:gd name="connsiteY3" fmla="*/ 1530970 h 1530970"/>
                  <a:gd name="connsiteX4" fmla="*/ 0 w 432049"/>
                  <a:gd name="connsiteY4" fmla="*/ 1530970 h 1530970"/>
                  <a:gd name="connsiteX0" fmla="*/ 0 w 434679"/>
                  <a:gd name="connsiteY0" fmla="*/ 1512168 h 1512168"/>
                  <a:gd name="connsiteX1" fmla="*/ 185496 w 434679"/>
                  <a:gd name="connsiteY1" fmla="*/ 0 h 1512168"/>
                  <a:gd name="connsiteX2" fmla="*/ 433786 w 434679"/>
                  <a:gd name="connsiteY2" fmla="*/ 0 h 1512168"/>
                  <a:gd name="connsiteX3" fmla="*/ 432048 w 434679"/>
                  <a:gd name="connsiteY3" fmla="*/ 1512168 h 1512168"/>
                  <a:gd name="connsiteX4" fmla="*/ 0 w 434679"/>
                  <a:gd name="connsiteY4" fmla="*/ 1512168 h 151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79" h="1512168">
                    <a:moveTo>
                      <a:pt x="0" y="1512168"/>
                    </a:moveTo>
                    <a:lnTo>
                      <a:pt x="185496" y="0"/>
                    </a:lnTo>
                    <a:lnTo>
                      <a:pt x="433786" y="0"/>
                    </a:lnTo>
                    <a:cubicBezTo>
                      <a:pt x="437463" y="504056"/>
                      <a:pt x="428371" y="1008112"/>
                      <a:pt x="432048" y="1512168"/>
                    </a:cubicBezTo>
                    <a:lnTo>
                      <a:pt x="0" y="1512168"/>
                    </a:lnTo>
                    <a:close/>
                  </a:path>
                </a:pathLst>
              </a:custGeom>
              <a:solidFill>
                <a:srgbClr val="FF33CC"/>
              </a:solidFill>
              <a:ln w="25400" cap="flat" cmpd="sng" algn="ctr">
                <a:solidFill>
                  <a:srgbClr val="FFFFFF">
                    <a:lumMod val="65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59" name="テキスト ボックス 206">
                <a:extLst>
                  <a:ext uri="{FF2B5EF4-FFF2-40B4-BE49-F238E27FC236}">
                    <a16:creationId xmlns:a16="http://schemas.microsoft.com/office/drawing/2014/main" id="{B50C73CD-9EDF-EEC7-7A4D-EBB3BA3E9FB4}"/>
                  </a:ext>
                </a:extLst>
              </p:cNvPr>
              <p:cNvSpPr txBox="1"/>
              <p:nvPr/>
            </p:nvSpPr>
            <p:spPr>
              <a:xfrm>
                <a:off x="11640588" y="1135697"/>
                <a:ext cx="1148448" cy="282371"/>
              </a:xfrm>
              <a:prstGeom prst="rect">
                <a:avLst/>
              </a:prstGeom>
              <a:noFill/>
            </p:spPr>
            <p:txBody>
              <a:bodyPr wrap="square" rtlCol="0">
                <a:spAutoFit/>
              </a:bodyPr>
              <a:lstStyle>
                <a:defPPr>
                  <a:defRPr lang="ja-JP"/>
                </a:defPPr>
                <a:lvl1pPr marL="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1pPr>
                <a:lvl2pPr marL="4572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2pPr>
                <a:lvl3pPr marL="9144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3pPr>
                <a:lvl4pPr marL="13716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4pPr>
                <a:lvl5pPr marL="18288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5pPr>
                <a:lvl6pPr marL="22860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6pPr>
                <a:lvl7pPr marL="27432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7pPr>
                <a:lvl8pPr marL="32004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8pPr>
                <a:lvl9pPr marL="36576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9pPr>
              </a:lstStyle>
              <a:p>
                <a:pPr algn="ctr" defTabSz="355196" fontAlgn="auto">
                  <a:spcBef>
                    <a:spcPts val="0"/>
                  </a:spcBef>
                  <a:spcAft>
                    <a:spcPts val="0"/>
                  </a:spcAft>
                  <a:defRPr/>
                </a:pPr>
                <a:r>
                  <a:rPr lang="ja-JP" altLang="en-US" sz="542" b="1" dirty="0">
                    <a:solidFill>
                      <a:srgbClr val="0070C0"/>
                    </a:solidFill>
                    <a:latin typeface="Calibri"/>
                  </a:rPr>
                  <a:t>洪水調節容量</a:t>
                </a:r>
              </a:p>
            </p:txBody>
          </p:sp>
          <p:sp>
            <p:nvSpPr>
              <p:cNvPr id="60" name="テキスト ボックス 207">
                <a:extLst>
                  <a:ext uri="{FF2B5EF4-FFF2-40B4-BE49-F238E27FC236}">
                    <a16:creationId xmlns:a16="http://schemas.microsoft.com/office/drawing/2014/main" id="{55158992-645C-964C-67D6-099D9ECA1795}"/>
                  </a:ext>
                </a:extLst>
              </p:cNvPr>
              <p:cNvSpPr txBox="1"/>
              <p:nvPr/>
            </p:nvSpPr>
            <p:spPr>
              <a:xfrm>
                <a:off x="11794646" y="2429949"/>
                <a:ext cx="899788" cy="282371"/>
              </a:xfrm>
              <a:prstGeom prst="rect">
                <a:avLst/>
              </a:prstGeom>
              <a:noFill/>
            </p:spPr>
            <p:txBody>
              <a:bodyPr wrap="square" rtlCol="0">
                <a:spAutoFit/>
              </a:bodyPr>
              <a:lstStyle>
                <a:defPPr>
                  <a:defRPr lang="ja-JP"/>
                </a:defPPr>
                <a:lvl1pPr marL="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1pPr>
                <a:lvl2pPr marL="4572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2pPr>
                <a:lvl3pPr marL="9144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3pPr>
                <a:lvl4pPr marL="13716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4pPr>
                <a:lvl5pPr marL="1828800" algn="l" defTabSz="538764" rtl="0" eaLnBrk="1" fontAlgn="base" latinLnBrk="0" hangingPunct="1">
                  <a:spcBef>
                    <a:spcPct val="0"/>
                  </a:spcBef>
                  <a:spcAft>
                    <a:spcPct val="0"/>
                  </a:spcAft>
                  <a:defRPr kumimoji="1" sz="1061" kern="1200">
                    <a:solidFill>
                      <a:sysClr val="windowText" lastClr="000000"/>
                    </a:solidFill>
                    <a:latin typeface="Arial" pitchFamily="34" charset="0"/>
                    <a:ea typeface="ＭＳ Ｐゴシック" pitchFamily="50" charset="-128"/>
                    <a:cs typeface="+mn-cs"/>
                  </a:defRPr>
                </a:lvl5pPr>
                <a:lvl6pPr marL="22860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6pPr>
                <a:lvl7pPr marL="27432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7pPr>
                <a:lvl8pPr marL="32004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8pPr>
                <a:lvl9pPr marL="3657600" algn="l" defTabSz="914400" rtl="0" eaLnBrk="1" latinLnBrk="0" hangingPunct="1">
                  <a:defRPr kumimoji="1" sz="1061" kern="1200">
                    <a:solidFill>
                      <a:sysClr val="windowText" lastClr="000000"/>
                    </a:solidFill>
                    <a:latin typeface="Arial" pitchFamily="34" charset="0"/>
                    <a:ea typeface="ＭＳ Ｐゴシック" pitchFamily="50" charset="-128"/>
                    <a:cs typeface="+mn-cs"/>
                  </a:defRPr>
                </a:lvl9pPr>
              </a:lstStyle>
              <a:p>
                <a:pPr algn="ctr" defTabSz="355196" fontAlgn="auto">
                  <a:spcBef>
                    <a:spcPts val="0"/>
                  </a:spcBef>
                  <a:spcAft>
                    <a:spcPts val="0"/>
                  </a:spcAft>
                  <a:defRPr/>
                </a:pPr>
                <a:r>
                  <a:rPr lang="ja-JP" altLang="en-US" sz="542" b="1" dirty="0">
                    <a:solidFill>
                      <a:srgbClr val="FF0000"/>
                    </a:solidFill>
                    <a:latin typeface="Calibri"/>
                  </a:rPr>
                  <a:t>利水容量</a:t>
                </a:r>
              </a:p>
            </p:txBody>
          </p:sp>
          <p:sp>
            <p:nvSpPr>
              <p:cNvPr id="61" name="フリーフォーム 60"/>
              <p:cNvSpPr/>
              <p:nvPr/>
            </p:nvSpPr>
            <p:spPr>
              <a:xfrm>
                <a:off x="11205757" y="1699279"/>
                <a:ext cx="449599" cy="285750"/>
              </a:xfrm>
              <a:custGeom>
                <a:avLst/>
                <a:gdLst>
                  <a:gd name="connsiteX0" fmla="*/ 0 w 447675"/>
                  <a:gd name="connsiteY0" fmla="*/ 285750 h 285750"/>
                  <a:gd name="connsiteX1" fmla="*/ 447675 w 447675"/>
                  <a:gd name="connsiteY1" fmla="*/ 285750 h 285750"/>
                  <a:gd name="connsiteX2" fmla="*/ 438150 w 447675"/>
                  <a:gd name="connsiteY2" fmla="*/ 0 h 285750"/>
                  <a:gd name="connsiteX3" fmla="*/ 76200 w 447675"/>
                  <a:gd name="connsiteY3" fmla="*/ 0 h 285750"/>
                  <a:gd name="connsiteX4" fmla="*/ 0 w 447675"/>
                  <a:gd name="connsiteY4" fmla="*/ 285750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75" h="285750">
                    <a:moveTo>
                      <a:pt x="0" y="285750"/>
                    </a:moveTo>
                    <a:lnTo>
                      <a:pt x="447675" y="285750"/>
                    </a:lnTo>
                    <a:lnTo>
                      <a:pt x="438150" y="0"/>
                    </a:lnTo>
                    <a:lnTo>
                      <a:pt x="76200" y="0"/>
                    </a:lnTo>
                    <a:lnTo>
                      <a:pt x="0" y="285750"/>
                    </a:lnTo>
                    <a:close/>
                  </a:path>
                </a:pathLst>
              </a:custGeom>
              <a:solidFill>
                <a:srgbClr val="FFFFFF"/>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62" name="フリーフォーム 61"/>
              <p:cNvSpPr/>
              <p:nvPr/>
            </p:nvSpPr>
            <p:spPr>
              <a:xfrm>
                <a:off x="11051677" y="2609997"/>
                <a:ext cx="609600" cy="180975"/>
              </a:xfrm>
              <a:custGeom>
                <a:avLst/>
                <a:gdLst>
                  <a:gd name="connsiteX0" fmla="*/ 600075 w 609600"/>
                  <a:gd name="connsiteY0" fmla="*/ 85725 h 180975"/>
                  <a:gd name="connsiteX1" fmla="*/ 0 w 609600"/>
                  <a:gd name="connsiteY1" fmla="*/ 180975 h 180975"/>
                  <a:gd name="connsiteX2" fmla="*/ 47625 w 609600"/>
                  <a:gd name="connsiteY2" fmla="*/ 85725 h 180975"/>
                  <a:gd name="connsiteX3" fmla="*/ 609600 w 609600"/>
                  <a:gd name="connsiteY3" fmla="*/ 0 h 180975"/>
                  <a:gd name="connsiteX4" fmla="*/ 600075 w 609600"/>
                  <a:gd name="connsiteY4" fmla="*/ 85725 h 180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180975">
                    <a:moveTo>
                      <a:pt x="600075" y="85725"/>
                    </a:moveTo>
                    <a:lnTo>
                      <a:pt x="0" y="180975"/>
                    </a:lnTo>
                    <a:lnTo>
                      <a:pt x="47625" y="85725"/>
                    </a:lnTo>
                    <a:lnTo>
                      <a:pt x="609600" y="0"/>
                    </a:lnTo>
                    <a:lnTo>
                      <a:pt x="600075" y="85725"/>
                    </a:lnTo>
                    <a:close/>
                  </a:path>
                </a:pathLst>
              </a:custGeom>
              <a:solidFill>
                <a:srgbClr val="FFFFFF"/>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63" name="正方形/長方形 62"/>
              <p:cNvSpPr/>
              <p:nvPr/>
            </p:nvSpPr>
            <p:spPr>
              <a:xfrm>
                <a:off x="11675032" y="2706487"/>
                <a:ext cx="1072675" cy="114693"/>
              </a:xfrm>
              <a:prstGeom prst="rect">
                <a:avLst/>
              </a:prstGeom>
              <a:solidFill>
                <a:srgbClr val="FFFFFF">
                  <a:lumMod val="85000"/>
                </a:srgbClr>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64" name="テキスト ボックス 208">
                <a:extLst>
                  <a:ext uri="{FF2B5EF4-FFF2-40B4-BE49-F238E27FC236}">
                    <a16:creationId xmlns:a16="http://schemas.microsoft.com/office/drawing/2014/main" id="{A69F0DCE-00D0-A24A-B1BE-41F5AA8069EA}"/>
                  </a:ext>
                </a:extLst>
              </p:cNvPr>
              <p:cNvSpPr txBox="1"/>
              <p:nvPr/>
            </p:nvSpPr>
            <p:spPr>
              <a:xfrm>
                <a:off x="11022136" y="1265554"/>
                <a:ext cx="853946" cy="416395"/>
              </a:xfrm>
              <a:prstGeom prst="rect">
                <a:avLst/>
              </a:prstGeom>
              <a:noFill/>
              <a:ln/>
            </p:spPr>
            <p:txBody>
              <a:bodyPr wrap="square" rtlCol="0">
                <a:spAutoFit/>
              </a:bodyPr>
              <a:lstStyle/>
              <a:p>
                <a:pPr algn="ctr" defTabSz="355196">
                  <a:spcBef>
                    <a:spcPts val="0"/>
                  </a:spcBef>
                  <a:spcAft>
                    <a:spcPts val="0"/>
                  </a:spcAft>
                  <a:defRPr/>
                </a:pPr>
                <a:r>
                  <a:rPr kumimoji="0" lang="ja-JP" altLang="en-US" sz="542" b="1" kern="0" dirty="0">
                    <a:solidFill>
                      <a:srgbClr val="000000"/>
                    </a:solidFill>
                    <a:latin typeface="Arial"/>
                    <a:ea typeface="ＭＳ Ｐゴシック"/>
                  </a:rPr>
                  <a:t>洪水吐</a:t>
                </a:r>
              </a:p>
              <a:p>
                <a:pPr algn="ctr" defTabSz="355196">
                  <a:spcBef>
                    <a:spcPts val="0"/>
                  </a:spcBef>
                  <a:spcAft>
                    <a:spcPts val="0"/>
                  </a:spcAft>
                  <a:defRPr/>
                </a:pPr>
                <a:r>
                  <a:rPr kumimoji="0" lang="ja-JP" altLang="en-US" sz="542" b="1" kern="0" dirty="0">
                    <a:solidFill>
                      <a:srgbClr val="000000"/>
                    </a:solidFill>
                    <a:latin typeface="Arial"/>
                    <a:ea typeface="ＭＳ Ｐゴシック"/>
                  </a:rPr>
                  <a:t>ゲート</a:t>
                </a:r>
              </a:p>
            </p:txBody>
          </p:sp>
          <p:sp>
            <p:nvSpPr>
              <p:cNvPr id="65" name="正方形/長方形 64">
                <a:extLst>
                  <a:ext uri="{FF2B5EF4-FFF2-40B4-BE49-F238E27FC236}">
                    <a16:creationId xmlns:a16="http://schemas.microsoft.com/office/drawing/2014/main" id="{154DD50D-DF07-1497-3FC5-18B8C53D70FD}"/>
                  </a:ext>
                </a:extLst>
              </p:cNvPr>
              <p:cNvSpPr/>
              <p:nvPr/>
            </p:nvSpPr>
            <p:spPr>
              <a:xfrm>
                <a:off x="10407467" y="2317210"/>
                <a:ext cx="618469" cy="526813"/>
              </a:xfrm>
              <a:prstGeom prst="rect">
                <a:avLst/>
              </a:prstGeom>
              <a:solidFill>
                <a:srgbClr val="BBE0E3"/>
              </a:solidFill>
              <a:ln w="25400" cap="flat" cmpd="sng" algn="ctr">
                <a:solidFill>
                  <a:srgbClr val="BBE0E3">
                    <a:shade val="50000"/>
                  </a:srgbClr>
                </a:solid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66" name="矢印: 上 2">
                <a:extLst>
                  <a:ext uri="{FF2B5EF4-FFF2-40B4-BE49-F238E27FC236}">
                    <a16:creationId xmlns:a16="http://schemas.microsoft.com/office/drawing/2014/main" id="{08B175C8-87EC-3BCD-E14C-3FE44C2C8962}"/>
                  </a:ext>
                </a:extLst>
              </p:cNvPr>
              <p:cNvSpPr/>
              <p:nvPr/>
            </p:nvSpPr>
            <p:spPr>
              <a:xfrm>
                <a:off x="11692267" y="1542521"/>
                <a:ext cx="144385" cy="414758"/>
              </a:xfrm>
              <a:prstGeom prst="upArrow">
                <a:avLst/>
              </a:prstGeom>
              <a:solidFill>
                <a:srgbClr val="C00000"/>
              </a:solidFill>
              <a:ln w="25400" cap="flat" cmpd="sng" algn="ctr">
                <a:no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67" name="矢印: 上 3">
                <a:extLst>
                  <a:ext uri="{FF2B5EF4-FFF2-40B4-BE49-F238E27FC236}">
                    <a16:creationId xmlns:a16="http://schemas.microsoft.com/office/drawing/2014/main" id="{E3885A58-3018-8EAA-A73D-094750A3B9F1}"/>
                  </a:ext>
                </a:extLst>
              </p:cNvPr>
              <p:cNvSpPr/>
              <p:nvPr/>
            </p:nvSpPr>
            <p:spPr>
              <a:xfrm rot="10800000">
                <a:off x="11689536" y="1978599"/>
                <a:ext cx="144000" cy="413891"/>
              </a:xfrm>
              <a:prstGeom prst="upArrow">
                <a:avLst/>
              </a:prstGeom>
              <a:solidFill>
                <a:srgbClr val="0070C0"/>
              </a:solidFill>
              <a:ln w="25400" cap="flat" cmpd="sng" algn="ctr">
                <a:noFill/>
                <a:prstDash val="solid"/>
              </a:ln>
              <a:effectLst/>
            </p:spPr>
            <p:txBody>
              <a:bodyPr rtlCol="0" anchor="ctr"/>
              <a:lstStyle/>
              <a:p>
                <a:pPr algn="ctr" defTabSz="707471">
                  <a:defRPr/>
                </a:pPr>
                <a:endParaRPr kumimoji="0" lang="ja-JP" altLang="en-US" sz="1083" kern="0">
                  <a:solidFill>
                    <a:srgbClr val="FFFFFF"/>
                  </a:solidFill>
                  <a:latin typeface="Arial"/>
                  <a:ea typeface="ＭＳ Ｐゴシック"/>
                </a:endParaRPr>
              </a:p>
            </p:txBody>
          </p:sp>
          <p:sp>
            <p:nvSpPr>
              <p:cNvPr id="68" name="テキスト ボックス 209">
                <a:extLst>
                  <a:ext uri="{FF2B5EF4-FFF2-40B4-BE49-F238E27FC236}">
                    <a16:creationId xmlns:a16="http://schemas.microsoft.com/office/drawing/2014/main" id="{450A229E-7B1D-84A8-511A-44A056CD22A7}"/>
                  </a:ext>
                </a:extLst>
              </p:cNvPr>
              <p:cNvSpPr txBox="1"/>
              <p:nvPr/>
            </p:nvSpPr>
            <p:spPr>
              <a:xfrm>
                <a:off x="10152451" y="2427862"/>
                <a:ext cx="1139778" cy="282371"/>
              </a:xfrm>
              <a:prstGeom prst="rect">
                <a:avLst/>
              </a:prstGeom>
              <a:noFill/>
              <a:ln/>
            </p:spPr>
            <p:txBody>
              <a:bodyPr wrap="square" rtlCol="0">
                <a:spAutoFit/>
              </a:bodyPr>
              <a:lstStyle/>
              <a:p>
                <a:pPr algn="ctr" defTabSz="355196">
                  <a:spcBef>
                    <a:spcPts val="0"/>
                  </a:spcBef>
                  <a:spcAft>
                    <a:spcPts val="0"/>
                  </a:spcAft>
                  <a:defRPr/>
                </a:pPr>
                <a:r>
                  <a:rPr kumimoji="0" lang="ja-JP" altLang="en-US" sz="542" b="1" kern="0" dirty="0">
                    <a:solidFill>
                      <a:srgbClr val="0070C0"/>
                    </a:solidFill>
                    <a:latin typeface="Arial"/>
                    <a:ea typeface="ＭＳ Ｐゴシック"/>
                  </a:rPr>
                  <a:t>発電施設</a:t>
                </a:r>
              </a:p>
            </p:txBody>
          </p:sp>
          <p:sp>
            <p:nvSpPr>
              <p:cNvPr id="69" name="テキスト ボックス 68"/>
              <p:cNvSpPr txBox="1"/>
              <p:nvPr/>
            </p:nvSpPr>
            <p:spPr>
              <a:xfrm>
                <a:off x="11602560" y="1531367"/>
                <a:ext cx="1333782" cy="377867"/>
              </a:xfrm>
              <a:prstGeom prst="rect">
                <a:avLst/>
              </a:prstGeom>
              <a:noFill/>
              <a:ln>
                <a:noFill/>
              </a:ln>
            </p:spPr>
            <p:txBody>
              <a:bodyPr wrap="square" rtlCol="0">
                <a:spAutoFit/>
              </a:bodyPr>
              <a:lstStyle/>
              <a:p>
                <a:pPr algn="ctr" defTabSz="707467" fontAlgn="auto">
                  <a:spcBef>
                    <a:spcPts val="0"/>
                  </a:spcBef>
                  <a:spcAft>
                    <a:spcPts val="0"/>
                  </a:spcAft>
                  <a:defRPr/>
                </a:pPr>
                <a:r>
                  <a:rPr lang="ja-JP" altLang="en-US" sz="464" b="1" dirty="0">
                    <a:solidFill>
                      <a:srgbClr val="C00000"/>
                    </a:solidFill>
                    <a:latin typeface="Yu Gothic UI" panose="020B0500000000000000" pitchFamily="50" charset="-128"/>
                    <a:ea typeface="Yu Gothic UI" panose="020B0500000000000000" pitchFamily="50" charset="-128"/>
                  </a:rPr>
                  <a:t>雨が予測されない場合</a:t>
                </a:r>
                <a:endParaRPr lang="en-US" altLang="ja-JP" sz="464" b="1" dirty="0">
                  <a:solidFill>
                    <a:srgbClr val="C00000"/>
                  </a:solidFill>
                  <a:latin typeface="Yu Gothic UI" panose="020B0500000000000000" pitchFamily="50" charset="-128"/>
                  <a:ea typeface="Yu Gothic UI" panose="020B0500000000000000" pitchFamily="50" charset="-128"/>
                </a:endParaRPr>
              </a:p>
              <a:p>
                <a:pPr algn="ctr" defTabSz="707467" fontAlgn="auto">
                  <a:spcBef>
                    <a:spcPts val="0"/>
                  </a:spcBef>
                  <a:spcAft>
                    <a:spcPts val="0"/>
                  </a:spcAft>
                  <a:defRPr/>
                </a:pPr>
                <a:r>
                  <a:rPr lang="ja-JP" altLang="en-US" sz="464" b="1" dirty="0">
                    <a:solidFill>
                      <a:srgbClr val="C00000"/>
                    </a:solidFill>
                    <a:latin typeface="Yu Gothic UI" panose="020B0500000000000000" pitchFamily="50" charset="-128"/>
                    <a:ea typeface="Yu Gothic UI" panose="020B0500000000000000" pitchFamily="50" charset="-128"/>
                  </a:rPr>
                  <a:t>貯水位を上昇</a:t>
                </a:r>
              </a:p>
            </p:txBody>
          </p:sp>
          <p:sp>
            <p:nvSpPr>
              <p:cNvPr id="70" name="テキスト ボックス 69"/>
              <p:cNvSpPr txBox="1"/>
              <p:nvPr/>
            </p:nvSpPr>
            <p:spPr>
              <a:xfrm>
                <a:off x="11720500" y="1950610"/>
                <a:ext cx="1007167" cy="377867"/>
              </a:xfrm>
              <a:prstGeom prst="rect">
                <a:avLst/>
              </a:prstGeom>
              <a:noFill/>
              <a:ln>
                <a:noFill/>
              </a:ln>
            </p:spPr>
            <p:txBody>
              <a:bodyPr wrap="square" rtlCol="0">
                <a:spAutoFit/>
              </a:bodyPr>
              <a:lstStyle/>
              <a:p>
                <a:pPr algn="ctr" defTabSz="707467" fontAlgn="auto">
                  <a:spcBef>
                    <a:spcPts val="0"/>
                  </a:spcBef>
                  <a:spcAft>
                    <a:spcPts val="0"/>
                  </a:spcAft>
                  <a:defRPr/>
                </a:pPr>
                <a:r>
                  <a:rPr lang="ja-JP" altLang="en-US" sz="464" b="1" dirty="0">
                    <a:solidFill>
                      <a:srgbClr val="4133C8"/>
                    </a:solidFill>
                    <a:latin typeface="Yu Gothic UI" panose="020B0500000000000000" pitchFamily="50" charset="-128"/>
                    <a:ea typeface="Yu Gothic UI" panose="020B0500000000000000" pitchFamily="50" charset="-128"/>
                  </a:rPr>
                  <a:t>洪水前に</a:t>
                </a:r>
                <a:endParaRPr lang="en-US" altLang="ja-JP" sz="464" b="1" dirty="0">
                  <a:solidFill>
                    <a:srgbClr val="4133C8"/>
                  </a:solidFill>
                  <a:latin typeface="Yu Gothic UI" panose="020B0500000000000000" pitchFamily="50" charset="-128"/>
                  <a:ea typeface="Yu Gothic UI" panose="020B0500000000000000" pitchFamily="50" charset="-128"/>
                </a:endParaRPr>
              </a:p>
              <a:p>
                <a:pPr algn="ctr" defTabSz="707467" fontAlgn="auto">
                  <a:spcBef>
                    <a:spcPts val="0"/>
                  </a:spcBef>
                  <a:spcAft>
                    <a:spcPts val="0"/>
                  </a:spcAft>
                  <a:defRPr/>
                </a:pPr>
                <a:r>
                  <a:rPr lang="ja-JP" altLang="en-US" sz="464" b="1" dirty="0">
                    <a:solidFill>
                      <a:srgbClr val="4133C8"/>
                    </a:solidFill>
                    <a:latin typeface="Yu Gothic UI" panose="020B0500000000000000" pitchFamily="50" charset="-128"/>
                    <a:ea typeface="Yu Gothic UI" panose="020B0500000000000000" pitchFamily="50" charset="-128"/>
                  </a:rPr>
                  <a:t>貯水位を低下</a:t>
                </a:r>
                <a:endParaRPr lang="en-US" altLang="ja-JP" sz="464" b="1" dirty="0">
                  <a:solidFill>
                    <a:srgbClr val="4133C8"/>
                  </a:solidFill>
                  <a:latin typeface="Yu Gothic UI" panose="020B0500000000000000" pitchFamily="50" charset="-128"/>
                  <a:ea typeface="Yu Gothic UI" panose="020B0500000000000000" pitchFamily="50" charset="-128"/>
                </a:endParaRPr>
              </a:p>
            </p:txBody>
          </p:sp>
          <p:sp>
            <p:nvSpPr>
              <p:cNvPr id="71" name="テキスト ボックス 209">
                <a:extLst>
                  <a:ext uri="{FF2B5EF4-FFF2-40B4-BE49-F238E27FC236}">
                    <a16:creationId xmlns:a16="http://schemas.microsoft.com/office/drawing/2014/main" id="{450A229E-7B1D-84A8-511A-44A056CD22A7}"/>
                  </a:ext>
                </a:extLst>
              </p:cNvPr>
              <p:cNvSpPr txBox="1"/>
              <p:nvPr/>
            </p:nvSpPr>
            <p:spPr>
              <a:xfrm>
                <a:off x="10854060" y="2251979"/>
                <a:ext cx="1042550" cy="416395"/>
              </a:xfrm>
              <a:prstGeom prst="rect">
                <a:avLst/>
              </a:prstGeom>
              <a:noFill/>
              <a:ln/>
            </p:spPr>
            <p:txBody>
              <a:bodyPr wrap="square" rtlCol="0">
                <a:spAutoFit/>
              </a:bodyPr>
              <a:lstStyle/>
              <a:p>
                <a:pPr algn="ctr" defTabSz="355196">
                  <a:spcBef>
                    <a:spcPts val="0"/>
                  </a:spcBef>
                  <a:spcAft>
                    <a:spcPts val="0"/>
                  </a:spcAft>
                  <a:defRPr/>
                </a:pPr>
                <a:r>
                  <a:rPr kumimoji="0" lang="ja-JP" altLang="en-US" sz="542" b="1" kern="0" dirty="0">
                    <a:solidFill>
                      <a:srgbClr val="000000"/>
                    </a:solidFill>
                    <a:latin typeface="Arial"/>
                    <a:ea typeface="ＭＳ Ｐゴシック"/>
                  </a:rPr>
                  <a:t>発電</a:t>
                </a:r>
              </a:p>
              <a:p>
                <a:pPr algn="ctr" defTabSz="355196">
                  <a:spcBef>
                    <a:spcPts val="0"/>
                  </a:spcBef>
                  <a:spcAft>
                    <a:spcPts val="0"/>
                  </a:spcAft>
                  <a:defRPr/>
                </a:pPr>
                <a:r>
                  <a:rPr kumimoji="0" lang="ja-JP" altLang="en-US" sz="542" b="1" kern="0" dirty="0">
                    <a:solidFill>
                      <a:srgbClr val="000000"/>
                    </a:solidFill>
                    <a:latin typeface="Arial"/>
                    <a:ea typeface="ＭＳ Ｐゴシック"/>
                  </a:rPr>
                  <a:t>放流管増設</a:t>
                </a:r>
              </a:p>
            </p:txBody>
          </p:sp>
        </p:grpSp>
        <p:sp>
          <p:nvSpPr>
            <p:cNvPr id="53" name="正方形/長方形 52"/>
            <p:cNvSpPr/>
            <p:nvPr/>
          </p:nvSpPr>
          <p:spPr>
            <a:xfrm>
              <a:off x="10773467" y="5548642"/>
              <a:ext cx="536896" cy="454540"/>
            </a:xfrm>
            <a:prstGeom prst="rect">
              <a:avLst/>
            </a:prstGeom>
            <a:noFill/>
            <a:ln w="25400" cap="flat" cmpd="sng" algn="ctr">
              <a:solidFill>
                <a:srgbClr val="FF0000"/>
              </a:solidFill>
              <a:prstDash val="sysDash"/>
            </a:ln>
            <a:effectLst/>
          </p:spPr>
          <p:txBody>
            <a:bodyPr rtlCol="0" anchor="ctr"/>
            <a:lstStyle/>
            <a:p>
              <a:pPr algn="ctr" defTabSz="707467" fontAlgn="auto">
                <a:spcBef>
                  <a:spcPts val="0"/>
                </a:spcBef>
                <a:spcAft>
                  <a:spcPts val="0"/>
                </a:spcAft>
                <a:defRPr/>
              </a:pPr>
              <a:endParaRPr kumimoji="0" lang="ja-JP" altLang="en-US" sz="1857" kern="0">
                <a:solidFill>
                  <a:srgbClr val="FFFFFF"/>
                </a:solidFill>
                <a:latin typeface="Yu Gothic UI" panose="020B0500000000000000" pitchFamily="50" charset="-128"/>
                <a:ea typeface="Yu Gothic UI" panose="020B0500000000000000" pitchFamily="50" charset="-128"/>
              </a:endParaRPr>
            </a:p>
          </p:txBody>
        </p:sp>
      </p:grpSp>
      <p:pic>
        <p:nvPicPr>
          <p:cNvPr id="72" name="図 71"/>
          <p:cNvPicPr>
            <a:picLocks noChangeAspect="1"/>
          </p:cNvPicPr>
          <p:nvPr/>
        </p:nvPicPr>
        <p:blipFill rotWithShape="1">
          <a:blip r:embed="rId11"/>
          <a:srcRect t="7198" b="10866"/>
          <a:stretch/>
        </p:blipFill>
        <p:spPr>
          <a:xfrm>
            <a:off x="3088890" y="6303006"/>
            <a:ext cx="1410544" cy="1093387"/>
          </a:xfrm>
          <a:prstGeom prst="rect">
            <a:avLst/>
          </a:prstGeom>
        </p:spPr>
      </p:pic>
      <p:sp>
        <p:nvSpPr>
          <p:cNvPr id="73" name="正方形/長方形 219">
            <a:extLst>
              <a:ext uri="{FF2B5EF4-FFF2-40B4-BE49-F238E27FC236}">
                <a16:creationId xmlns:a16="http://schemas.microsoft.com/office/drawing/2014/main" id="{F37A7D33-02C4-331A-3061-D85165E17A0C}"/>
              </a:ext>
            </a:extLst>
          </p:cNvPr>
          <p:cNvSpPr/>
          <p:nvPr/>
        </p:nvSpPr>
        <p:spPr>
          <a:xfrm>
            <a:off x="3567788" y="6308845"/>
            <a:ext cx="930063" cy="223266"/>
          </a:xfrm>
          <a:prstGeom prst="rect">
            <a:avLst/>
          </a:prstGeom>
          <a:solidFill>
            <a:schemeClr val="bg1">
              <a:alpha val="70000"/>
            </a:schemeClr>
          </a:solidFill>
        </p:spPr>
        <p:txBody>
          <a:bodyPr wrap="none">
            <a:spAutoFit/>
          </a:bodyPr>
          <a:lstStyle/>
          <a:p>
            <a:pPr defTabSz="707471"/>
            <a:r>
              <a:rPr lang="ja-JP" altLang="en-US" sz="851" dirty="0">
                <a:solidFill>
                  <a:srgbClr val="000000"/>
                </a:solidFill>
                <a:latin typeface="Yu Gothic UI" panose="020B0500000000000000" pitchFamily="50" charset="-128"/>
                <a:ea typeface="Yu Gothic UI" panose="020B0500000000000000" pitchFamily="50" charset="-128"/>
              </a:rPr>
              <a:t>阿蘇くまもと空港</a:t>
            </a:r>
          </a:p>
        </p:txBody>
      </p:sp>
      <p:sp>
        <p:nvSpPr>
          <p:cNvPr id="2" name="フッター プレースホルダー 1">
            <a:extLst>
              <a:ext uri="{FF2B5EF4-FFF2-40B4-BE49-F238E27FC236}">
                <a16:creationId xmlns:a16="http://schemas.microsoft.com/office/drawing/2014/main" id="{9316D0BE-D263-21F3-7948-019A5FBA8E71}"/>
              </a:ext>
            </a:extLst>
          </p:cNvPr>
          <p:cNvSpPr>
            <a:spLocks noGrp="1"/>
          </p:cNvSpPr>
          <p:nvPr>
            <p:ph type="ftr" sz="quarter" idx="11"/>
          </p:nvPr>
        </p:nvSpPr>
        <p:spPr/>
        <p:txBody>
          <a:bodyPr/>
          <a:lstStyle/>
          <a:p>
            <a:pPr>
              <a:defRPr/>
            </a:pPr>
            <a:endParaRPr lang="en-US" altLang="ja-JP"/>
          </a:p>
        </p:txBody>
      </p:sp>
      <p:sp>
        <p:nvSpPr>
          <p:cNvPr id="3" name="スライド番号プレースホルダー 2">
            <a:extLst>
              <a:ext uri="{FF2B5EF4-FFF2-40B4-BE49-F238E27FC236}">
                <a16:creationId xmlns:a16="http://schemas.microsoft.com/office/drawing/2014/main" id="{6284055D-4AAE-D5DA-20B9-03F232F52001}"/>
              </a:ext>
            </a:extLst>
          </p:cNvPr>
          <p:cNvSpPr>
            <a:spLocks noGrp="1"/>
          </p:cNvSpPr>
          <p:nvPr>
            <p:ph type="sldNum" sz="quarter" idx="12"/>
          </p:nvPr>
        </p:nvSpPr>
        <p:spPr/>
        <p:txBody>
          <a:bodyPr/>
          <a:lstStyle/>
          <a:p>
            <a:pPr>
              <a:defRPr/>
            </a:pPr>
            <a:fld id="{9C66F1FC-77AF-4AA3-AB67-8C31B36199A9}" type="slidenum">
              <a:rPr lang="en-US" altLang="ja-JP" smtClean="0"/>
              <a:pPr>
                <a:defRPr/>
              </a:pPr>
              <a:t>16</a:t>
            </a:fld>
            <a:endParaRPr lang="en-US" altLang="ja-JP"/>
          </a:p>
        </p:txBody>
      </p:sp>
    </p:spTree>
    <p:extLst>
      <p:ext uri="{BB962C8B-B14F-4D97-AF65-F5344CB8AC3E}">
        <p14:creationId xmlns:p14="http://schemas.microsoft.com/office/powerpoint/2010/main" val="23485617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46BA9247-BFF4-A2A3-291F-B8F0F7675B3D}"/>
              </a:ext>
            </a:extLst>
          </p:cNvPr>
          <p:cNvSpPr/>
          <p:nvPr/>
        </p:nvSpPr>
        <p:spPr>
          <a:xfrm>
            <a:off x="278526" y="6822486"/>
            <a:ext cx="9330647" cy="752022"/>
          </a:xfrm>
          <a:prstGeom prst="rect">
            <a:avLst/>
          </a:prstGeom>
          <a:solidFill>
            <a:srgbClr val="99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endParaRPr lang="ja-JP" altLang="en-US" sz="1393">
              <a:solidFill>
                <a:srgbClr val="FFFFFF"/>
              </a:solidFill>
              <a:latin typeface="Arial"/>
              <a:ea typeface="ＭＳ Ｐゴシック"/>
            </a:endParaRPr>
          </a:p>
        </p:txBody>
      </p:sp>
      <p:sp>
        <p:nvSpPr>
          <p:cNvPr id="6" name="正方形/長方形 5"/>
          <p:cNvSpPr/>
          <p:nvPr/>
        </p:nvSpPr>
        <p:spPr>
          <a:xfrm>
            <a:off x="55705" y="1558329"/>
            <a:ext cx="5681946" cy="55705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707485"/>
            <a:r>
              <a:rPr lang="ja-JP" altLang="en-US" sz="1547" b="1" dirty="0">
                <a:solidFill>
                  <a:srgbClr val="FF0000"/>
                </a:solidFill>
                <a:latin typeface="ＭＳ Ｐゴシック"/>
                <a:ea typeface="ＭＳ Ｐゴシック"/>
              </a:rPr>
              <a:t>包摂的社会に向けた地域づくりへの多様な主体の参加と連携</a:t>
            </a:r>
            <a:endParaRPr lang="en-US" altLang="ja-JP" sz="1547" b="1" dirty="0">
              <a:solidFill>
                <a:srgbClr val="FF0000"/>
              </a:solidFill>
              <a:latin typeface="ＭＳ Ｐゴシック"/>
              <a:ea typeface="ＭＳ Ｐゴシック"/>
            </a:endParaRPr>
          </a:p>
          <a:p>
            <a:pPr algn="ctr" defTabSz="707485">
              <a:spcBef>
                <a:spcPts val="232"/>
              </a:spcBef>
            </a:pPr>
            <a:r>
              <a:rPr lang="en-US" altLang="ja-JP" sz="1547" b="1" dirty="0">
                <a:solidFill>
                  <a:srgbClr val="FF0000"/>
                </a:solidFill>
                <a:latin typeface="ＭＳ Ｐゴシック"/>
                <a:ea typeface="ＭＳ Ｐゴシック"/>
              </a:rPr>
              <a:t>《</a:t>
            </a:r>
            <a:r>
              <a:rPr lang="ja-JP" altLang="en-US" sz="1547" b="1" dirty="0">
                <a:solidFill>
                  <a:srgbClr val="FF0000"/>
                </a:solidFill>
                <a:latin typeface="ＭＳ Ｐゴシック"/>
                <a:ea typeface="ＭＳ Ｐゴシック"/>
              </a:rPr>
              <a:t>地域における人への投資拡大</a:t>
            </a:r>
            <a:r>
              <a:rPr lang="en-US" altLang="ja-JP" sz="1547" b="1" dirty="0">
                <a:solidFill>
                  <a:srgbClr val="FF0000"/>
                </a:solidFill>
                <a:latin typeface="ＭＳ Ｐゴシック"/>
                <a:ea typeface="ＭＳ Ｐゴシック"/>
              </a:rPr>
              <a:t>》</a:t>
            </a:r>
            <a:endParaRPr lang="ja-JP" altLang="en-US" sz="1547" b="1" dirty="0">
              <a:solidFill>
                <a:srgbClr val="FF0000"/>
              </a:solidFill>
              <a:latin typeface="ＭＳ Ｐゴシック"/>
              <a:ea typeface="ＭＳ Ｐゴシック"/>
            </a:endParaRPr>
          </a:p>
        </p:txBody>
      </p:sp>
      <p:sp>
        <p:nvSpPr>
          <p:cNvPr id="7" name="正方形/長方形 6"/>
          <p:cNvSpPr/>
          <p:nvPr/>
        </p:nvSpPr>
        <p:spPr>
          <a:xfrm>
            <a:off x="696317" y="6850338"/>
            <a:ext cx="3620848" cy="69631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89986" bIns="46793" numCol="1" spcCol="0" rtlCol="0" fromWordArt="0" anchor="t" anchorCtr="0" forceAA="0" compatLnSpc="1">
            <a:prstTxWarp prst="textNoShape">
              <a:avLst/>
            </a:prstTxWarp>
            <a:noAutofit/>
          </a:bodyPr>
          <a:lstStyle/>
          <a:p>
            <a:pPr algn="ctr" defTabSz="707485"/>
            <a:r>
              <a:rPr lang="ja-JP" altLang="en-US" sz="1393" b="1" dirty="0">
                <a:solidFill>
                  <a:srgbClr val="FF0000"/>
                </a:solidFill>
                <a:latin typeface="ＭＳ Ｐゴシック"/>
                <a:ea typeface="ＭＳ Ｐゴシック"/>
              </a:rPr>
              <a:t>地域教育の強化</a:t>
            </a:r>
            <a:endParaRPr lang="en-US" altLang="ja-JP" sz="1393" b="1" dirty="0">
              <a:solidFill>
                <a:srgbClr val="FF0000"/>
              </a:solidFill>
              <a:latin typeface="ＭＳ Ｐゴシック"/>
              <a:ea typeface="ＭＳ Ｐゴシック"/>
            </a:endParaRPr>
          </a:p>
          <a:p>
            <a:pPr marL="171429" indent="-171429" defTabSz="707485">
              <a:spcBef>
                <a:spcPts val="232"/>
              </a:spcBef>
              <a:buFont typeface="Wingdings" panose="05000000000000000000" pitchFamily="2" charset="2"/>
              <a:buChar char="Ø"/>
            </a:pPr>
            <a:r>
              <a:rPr lang="ja-JP" altLang="en-US" sz="1083" dirty="0">
                <a:solidFill>
                  <a:srgbClr val="000000"/>
                </a:solidFill>
                <a:latin typeface="ＭＳ Ｐゴシック"/>
                <a:ea typeface="ＭＳ Ｐゴシック"/>
              </a:rPr>
              <a:t>大学、高等専門学校等と連携した地域人材の育成</a:t>
            </a:r>
          </a:p>
          <a:p>
            <a:pPr marL="171429" indent="-171429" defTabSz="707485">
              <a:spcBef>
                <a:spcPts val="232"/>
              </a:spcBef>
              <a:buFont typeface="Wingdings" panose="05000000000000000000" pitchFamily="2" charset="2"/>
              <a:buChar char="Ø"/>
            </a:pPr>
            <a:r>
              <a:rPr lang="ja-JP" altLang="en-US" sz="1083" dirty="0">
                <a:solidFill>
                  <a:srgbClr val="000000"/>
                </a:solidFill>
                <a:latin typeface="ＭＳ Ｐゴシック"/>
                <a:ea typeface="ＭＳ Ｐゴシック"/>
              </a:rPr>
              <a:t>地域と連携した探究学習、農山漁村体験等の推進　等</a:t>
            </a:r>
            <a:endParaRPr lang="en-US" altLang="ja-JP" sz="1083" dirty="0">
              <a:solidFill>
                <a:srgbClr val="000000"/>
              </a:solidFill>
              <a:latin typeface="ＭＳ Ｐゴシック"/>
              <a:ea typeface="ＭＳ Ｐゴシック"/>
            </a:endParaRPr>
          </a:p>
        </p:txBody>
      </p:sp>
      <p:sp>
        <p:nvSpPr>
          <p:cNvPr id="8" name="正方形/長方形 7"/>
          <p:cNvSpPr/>
          <p:nvPr/>
        </p:nvSpPr>
        <p:spPr>
          <a:xfrm>
            <a:off x="5849062" y="1558329"/>
            <a:ext cx="3955080" cy="557054"/>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707485"/>
            <a:r>
              <a:rPr lang="ja-JP" altLang="en-US" sz="1547" b="1" dirty="0">
                <a:solidFill>
                  <a:srgbClr val="FF0000"/>
                </a:solidFill>
                <a:latin typeface="ＭＳ Ｐゴシック"/>
                <a:ea typeface="ＭＳ Ｐゴシック"/>
              </a:rPr>
              <a:t>民間の力を最大限活かした</a:t>
            </a:r>
            <a:endParaRPr lang="en-US" altLang="ja-JP" sz="1547" b="1" dirty="0">
              <a:solidFill>
                <a:srgbClr val="FF0000"/>
              </a:solidFill>
              <a:latin typeface="ＭＳ Ｐゴシック"/>
              <a:ea typeface="ＭＳ Ｐゴシック"/>
            </a:endParaRPr>
          </a:p>
          <a:p>
            <a:pPr algn="ctr" defTabSz="707485"/>
            <a:r>
              <a:rPr lang="ja-JP" altLang="en-US" sz="1547" b="1" dirty="0">
                <a:solidFill>
                  <a:srgbClr val="FF0000"/>
                </a:solidFill>
                <a:latin typeface="ＭＳ Ｐゴシック"/>
                <a:ea typeface="ＭＳ Ｐゴシック"/>
              </a:rPr>
              <a:t>新しい公共の領域拡大</a:t>
            </a:r>
          </a:p>
        </p:txBody>
      </p:sp>
      <p:sp>
        <p:nvSpPr>
          <p:cNvPr id="9" name="正方形/長方形 8"/>
          <p:cNvSpPr/>
          <p:nvPr/>
        </p:nvSpPr>
        <p:spPr>
          <a:xfrm>
            <a:off x="5849062" y="2171089"/>
            <a:ext cx="3955080" cy="1194562"/>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89986" bIns="46793" numCol="1" spcCol="0" rtlCol="0" fromWordArt="0" anchor="t" anchorCtr="0" forceAA="0" compatLnSpc="1">
            <a:prstTxWarp prst="textNoShape">
              <a:avLst/>
            </a:prstTxWarp>
            <a:noAutofit/>
          </a:bodyPr>
          <a:lstStyle/>
          <a:p>
            <a:pPr algn="ctr" defTabSz="707485"/>
            <a:r>
              <a:rPr lang="en-US" altLang="ja-JP" sz="1393" b="1" dirty="0">
                <a:solidFill>
                  <a:srgbClr val="FF0000"/>
                </a:solidFill>
                <a:latin typeface="ＭＳ Ｐゴシック"/>
                <a:ea typeface="ＭＳ Ｐゴシック"/>
              </a:rPr>
              <a:t>〈</a:t>
            </a:r>
            <a:r>
              <a:rPr lang="ja-JP" altLang="en-US" sz="1393" b="1" dirty="0">
                <a:solidFill>
                  <a:srgbClr val="FF0000"/>
                </a:solidFill>
                <a:latin typeface="ＭＳ Ｐゴシック"/>
                <a:ea typeface="ＭＳ Ｐゴシック"/>
              </a:rPr>
              <a:t>地域づくりへの企業等の主体的参加の拡大</a:t>
            </a:r>
            <a:r>
              <a:rPr lang="en-US" altLang="ja-JP" sz="1393" b="1" dirty="0">
                <a:solidFill>
                  <a:srgbClr val="FF0000"/>
                </a:solidFill>
                <a:latin typeface="ＭＳ Ｐゴシック"/>
                <a:ea typeface="ＭＳ Ｐゴシック"/>
              </a:rPr>
              <a:t>〉</a:t>
            </a:r>
          </a:p>
          <a:p>
            <a:pPr marL="281269" indent="-144933" defTabSz="707485">
              <a:spcBef>
                <a:spcPts val="464"/>
              </a:spcBef>
              <a:buFont typeface="Wingdings" panose="05000000000000000000" pitchFamily="2" charset="2"/>
              <a:buChar char="Ø"/>
            </a:pPr>
            <a:r>
              <a:rPr lang="ja-JP" altLang="en-US" sz="1238" b="1" dirty="0">
                <a:solidFill>
                  <a:srgbClr val="000000"/>
                </a:solidFill>
                <a:latin typeface="ＭＳ Ｐゴシック"/>
                <a:ea typeface="ＭＳ Ｐゴシック"/>
              </a:rPr>
              <a:t>企業版ふるさと納税や地域活性化起業人等の制度も活用し、ソーシャルベンチャー等の社会的課題の解決に取り組む企業等と地域との連携を推進</a:t>
            </a:r>
          </a:p>
          <a:p>
            <a:pPr marL="281269" indent="-144933" defTabSz="707485">
              <a:spcBef>
                <a:spcPts val="464"/>
              </a:spcBef>
              <a:buFont typeface="Wingdings" panose="05000000000000000000" pitchFamily="2" charset="2"/>
              <a:buChar char="Ø"/>
            </a:pPr>
            <a:r>
              <a:rPr lang="ja-JP" altLang="en-US" sz="1238" b="1" dirty="0">
                <a:solidFill>
                  <a:srgbClr val="000000"/>
                </a:solidFill>
                <a:latin typeface="ＭＳ Ｐゴシック"/>
                <a:ea typeface="ＭＳ Ｐゴシック"/>
              </a:rPr>
              <a:t>ソーシャルボンドやインパクト投資の活用促進</a:t>
            </a:r>
          </a:p>
          <a:p>
            <a:pPr marL="281269" indent="-144933" defTabSz="707485">
              <a:spcBef>
                <a:spcPts val="464"/>
              </a:spcBef>
              <a:buFont typeface="Wingdings" panose="05000000000000000000" pitchFamily="2" charset="2"/>
              <a:buChar char="Ø"/>
            </a:pPr>
            <a:r>
              <a:rPr lang="ja-JP" altLang="en-US" sz="1238" b="1" dirty="0">
                <a:solidFill>
                  <a:srgbClr val="000000"/>
                </a:solidFill>
                <a:latin typeface="ＭＳ Ｐゴシック"/>
                <a:ea typeface="ＭＳ Ｐゴシック"/>
              </a:rPr>
              <a:t>コンセッションを始めとする</a:t>
            </a:r>
            <a:r>
              <a:rPr lang="en-US" altLang="ja-JP" sz="1238" b="1" dirty="0">
                <a:solidFill>
                  <a:srgbClr val="000000"/>
                </a:solidFill>
                <a:latin typeface="ＭＳ Ｐゴシック"/>
                <a:ea typeface="ＭＳ Ｐゴシック"/>
              </a:rPr>
              <a:t>PPP/PFI</a:t>
            </a:r>
            <a:r>
              <a:rPr lang="ja-JP" altLang="en-US" sz="1238" b="1" dirty="0">
                <a:solidFill>
                  <a:srgbClr val="000000"/>
                </a:solidFill>
                <a:latin typeface="ＭＳ Ｐゴシック"/>
                <a:ea typeface="ＭＳ Ｐゴシック"/>
              </a:rPr>
              <a:t>の拡大</a:t>
            </a:r>
          </a:p>
        </p:txBody>
      </p:sp>
      <p:sp>
        <p:nvSpPr>
          <p:cNvPr id="10" name="正方形/長方形 9"/>
          <p:cNvSpPr/>
          <p:nvPr/>
        </p:nvSpPr>
        <p:spPr>
          <a:xfrm>
            <a:off x="4456428" y="6850338"/>
            <a:ext cx="5013482" cy="69631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89986" bIns="46793" numCol="1" spcCol="0" rtlCol="0" fromWordArt="0" anchor="t" anchorCtr="0" forceAA="0" compatLnSpc="1">
            <a:prstTxWarp prst="textNoShape">
              <a:avLst/>
            </a:prstTxWarp>
            <a:noAutofit/>
          </a:bodyPr>
          <a:lstStyle/>
          <a:p>
            <a:pPr algn="ctr" defTabSz="707485"/>
            <a:r>
              <a:rPr lang="ja-JP" altLang="en-US" sz="1393" b="1" dirty="0">
                <a:solidFill>
                  <a:srgbClr val="FF0000"/>
                </a:solidFill>
                <a:latin typeface="ＭＳ Ｐゴシック"/>
                <a:ea typeface="ＭＳ Ｐゴシック"/>
              </a:rPr>
              <a:t>地方・大都市間の人材還流、マッチング機能の強化</a:t>
            </a:r>
          </a:p>
          <a:p>
            <a:pPr marL="171429" indent="-171429" defTabSz="707485">
              <a:spcBef>
                <a:spcPts val="232"/>
              </a:spcBef>
              <a:buFont typeface="Wingdings" panose="05000000000000000000" pitchFamily="2" charset="2"/>
              <a:buChar char="Ø"/>
            </a:pPr>
            <a:r>
              <a:rPr lang="ja-JP" altLang="en-US" sz="1083" dirty="0">
                <a:solidFill>
                  <a:srgbClr val="000000"/>
                </a:solidFill>
                <a:latin typeface="ＭＳ Ｐゴシック"/>
                <a:ea typeface="ＭＳ Ｐゴシック"/>
              </a:rPr>
              <a:t>転職なき移住、副業・兼業等による地方への人材環流の促進</a:t>
            </a:r>
            <a:endParaRPr lang="en-US" altLang="ja-JP" sz="1083" dirty="0">
              <a:solidFill>
                <a:srgbClr val="000000"/>
              </a:solidFill>
              <a:latin typeface="ＭＳ Ｐゴシック"/>
              <a:ea typeface="ＭＳ Ｐゴシック"/>
            </a:endParaRPr>
          </a:p>
          <a:p>
            <a:pPr marL="171429" indent="-171429" defTabSz="707485">
              <a:spcBef>
                <a:spcPts val="232"/>
              </a:spcBef>
              <a:buFont typeface="Wingdings" panose="05000000000000000000" pitchFamily="2" charset="2"/>
              <a:buChar char="Ø"/>
            </a:pPr>
            <a:r>
              <a:rPr lang="ja-JP" altLang="en-US" sz="1083" dirty="0">
                <a:solidFill>
                  <a:srgbClr val="000000"/>
                </a:solidFill>
                <a:latin typeface="ＭＳ Ｐゴシック"/>
                <a:ea typeface="ＭＳ Ｐゴシック"/>
              </a:rPr>
              <a:t>マネジメント人材やデジタル人材等に関する地域と企業等のマッチング促進　等</a:t>
            </a:r>
            <a:endParaRPr lang="en-US" altLang="ja-JP" sz="1083" dirty="0">
              <a:solidFill>
                <a:srgbClr val="000000"/>
              </a:solidFill>
              <a:latin typeface="ＭＳ Ｐゴシック"/>
              <a:ea typeface="ＭＳ Ｐゴシック"/>
            </a:endParaRPr>
          </a:p>
        </p:txBody>
      </p:sp>
      <p:sp>
        <p:nvSpPr>
          <p:cNvPr id="11" name="タイトル 1"/>
          <p:cNvSpPr txBox="1">
            <a:spLocks/>
          </p:cNvSpPr>
          <p:nvPr/>
        </p:nvSpPr>
        <p:spPr>
          <a:xfrm>
            <a:off x="-1" y="63426"/>
            <a:ext cx="9904413" cy="557054"/>
          </a:xfrm>
          <a:prstGeom prst="rect">
            <a:avLst/>
          </a:prstGeom>
        </p:spPr>
        <p:txBody>
          <a:bodyPr anchor="ct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707485"/>
            <a:r>
              <a:rPr lang="ja-JP" altLang="en-US" sz="2785" kern="0" dirty="0">
                <a:latin typeface="HGP創英角ｺﾞｼｯｸUB"/>
                <a:ea typeface="HGP創英角ｺﾞｼｯｸUB"/>
              </a:rPr>
              <a:t>地域を支える人材の確保・育成</a:t>
            </a:r>
            <a:r>
              <a:rPr lang="ja-JP" altLang="en-US" sz="1547" kern="0" dirty="0">
                <a:latin typeface="HGP創英角ｺﾞｼｯｸUB"/>
                <a:ea typeface="HGP創英角ｺﾞｼｯｸUB"/>
              </a:rPr>
              <a:t>（包摂的社会の実現、地域におけるこども・子育て支援）</a:t>
            </a:r>
          </a:p>
        </p:txBody>
      </p:sp>
      <p:sp>
        <p:nvSpPr>
          <p:cNvPr id="12" name="正方形/長方形 11"/>
          <p:cNvSpPr/>
          <p:nvPr/>
        </p:nvSpPr>
        <p:spPr>
          <a:xfrm>
            <a:off x="278526" y="4371450"/>
            <a:ext cx="3481585" cy="6240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0" bIns="46793" numCol="1" spcCol="0" rtlCol="0" fromWordArt="0" anchor="t" anchorCtr="0" forceAA="0" compatLnSpc="1">
            <a:prstTxWarp prst="textNoShape">
              <a:avLst/>
            </a:prstTxWarp>
            <a:noAutofit/>
          </a:bodyPr>
          <a:lstStyle/>
          <a:p>
            <a:pPr marL="171429" indent="-171429" defTabSz="707485">
              <a:spcBef>
                <a:spcPts val="155"/>
              </a:spcBef>
              <a:buClr>
                <a:srgbClr val="000000"/>
              </a:buClr>
              <a:buFont typeface="Wingdings" panose="05000000000000000000" pitchFamily="2" charset="2"/>
              <a:buChar char="Ø"/>
            </a:pPr>
            <a:r>
              <a:rPr lang="ja-JP" altLang="en-US" sz="1238" b="1" dirty="0">
                <a:solidFill>
                  <a:srgbClr val="000000"/>
                </a:solidFill>
                <a:latin typeface="ＭＳ Ｐゴシック"/>
                <a:ea typeface="ＭＳ Ｐゴシック"/>
              </a:rPr>
              <a:t>地域生活圏の形成等における</a:t>
            </a:r>
            <a:r>
              <a:rPr lang="ja-JP" altLang="en-US" sz="1393" b="1" dirty="0">
                <a:solidFill>
                  <a:srgbClr val="FF0000"/>
                </a:solidFill>
                <a:latin typeface="ＭＳ Ｐゴシック"/>
                <a:ea typeface="ＭＳ Ｐゴシック"/>
              </a:rPr>
              <a:t>安心してこどもを産み、育てられる「共働き・共育て」等の環境整備</a:t>
            </a:r>
            <a:r>
              <a:rPr lang="ja-JP" altLang="en-US" sz="1238" b="1" dirty="0">
                <a:solidFill>
                  <a:srgbClr val="000000"/>
                </a:solidFill>
                <a:latin typeface="ＭＳ Ｐゴシック"/>
                <a:ea typeface="ＭＳ Ｐゴシック"/>
              </a:rPr>
              <a:t>など若者世代を惹きつける地域づくり</a:t>
            </a:r>
          </a:p>
        </p:txBody>
      </p:sp>
      <p:sp>
        <p:nvSpPr>
          <p:cNvPr id="13" name="四角形: 角を丸くする 3">
            <a:extLst>
              <a:ext uri="{FF2B5EF4-FFF2-40B4-BE49-F238E27FC236}">
                <a16:creationId xmlns:a16="http://schemas.microsoft.com/office/drawing/2014/main" id="{3EFAD79F-EF26-9B2E-CA8E-276976F4F3B9}"/>
              </a:ext>
            </a:extLst>
          </p:cNvPr>
          <p:cNvSpPr/>
          <p:nvPr/>
        </p:nvSpPr>
        <p:spPr>
          <a:xfrm>
            <a:off x="278527" y="3870102"/>
            <a:ext cx="3342321" cy="501348"/>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547" b="1" dirty="0">
                <a:solidFill>
                  <a:srgbClr val="FFFFFF"/>
                </a:solidFill>
                <a:latin typeface="ＭＳ Ｐゴシック"/>
                <a:ea typeface="ＭＳ Ｐゴシック"/>
              </a:rPr>
              <a:t>こどもまんなか社会に向けた</a:t>
            </a:r>
            <a:endParaRPr lang="en-US" altLang="ja-JP" sz="1547" b="1" dirty="0">
              <a:solidFill>
                <a:srgbClr val="FFFFFF"/>
              </a:solidFill>
              <a:latin typeface="ＭＳ Ｐゴシック"/>
              <a:ea typeface="ＭＳ Ｐゴシック"/>
            </a:endParaRPr>
          </a:p>
          <a:p>
            <a:pPr algn="ctr" defTabSz="707471"/>
            <a:r>
              <a:rPr lang="ja-JP" altLang="en-US" sz="1547" b="1" dirty="0">
                <a:solidFill>
                  <a:srgbClr val="FFFFFF"/>
                </a:solidFill>
                <a:latin typeface="ＭＳ Ｐゴシック"/>
                <a:ea typeface="ＭＳ Ｐゴシック"/>
              </a:rPr>
              <a:t>地域におけるこども・子育て支援</a:t>
            </a:r>
          </a:p>
        </p:txBody>
      </p:sp>
      <p:sp>
        <p:nvSpPr>
          <p:cNvPr id="14" name="楕円 13">
            <a:extLst>
              <a:ext uri="{FF2B5EF4-FFF2-40B4-BE49-F238E27FC236}">
                <a16:creationId xmlns:a16="http://schemas.microsoft.com/office/drawing/2014/main" id="{A29C7B1F-651F-7668-D48B-6A5411F7B580}"/>
              </a:ext>
            </a:extLst>
          </p:cNvPr>
          <p:cNvSpPr/>
          <p:nvPr/>
        </p:nvSpPr>
        <p:spPr>
          <a:xfrm>
            <a:off x="2506741" y="2533173"/>
            <a:ext cx="835580" cy="389938"/>
          </a:xfrm>
          <a:prstGeom prst="ellipse">
            <a:avLst/>
          </a:prstGeom>
          <a:solidFill>
            <a:srgbClr val="E2AC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r>
              <a:rPr lang="ja-JP" altLang="en-US" sz="1238" b="1" dirty="0">
                <a:solidFill>
                  <a:srgbClr val="000000"/>
                </a:solidFill>
                <a:latin typeface="Arial"/>
                <a:ea typeface="ＭＳ Ｐゴシック"/>
              </a:rPr>
              <a:t>高齢者</a:t>
            </a:r>
          </a:p>
        </p:txBody>
      </p:sp>
      <p:sp>
        <p:nvSpPr>
          <p:cNvPr id="15" name="テキスト ボックス 14">
            <a:extLst>
              <a:ext uri="{FF2B5EF4-FFF2-40B4-BE49-F238E27FC236}">
                <a16:creationId xmlns:a16="http://schemas.microsoft.com/office/drawing/2014/main" id="{80B7FC3A-AA06-E866-E130-34A93897F0CE}"/>
              </a:ext>
            </a:extLst>
          </p:cNvPr>
          <p:cNvSpPr txBox="1"/>
          <p:nvPr/>
        </p:nvSpPr>
        <p:spPr>
          <a:xfrm>
            <a:off x="55705" y="823674"/>
            <a:ext cx="9748438" cy="663900"/>
          </a:xfrm>
          <a:prstGeom prst="rect">
            <a:avLst/>
          </a:prstGeom>
          <a:noFill/>
          <a:ln>
            <a:solidFill>
              <a:schemeClr val="tx1"/>
            </a:solidFill>
          </a:ln>
        </p:spPr>
        <p:txBody>
          <a:bodyPr wrap="square" lIns="139263" rIns="139263" rtlCol="0" anchor="ctr">
            <a:spAutoFit/>
          </a:bodyPr>
          <a:lstStyle/>
          <a:p>
            <a:pPr defTabSz="707485">
              <a:spcBef>
                <a:spcPts val="232"/>
              </a:spcBef>
            </a:pPr>
            <a:r>
              <a:rPr lang="ja-JP" altLang="en-US" sz="1393" b="1" dirty="0">
                <a:solidFill>
                  <a:srgbClr val="000000"/>
                </a:solidFill>
                <a:latin typeface="ＭＳ Ｐゴシック"/>
                <a:ea typeface="ＭＳ Ｐゴシック"/>
              </a:rPr>
              <a:t>地域人材の不足が深刻化する中、</a:t>
            </a:r>
            <a:r>
              <a:rPr lang="ja-JP" altLang="en-US" sz="1857" b="1" dirty="0">
                <a:solidFill>
                  <a:srgbClr val="FF0000"/>
                </a:solidFill>
                <a:latin typeface="ＭＳ Ｐゴシック"/>
                <a:ea typeface="ＭＳ Ｐゴシック"/>
              </a:rPr>
              <a:t>多様性に富む包摂的な社会</a:t>
            </a:r>
            <a:r>
              <a:rPr lang="ja-JP" altLang="en-US" sz="1393" b="1" dirty="0">
                <a:solidFill>
                  <a:srgbClr val="000000"/>
                </a:solidFill>
                <a:latin typeface="ＭＳ Ｐゴシック"/>
                <a:ea typeface="ＭＳ Ｐゴシック"/>
              </a:rPr>
              <a:t>、</a:t>
            </a:r>
            <a:r>
              <a:rPr lang="ja-JP" altLang="en-US" sz="1857" b="1" dirty="0">
                <a:solidFill>
                  <a:srgbClr val="FF0000"/>
                </a:solidFill>
                <a:latin typeface="ＭＳ Ｐゴシック"/>
                <a:ea typeface="ＭＳ Ｐゴシック"/>
              </a:rPr>
              <a:t>こどもまんなか社会</a:t>
            </a:r>
            <a:r>
              <a:rPr lang="ja-JP" altLang="en-US" sz="1393" b="1" dirty="0">
                <a:solidFill>
                  <a:srgbClr val="000000"/>
                </a:solidFill>
                <a:latin typeface="ＭＳ Ｐゴシック"/>
                <a:ea typeface="ＭＳ Ｐゴシック"/>
              </a:rPr>
              <a:t>の実現を通じて、</a:t>
            </a:r>
            <a:r>
              <a:rPr lang="ja-JP" altLang="en-US" sz="1857" b="1" dirty="0">
                <a:solidFill>
                  <a:srgbClr val="FF0000"/>
                </a:solidFill>
                <a:latin typeface="ＭＳ Ｐゴシック"/>
                <a:ea typeface="ＭＳ Ｐゴシック"/>
              </a:rPr>
              <a:t>地域力</a:t>
            </a:r>
            <a:r>
              <a:rPr lang="ja-JP" altLang="en-US" sz="1393" b="1" dirty="0">
                <a:solidFill>
                  <a:srgbClr val="000000"/>
                </a:solidFill>
                <a:latin typeface="ＭＳ Ｐゴシック"/>
                <a:ea typeface="ＭＳ Ｐゴシック"/>
              </a:rPr>
              <a:t>を高めるとともに、</a:t>
            </a:r>
            <a:r>
              <a:rPr lang="ja-JP" altLang="en-US" sz="1857" b="1" dirty="0">
                <a:solidFill>
                  <a:srgbClr val="FF0000"/>
                </a:solidFill>
                <a:latin typeface="ＭＳ Ｐゴシック"/>
                <a:ea typeface="ＭＳ Ｐゴシック"/>
              </a:rPr>
              <a:t>地方への人の流れの創出・拡大</a:t>
            </a:r>
            <a:r>
              <a:rPr lang="ja-JP" altLang="en-US" sz="1393" b="1" dirty="0">
                <a:solidFill>
                  <a:srgbClr val="000000"/>
                </a:solidFill>
                <a:latin typeface="ＭＳ Ｐゴシック"/>
                <a:ea typeface="ＭＳ Ｐゴシック"/>
              </a:rPr>
              <a:t>につなげ、我が国全体の</a:t>
            </a:r>
            <a:r>
              <a:rPr lang="ja-JP" altLang="en-US" sz="1857" b="1" dirty="0">
                <a:solidFill>
                  <a:srgbClr val="FF0000"/>
                </a:solidFill>
                <a:latin typeface="ＭＳ Ｐゴシック"/>
                <a:ea typeface="ＭＳ Ｐゴシック"/>
              </a:rPr>
              <a:t>少子化の流れを変える</a:t>
            </a:r>
            <a:r>
              <a:rPr lang="ja-JP" altLang="en-US" sz="1393" b="1" dirty="0">
                <a:solidFill>
                  <a:srgbClr val="000000"/>
                </a:solidFill>
                <a:latin typeface="ＭＳ Ｐゴシック"/>
                <a:ea typeface="ＭＳ Ｐゴシック"/>
              </a:rPr>
              <a:t>。</a:t>
            </a:r>
          </a:p>
        </p:txBody>
      </p:sp>
      <p:sp>
        <p:nvSpPr>
          <p:cNvPr id="16" name="楕円 15">
            <a:extLst>
              <a:ext uri="{FF2B5EF4-FFF2-40B4-BE49-F238E27FC236}">
                <a16:creationId xmlns:a16="http://schemas.microsoft.com/office/drawing/2014/main" id="{D9BD0DFF-DE4C-3735-5D66-8D110BF61B5F}"/>
              </a:ext>
            </a:extLst>
          </p:cNvPr>
          <p:cNvSpPr/>
          <p:nvPr/>
        </p:nvSpPr>
        <p:spPr>
          <a:xfrm>
            <a:off x="4734955" y="2533173"/>
            <a:ext cx="835580" cy="389938"/>
          </a:xfrm>
          <a:prstGeom prst="ellipse">
            <a:avLst/>
          </a:prstGeom>
          <a:solidFill>
            <a:srgbClr val="E2AC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r>
              <a:rPr lang="ja-JP" altLang="en-US" sz="1238" b="1" dirty="0">
                <a:solidFill>
                  <a:srgbClr val="000000"/>
                </a:solidFill>
                <a:latin typeface="Arial"/>
                <a:ea typeface="ＭＳ Ｐゴシック"/>
              </a:rPr>
              <a:t>外国人</a:t>
            </a:r>
          </a:p>
        </p:txBody>
      </p:sp>
      <p:sp>
        <p:nvSpPr>
          <p:cNvPr id="17" name="楕円 16">
            <a:extLst>
              <a:ext uri="{FF2B5EF4-FFF2-40B4-BE49-F238E27FC236}">
                <a16:creationId xmlns:a16="http://schemas.microsoft.com/office/drawing/2014/main" id="{88C70308-915D-1B07-B13E-311EA0E39144}"/>
              </a:ext>
            </a:extLst>
          </p:cNvPr>
          <p:cNvSpPr/>
          <p:nvPr/>
        </p:nvSpPr>
        <p:spPr>
          <a:xfrm>
            <a:off x="3620848" y="2533173"/>
            <a:ext cx="835580" cy="389938"/>
          </a:xfrm>
          <a:prstGeom prst="ellipse">
            <a:avLst/>
          </a:prstGeom>
          <a:solidFill>
            <a:srgbClr val="E2AC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r>
              <a:rPr lang="ja-JP" altLang="en-US" sz="1238" b="1" dirty="0">
                <a:solidFill>
                  <a:srgbClr val="000000"/>
                </a:solidFill>
                <a:latin typeface="Arial"/>
                <a:ea typeface="ＭＳ Ｐゴシック"/>
              </a:rPr>
              <a:t>障害者</a:t>
            </a:r>
          </a:p>
        </p:txBody>
      </p:sp>
      <p:sp>
        <p:nvSpPr>
          <p:cNvPr id="18" name="楕円 17">
            <a:extLst>
              <a:ext uri="{FF2B5EF4-FFF2-40B4-BE49-F238E27FC236}">
                <a16:creationId xmlns:a16="http://schemas.microsoft.com/office/drawing/2014/main" id="{A199589F-E792-2B81-789F-9209CB0AD030}"/>
              </a:ext>
            </a:extLst>
          </p:cNvPr>
          <p:cNvSpPr/>
          <p:nvPr/>
        </p:nvSpPr>
        <p:spPr>
          <a:xfrm>
            <a:off x="1392634" y="2533173"/>
            <a:ext cx="835580" cy="389938"/>
          </a:xfrm>
          <a:prstGeom prst="ellipse">
            <a:avLst/>
          </a:prstGeom>
          <a:solidFill>
            <a:srgbClr val="E2AC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r>
              <a:rPr lang="ja-JP" altLang="en-US" sz="1238" b="1" dirty="0">
                <a:solidFill>
                  <a:srgbClr val="000000"/>
                </a:solidFill>
                <a:latin typeface="Arial"/>
                <a:ea typeface="ＭＳ Ｐゴシック"/>
              </a:rPr>
              <a:t>女性</a:t>
            </a:r>
          </a:p>
        </p:txBody>
      </p:sp>
      <p:sp>
        <p:nvSpPr>
          <p:cNvPr id="19" name="楕円 18">
            <a:extLst>
              <a:ext uri="{FF2B5EF4-FFF2-40B4-BE49-F238E27FC236}">
                <a16:creationId xmlns:a16="http://schemas.microsoft.com/office/drawing/2014/main" id="{7D5DF357-A89C-7C4A-C956-45594D80D872}"/>
              </a:ext>
            </a:extLst>
          </p:cNvPr>
          <p:cNvSpPr/>
          <p:nvPr/>
        </p:nvSpPr>
        <p:spPr>
          <a:xfrm>
            <a:off x="278527" y="2533173"/>
            <a:ext cx="835580" cy="389938"/>
          </a:xfrm>
          <a:prstGeom prst="ellipse">
            <a:avLst/>
          </a:prstGeom>
          <a:solidFill>
            <a:srgbClr val="E2AC0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707471"/>
            <a:r>
              <a:rPr lang="ja-JP" altLang="en-US" sz="1238" b="1" dirty="0">
                <a:solidFill>
                  <a:srgbClr val="000000"/>
                </a:solidFill>
                <a:latin typeface="Arial"/>
                <a:ea typeface="ＭＳ Ｐゴシック"/>
              </a:rPr>
              <a:t>若者</a:t>
            </a:r>
          </a:p>
        </p:txBody>
      </p:sp>
      <p:sp>
        <p:nvSpPr>
          <p:cNvPr id="20" name="正方形/長方形 19">
            <a:extLst>
              <a:ext uri="{FF2B5EF4-FFF2-40B4-BE49-F238E27FC236}">
                <a16:creationId xmlns:a16="http://schemas.microsoft.com/office/drawing/2014/main" id="{8D8163B2-8BFB-46A3-3112-D37A2CDCB9FC}"/>
              </a:ext>
            </a:extLst>
          </p:cNvPr>
          <p:cNvSpPr/>
          <p:nvPr/>
        </p:nvSpPr>
        <p:spPr>
          <a:xfrm>
            <a:off x="55585" y="2978816"/>
            <a:ext cx="5681946" cy="322831"/>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89986" bIns="46793" numCol="1" spcCol="0" rtlCol="0" fromWordArt="0" anchor="t" anchorCtr="0" forceAA="0" compatLnSpc="1">
            <a:prstTxWarp prst="textNoShape">
              <a:avLst/>
            </a:prstTxWarp>
            <a:noAutofit/>
          </a:bodyPr>
          <a:lstStyle/>
          <a:p>
            <a:pPr algn="ctr" defTabSz="707485"/>
            <a:r>
              <a:rPr lang="en-US" altLang="ja-JP" sz="1393" b="1" dirty="0">
                <a:solidFill>
                  <a:srgbClr val="FF0000"/>
                </a:solidFill>
                <a:latin typeface="ＭＳ Ｐゴシック"/>
                <a:ea typeface="ＭＳ Ｐゴシック"/>
              </a:rPr>
              <a:t>〈</a:t>
            </a:r>
            <a:r>
              <a:rPr lang="ja-JP" altLang="en-US" sz="1393" b="1" dirty="0">
                <a:solidFill>
                  <a:srgbClr val="FF0000"/>
                </a:solidFill>
                <a:latin typeface="ＭＳ Ｐゴシック"/>
                <a:ea typeface="ＭＳ Ｐゴシック"/>
              </a:rPr>
              <a:t>人々の多様化する価値観に応じた暮らし方・働き方の選択肢を広げる</a:t>
            </a:r>
            <a:r>
              <a:rPr lang="en-US" altLang="ja-JP" sz="1393" b="1" dirty="0">
                <a:solidFill>
                  <a:srgbClr val="FF0000"/>
                </a:solidFill>
                <a:latin typeface="ＭＳ Ｐゴシック"/>
                <a:ea typeface="ＭＳ Ｐゴシック"/>
              </a:rPr>
              <a:t>〉</a:t>
            </a:r>
            <a:endParaRPr lang="ja-JP" altLang="en-US" sz="1238" b="1" dirty="0">
              <a:solidFill>
                <a:srgbClr val="FF0000"/>
              </a:solidFill>
              <a:latin typeface="ＭＳ Ｐゴシック"/>
              <a:ea typeface="ＭＳ Ｐゴシック"/>
            </a:endParaRPr>
          </a:p>
        </p:txBody>
      </p:sp>
      <p:sp>
        <p:nvSpPr>
          <p:cNvPr id="21" name="矢印: 右 34">
            <a:extLst>
              <a:ext uri="{FF2B5EF4-FFF2-40B4-BE49-F238E27FC236}">
                <a16:creationId xmlns:a16="http://schemas.microsoft.com/office/drawing/2014/main" id="{F899C3E3-4237-BBAB-4BD7-3CD66FD0ABF8}"/>
              </a:ext>
            </a:extLst>
          </p:cNvPr>
          <p:cNvSpPr/>
          <p:nvPr/>
        </p:nvSpPr>
        <p:spPr>
          <a:xfrm>
            <a:off x="278527" y="3229490"/>
            <a:ext cx="334232" cy="278527"/>
          </a:xfrm>
          <a:prstGeom prst="rightArrow">
            <a:avLst/>
          </a:prstGeom>
          <a:solidFill>
            <a:srgbClr val="FFCC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endParaRPr lang="ja-JP" altLang="en-US" sz="1393">
              <a:solidFill>
                <a:srgbClr val="FFFFFF"/>
              </a:solidFill>
              <a:latin typeface="Arial"/>
              <a:ea typeface="ＭＳ Ｐゴシック"/>
            </a:endParaRPr>
          </a:p>
        </p:txBody>
      </p:sp>
      <p:sp>
        <p:nvSpPr>
          <p:cNvPr id="22" name="正方形/長方形 21">
            <a:extLst>
              <a:ext uri="{FF2B5EF4-FFF2-40B4-BE49-F238E27FC236}">
                <a16:creationId xmlns:a16="http://schemas.microsoft.com/office/drawing/2014/main" id="{EAF2D13D-BD17-1C67-9DAA-9575EA82767A}"/>
              </a:ext>
            </a:extLst>
          </p:cNvPr>
          <p:cNvSpPr/>
          <p:nvPr/>
        </p:nvSpPr>
        <p:spPr>
          <a:xfrm>
            <a:off x="612759" y="3201638"/>
            <a:ext cx="5041335" cy="53144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89986" bIns="46793" numCol="1" spcCol="0" rtlCol="0" fromWordArt="0" anchor="t" anchorCtr="0" forceAA="0" compatLnSpc="1">
            <a:prstTxWarp prst="textNoShape">
              <a:avLst/>
            </a:prstTxWarp>
            <a:noAutofit/>
          </a:bodyPr>
          <a:lstStyle/>
          <a:p>
            <a:pPr defTabSz="707485">
              <a:spcBef>
                <a:spcPts val="232"/>
              </a:spcBef>
            </a:pPr>
            <a:r>
              <a:rPr lang="ja-JP" altLang="en-US" sz="1393" b="1" dirty="0">
                <a:solidFill>
                  <a:srgbClr val="FF0000"/>
                </a:solidFill>
                <a:latin typeface="ＭＳ Ｐゴシック"/>
                <a:ea typeface="ＭＳ Ｐゴシック"/>
              </a:rPr>
              <a:t>地方への人の流れを創出・拡大し、少子化の流れを変える</a:t>
            </a:r>
          </a:p>
        </p:txBody>
      </p:sp>
      <p:sp>
        <p:nvSpPr>
          <p:cNvPr id="23" name="テキスト ボックス 22">
            <a:extLst>
              <a:ext uri="{FF2B5EF4-FFF2-40B4-BE49-F238E27FC236}">
                <a16:creationId xmlns:a16="http://schemas.microsoft.com/office/drawing/2014/main" id="{8806A215-8B41-E8AA-EDD0-F0EE72116B51}"/>
              </a:ext>
            </a:extLst>
          </p:cNvPr>
          <p:cNvSpPr txBox="1"/>
          <p:nvPr/>
        </p:nvSpPr>
        <p:spPr>
          <a:xfrm>
            <a:off x="696317" y="3452312"/>
            <a:ext cx="5013482" cy="377924"/>
          </a:xfrm>
          <a:prstGeom prst="rect">
            <a:avLst/>
          </a:prstGeom>
          <a:noFill/>
        </p:spPr>
        <p:txBody>
          <a:bodyPr wrap="square">
            <a:spAutoFit/>
          </a:bodyPr>
          <a:lstStyle/>
          <a:p>
            <a:pPr marL="136336" indent="-136336" defTabSz="707471"/>
            <a:r>
              <a:rPr lang="en-US" altLang="ja-JP" sz="928" dirty="0">
                <a:solidFill>
                  <a:srgbClr val="000000"/>
                </a:solidFill>
                <a:ea typeface="ＭＳ 明朝" panose="02020609040205080304" pitchFamily="17" charset="-128"/>
                <a:cs typeface="Times New Roman" panose="02020603050405020304" pitchFamily="18" charset="0"/>
              </a:rPr>
              <a:t>※</a:t>
            </a:r>
            <a:r>
              <a:rPr lang="ja-JP" altLang="ja-JP" sz="928" dirty="0">
                <a:solidFill>
                  <a:srgbClr val="000000"/>
                </a:solidFill>
                <a:ea typeface="ＭＳ 明朝" panose="02020609040205080304" pitchFamily="17" charset="-128"/>
                <a:cs typeface="Times New Roman" panose="02020603050405020304" pitchFamily="18" charset="0"/>
              </a:rPr>
              <a:t>若者世代の地方からの流出、出生率が低い東京への集中が続けば、未曽有の少子化に拍車をかけ、人口減少がさらに加速</a:t>
            </a:r>
            <a:r>
              <a:rPr lang="ja-JP" altLang="en-US" sz="928" dirty="0">
                <a:solidFill>
                  <a:srgbClr val="000000"/>
                </a:solidFill>
                <a:ea typeface="ＭＳ 明朝" panose="02020609040205080304" pitchFamily="17" charset="-128"/>
                <a:cs typeface="Times New Roman" panose="02020603050405020304" pitchFamily="18" charset="0"/>
              </a:rPr>
              <a:t>するおそれ</a:t>
            </a:r>
            <a:endParaRPr lang="ja-JP" altLang="en-US" sz="928" dirty="0">
              <a:solidFill>
                <a:srgbClr val="000000"/>
              </a:solidFill>
            </a:endParaRPr>
          </a:p>
        </p:txBody>
      </p:sp>
      <p:sp>
        <p:nvSpPr>
          <p:cNvPr id="24" name="四角形: 角を丸くする 40">
            <a:extLst>
              <a:ext uri="{FF2B5EF4-FFF2-40B4-BE49-F238E27FC236}">
                <a16:creationId xmlns:a16="http://schemas.microsoft.com/office/drawing/2014/main" id="{82841407-8CC8-4003-EB86-011BFCC7F645}"/>
              </a:ext>
            </a:extLst>
          </p:cNvPr>
          <p:cNvSpPr/>
          <p:nvPr/>
        </p:nvSpPr>
        <p:spPr>
          <a:xfrm>
            <a:off x="3899375" y="3869911"/>
            <a:ext cx="2785268" cy="501348"/>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547" b="1" dirty="0">
                <a:solidFill>
                  <a:srgbClr val="FFFFFF"/>
                </a:solidFill>
                <a:latin typeface="ＭＳ Ｐゴシック"/>
                <a:ea typeface="ＭＳ Ｐゴシック"/>
              </a:rPr>
              <a:t>女性活躍の促進</a:t>
            </a:r>
          </a:p>
        </p:txBody>
      </p:sp>
      <p:sp>
        <p:nvSpPr>
          <p:cNvPr id="25" name="四角形: 角を丸くする 42">
            <a:extLst>
              <a:ext uri="{FF2B5EF4-FFF2-40B4-BE49-F238E27FC236}">
                <a16:creationId xmlns:a16="http://schemas.microsoft.com/office/drawing/2014/main" id="{9C85FFAD-DD05-622F-B70D-B77A6036C6CF}"/>
              </a:ext>
            </a:extLst>
          </p:cNvPr>
          <p:cNvSpPr/>
          <p:nvPr/>
        </p:nvSpPr>
        <p:spPr>
          <a:xfrm>
            <a:off x="6963169" y="3869911"/>
            <a:ext cx="2785268" cy="501348"/>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71"/>
            <a:r>
              <a:rPr lang="ja-JP" altLang="en-US" sz="1393" b="1" dirty="0">
                <a:solidFill>
                  <a:srgbClr val="FFFFFF"/>
                </a:solidFill>
                <a:latin typeface="ＭＳ Ｐゴシック"/>
                <a:ea typeface="ＭＳ Ｐゴシック"/>
              </a:rPr>
              <a:t>関係人口の拡大・深化</a:t>
            </a:r>
          </a:p>
        </p:txBody>
      </p:sp>
      <p:sp>
        <p:nvSpPr>
          <p:cNvPr id="26" name="正方形/長方形 25">
            <a:extLst>
              <a:ext uri="{FF2B5EF4-FFF2-40B4-BE49-F238E27FC236}">
                <a16:creationId xmlns:a16="http://schemas.microsoft.com/office/drawing/2014/main" id="{131EEDE8-EBC1-8F33-D424-33AA62618948}"/>
              </a:ext>
            </a:extLst>
          </p:cNvPr>
          <p:cNvSpPr/>
          <p:nvPr/>
        </p:nvSpPr>
        <p:spPr>
          <a:xfrm>
            <a:off x="3899375" y="4371450"/>
            <a:ext cx="2785268" cy="6240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89986" bIns="46793" numCol="1" spcCol="0" rtlCol="0" fromWordArt="0" anchor="t" anchorCtr="0" forceAA="0" compatLnSpc="1">
            <a:prstTxWarp prst="textNoShape">
              <a:avLst/>
            </a:prstTxWarp>
            <a:noAutofit/>
          </a:bodyPr>
          <a:lstStyle/>
          <a:p>
            <a:pPr marL="171429" indent="-171429" defTabSz="707485">
              <a:spcBef>
                <a:spcPts val="155"/>
              </a:spcBef>
              <a:buClr>
                <a:srgbClr val="000000"/>
              </a:buClr>
              <a:buFont typeface="Wingdings" panose="05000000000000000000" pitchFamily="2" charset="2"/>
              <a:buChar char="Ø"/>
            </a:pPr>
            <a:r>
              <a:rPr lang="ja-JP" altLang="en-US" sz="1238" b="1" dirty="0">
                <a:solidFill>
                  <a:srgbClr val="000000"/>
                </a:solidFill>
                <a:latin typeface="ＭＳ Ｐゴシック"/>
                <a:ea typeface="ＭＳ Ｐゴシック"/>
              </a:rPr>
              <a:t>地方における教育・就業環境整備を通じた</a:t>
            </a:r>
            <a:r>
              <a:rPr lang="ja-JP" altLang="en-US" sz="1393" b="1" dirty="0">
                <a:solidFill>
                  <a:srgbClr val="FF0000"/>
                </a:solidFill>
                <a:latin typeface="ＭＳ Ｐゴシック"/>
                <a:ea typeface="ＭＳ Ｐゴシック"/>
              </a:rPr>
              <a:t>女性が能力を発揮</a:t>
            </a:r>
            <a:r>
              <a:rPr lang="ja-JP" altLang="en-US" sz="1238" b="1" dirty="0">
                <a:solidFill>
                  <a:srgbClr val="000000"/>
                </a:solidFill>
                <a:latin typeface="ＭＳ Ｐゴシック"/>
                <a:ea typeface="ＭＳ Ｐゴシック"/>
              </a:rPr>
              <a:t>できる魅力的な地域づくり</a:t>
            </a:r>
          </a:p>
        </p:txBody>
      </p:sp>
      <p:sp>
        <p:nvSpPr>
          <p:cNvPr id="27" name="正方形/長方形 26">
            <a:extLst>
              <a:ext uri="{FF2B5EF4-FFF2-40B4-BE49-F238E27FC236}">
                <a16:creationId xmlns:a16="http://schemas.microsoft.com/office/drawing/2014/main" id="{8CB844E0-4A9C-8D84-7C31-DB2084EF6291}"/>
              </a:ext>
            </a:extLst>
          </p:cNvPr>
          <p:cNvSpPr/>
          <p:nvPr/>
        </p:nvSpPr>
        <p:spPr>
          <a:xfrm>
            <a:off x="6963169" y="4371450"/>
            <a:ext cx="2824262" cy="6240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83558" bIns="46793" numCol="1" spcCol="0" rtlCol="0" fromWordArt="0" anchor="t" anchorCtr="0" forceAA="0" compatLnSpc="1">
            <a:prstTxWarp prst="textNoShape">
              <a:avLst/>
            </a:prstTxWarp>
            <a:noAutofit/>
          </a:bodyPr>
          <a:lstStyle/>
          <a:p>
            <a:pPr marL="171429" indent="-171429" defTabSz="707485">
              <a:spcBef>
                <a:spcPts val="155"/>
              </a:spcBef>
              <a:buClr>
                <a:srgbClr val="000000"/>
              </a:buClr>
              <a:buFont typeface="Wingdings" panose="05000000000000000000" pitchFamily="2" charset="2"/>
              <a:buChar char="Ø"/>
            </a:pPr>
            <a:r>
              <a:rPr lang="ja-JP" altLang="en-US" sz="1393" b="1" dirty="0">
                <a:solidFill>
                  <a:srgbClr val="FF0000"/>
                </a:solidFill>
                <a:latin typeface="ＭＳ Ｐゴシック"/>
                <a:ea typeface="ＭＳ Ｐゴシック"/>
              </a:rPr>
              <a:t>二地域居住者等を含む関係人口</a:t>
            </a:r>
            <a:r>
              <a:rPr lang="ja-JP" altLang="en-US" sz="1238" b="1" dirty="0">
                <a:solidFill>
                  <a:srgbClr val="000000"/>
                </a:solidFill>
                <a:latin typeface="ＭＳ Ｐゴシック"/>
                <a:ea typeface="ＭＳ Ｐゴシック"/>
              </a:rPr>
              <a:t>の拡大、地域とのつながりの深化に向けた「人」「場」「仕組み」</a:t>
            </a:r>
            <a:r>
              <a:rPr lang="ja-JP" altLang="en-US" sz="1238" b="1" dirty="0" err="1">
                <a:solidFill>
                  <a:srgbClr val="000000"/>
                </a:solidFill>
                <a:latin typeface="ＭＳ Ｐゴシック"/>
                <a:ea typeface="ＭＳ Ｐゴシック"/>
              </a:rPr>
              <a:t>づ</a:t>
            </a:r>
            <a:r>
              <a:rPr lang="ja-JP" altLang="en-US" sz="1238" b="1" dirty="0">
                <a:solidFill>
                  <a:srgbClr val="000000"/>
                </a:solidFill>
                <a:latin typeface="ＭＳ Ｐゴシック"/>
                <a:ea typeface="ＭＳ Ｐゴシック"/>
              </a:rPr>
              <a:t>くり</a:t>
            </a:r>
            <a:endParaRPr lang="en-US" altLang="ja-JP" sz="1238" b="1" dirty="0">
              <a:solidFill>
                <a:srgbClr val="000000"/>
              </a:solidFill>
              <a:latin typeface="ＭＳ Ｐゴシック"/>
              <a:ea typeface="ＭＳ Ｐゴシック"/>
            </a:endParaRPr>
          </a:p>
          <a:p>
            <a:pPr defTabSz="707485">
              <a:spcBef>
                <a:spcPts val="155"/>
              </a:spcBef>
              <a:buClr>
                <a:srgbClr val="000000"/>
              </a:buClr>
            </a:pPr>
            <a:r>
              <a:rPr lang="ja-JP" altLang="en-US" sz="1238" b="1" dirty="0">
                <a:solidFill>
                  <a:srgbClr val="000000"/>
                </a:solidFill>
                <a:latin typeface="ＭＳ Ｐゴシック"/>
                <a:ea typeface="ＭＳ Ｐゴシック"/>
              </a:rPr>
              <a:t>　⇒</a:t>
            </a:r>
            <a:r>
              <a:rPr lang="en-US" altLang="ja-JP" sz="1238" b="1" dirty="0">
                <a:solidFill>
                  <a:srgbClr val="000000"/>
                </a:solidFill>
                <a:latin typeface="ＭＳ Ｐゴシック"/>
                <a:ea typeface="ＭＳ Ｐゴシック"/>
              </a:rPr>
              <a:t>2032</a:t>
            </a:r>
            <a:r>
              <a:rPr lang="ja-JP" altLang="en-US" sz="1238" b="1" dirty="0">
                <a:solidFill>
                  <a:srgbClr val="000000"/>
                </a:solidFill>
                <a:latin typeface="ＭＳ Ｐゴシック"/>
                <a:ea typeface="ＭＳ Ｐゴシック"/>
              </a:rPr>
              <a:t>年度を目途に</a:t>
            </a:r>
            <a:r>
              <a:rPr lang="en-US" altLang="ja-JP" sz="1238" b="1" dirty="0">
                <a:solidFill>
                  <a:srgbClr val="FF0000"/>
                </a:solidFill>
                <a:latin typeface="ＭＳ Ｐゴシック"/>
                <a:ea typeface="ＭＳ Ｐゴシック"/>
              </a:rPr>
              <a:t>1.5</a:t>
            </a:r>
            <a:r>
              <a:rPr lang="ja-JP" altLang="en-US" sz="1238" b="1" dirty="0">
                <a:solidFill>
                  <a:srgbClr val="FF0000"/>
                </a:solidFill>
                <a:latin typeface="ＭＳ Ｐゴシック"/>
                <a:ea typeface="ＭＳ Ｐゴシック"/>
              </a:rPr>
              <a:t>倍程度に拡大</a:t>
            </a:r>
            <a:endParaRPr lang="en-US" altLang="ja-JP" sz="1238" b="1" dirty="0">
              <a:solidFill>
                <a:srgbClr val="FF0000"/>
              </a:solidFill>
              <a:latin typeface="ＭＳ Ｐゴシック"/>
              <a:ea typeface="ＭＳ Ｐゴシック"/>
            </a:endParaRPr>
          </a:p>
          <a:p>
            <a:pPr defTabSz="707485">
              <a:spcBef>
                <a:spcPts val="155"/>
              </a:spcBef>
              <a:buClr>
                <a:srgbClr val="000000"/>
              </a:buClr>
            </a:pPr>
            <a:endParaRPr lang="ja-JP" altLang="en-US" sz="1238" b="1" dirty="0">
              <a:solidFill>
                <a:srgbClr val="000000"/>
              </a:solidFill>
              <a:latin typeface="ＭＳ Ｐゴシック"/>
              <a:ea typeface="ＭＳ Ｐゴシック"/>
            </a:endParaRPr>
          </a:p>
        </p:txBody>
      </p:sp>
      <p:sp>
        <p:nvSpPr>
          <p:cNvPr id="28" name="正方形/長方形 27">
            <a:extLst>
              <a:ext uri="{FF2B5EF4-FFF2-40B4-BE49-F238E27FC236}">
                <a16:creationId xmlns:a16="http://schemas.microsoft.com/office/drawing/2014/main" id="{EDA00EF8-980D-50E3-A55A-0A617B07E971}"/>
              </a:ext>
            </a:extLst>
          </p:cNvPr>
          <p:cNvSpPr/>
          <p:nvPr/>
        </p:nvSpPr>
        <p:spPr>
          <a:xfrm>
            <a:off x="417790" y="5039914"/>
            <a:ext cx="2228214" cy="6240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89986" bIns="46793" numCol="1" spcCol="0" rtlCol="0" fromWordArt="0" anchor="t" anchorCtr="0" forceAA="0" compatLnSpc="1">
            <a:prstTxWarp prst="textNoShape">
              <a:avLst/>
            </a:prstTxWarp>
            <a:noAutofit/>
          </a:bodyPr>
          <a:lstStyle/>
          <a:p>
            <a:pPr marL="136336" indent="-136336" defTabSz="707485">
              <a:spcBef>
                <a:spcPts val="232"/>
              </a:spcBef>
              <a:buClr>
                <a:srgbClr val="000000"/>
              </a:buClr>
              <a:buFont typeface="Wingdings" panose="05000000000000000000" pitchFamily="2" charset="2"/>
              <a:buChar char="ü"/>
            </a:pPr>
            <a:r>
              <a:rPr lang="ja-JP" altLang="en-US" sz="928" b="1" dirty="0">
                <a:solidFill>
                  <a:srgbClr val="000000"/>
                </a:solidFill>
                <a:latin typeface="ＭＳ Ｐゴシック"/>
                <a:ea typeface="ＭＳ Ｐゴシック"/>
              </a:rPr>
              <a:t>良質な住宅の供給、円滑な確保支援</a:t>
            </a:r>
            <a:endParaRPr lang="en-US" altLang="ja-JP" sz="928" b="1" dirty="0">
              <a:solidFill>
                <a:srgbClr val="000000"/>
              </a:solidFill>
              <a:latin typeface="ＭＳ Ｐゴシック"/>
              <a:ea typeface="ＭＳ Ｐゴシック"/>
            </a:endParaRPr>
          </a:p>
          <a:p>
            <a:pPr marL="136336" indent="-136336" defTabSz="707485">
              <a:spcBef>
                <a:spcPts val="232"/>
              </a:spcBef>
              <a:buClr>
                <a:srgbClr val="000000"/>
              </a:buClr>
              <a:buFont typeface="Wingdings" panose="05000000000000000000" pitchFamily="2" charset="2"/>
              <a:buChar char="ü"/>
            </a:pPr>
            <a:r>
              <a:rPr lang="ja-JP" altLang="en-US" sz="928" b="1" dirty="0">
                <a:solidFill>
                  <a:srgbClr val="000000"/>
                </a:solidFill>
                <a:latin typeface="ＭＳ Ｐゴシック"/>
                <a:ea typeface="ＭＳ Ｐゴシック"/>
              </a:rPr>
              <a:t>保育所の整備等の就学前教育・保育の充実</a:t>
            </a:r>
            <a:endParaRPr lang="en-US" altLang="ja-JP" sz="928" b="1" dirty="0">
              <a:solidFill>
                <a:srgbClr val="000000"/>
              </a:solidFill>
              <a:latin typeface="ＭＳ Ｐゴシック"/>
              <a:ea typeface="ＭＳ Ｐゴシック"/>
            </a:endParaRPr>
          </a:p>
          <a:p>
            <a:pPr marL="136336" indent="-136336" defTabSz="707485">
              <a:spcBef>
                <a:spcPts val="232"/>
              </a:spcBef>
              <a:buClr>
                <a:srgbClr val="000000"/>
              </a:buClr>
              <a:buFont typeface="Wingdings" panose="05000000000000000000" pitchFamily="2" charset="2"/>
              <a:buChar char="ü"/>
            </a:pPr>
            <a:r>
              <a:rPr lang="ja-JP" altLang="en-US" sz="928" b="1" dirty="0">
                <a:solidFill>
                  <a:srgbClr val="000000"/>
                </a:solidFill>
                <a:latin typeface="ＭＳ Ｐゴシック"/>
                <a:ea typeface="ＭＳ Ｐゴシック"/>
              </a:rPr>
              <a:t>子育てしやすい都市・地域空間づくり、安全で快適な道路、公園等の整備、　公共空間等における子育てバリアフリー化</a:t>
            </a:r>
            <a:endParaRPr lang="en-US" altLang="ja-JP" sz="928" b="1" dirty="0">
              <a:solidFill>
                <a:srgbClr val="000000"/>
              </a:solidFill>
              <a:latin typeface="ＭＳ Ｐゴシック"/>
              <a:ea typeface="ＭＳ Ｐゴシック"/>
            </a:endParaRPr>
          </a:p>
          <a:p>
            <a:pPr marL="136336" indent="-136336" defTabSz="707485">
              <a:spcBef>
                <a:spcPts val="232"/>
              </a:spcBef>
              <a:buClr>
                <a:srgbClr val="000000"/>
              </a:buClr>
              <a:buFont typeface="Wingdings" panose="05000000000000000000" pitchFamily="2" charset="2"/>
              <a:buChar char="ü"/>
            </a:pPr>
            <a:r>
              <a:rPr lang="ja-JP" altLang="en-US" sz="928" b="1" dirty="0">
                <a:solidFill>
                  <a:srgbClr val="000000"/>
                </a:solidFill>
                <a:latin typeface="ＭＳ Ｐゴシック"/>
                <a:ea typeface="ＭＳ Ｐゴシック"/>
              </a:rPr>
              <a:t>多世代交流拠点づくり</a:t>
            </a:r>
            <a:endParaRPr lang="en-US" altLang="ja-JP" sz="928" b="1" dirty="0">
              <a:solidFill>
                <a:srgbClr val="000000"/>
              </a:solidFill>
              <a:latin typeface="ＭＳ Ｐゴシック"/>
              <a:ea typeface="ＭＳ Ｐゴシック"/>
            </a:endParaRPr>
          </a:p>
          <a:p>
            <a:pPr marL="136336" indent="-136336" defTabSz="707485">
              <a:spcBef>
                <a:spcPts val="232"/>
              </a:spcBef>
              <a:buClr>
                <a:srgbClr val="000000"/>
              </a:buClr>
              <a:buFont typeface="Wingdings" panose="05000000000000000000" pitchFamily="2" charset="2"/>
              <a:buChar char="ü"/>
            </a:pPr>
            <a:r>
              <a:rPr lang="ja-JP" altLang="en-US" sz="928" b="1" dirty="0">
                <a:solidFill>
                  <a:srgbClr val="000000"/>
                </a:solidFill>
                <a:latin typeface="ＭＳ Ｐゴシック"/>
                <a:ea typeface="ＭＳ Ｐゴシック"/>
              </a:rPr>
              <a:t>テレワークを活用した転職なき移住、二地域居住等の受け皿づくり</a:t>
            </a:r>
            <a:endParaRPr lang="en-US" altLang="ja-JP" sz="928" b="1" dirty="0">
              <a:solidFill>
                <a:srgbClr val="000000"/>
              </a:solidFill>
              <a:latin typeface="ＭＳ Ｐゴシック"/>
              <a:ea typeface="ＭＳ Ｐゴシック"/>
            </a:endParaRPr>
          </a:p>
          <a:p>
            <a:pPr marL="136336" indent="-136336" defTabSz="707485">
              <a:spcBef>
                <a:spcPts val="232"/>
              </a:spcBef>
              <a:buClr>
                <a:srgbClr val="000000"/>
              </a:buClr>
              <a:buFont typeface="Wingdings" panose="05000000000000000000" pitchFamily="2" charset="2"/>
              <a:buChar char="ü"/>
            </a:pPr>
            <a:r>
              <a:rPr lang="ja-JP" altLang="en-US" sz="928" b="1" dirty="0">
                <a:solidFill>
                  <a:srgbClr val="000000"/>
                </a:solidFill>
                <a:latin typeface="ＭＳ Ｐゴシック"/>
                <a:ea typeface="ＭＳ Ｐゴシック"/>
              </a:rPr>
              <a:t>魅力的な仕事の創出　等</a:t>
            </a:r>
            <a:endParaRPr lang="en-US" altLang="ja-JP" sz="928" b="1" dirty="0">
              <a:solidFill>
                <a:srgbClr val="000000"/>
              </a:solidFill>
              <a:latin typeface="ＭＳ Ｐゴシック"/>
              <a:ea typeface="ＭＳ Ｐゴシック"/>
            </a:endParaRPr>
          </a:p>
          <a:p>
            <a:pPr marL="221085" indent="-221085" defTabSz="707485">
              <a:spcBef>
                <a:spcPts val="155"/>
              </a:spcBef>
              <a:buClr>
                <a:srgbClr val="000000"/>
              </a:buClr>
              <a:buFont typeface="Wingdings" panose="05000000000000000000" pitchFamily="2" charset="2"/>
              <a:buChar char="ü"/>
            </a:pPr>
            <a:endParaRPr lang="en-US" altLang="ja-JP" sz="928" b="1" dirty="0">
              <a:solidFill>
                <a:srgbClr val="000000"/>
              </a:solidFill>
              <a:latin typeface="ＭＳ Ｐゴシック"/>
              <a:ea typeface="ＭＳ Ｐゴシック"/>
            </a:endParaRPr>
          </a:p>
        </p:txBody>
      </p:sp>
      <p:sp>
        <p:nvSpPr>
          <p:cNvPr id="29" name="テキスト ボックス 27"/>
          <p:cNvSpPr txBox="1"/>
          <p:nvPr/>
        </p:nvSpPr>
        <p:spPr>
          <a:xfrm>
            <a:off x="7018875" y="5207030"/>
            <a:ext cx="2951175" cy="235129"/>
          </a:xfrm>
          <a:prstGeom prst="rect">
            <a:avLst/>
          </a:prstGeom>
          <a:noFill/>
        </p:spPr>
        <p:txBody>
          <a:bodyPr wrap="square" rtlCol="0">
            <a:spAutoFit/>
          </a:bodyPr>
          <a:lstStyle/>
          <a:p>
            <a:pPr defTabSz="779058">
              <a:defRPr/>
            </a:pPr>
            <a:r>
              <a:rPr lang="ja-JP" altLang="en-US" sz="928" dirty="0">
                <a:solidFill>
                  <a:srgbClr val="000000"/>
                </a:solidFill>
                <a:latin typeface="ＭＳ ゴシック" panose="020B0609070205080204" pitchFamily="49" charset="-128"/>
                <a:ea typeface="ＭＳ ゴシック" panose="020B0609070205080204" pitchFamily="49" charset="-128"/>
              </a:rPr>
              <a:t>アプリによる「</a:t>
            </a:r>
            <a:r>
              <a:rPr lang="en-US" altLang="ja-JP" sz="928" dirty="0">
                <a:solidFill>
                  <a:srgbClr val="000000"/>
                </a:solidFill>
                <a:latin typeface="ＭＳ ゴシック" panose="020B0609070205080204" pitchFamily="49" charset="-128"/>
                <a:ea typeface="ＭＳ ゴシック" panose="020B0609070205080204" pitchFamily="49" charset="-128"/>
              </a:rPr>
              <a:t>1/2</a:t>
            </a:r>
            <a:r>
              <a:rPr lang="ja-JP" altLang="en-US" sz="928" dirty="0">
                <a:solidFill>
                  <a:srgbClr val="000000"/>
                </a:solidFill>
                <a:latin typeface="ＭＳ ゴシック" panose="020B0609070205080204" pitchFamily="49" charset="-128"/>
                <a:ea typeface="ＭＳ ゴシック" panose="020B0609070205080204" pitchFamily="49" charset="-128"/>
              </a:rPr>
              <a:t>村民」登録制度（山梨県小菅村）</a:t>
            </a:r>
          </a:p>
        </p:txBody>
      </p:sp>
      <p:sp>
        <p:nvSpPr>
          <p:cNvPr id="30" name="正方形/長方形 885"/>
          <p:cNvSpPr/>
          <p:nvPr/>
        </p:nvSpPr>
        <p:spPr>
          <a:xfrm>
            <a:off x="7034112" y="5374147"/>
            <a:ext cx="2866017" cy="3091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1413" indent="-111413" defTabSz="779058">
              <a:spcBef>
                <a:spcPts val="85"/>
              </a:spcBef>
              <a:buFont typeface="Wingdings" panose="05000000000000000000" pitchFamily="2" charset="2"/>
              <a:buChar char="l"/>
              <a:defRPr/>
            </a:pPr>
            <a:r>
              <a:rPr lang="ja-JP" altLang="en-US" sz="774" dirty="0">
                <a:solidFill>
                  <a:srgbClr val="000000"/>
                </a:solidFill>
                <a:latin typeface="ＭＳ ゴシック" panose="020B0609070205080204" pitchFamily="49" charset="-128"/>
                <a:ea typeface="ＭＳ ゴシック" panose="020B0609070205080204" pitchFamily="49" charset="-128"/>
              </a:rPr>
              <a:t>村で利用できるポイント発行や情報発信等を通じて村づくりに関わる接点を創出（開始４年で</a:t>
            </a:r>
            <a:r>
              <a:rPr lang="en-US" altLang="ja-JP" sz="774" dirty="0">
                <a:solidFill>
                  <a:srgbClr val="000000"/>
                </a:solidFill>
                <a:latin typeface="ＭＳ ゴシック" panose="020B0609070205080204" pitchFamily="49" charset="-128"/>
                <a:ea typeface="ＭＳ ゴシック" panose="020B0609070205080204" pitchFamily="49" charset="-128"/>
              </a:rPr>
              <a:t>3,000</a:t>
            </a:r>
            <a:r>
              <a:rPr lang="ja-JP" altLang="en-US" sz="774" dirty="0">
                <a:solidFill>
                  <a:srgbClr val="000000"/>
                </a:solidFill>
                <a:latin typeface="ＭＳ ゴシック" panose="020B0609070205080204" pitchFamily="49" charset="-128"/>
                <a:ea typeface="ＭＳ ゴシック" panose="020B0609070205080204" pitchFamily="49" charset="-128"/>
              </a:rPr>
              <a:t>人以上登録）</a:t>
            </a:r>
            <a:endParaRPr lang="en-US" altLang="ja-JP" sz="774" dirty="0">
              <a:solidFill>
                <a:srgbClr val="000000"/>
              </a:solidFill>
              <a:latin typeface="ＭＳ ゴシック" panose="020B0609070205080204" pitchFamily="49" charset="-128"/>
              <a:ea typeface="ＭＳ ゴシック" panose="020B0609070205080204" pitchFamily="49" charset="-128"/>
            </a:endParaRPr>
          </a:p>
        </p:txBody>
      </p:sp>
      <p:pic>
        <p:nvPicPr>
          <p:cNvPr id="31" name="図 988"/>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7380960" y="5708379"/>
            <a:ext cx="508561" cy="1064230"/>
          </a:xfrm>
          <a:prstGeom prst="rect">
            <a:avLst/>
          </a:prstGeom>
        </p:spPr>
      </p:pic>
      <p:pic>
        <p:nvPicPr>
          <p:cNvPr id="32" name="図 990"/>
          <p:cNvPicPr>
            <a:picLocks/>
          </p:cNvPicPr>
          <p:nvPr/>
        </p:nvPicPr>
        <p:blipFill>
          <a:blip r:embed="rId3" cstate="screen">
            <a:extLst>
              <a:ext uri="{28A0092B-C50C-407E-A947-70E740481C1C}">
                <a14:useLocalDpi xmlns:a14="http://schemas.microsoft.com/office/drawing/2010/main"/>
              </a:ext>
            </a:extLst>
          </a:blip>
          <a:stretch>
            <a:fillRect/>
          </a:stretch>
        </p:blipFill>
        <p:spPr>
          <a:xfrm>
            <a:off x="8077276" y="5708378"/>
            <a:ext cx="1448339" cy="946991"/>
          </a:xfrm>
          <a:prstGeom prst="rect">
            <a:avLst/>
          </a:prstGeom>
        </p:spPr>
      </p:pic>
      <p:sp>
        <p:nvSpPr>
          <p:cNvPr id="33" name="テキスト ボックス 32">
            <a:extLst>
              <a:ext uri="{FF2B5EF4-FFF2-40B4-BE49-F238E27FC236}">
                <a16:creationId xmlns:a16="http://schemas.microsoft.com/office/drawing/2014/main" id="{13B3E12B-8FF6-4262-B053-C8D197EA1B90}"/>
              </a:ext>
            </a:extLst>
          </p:cNvPr>
          <p:cNvSpPr txBox="1"/>
          <p:nvPr/>
        </p:nvSpPr>
        <p:spPr>
          <a:xfrm>
            <a:off x="7993719" y="6627517"/>
            <a:ext cx="1739579" cy="217304"/>
          </a:xfrm>
          <a:prstGeom prst="rect">
            <a:avLst/>
          </a:prstGeom>
          <a:noFill/>
        </p:spPr>
        <p:txBody>
          <a:bodyPr wrap="none" rtlCol="0">
            <a:spAutoFit/>
          </a:bodyPr>
          <a:lstStyle/>
          <a:p>
            <a:pPr defTabSz="990460">
              <a:defRPr/>
            </a:pPr>
            <a:r>
              <a:rPr lang="ja-JP" altLang="en-US" sz="812" dirty="0">
                <a:solidFill>
                  <a:srgbClr val="000000"/>
                </a:solidFill>
                <a:latin typeface="ＭＳ Ｐゴシック"/>
                <a:ea typeface="ＭＳ Ｐゴシック"/>
              </a:rPr>
              <a:t>「</a:t>
            </a:r>
            <a:r>
              <a:rPr lang="en-US" altLang="ja-JP" sz="812" dirty="0">
                <a:solidFill>
                  <a:srgbClr val="000000"/>
                </a:solidFill>
                <a:latin typeface="ＭＳ Ｐゴシック"/>
                <a:ea typeface="ＭＳ Ｐゴシック"/>
              </a:rPr>
              <a:t>1/2</a:t>
            </a:r>
            <a:r>
              <a:rPr lang="ja-JP" altLang="en-US" sz="812" dirty="0">
                <a:solidFill>
                  <a:srgbClr val="000000"/>
                </a:solidFill>
                <a:latin typeface="ＭＳ Ｐゴシック"/>
                <a:ea typeface="ＭＳ Ｐゴシック"/>
              </a:rPr>
              <a:t>村民」による梅取りボランティア</a:t>
            </a:r>
            <a:endParaRPr lang="en-US" altLang="ja-JP" sz="812" dirty="0">
              <a:solidFill>
                <a:srgbClr val="000000"/>
              </a:solidFill>
              <a:latin typeface="ＭＳ Ｐゴシック"/>
              <a:ea typeface="ＭＳ Ｐゴシック"/>
            </a:endParaRPr>
          </a:p>
        </p:txBody>
      </p:sp>
      <p:pic>
        <p:nvPicPr>
          <p:cNvPr id="34" name="図 3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46006" y="5095619"/>
            <a:ext cx="1154607" cy="696317"/>
          </a:xfrm>
          <a:prstGeom prst="rect">
            <a:avLst/>
          </a:prstGeom>
        </p:spPr>
      </p:pic>
      <p:pic>
        <p:nvPicPr>
          <p:cNvPr id="35" name="図 34"/>
          <p:cNvPicPr>
            <a:picLocks/>
          </p:cNvPicPr>
          <p:nvPr/>
        </p:nvPicPr>
        <p:blipFill rotWithShape="1">
          <a:blip r:embed="rId5" cstate="screen">
            <a:extLst>
              <a:ext uri="{28A0092B-C50C-407E-A947-70E740481C1C}">
                <a14:useLocalDpi xmlns:a14="http://schemas.microsoft.com/office/drawing/2010/main"/>
              </a:ext>
            </a:extLst>
          </a:blip>
          <a:srcRect/>
          <a:stretch/>
        </p:blipFill>
        <p:spPr>
          <a:xfrm>
            <a:off x="2646004" y="5959052"/>
            <a:ext cx="1197665" cy="696317"/>
          </a:xfrm>
          <a:prstGeom prst="rect">
            <a:avLst/>
          </a:prstGeom>
        </p:spPr>
      </p:pic>
      <p:sp>
        <p:nvSpPr>
          <p:cNvPr id="36" name="テキスト ボックス 35">
            <a:extLst>
              <a:ext uri="{FF2B5EF4-FFF2-40B4-BE49-F238E27FC236}">
                <a16:creationId xmlns:a16="http://schemas.microsoft.com/office/drawing/2014/main" id="{13B3E12B-8FF6-4262-B053-C8D197EA1B90}"/>
              </a:ext>
            </a:extLst>
          </p:cNvPr>
          <p:cNvSpPr txBox="1"/>
          <p:nvPr/>
        </p:nvSpPr>
        <p:spPr>
          <a:xfrm>
            <a:off x="2562446" y="6627517"/>
            <a:ext cx="1404552" cy="217304"/>
          </a:xfrm>
          <a:prstGeom prst="rect">
            <a:avLst/>
          </a:prstGeom>
          <a:noFill/>
        </p:spPr>
        <p:txBody>
          <a:bodyPr wrap="none" rtlCol="0">
            <a:spAutoFit/>
          </a:bodyPr>
          <a:lstStyle/>
          <a:p>
            <a:pPr defTabSz="990460">
              <a:defRPr/>
            </a:pPr>
            <a:r>
              <a:rPr lang="ja-JP" altLang="en-US" sz="812" dirty="0">
                <a:solidFill>
                  <a:srgbClr val="000000"/>
                </a:solidFill>
                <a:latin typeface="ＭＳ Ｐゴシック"/>
                <a:ea typeface="ＭＳ Ｐゴシック"/>
              </a:rPr>
              <a:t>鉄道車両内の優先スペース</a:t>
            </a:r>
            <a:endParaRPr lang="en-US" altLang="ja-JP" sz="812" dirty="0">
              <a:solidFill>
                <a:srgbClr val="000000"/>
              </a:solidFill>
              <a:latin typeface="ＭＳ Ｐゴシック"/>
              <a:ea typeface="ＭＳ Ｐゴシック"/>
            </a:endParaRPr>
          </a:p>
        </p:txBody>
      </p:sp>
      <p:sp>
        <p:nvSpPr>
          <p:cNvPr id="37" name="テキスト ボックス 36">
            <a:extLst>
              <a:ext uri="{FF2B5EF4-FFF2-40B4-BE49-F238E27FC236}">
                <a16:creationId xmlns:a16="http://schemas.microsoft.com/office/drawing/2014/main" id="{13B3E12B-8FF6-4262-B053-C8D197EA1B90}"/>
              </a:ext>
            </a:extLst>
          </p:cNvPr>
          <p:cNvSpPr txBox="1"/>
          <p:nvPr/>
        </p:nvSpPr>
        <p:spPr>
          <a:xfrm>
            <a:off x="2590299" y="5764084"/>
            <a:ext cx="1364476" cy="217304"/>
          </a:xfrm>
          <a:prstGeom prst="rect">
            <a:avLst/>
          </a:prstGeom>
          <a:noFill/>
        </p:spPr>
        <p:txBody>
          <a:bodyPr wrap="none" rtlCol="0">
            <a:spAutoFit/>
          </a:bodyPr>
          <a:lstStyle/>
          <a:p>
            <a:pPr defTabSz="990460">
              <a:defRPr/>
            </a:pPr>
            <a:r>
              <a:rPr lang="ja-JP" altLang="en-US" sz="812" dirty="0">
                <a:solidFill>
                  <a:srgbClr val="000000"/>
                </a:solidFill>
                <a:latin typeface="ＭＳ Ｐゴシック"/>
                <a:ea typeface="ＭＳ Ｐゴシック"/>
              </a:rPr>
              <a:t>こどもの創造力を育む公園</a:t>
            </a:r>
            <a:endParaRPr lang="en-US" altLang="ja-JP" sz="812" dirty="0">
              <a:solidFill>
                <a:srgbClr val="000000"/>
              </a:solidFill>
              <a:latin typeface="ＭＳ Ｐゴシック"/>
              <a:ea typeface="ＭＳ Ｐゴシック"/>
            </a:endParaRPr>
          </a:p>
        </p:txBody>
      </p:sp>
      <p:sp>
        <p:nvSpPr>
          <p:cNvPr id="38" name="テキスト ボックス 37">
            <a:extLst>
              <a:ext uri="{FF2B5EF4-FFF2-40B4-BE49-F238E27FC236}">
                <a16:creationId xmlns:a16="http://schemas.microsoft.com/office/drawing/2014/main" id="{99718AC2-48AE-462D-ADA3-EEF316859F9B}"/>
              </a:ext>
            </a:extLst>
          </p:cNvPr>
          <p:cNvSpPr txBox="1"/>
          <p:nvPr/>
        </p:nvSpPr>
        <p:spPr>
          <a:xfrm>
            <a:off x="4567839" y="5039914"/>
            <a:ext cx="2252579" cy="235129"/>
          </a:xfrm>
          <a:prstGeom prst="rect">
            <a:avLst/>
          </a:prstGeom>
          <a:noFill/>
          <a:ln>
            <a:noFill/>
          </a:ln>
        </p:spPr>
        <p:txBody>
          <a:bodyPr wrap="square" rtlCol="0">
            <a:spAutoFit/>
          </a:bodyPr>
          <a:lstStyle/>
          <a:p>
            <a:pPr marL="132654" indent="-132654" defTabSz="653067">
              <a:defRPr/>
            </a:pPr>
            <a:r>
              <a:rPr lang="ja-JP" altLang="en-US" sz="928" dirty="0">
                <a:solidFill>
                  <a:srgbClr val="000000"/>
                </a:solidFill>
                <a:latin typeface="ＭＳ Ｐゴシック"/>
                <a:ea typeface="ＭＳ Ｐゴシック"/>
              </a:rPr>
              <a:t>男女別東京圏への転入超過数</a:t>
            </a:r>
            <a:endParaRPr lang="en-US" altLang="ja-JP" sz="928" dirty="0">
              <a:solidFill>
                <a:srgbClr val="000000"/>
              </a:solidFill>
              <a:latin typeface="ＭＳ Ｐゴシック"/>
              <a:ea typeface="ＭＳ Ｐゴシック"/>
            </a:endParaRPr>
          </a:p>
        </p:txBody>
      </p:sp>
      <p:sp>
        <p:nvSpPr>
          <p:cNvPr id="39" name="テキスト ボックス 38"/>
          <p:cNvSpPr txBox="1"/>
          <p:nvPr/>
        </p:nvSpPr>
        <p:spPr>
          <a:xfrm>
            <a:off x="4087458" y="5072933"/>
            <a:ext cx="446098" cy="199414"/>
          </a:xfrm>
          <a:prstGeom prst="rect">
            <a:avLst/>
          </a:prstGeom>
          <a:noFill/>
        </p:spPr>
        <p:txBody>
          <a:bodyPr wrap="square" rtlCol="0">
            <a:spAutoFit/>
          </a:bodyPr>
          <a:lstStyle/>
          <a:p>
            <a:pPr defTabSz="707471"/>
            <a:r>
              <a:rPr lang="ja-JP" altLang="en-US" sz="696" dirty="0">
                <a:solidFill>
                  <a:srgbClr val="000000"/>
                </a:solidFill>
                <a:latin typeface="ＭＳ Ｐゴシック" panose="020B0600070205080204" pitchFamily="50" charset="-128"/>
              </a:rPr>
              <a:t>（</a:t>
            </a:r>
            <a:r>
              <a:rPr lang="ja-JP" altLang="en-US" sz="619" dirty="0">
                <a:solidFill>
                  <a:srgbClr val="000000"/>
                </a:solidFill>
                <a:latin typeface="ＭＳ Ｐゴシック" panose="020B0600070205080204" pitchFamily="50" charset="-128"/>
              </a:rPr>
              <a:t>万人）</a:t>
            </a:r>
            <a:endParaRPr lang="ja-JP" altLang="en-US" sz="696" dirty="0">
              <a:solidFill>
                <a:srgbClr val="000000"/>
              </a:solidFill>
              <a:latin typeface="ＭＳ Ｐゴシック" panose="020B0600070205080204" pitchFamily="50" charset="-128"/>
            </a:endParaRPr>
          </a:p>
        </p:txBody>
      </p:sp>
      <p:graphicFrame>
        <p:nvGraphicFramePr>
          <p:cNvPr id="40" name="グラフ 39">
            <a:extLst>
              <a:ext uri="{FF2B5EF4-FFF2-40B4-BE49-F238E27FC236}">
                <a16:creationId xmlns:a16="http://schemas.microsoft.com/office/drawing/2014/main" id="{6C23A88B-568E-41B4-8ADB-6B3FB2353E00}"/>
              </a:ext>
            </a:extLst>
          </p:cNvPr>
          <p:cNvGraphicFramePr>
            <a:graphicFrameLocks/>
          </p:cNvGraphicFramePr>
          <p:nvPr/>
        </p:nvGraphicFramePr>
        <p:xfrm>
          <a:off x="3955080" y="5151325"/>
          <a:ext cx="2924565" cy="1443203"/>
        </p:xfrm>
        <a:graphic>
          <a:graphicData uri="http://schemas.openxmlformats.org/drawingml/2006/chart">
            <c:chart xmlns:c="http://schemas.openxmlformats.org/drawingml/2006/chart" xmlns:r="http://schemas.openxmlformats.org/officeDocument/2006/relationships" r:id="rId6"/>
          </a:graphicData>
        </a:graphic>
      </p:graphicFrame>
      <p:sp>
        <p:nvSpPr>
          <p:cNvPr id="41" name="テキスト ボックス 40"/>
          <p:cNvSpPr txBox="1"/>
          <p:nvPr/>
        </p:nvSpPr>
        <p:spPr>
          <a:xfrm>
            <a:off x="4013275" y="6565509"/>
            <a:ext cx="2918573" cy="187615"/>
          </a:xfrm>
          <a:prstGeom prst="rect">
            <a:avLst/>
          </a:prstGeom>
          <a:noFill/>
        </p:spPr>
        <p:txBody>
          <a:bodyPr wrap="square" rtlCol="0">
            <a:spAutoFit/>
          </a:bodyPr>
          <a:lstStyle/>
          <a:p>
            <a:pPr marL="187075" indent="-187075" defTabSz="653067">
              <a:defRPr/>
            </a:pPr>
            <a:r>
              <a:rPr lang="ja-JP" altLang="en-US" sz="619" dirty="0">
                <a:solidFill>
                  <a:srgbClr val="000000"/>
                </a:solidFill>
              </a:rPr>
              <a:t>（出典）総務省「住民基本台帳人口移動報告」より 国土政策局が作成</a:t>
            </a:r>
            <a:endParaRPr lang="en-US" altLang="ja-JP" sz="619" dirty="0">
              <a:solidFill>
                <a:srgbClr val="FF0000"/>
              </a:solidFill>
            </a:endParaRPr>
          </a:p>
        </p:txBody>
      </p:sp>
      <p:sp>
        <p:nvSpPr>
          <p:cNvPr id="42" name="テキスト ボックス 41">
            <a:extLst>
              <a:ext uri="{FF2B5EF4-FFF2-40B4-BE49-F238E27FC236}">
                <a16:creationId xmlns:a16="http://schemas.microsoft.com/office/drawing/2014/main" id="{DB7B8253-5540-4178-BAC9-0203CD1DBD4B}"/>
              </a:ext>
            </a:extLst>
          </p:cNvPr>
          <p:cNvSpPr txBox="1"/>
          <p:nvPr/>
        </p:nvSpPr>
        <p:spPr>
          <a:xfrm>
            <a:off x="4012331" y="6653206"/>
            <a:ext cx="3520255" cy="187615"/>
          </a:xfrm>
          <a:prstGeom prst="rect">
            <a:avLst/>
          </a:prstGeom>
          <a:noFill/>
        </p:spPr>
        <p:txBody>
          <a:bodyPr wrap="square" rtlCol="0">
            <a:spAutoFit/>
          </a:bodyPr>
          <a:lstStyle/>
          <a:p>
            <a:pPr marL="187075" indent="-187075" defTabSz="653067">
              <a:defRPr/>
            </a:pPr>
            <a:r>
              <a:rPr lang="ja-JP" altLang="en-US" sz="619" dirty="0">
                <a:solidFill>
                  <a:srgbClr val="000000"/>
                </a:solidFill>
              </a:rPr>
              <a:t>（備考）東京圏は東京都、埼玉県、千葉県、神奈川県を指す。値は日本人移動者数。</a:t>
            </a:r>
            <a:endParaRPr lang="en-US" altLang="ja-JP" sz="619" dirty="0">
              <a:solidFill>
                <a:srgbClr val="FF0000"/>
              </a:solidFill>
            </a:endParaRPr>
          </a:p>
        </p:txBody>
      </p:sp>
      <p:sp>
        <p:nvSpPr>
          <p:cNvPr id="43" name="正方形/長方形 42"/>
          <p:cNvSpPr/>
          <p:nvPr/>
        </p:nvSpPr>
        <p:spPr>
          <a:xfrm>
            <a:off x="55705" y="2198941"/>
            <a:ext cx="5681946" cy="786761"/>
          </a:xfrm>
          <a:prstGeom prst="rect">
            <a:avLst/>
          </a:prstGeom>
          <a:noFill/>
          <a:ln w="28575">
            <a:solidFill>
              <a:srgbClr val="E2AC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986" tIns="46793" rIns="89986" bIns="46793" numCol="1" spcCol="0" rtlCol="0" fromWordArt="0" anchor="t" anchorCtr="0" forceAA="0" compatLnSpc="1">
            <a:prstTxWarp prst="textNoShape">
              <a:avLst/>
            </a:prstTxWarp>
            <a:noAutofit/>
          </a:bodyPr>
          <a:lstStyle/>
          <a:p>
            <a:pPr marL="136336" indent="-136336" defTabSz="707485">
              <a:spcBef>
                <a:spcPts val="464"/>
              </a:spcBef>
              <a:buFont typeface="Wingdings" panose="05000000000000000000" pitchFamily="2" charset="2"/>
              <a:buChar char="Ø"/>
            </a:pPr>
            <a:r>
              <a:rPr lang="ja-JP" altLang="en-US" sz="1238" b="1" dirty="0">
                <a:solidFill>
                  <a:srgbClr val="000000"/>
                </a:solidFill>
                <a:latin typeface="ＭＳ Ｐゴシック"/>
                <a:ea typeface="ＭＳ Ｐゴシック"/>
              </a:rPr>
              <a:t>地域社会の中で</a:t>
            </a:r>
            <a:r>
              <a:rPr lang="ja-JP" altLang="en-US" sz="1393" b="1" dirty="0">
                <a:solidFill>
                  <a:srgbClr val="FF0000"/>
                </a:solidFill>
                <a:latin typeface="ＭＳ Ｐゴシック"/>
                <a:ea typeface="ＭＳ Ｐゴシック"/>
              </a:rPr>
              <a:t>居場所</a:t>
            </a:r>
            <a:r>
              <a:rPr lang="ja-JP" altLang="en-US" sz="1238" b="1" dirty="0">
                <a:solidFill>
                  <a:srgbClr val="000000"/>
                </a:solidFill>
                <a:latin typeface="ＭＳ Ｐゴシック"/>
                <a:ea typeface="ＭＳ Ｐゴシック"/>
              </a:rPr>
              <a:t>を持ち、希望を持って暮らし、働き、活動できる地域づくり</a:t>
            </a:r>
          </a:p>
        </p:txBody>
      </p:sp>
      <p:sp>
        <p:nvSpPr>
          <p:cNvPr id="2" name="フッター プレースホルダー 1">
            <a:extLst>
              <a:ext uri="{FF2B5EF4-FFF2-40B4-BE49-F238E27FC236}">
                <a16:creationId xmlns:a16="http://schemas.microsoft.com/office/drawing/2014/main" id="{5AF27B17-F9B8-59A3-E00D-AB3FB8559D91}"/>
              </a:ext>
            </a:extLst>
          </p:cNvPr>
          <p:cNvSpPr>
            <a:spLocks noGrp="1"/>
          </p:cNvSpPr>
          <p:nvPr>
            <p:ph type="ftr" sz="quarter" idx="11"/>
          </p:nvPr>
        </p:nvSpPr>
        <p:spPr/>
        <p:txBody>
          <a:bodyPr/>
          <a:lstStyle/>
          <a:p>
            <a:pPr>
              <a:defRPr/>
            </a:pPr>
            <a:endParaRPr lang="en-US" altLang="ja-JP"/>
          </a:p>
        </p:txBody>
      </p:sp>
      <p:sp>
        <p:nvSpPr>
          <p:cNvPr id="3" name="スライド番号プレースホルダー 2">
            <a:extLst>
              <a:ext uri="{FF2B5EF4-FFF2-40B4-BE49-F238E27FC236}">
                <a16:creationId xmlns:a16="http://schemas.microsoft.com/office/drawing/2014/main" id="{E97C2877-D7EE-09BE-42DE-F0F27A2AD4D9}"/>
              </a:ext>
            </a:extLst>
          </p:cNvPr>
          <p:cNvSpPr>
            <a:spLocks noGrp="1"/>
          </p:cNvSpPr>
          <p:nvPr>
            <p:ph type="sldNum" sz="quarter" idx="12"/>
          </p:nvPr>
        </p:nvSpPr>
        <p:spPr/>
        <p:txBody>
          <a:bodyPr/>
          <a:lstStyle/>
          <a:p>
            <a:pPr>
              <a:defRPr/>
            </a:pPr>
            <a:fld id="{9C66F1FC-77AF-4AA3-AB67-8C31B36199A9}" type="slidenum">
              <a:rPr lang="en-US" altLang="ja-JP" smtClean="0"/>
              <a:pPr>
                <a:defRPr/>
              </a:pPr>
              <a:t>17</a:t>
            </a:fld>
            <a:endParaRPr lang="en-US" altLang="ja-JP"/>
          </a:p>
        </p:txBody>
      </p:sp>
    </p:spTree>
    <p:extLst>
      <p:ext uri="{BB962C8B-B14F-4D97-AF65-F5344CB8AC3E}">
        <p14:creationId xmlns:p14="http://schemas.microsoft.com/office/powerpoint/2010/main" val="14992009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a:xfrm>
            <a:off x="-1" y="63426"/>
            <a:ext cx="9904413" cy="557054"/>
          </a:xfrm>
        </p:spPr>
        <p:txBody>
          <a:bodyPr/>
          <a:lstStyle/>
          <a:p>
            <a:r>
              <a:rPr lang="ja-JP" altLang="en-US" sz="2785" dirty="0"/>
              <a:t>分野別施策の基本的方向</a:t>
            </a:r>
          </a:p>
        </p:txBody>
      </p:sp>
      <p:sp>
        <p:nvSpPr>
          <p:cNvPr id="6" name="正方形/長方形 5"/>
          <p:cNvSpPr/>
          <p:nvPr/>
        </p:nvSpPr>
        <p:spPr>
          <a:xfrm>
            <a:off x="55705" y="834160"/>
            <a:ext cx="3565143" cy="3961918"/>
          </a:xfrm>
          <a:prstGeom prst="rect">
            <a:avLst/>
          </a:prstGeom>
          <a:ln>
            <a:solidFill>
              <a:schemeClr val="tx1"/>
            </a:solidFill>
          </a:ln>
        </p:spPr>
        <p:txBody>
          <a:bodyPr wrap="square" lIns="35994" rIns="35994">
            <a:spAutoFit/>
          </a:bodyPr>
          <a:lstStyle/>
          <a:p>
            <a:pPr algn="ctr" defTabSz="914265">
              <a:defRPr/>
            </a:pPr>
            <a:r>
              <a:rPr lang="ja-JP" altLang="en-US" sz="1547" b="1" dirty="0">
                <a:solidFill>
                  <a:srgbClr val="FF0000"/>
                </a:solidFill>
                <a:latin typeface="ＭＳ Ｐゴシック"/>
                <a:ea typeface="ＭＳ Ｐゴシック"/>
              </a:rPr>
              <a:t>第１章 地域の整備</a:t>
            </a:r>
            <a:endParaRPr lang="en-US" altLang="ja-JP" sz="1547" b="1" dirty="0">
              <a:solidFill>
                <a:srgbClr val="FF0000"/>
              </a:solidFill>
              <a:latin typeface="ＭＳ Ｐゴシック"/>
              <a:ea typeface="ＭＳ Ｐゴシック"/>
            </a:endParaRPr>
          </a:p>
          <a:p>
            <a:pPr marL="203889" indent="-112999" defTabSz="914265">
              <a:spcBef>
                <a:spcPts val="232"/>
              </a:spcBef>
              <a:defRPr/>
            </a:pPr>
            <a:r>
              <a:rPr lang="ja-JP" altLang="en-US" sz="1238" b="1" dirty="0">
                <a:solidFill>
                  <a:srgbClr val="000000"/>
                </a:solidFill>
                <a:latin typeface="ＭＳ Ｐゴシック"/>
                <a:ea typeface="ＭＳ Ｐゴシック"/>
              </a:rPr>
              <a:t>①地域生活圏の形成等に資する持続可能な地域づくり</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地域特性に応じた地域ビジョンの実現に向けた取組の推進、地方移住、二地域居住等の促進による地方への人の流れの創出　等</a:t>
            </a:r>
            <a:endParaRPr lang="en-US" altLang="ja-JP" sz="1006" dirty="0">
              <a:solidFill>
                <a:srgbClr val="000000"/>
              </a:solidFill>
              <a:latin typeface="ＭＳ Ｐゴシック"/>
              <a:ea typeface="ＭＳ Ｐゴシック"/>
            </a:endParaRPr>
          </a:p>
          <a:p>
            <a:pPr marL="92062" defTabSz="914265">
              <a:spcBef>
                <a:spcPts val="232"/>
              </a:spcBef>
              <a:defRPr/>
            </a:pPr>
            <a:r>
              <a:rPr lang="ja-JP" altLang="en-US" sz="1238" b="1" dirty="0">
                <a:solidFill>
                  <a:srgbClr val="000000"/>
                </a:solidFill>
                <a:latin typeface="ＭＳ Ｐゴシック"/>
                <a:ea typeface="ＭＳ Ｐゴシック"/>
              </a:rPr>
              <a:t>②人中心のコンパクトな多世代交流まちづくり</a:t>
            </a:r>
            <a:endParaRPr lang="en-US" altLang="ja-JP" sz="1238" b="1" dirty="0">
              <a:solidFill>
                <a:srgbClr val="000000"/>
              </a:solidFill>
              <a:latin typeface="ＭＳ Ｐゴシック"/>
              <a:ea typeface="ＭＳ Ｐゴシック"/>
            </a:endParaRPr>
          </a:p>
          <a:p>
            <a:pPr indent="90475" defTabSz="914265">
              <a:spcAft>
                <a:spcPts val="300"/>
              </a:spcAft>
              <a:defRPr/>
            </a:pPr>
            <a:r>
              <a:rPr lang="ja-JP" altLang="en-US" sz="1006" dirty="0">
                <a:solidFill>
                  <a:srgbClr val="000000"/>
                </a:solidFill>
                <a:latin typeface="ＭＳ Ｐゴシック"/>
                <a:ea typeface="ＭＳ Ｐゴシック"/>
              </a:rPr>
              <a:t>・都市のコンパクト化とネットワークの構築　等</a:t>
            </a:r>
            <a:endParaRPr lang="en-US" altLang="ja-JP" sz="1006" dirty="0">
              <a:solidFill>
                <a:srgbClr val="000000"/>
              </a:solidFill>
              <a:latin typeface="ＭＳ Ｐゴシック"/>
              <a:ea typeface="ＭＳ Ｐゴシック"/>
            </a:endParaRPr>
          </a:p>
          <a:p>
            <a:pPr marL="92062" defTabSz="914265">
              <a:spcBef>
                <a:spcPts val="200"/>
              </a:spcBef>
              <a:defRPr/>
            </a:pPr>
            <a:r>
              <a:rPr lang="ja-JP" altLang="en-US" sz="1238" b="1" dirty="0">
                <a:solidFill>
                  <a:srgbClr val="000000"/>
                </a:solidFill>
                <a:latin typeface="ＭＳ Ｐゴシック"/>
                <a:ea typeface="ＭＳ Ｐゴシック"/>
              </a:rPr>
              <a:t>③美しく暮らしやすい農山漁村の形成</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地域資源を活用した所得と雇用機会の確保、中山間地域等を始めとする農山漁村に人が住み続けるための条件整備　等</a:t>
            </a:r>
            <a:endParaRPr lang="en-US" altLang="ja-JP" sz="1006" dirty="0">
              <a:solidFill>
                <a:srgbClr val="000000"/>
              </a:solidFill>
              <a:latin typeface="ＭＳ Ｐゴシック"/>
              <a:ea typeface="ＭＳ Ｐゴシック"/>
            </a:endParaRPr>
          </a:p>
          <a:p>
            <a:pPr marL="92062" defTabSz="914265">
              <a:spcBef>
                <a:spcPts val="200"/>
              </a:spcBef>
              <a:defRPr/>
            </a:pPr>
            <a:r>
              <a:rPr lang="ja-JP" altLang="en-US" sz="1238" b="1" dirty="0">
                <a:solidFill>
                  <a:srgbClr val="000000"/>
                </a:solidFill>
                <a:latin typeface="ＭＳ Ｐゴシック"/>
                <a:ea typeface="ＭＳ Ｐゴシック"/>
              </a:rPr>
              <a:t>④包摂的社会の実現に向けた地域づくり</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子育て世代や高齢者など誰もが安全・安心に暮らせる環境の整備、女性、高齢者等が活躍できる社会の実現　等</a:t>
            </a:r>
            <a:endParaRPr lang="en-US" altLang="ja-JP" sz="1006" dirty="0">
              <a:solidFill>
                <a:srgbClr val="000000"/>
              </a:solidFill>
              <a:latin typeface="ＭＳ Ｐゴシック"/>
              <a:ea typeface="ＭＳ Ｐゴシック"/>
            </a:endParaRPr>
          </a:p>
          <a:p>
            <a:pPr marL="203889" indent="-112999" defTabSz="914265">
              <a:spcBef>
                <a:spcPts val="232"/>
              </a:spcBef>
              <a:defRPr/>
            </a:pPr>
            <a:r>
              <a:rPr lang="ja-JP" altLang="en-US" sz="1238" b="1" dirty="0">
                <a:solidFill>
                  <a:srgbClr val="000000"/>
                </a:solidFill>
                <a:latin typeface="ＭＳ Ｐゴシック"/>
                <a:ea typeface="ＭＳ Ｐゴシック"/>
              </a:rPr>
              <a:t>⑤住生活の質の向上及び暮らしの安全・安心の確保</a:t>
            </a:r>
            <a:endParaRPr lang="en-US" altLang="ja-JP" sz="1238" b="1" dirty="0">
              <a:solidFill>
                <a:srgbClr val="000000"/>
              </a:solidFill>
              <a:latin typeface="ＭＳ Ｐゴシック"/>
              <a:ea typeface="ＭＳ Ｐゴシック"/>
            </a:endParaRPr>
          </a:p>
          <a:p>
            <a:pPr marL="203889" indent="-112999" defTabSz="914265">
              <a:spcBef>
                <a:spcPts val="232"/>
              </a:spcBef>
              <a:defRPr/>
            </a:pPr>
            <a:r>
              <a:rPr lang="ja-JP" altLang="en-US" sz="1238" b="1" dirty="0">
                <a:solidFill>
                  <a:srgbClr val="000000"/>
                </a:solidFill>
                <a:latin typeface="ＭＳ Ｐゴシック"/>
                <a:ea typeface="ＭＳ Ｐゴシック"/>
              </a:rPr>
              <a:t>⑥我が国の成長をけん引する大都市圏等の整備</a:t>
            </a:r>
            <a:endParaRPr lang="en-US" altLang="ja-JP" sz="1238" b="1"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⑦地理的、自然的、社会的条件の厳しい地域への対応</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離島地域、豪雪地帯、山村地域、半島地域、過疎地域</a:t>
            </a:r>
          </a:p>
        </p:txBody>
      </p:sp>
      <p:sp>
        <p:nvSpPr>
          <p:cNvPr id="7" name="正方形/長方形 6"/>
          <p:cNvSpPr/>
          <p:nvPr/>
        </p:nvSpPr>
        <p:spPr>
          <a:xfrm>
            <a:off x="55705" y="4900651"/>
            <a:ext cx="3565143" cy="2640275"/>
          </a:xfrm>
          <a:prstGeom prst="rect">
            <a:avLst/>
          </a:prstGeom>
          <a:ln w="12700">
            <a:solidFill>
              <a:schemeClr val="tx1"/>
            </a:solidFill>
          </a:ln>
        </p:spPr>
        <p:txBody>
          <a:bodyPr wrap="square" lIns="35994" rIns="35994">
            <a:spAutoFit/>
          </a:bodyPr>
          <a:lstStyle/>
          <a:p>
            <a:pPr algn="ctr" defTabSz="914265">
              <a:defRPr/>
            </a:pPr>
            <a:r>
              <a:rPr lang="ja-JP" altLang="en-US" sz="1547" b="1" dirty="0">
                <a:solidFill>
                  <a:srgbClr val="FF0000"/>
                </a:solidFill>
                <a:latin typeface="ＭＳ Ｐゴシック"/>
                <a:ea typeface="ＭＳ Ｐゴシック"/>
              </a:rPr>
              <a:t>第２章 産業</a:t>
            </a:r>
            <a:endParaRPr lang="en-US" altLang="ja-JP" sz="1547" b="1" dirty="0">
              <a:solidFill>
                <a:srgbClr val="FF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①</a:t>
            </a:r>
            <a:r>
              <a:rPr lang="en-US" altLang="ja-JP" sz="1238" b="1" dirty="0">
                <a:solidFill>
                  <a:srgbClr val="000000"/>
                </a:solidFill>
                <a:latin typeface="ＭＳ Ｐゴシック"/>
                <a:ea typeface="ＭＳ Ｐゴシック"/>
              </a:rPr>
              <a:t>GX</a:t>
            </a:r>
            <a:r>
              <a:rPr lang="ja-JP" altLang="en-US" sz="1238" b="1" dirty="0">
                <a:solidFill>
                  <a:srgbClr val="000000"/>
                </a:solidFill>
                <a:latin typeface="ＭＳ Ｐゴシック"/>
                <a:ea typeface="ＭＳ Ｐゴシック"/>
              </a:rPr>
              <a:t>・</a:t>
            </a:r>
            <a:r>
              <a:rPr lang="en-US" altLang="ja-JP" sz="1238" b="1" dirty="0">
                <a:solidFill>
                  <a:srgbClr val="000000"/>
                </a:solidFill>
                <a:latin typeface="ＭＳ Ｐゴシック"/>
                <a:ea typeface="ＭＳ Ｐゴシック"/>
              </a:rPr>
              <a:t>DX </a:t>
            </a:r>
            <a:r>
              <a:rPr lang="ja-JP" altLang="en-US" sz="1238" b="1" dirty="0">
                <a:solidFill>
                  <a:srgbClr val="000000"/>
                </a:solidFill>
                <a:latin typeface="ＭＳ Ｐゴシック"/>
                <a:ea typeface="ＭＳ Ｐゴシック"/>
              </a:rPr>
              <a:t>を始めとする産業の国際競争力の強化とイノベーションを支える環境整備、科学技術を支える基盤の強化と人材の育成</a:t>
            </a:r>
            <a:endParaRPr lang="en-US" altLang="ja-JP" sz="1238" b="1"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②海外からの投資を呼び込む環境整備</a:t>
            </a:r>
            <a:endParaRPr lang="en-US" altLang="ja-JP" sz="1238" b="1"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③地域を支える活力ある産業・雇用の創出</a:t>
            </a:r>
            <a:endParaRPr lang="en-US" altLang="ja-JP" sz="1238" b="1"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④</a:t>
            </a:r>
            <a:r>
              <a:rPr lang="en-US" altLang="ja-JP" sz="1238" b="1" dirty="0">
                <a:solidFill>
                  <a:srgbClr val="000000"/>
                </a:solidFill>
                <a:latin typeface="ＭＳ Ｐゴシック"/>
                <a:ea typeface="ＭＳ Ｐゴシック"/>
              </a:rPr>
              <a:t> GX</a:t>
            </a:r>
            <a:r>
              <a:rPr lang="ja-JP" altLang="en-US" sz="1238" b="1" dirty="0">
                <a:solidFill>
                  <a:srgbClr val="000000"/>
                </a:solidFill>
                <a:latin typeface="ＭＳ Ｐゴシック"/>
                <a:ea typeface="ＭＳ Ｐゴシック"/>
              </a:rPr>
              <a:t>を先導する世界最先端の技術を活かしたエネルギー需給構造の実現</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安定的なエネルギー供給の実現、再エネの活用拡大と分散型エネルギーシステムの構築、水素社会の実現　等</a:t>
            </a:r>
            <a:endParaRPr lang="en-US" altLang="ja-JP" sz="1006"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⑤食料等の安定供給と農林水産業の成長産業化</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食料の安定供給と食料安全保障の確立、農業・食品産業の成長産業化の促進と農業の持続的な発展　等	</a:t>
            </a:r>
          </a:p>
        </p:txBody>
      </p:sp>
      <p:sp>
        <p:nvSpPr>
          <p:cNvPr id="8" name="正方形/長方形 7"/>
          <p:cNvSpPr/>
          <p:nvPr/>
        </p:nvSpPr>
        <p:spPr>
          <a:xfrm>
            <a:off x="3704406" y="2338204"/>
            <a:ext cx="3398027" cy="2222596"/>
          </a:xfrm>
          <a:prstGeom prst="rect">
            <a:avLst/>
          </a:prstGeom>
          <a:ln>
            <a:solidFill>
              <a:schemeClr val="tx1"/>
            </a:solidFill>
          </a:ln>
        </p:spPr>
        <p:txBody>
          <a:bodyPr wrap="square" lIns="35994" rIns="35994">
            <a:spAutoFit/>
          </a:bodyPr>
          <a:lstStyle/>
          <a:p>
            <a:pPr marL="447609" indent="-447609" algn="ctr" defTabSz="914265">
              <a:defRPr/>
            </a:pPr>
            <a:r>
              <a:rPr lang="ja-JP" altLang="en-US" sz="1547" b="1" dirty="0">
                <a:solidFill>
                  <a:srgbClr val="FF0000"/>
                </a:solidFill>
                <a:latin typeface="ＭＳ Ｐゴシック"/>
                <a:ea typeface="ＭＳ Ｐゴシック"/>
              </a:rPr>
              <a:t>第４章 交通体系、情報通信体系及び</a:t>
            </a:r>
            <a:endParaRPr lang="en-US" altLang="ja-JP" sz="1547" b="1" dirty="0">
              <a:solidFill>
                <a:srgbClr val="FF0000"/>
              </a:solidFill>
              <a:latin typeface="ＭＳ Ｐゴシック"/>
              <a:ea typeface="ＭＳ Ｐゴシック"/>
            </a:endParaRPr>
          </a:p>
          <a:p>
            <a:pPr marL="447609" indent="-447609" algn="ctr" defTabSz="914265">
              <a:defRPr/>
            </a:pPr>
            <a:r>
              <a:rPr lang="ja-JP" altLang="en-US" sz="1547" b="1" dirty="0">
                <a:solidFill>
                  <a:srgbClr val="FF0000"/>
                </a:solidFill>
                <a:latin typeface="ＭＳ Ｐゴシック"/>
                <a:ea typeface="ＭＳ Ｐゴシック"/>
              </a:rPr>
              <a:t>エネルギーインフラの高質化</a:t>
            </a:r>
            <a:endParaRPr lang="en-US" altLang="ja-JP" sz="1547" b="1" dirty="0">
              <a:solidFill>
                <a:srgbClr val="FF0000"/>
              </a:solidFill>
              <a:latin typeface="ＭＳ Ｐゴシック"/>
              <a:ea typeface="ＭＳ Ｐゴシック"/>
            </a:endParaRPr>
          </a:p>
          <a:p>
            <a:pPr marL="92062" defTabSz="914265">
              <a:spcBef>
                <a:spcPts val="232"/>
              </a:spcBef>
              <a:defRPr/>
            </a:pPr>
            <a:r>
              <a:rPr lang="ja-JP" altLang="en-US" sz="1238" b="1" dirty="0">
                <a:solidFill>
                  <a:srgbClr val="000000"/>
                </a:solidFill>
                <a:latin typeface="ＭＳ Ｐゴシック"/>
                <a:ea typeface="ＭＳ Ｐゴシック"/>
              </a:rPr>
              <a:t>①シームレスな総合交通体系の高質化</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国際交通拠点の競争力強化、全国各地とアジアとの交流の拡大、国内幹線交通体系の高質化　等</a:t>
            </a:r>
            <a:endParaRPr lang="en-US" altLang="ja-JP" sz="1006" dirty="0">
              <a:solidFill>
                <a:srgbClr val="000000"/>
              </a:solidFill>
              <a:latin typeface="ＭＳ Ｐゴシック"/>
              <a:ea typeface="ＭＳ Ｐゴシック"/>
            </a:endParaRPr>
          </a:p>
          <a:p>
            <a:pPr marL="92062" defTabSz="914265">
              <a:spcBef>
                <a:spcPts val="232"/>
              </a:spcBef>
              <a:defRPr/>
            </a:pPr>
            <a:r>
              <a:rPr lang="ja-JP" altLang="en-US" sz="1238" b="1" dirty="0">
                <a:solidFill>
                  <a:srgbClr val="000000"/>
                </a:solidFill>
                <a:latin typeface="ＭＳ Ｐゴシック"/>
                <a:ea typeface="ＭＳ Ｐゴシック"/>
              </a:rPr>
              <a:t>②情報通信体系の構築</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デジタルインフラの整備・運用、ＩＣＴ・データ利活用の促進　等</a:t>
            </a:r>
            <a:endParaRPr lang="en-US" altLang="ja-JP" sz="1006" dirty="0">
              <a:solidFill>
                <a:srgbClr val="000000"/>
              </a:solidFill>
              <a:latin typeface="ＭＳ Ｐゴシック"/>
              <a:ea typeface="ＭＳ Ｐゴシック"/>
            </a:endParaRPr>
          </a:p>
          <a:p>
            <a:pPr marL="92062" defTabSz="914265">
              <a:spcBef>
                <a:spcPts val="232"/>
              </a:spcBef>
              <a:defRPr/>
            </a:pPr>
            <a:r>
              <a:rPr lang="ja-JP" altLang="en-US" sz="1238" b="1" dirty="0">
                <a:solidFill>
                  <a:srgbClr val="000000"/>
                </a:solidFill>
                <a:latin typeface="ＭＳ Ｐゴシック"/>
                <a:ea typeface="ＭＳ Ｐゴシック"/>
              </a:rPr>
              <a:t>③エネルギーインフラの高質化</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エネルギーネットワークの充実、水素社会の実現に向けたインフラ整備　等</a:t>
            </a:r>
          </a:p>
        </p:txBody>
      </p:sp>
      <p:sp>
        <p:nvSpPr>
          <p:cNvPr id="9" name="正方形/長方形 8"/>
          <p:cNvSpPr/>
          <p:nvPr/>
        </p:nvSpPr>
        <p:spPr>
          <a:xfrm>
            <a:off x="3704406" y="4622124"/>
            <a:ext cx="3398027" cy="2897653"/>
          </a:xfrm>
          <a:prstGeom prst="rect">
            <a:avLst/>
          </a:prstGeom>
          <a:ln>
            <a:solidFill>
              <a:schemeClr val="tx1"/>
            </a:solidFill>
          </a:ln>
        </p:spPr>
        <p:txBody>
          <a:bodyPr wrap="square" lIns="35994" rIns="35994">
            <a:spAutoFit/>
          </a:bodyPr>
          <a:lstStyle/>
          <a:p>
            <a:pPr marL="447609" indent="-447609" algn="ctr" defTabSz="914265">
              <a:defRPr/>
            </a:pPr>
            <a:r>
              <a:rPr lang="ja-JP" altLang="en-US" sz="1547" b="1" dirty="0">
                <a:solidFill>
                  <a:srgbClr val="FF0000"/>
                </a:solidFill>
                <a:latin typeface="ＭＳ Ｐゴシック"/>
                <a:ea typeface="ＭＳ Ｐゴシック"/>
              </a:rPr>
              <a:t>第５章 防災・減災、国土強靱化</a:t>
            </a:r>
            <a:endParaRPr lang="en-US" altLang="ja-JP" sz="1547" b="1" dirty="0">
              <a:solidFill>
                <a:srgbClr val="FF0000"/>
              </a:solidFill>
              <a:latin typeface="ＭＳ Ｐゴシック"/>
              <a:ea typeface="ＭＳ Ｐゴシック"/>
            </a:endParaRPr>
          </a:p>
          <a:p>
            <a:pPr marL="92062" defTabSz="914265">
              <a:spcBef>
                <a:spcPts val="232"/>
              </a:spcBef>
              <a:defRPr/>
            </a:pPr>
            <a:r>
              <a:rPr lang="ja-JP" altLang="en-US" sz="1238" b="1" dirty="0">
                <a:solidFill>
                  <a:srgbClr val="000000"/>
                </a:solidFill>
                <a:latin typeface="ＭＳ Ｐゴシック"/>
                <a:ea typeface="ＭＳ Ｐゴシック"/>
              </a:rPr>
              <a:t>①適切な施策の組合せと効率的な対策の推進</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防災・減災に資する施設の整備、土地利用の推進　等</a:t>
            </a:r>
            <a:endParaRPr lang="en-US" altLang="ja-JP" sz="1006" dirty="0">
              <a:solidFill>
                <a:srgbClr val="000000"/>
              </a:solidFill>
              <a:latin typeface="ＭＳ Ｐゴシック"/>
              <a:ea typeface="ＭＳ Ｐゴシック"/>
            </a:endParaRPr>
          </a:p>
          <a:p>
            <a:pPr marL="92062" defTabSz="914265">
              <a:spcBef>
                <a:spcPts val="232"/>
              </a:spcBef>
              <a:defRPr/>
            </a:pPr>
            <a:r>
              <a:rPr lang="ja-JP" altLang="en-US" sz="1238" b="1" dirty="0">
                <a:solidFill>
                  <a:srgbClr val="000000"/>
                </a:solidFill>
                <a:latin typeface="ＭＳ Ｐゴシック"/>
                <a:ea typeface="ＭＳ Ｐゴシック"/>
              </a:rPr>
              <a:t>②都市の防災・減災対策の強力な推進</a:t>
            </a:r>
            <a:endParaRPr lang="en-US" altLang="ja-JP" sz="1238" b="1" dirty="0">
              <a:solidFill>
                <a:srgbClr val="000000"/>
              </a:solidFill>
              <a:latin typeface="ＭＳ Ｐゴシック"/>
              <a:ea typeface="ＭＳ Ｐゴシック"/>
            </a:endParaRPr>
          </a:p>
          <a:p>
            <a:pPr marL="92062" defTabSz="914265">
              <a:spcBef>
                <a:spcPts val="232"/>
              </a:spcBef>
              <a:defRPr/>
            </a:pPr>
            <a:r>
              <a:rPr lang="ja-JP" altLang="en-US" sz="1238" b="1" dirty="0">
                <a:solidFill>
                  <a:srgbClr val="000000"/>
                </a:solidFill>
                <a:latin typeface="ＭＳ Ｐゴシック"/>
                <a:ea typeface="ＭＳ Ｐゴシック"/>
              </a:rPr>
              <a:t>③安全な農山漁村の実現</a:t>
            </a:r>
            <a:endParaRPr lang="en-US" altLang="ja-JP" sz="1238" b="1"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④諸機能及びネットワークの多重性・代替性確保等による災害に強い国土構造の構築</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中枢管理機能等のバックアップ等、交通・物流ネットワークの強靱化、エネルギー・産業の強靱化</a:t>
            </a:r>
            <a:endParaRPr lang="en-US" altLang="ja-JP" sz="1006"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⑤戦略的メンテナンスによる国土基盤の持続的な機能発揮</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予防保全型メンテナンスへの本格転換、広域的・戦略的なマネジメント　等</a:t>
            </a:r>
            <a:endParaRPr lang="en-US" altLang="ja-JP" sz="1006"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⑥自助、共助とそれらを支える公助の強化</a:t>
            </a:r>
            <a:endParaRPr lang="en-US" altLang="ja-JP" sz="1238" b="1" dirty="0">
              <a:solidFill>
                <a:srgbClr val="000000"/>
              </a:solidFill>
              <a:latin typeface="ＭＳ Ｐゴシック"/>
              <a:ea typeface="ＭＳ Ｐゴシック"/>
            </a:endParaRPr>
          </a:p>
        </p:txBody>
      </p:sp>
      <p:sp>
        <p:nvSpPr>
          <p:cNvPr id="10" name="正方形/長方形 9"/>
          <p:cNvSpPr/>
          <p:nvPr/>
        </p:nvSpPr>
        <p:spPr>
          <a:xfrm>
            <a:off x="7185991" y="834159"/>
            <a:ext cx="2646004" cy="3286862"/>
          </a:xfrm>
          <a:prstGeom prst="rect">
            <a:avLst/>
          </a:prstGeom>
          <a:ln w="12700">
            <a:solidFill>
              <a:schemeClr val="tx1"/>
            </a:solidFill>
          </a:ln>
        </p:spPr>
        <p:txBody>
          <a:bodyPr wrap="square" lIns="35994" rIns="0">
            <a:spAutoFit/>
          </a:bodyPr>
          <a:lstStyle/>
          <a:p>
            <a:pPr marL="447609" indent="-447609" algn="ctr" defTabSz="914265">
              <a:defRPr/>
            </a:pPr>
            <a:r>
              <a:rPr lang="ja-JP" altLang="en-US" sz="1547" b="1" dirty="0">
                <a:solidFill>
                  <a:srgbClr val="FF0000"/>
                </a:solidFill>
                <a:latin typeface="ＭＳ Ｐゴシック"/>
                <a:ea typeface="ＭＳ Ｐゴシック"/>
              </a:rPr>
              <a:t>第６章 国土資源及び</a:t>
            </a:r>
            <a:endParaRPr lang="en-US" altLang="ja-JP" sz="1547" b="1" dirty="0">
              <a:solidFill>
                <a:srgbClr val="FF0000"/>
              </a:solidFill>
              <a:latin typeface="ＭＳ Ｐゴシック"/>
              <a:ea typeface="ＭＳ Ｐゴシック"/>
            </a:endParaRPr>
          </a:p>
          <a:p>
            <a:pPr marL="447609" indent="-447609" algn="ctr" defTabSz="914265">
              <a:defRPr/>
            </a:pPr>
            <a:r>
              <a:rPr lang="ja-JP" altLang="en-US" sz="1547" b="1" dirty="0">
                <a:solidFill>
                  <a:srgbClr val="FF0000"/>
                </a:solidFill>
                <a:latin typeface="ＭＳ Ｐゴシック"/>
                <a:ea typeface="ＭＳ Ｐゴシック"/>
              </a:rPr>
              <a:t>海域の利用と保全</a:t>
            </a:r>
            <a:endParaRPr lang="en-US" altLang="ja-JP" sz="1547" b="1" dirty="0">
              <a:solidFill>
                <a:srgbClr val="FF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①農地等の利用の増進</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農業の担い手への農地集積・集約化と農地の確保　等</a:t>
            </a:r>
            <a:endParaRPr lang="en-US" altLang="ja-JP" sz="1006"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②次世代に引き継ぐ多様で健全な森林</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多様で健全な森林の整備及び保全の推進 等</a:t>
            </a:r>
            <a:endParaRPr lang="en-US" altLang="ja-JP" sz="1006"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③健全な水循環の維持又は回復等</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流域の総合的かつ一体的な管理の推進、地下水の適正な保全及び利用　等 </a:t>
            </a:r>
            <a:endParaRPr lang="en-US" altLang="ja-JP" sz="1006"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④海洋・海域の保全と利活用</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0" dirty="0">
                <a:solidFill>
                  <a:srgbClr val="000000"/>
                </a:solidFill>
                <a:latin typeface="ＭＳ Ｐゴシック"/>
                <a:ea typeface="ＭＳ Ｐゴシック"/>
              </a:rPr>
              <a:t>・海洋権益の保全及び海洋資源・海洋再エネ</a:t>
            </a:r>
            <a:r>
              <a:rPr lang="ja-JP" altLang="en-US" sz="1006" dirty="0">
                <a:solidFill>
                  <a:srgbClr val="000000"/>
                </a:solidFill>
                <a:latin typeface="ＭＳ Ｐゴシック"/>
                <a:ea typeface="ＭＳ Ｐゴシック"/>
              </a:rPr>
              <a:t>の開発等の利活用の推進、陸域と一体となった自然環境の保全・再生、離島の適切な保全・管理と領土・領海及び排他的経済水域等の確保・開発等　等</a:t>
            </a:r>
            <a:endParaRPr lang="en-US" altLang="ja-JP" sz="1006" dirty="0">
              <a:solidFill>
                <a:srgbClr val="000000"/>
              </a:solidFill>
              <a:latin typeface="ＭＳ Ｐゴシック"/>
              <a:ea typeface="ＭＳ Ｐゴシック"/>
            </a:endParaRPr>
          </a:p>
        </p:txBody>
      </p:sp>
      <p:sp>
        <p:nvSpPr>
          <p:cNvPr id="11" name="正方形/長方形 10"/>
          <p:cNvSpPr/>
          <p:nvPr/>
        </p:nvSpPr>
        <p:spPr>
          <a:xfrm>
            <a:off x="3704406" y="834160"/>
            <a:ext cx="3398027" cy="1456040"/>
          </a:xfrm>
          <a:prstGeom prst="rect">
            <a:avLst/>
          </a:prstGeom>
          <a:ln>
            <a:solidFill>
              <a:schemeClr val="tx1"/>
            </a:solidFill>
          </a:ln>
        </p:spPr>
        <p:txBody>
          <a:bodyPr wrap="square" lIns="35994" rIns="35994">
            <a:spAutoFit/>
          </a:bodyPr>
          <a:lstStyle/>
          <a:p>
            <a:pPr algn="ctr" defTabSz="914265">
              <a:defRPr/>
            </a:pPr>
            <a:r>
              <a:rPr lang="ja-JP" altLang="en-US" sz="1547" b="1" dirty="0">
                <a:solidFill>
                  <a:srgbClr val="FF0000"/>
                </a:solidFill>
                <a:latin typeface="ＭＳ Ｐゴシック"/>
                <a:ea typeface="ＭＳ Ｐゴシック"/>
              </a:rPr>
              <a:t>第３章 文化・スポーツ及び観光</a:t>
            </a:r>
            <a:endParaRPr lang="en-US" altLang="ja-JP" sz="1547" b="1" dirty="0">
              <a:solidFill>
                <a:srgbClr val="FF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①文化・スポーツが育む豊かで活力ある地域社会</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個性豊かな地域文化の保存、継承、創造、活用等 等</a:t>
            </a:r>
            <a:endParaRPr lang="en-US" altLang="ja-JP" sz="1006" dirty="0">
              <a:solidFill>
                <a:srgbClr val="000000"/>
              </a:solidFill>
              <a:latin typeface="ＭＳ Ｐゴシック"/>
              <a:ea typeface="ＭＳ Ｐゴシック"/>
            </a:endParaRPr>
          </a:p>
          <a:p>
            <a:pPr marL="92062" defTabSz="914265">
              <a:spcBef>
                <a:spcPts val="232"/>
              </a:spcBef>
              <a:defRPr/>
            </a:pPr>
            <a:r>
              <a:rPr lang="ja-JP" altLang="en-US" sz="1238" b="1" dirty="0">
                <a:solidFill>
                  <a:srgbClr val="000000"/>
                </a:solidFill>
                <a:latin typeface="ＭＳ Ｐゴシック"/>
                <a:ea typeface="ＭＳ Ｐゴシック"/>
              </a:rPr>
              <a:t>②観光振興による地域の活性化</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持続可能な観光地域づくり、消費額拡大・地方誘客促進を重視したインバウンドの推進　等</a:t>
            </a:r>
            <a:endParaRPr lang="en-US" altLang="ja-JP" sz="1006" dirty="0">
              <a:solidFill>
                <a:srgbClr val="000000"/>
              </a:solidFill>
              <a:latin typeface="ＭＳ Ｐゴシック"/>
              <a:ea typeface="ＭＳ Ｐゴシック"/>
            </a:endParaRPr>
          </a:p>
        </p:txBody>
      </p:sp>
      <p:sp>
        <p:nvSpPr>
          <p:cNvPr id="12" name="正方形/長方形 11"/>
          <p:cNvSpPr/>
          <p:nvPr/>
        </p:nvSpPr>
        <p:spPr>
          <a:xfrm>
            <a:off x="7185991" y="4204334"/>
            <a:ext cx="2646004" cy="2711704"/>
          </a:xfrm>
          <a:prstGeom prst="rect">
            <a:avLst/>
          </a:prstGeom>
          <a:ln>
            <a:solidFill>
              <a:schemeClr val="tx1"/>
            </a:solidFill>
          </a:ln>
        </p:spPr>
        <p:txBody>
          <a:bodyPr wrap="square" lIns="35994" rIns="35994">
            <a:spAutoFit/>
          </a:bodyPr>
          <a:lstStyle/>
          <a:p>
            <a:pPr marL="447609" indent="-447609" algn="ctr" defTabSz="914265">
              <a:defRPr/>
            </a:pPr>
            <a:r>
              <a:rPr lang="ja-JP" altLang="en-US" sz="1547" b="1" dirty="0">
                <a:solidFill>
                  <a:srgbClr val="FF0000"/>
                </a:solidFill>
                <a:latin typeface="ＭＳ Ｐゴシック"/>
                <a:ea typeface="ＭＳ Ｐゴシック"/>
              </a:rPr>
              <a:t>第７章 環境保全及び景観形成</a:t>
            </a:r>
            <a:endParaRPr lang="en-US" altLang="ja-JP" sz="1547" b="1" dirty="0">
              <a:solidFill>
                <a:srgbClr val="FF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①生物多様性の確保及び自然環境の保全・再生・活用</a:t>
            </a:r>
            <a:endParaRPr lang="en-US" altLang="ja-JP" sz="1238" b="1" dirty="0">
              <a:solidFill>
                <a:srgbClr val="000000"/>
              </a:solidFill>
              <a:latin typeface="ＭＳ Ｐゴシック"/>
              <a:ea typeface="ＭＳ Ｐゴシック"/>
            </a:endParaRPr>
          </a:p>
          <a:p>
            <a:pPr marL="177774" indent="-85712" defTabSz="914265">
              <a:spcAft>
                <a:spcPts val="300"/>
              </a:spcAft>
              <a:defRPr/>
            </a:pPr>
            <a:r>
              <a:rPr lang="ja-JP" altLang="en-US" sz="1006" dirty="0">
                <a:solidFill>
                  <a:srgbClr val="000000"/>
                </a:solidFill>
                <a:latin typeface="ＭＳ Ｐゴシック"/>
                <a:ea typeface="ＭＳ Ｐゴシック"/>
              </a:rPr>
              <a:t>・</a:t>
            </a:r>
            <a:r>
              <a:rPr lang="en-US" altLang="ja-JP" sz="1006" dirty="0">
                <a:solidFill>
                  <a:srgbClr val="000000"/>
                </a:solidFill>
                <a:latin typeface="ＭＳ Ｐゴシック"/>
                <a:ea typeface="ＭＳ Ｐゴシック"/>
              </a:rPr>
              <a:t>30by30</a:t>
            </a:r>
            <a:r>
              <a:rPr lang="ja-JP" altLang="en-US" sz="1006" dirty="0">
                <a:solidFill>
                  <a:srgbClr val="000000"/>
                </a:solidFill>
                <a:latin typeface="ＭＳ Ｐゴシック"/>
                <a:ea typeface="ＭＳ Ｐゴシック"/>
              </a:rPr>
              <a:t>目標等を踏まえた自然環境の保全・再生・活用　等</a:t>
            </a:r>
            <a:endParaRPr lang="en-US" altLang="ja-JP" sz="1006"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②物質循環の確保と循環型社会の形成</a:t>
            </a:r>
            <a:endParaRPr lang="en-US" altLang="ja-JP" sz="1238" b="1"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③地球温暖化の緩和と適応に向けた取組、地球環境問題への対応</a:t>
            </a:r>
            <a:endParaRPr lang="en-US" altLang="ja-JP" sz="1238" b="1"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④大気環境の保全、土壌汚染対策の推進等</a:t>
            </a:r>
            <a:endParaRPr lang="en-US" altLang="ja-JP" sz="1238" b="1" dirty="0">
              <a:solidFill>
                <a:srgbClr val="000000"/>
              </a:solidFill>
              <a:latin typeface="ＭＳ Ｐゴシック"/>
              <a:ea typeface="ＭＳ Ｐゴシック"/>
            </a:endParaRPr>
          </a:p>
          <a:p>
            <a:pPr marL="203889" indent="-112999" defTabSz="914265">
              <a:spcBef>
                <a:spcPts val="232"/>
              </a:spcBef>
              <a:tabLst>
                <a:tab pos="447609" algn="l"/>
              </a:tabLst>
              <a:defRPr/>
            </a:pPr>
            <a:r>
              <a:rPr lang="ja-JP" altLang="en-US" sz="1238" b="1" dirty="0">
                <a:solidFill>
                  <a:srgbClr val="000000"/>
                </a:solidFill>
                <a:latin typeface="ＭＳ Ｐゴシック"/>
                <a:ea typeface="ＭＳ Ｐゴシック"/>
              </a:rPr>
              <a:t>⑤美しい景観、魅力ある空間の保全、創出と活用</a:t>
            </a:r>
            <a:endParaRPr lang="en-US" altLang="ja-JP" sz="1238" b="1" dirty="0">
              <a:solidFill>
                <a:srgbClr val="000000"/>
              </a:solidFill>
              <a:latin typeface="ＭＳ Ｐゴシック"/>
              <a:ea typeface="ＭＳ Ｐゴシック"/>
            </a:endParaRPr>
          </a:p>
        </p:txBody>
      </p:sp>
      <p:sp>
        <p:nvSpPr>
          <p:cNvPr id="2" name="フッター プレースホルダー 1">
            <a:extLst>
              <a:ext uri="{FF2B5EF4-FFF2-40B4-BE49-F238E27FC236}">
                <a16:creationId xmlns:a16="http://schemas.microsoft.com/office/drawing/2014/main" id="{1A1E1058-8C29-DE2E-06E0-AB0F7E9AFCFA}"/>
              </a:ext>
            </a:extLst>
          </p:cNvPr>
          <p:cNvSpPr>
            <a:spLocks noGrp="1"/>
          </p:cNvSpPr>
          <p:nvPr>
            <p:ph type="ftr" sz="quarter" idx="11"/>
          </p:nvPr>
        </p:nvSpPr>
        <p:spPr/>
        <p:txBody>
          <a:bodyPr/>
          <a:lstStyle/>
          <a:p>
            <a:pPr>
              <a:defRPr/>
            </a:pPr>
            <a:endParaRPr lang="en-US" altLang="ja-JP"/>
          </a:p>
        </p:txBody>
      </p:sp>
      <p:sp>
        <p:nvSpPr>
          <p:cNvPr id="3" name="スライド番号プレースホルダー 2">
            <a:extLst>
              <a:ext uri="{FF2B5EF4-FFF2-40B4-BE49-F238E27FC236}">
                <a16:creationId xmlns:a16="http://schemas.microsoft.com/office/drawing/2014/main" id="{E0EA8EDE-84C4-B946-3FA6-1EC8D75E43F0}"/>
              </a:ext>
            </a:extLst>
          </p:cNvPr>
          <p:cNvSpPr>
            <a:spLocks noGrp="1"/>
          </p:cNvSpPr>
          <p:nvPr>
            <p:ph type="sldNum" sz="quarter" idx="12"/>
          </p:nvPr>
        </p:nvSpPr>
        <p:spPr/>
        <p:txBody>
          <a:bodyPr/>
          <a:lstStyle/>
          <a:p>
            <a:pPr>
              <a:defRPr/>
            </a:pPr>
            <a:fld id="{9C66F1FC-77AF-4AA3-AB67-8C31B36199A9}" type="slidenum">
              <a:rPr lang="en-US" altLang="ja-JP" smtClean="0"/>
              <a:pPr>
                <a:defRPr/>
              </a:pPr>
              <a:t>18</a:t>
            </a:fld>
            <a:endParaRPr lang="en-US" altLang="ja-JP"/>
          </a:p>
        </p:txBody>
      </p:sp>
    </p:spTree>
    <p:extLst>
      <p:ext uri="{BB962C8B-B14F-4D97-AF65-F5344CB8AC3E}">
        <p14:creationId xmlns:p14="http://schemas.microsoft.com/office/powerpoint/2010/main" val="21648580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576000" y="1260000"/>
            <a:ext cx="9000000" cy="5760000"/>
          </a:xfrm>
        </p:spPr>
        <p:txBody>
          <a:bodyPr/>
          <a:lstStyle/>
          <a:p>
            <a:pPr marL="0" indent="0">
              <a:buNone/>
            </a:pPr>
            <a:r>
              <a:rPr lang="ja-JP" altLang="en-US" dirty="0"/>
              <a:t>１　国土交通省における山村振興関係予算</a:t>
            </a:r>
            <a:endParaRPr lang="en-US" altLang="ja-JP" dirty="0"/>
          </a:p>
          <a:p>
            <a:pPr marL="0" indent="0">
              <a:buNone/>
            </a:pPr>
            <a:endParaRPr lang="en-US" altLang="ja-JP" sz="1800" dirty="0"/>
          </a:p>
          <a:p>
            <a:pPr marL="0" indent="0">
              <a:buNone/>
            </a:pPr>
            <a:r>
              <a:rPr lang="ja-JP" altLang="en-US" dirty="0"/>
              <a:t>２　</a:t>
            </a:r>
            <a:r>
              <a:rPr kumimoji="1" lang="ja-JP" altLang="en-US" dirty="0"/>
              <a:t>国土形成計画（全国計画）について</a:t>
            </a:r>
            <a:endParaRPr kumimoji="1" lang="en-US" altLang="ja-JP" dirty="0"/>
          </a:p>
          <a:p>
            <a:pPr marL="0" indent="0">
              <a:buNone/>
            </a:pPr>
            <a:endParaRPr kumimoji="1" lang="en-US" altLang="ja-JP" sz="1800" dirty="0"/>
          </a:p>
          <a:p>
            <a:pPr marL="0" indent="0">
              <a:buNone/>
            </a:pPr>
            <a:r>
              <a:rPr lang="ja-JP" altLang="en-US" dirty="0"/>
              <a:t>３　小さな拠点の取組について</a:t>
            </a:r>
            <a:endParaRPr lang="en-US" altLang="ja-JP" dirty="0"/>
          </a:p>
          <a:p>
            <a:pPr marL="0" indent="0">
              <a:buNone/>
            </a:pPr>
            <a:endParaRPr lang="en-US" altLang="ja-JP" sz="1800" dirty="0"/>
          </a:p>
          <a:p>
            <a:pPr marL="0" indent="0">
              <a:buNone/>
            </a:pPr>
            <a:r>
              <a:rPr lang="ja-JP" altLang="en-US" dirty="0">
                <a:latin typeface="+mn-ea"/>
              </a:rPr>
              <a:t>４　二地域居住等の促進について</a:t>
            </a:r>
            <a:endParaRPr lang="en-US" altLang="ja-JP" dirty="0">
              <a:latin typeface="+mn-ea"/>
            </a:endParaRPr>
          </a:p>
          <a:p>
            <a:pPr marL="0" indent="0">
              <a:buNone/>
            </a:pPr>
            <a:endParaRPr lang="en-US" altLang="ja-JP" sz="1800" dirty="0"/>
          </a:p>
          <a:p>
            <a:pPr marL="0" indent="0">
              <a:buNone/>
            </a:pPr>
            <a:r>
              <a:rPr lang="ja-JP" altLang="en-US" dirty="0"/>
              <a:t>５　その他の山村振興施策について</a:t>
            </a:r>
            <a:endParaRPr lang="en-US" altLang="ja-JP" dirty="0"/>
          </a:p>
          <a:p>
            <a:pPr marL="0" indent="0">
              <a:buNone/>
            </a:pPr>
            <a:r>
              <a:rPr lang="ja-JP" altLang="en-US" sz="3200" dirty="0">
                <a:latin typeface="+mn-ea"/>
              </a:rPr>
              <a:t>　　・　共助による除排雪体制の整備</a:t>
            </a:r>
            <a:endParaRPr lang="en-US" altLang="ja-JP" sz="3200" dirty="0">
              <a:latin typeface="+mn-ea"/>
            </a:endParaRPr>
          </a:p>
        </p:txBody>
      </p:sp>
      <p:sp>
        <p:nvSpPr>
          <p:cNvPr id="5" name="Rectangle 19"/>
          <p:cNvSpPr>
            <a:spLocks noChangeArrowheads="1"/>
          </p:cNvSpPr>
          <p:nvPr/>
        </p:nvSpPr>
        <p:spPr bwMode="auto">
          <a:xfrm>
            <a:off x="0" y="0"/>
            <a:ext cx="9802456" cy="495474"/>
          </a:xfrm>
          <a:prstGeom prst="rect">
            <a:avLst/>
          </a:prstGeom>
          <a:noFill/>
          <a:ln w="9525">
            <a:noFill/>
            <a:miter lim="800000"/>
            <a:headEnd/>
            <a:tailEnd/>
          </a:ln>
          <a:effectLst/>
        </p:spPr>
        <p:txBody>
          <a:bodyPr wrap="none" anchor="ctr"/>
          <a:lstStyle/>
          <a:p>
            <a:pPr>
              <a:defRPr/>
            </a:pPr>
            <a:r>
              <a:rPr lang="ja-JP" altLang="en-US" sz="2400" dirty="0">
                <a:solidFill>
                  <a:schemeClr val="accent6"/>
                </a:solidFill>
                <a:latin typeface="ＤＦ特太ゴシック体" panose="020B0509000000000000" pitchFamily="49" charset="-128"/>
                <a:ea typeface="ＤＦ特太ゴシック体" panose="020B0509000000000000" pitchFamily="49" charset="-128"/>
              </a:rPr>
              <a:t>目次</a:t>
            </a:r>
          </a:p>
        </p:txBody>
      </p:sp>
      <p:sp>
        <p:nvSpPr>
          <p:cNvPr id="4" name="正方形/長方形 3">
            <a:extLst>
              <a:ext uri="{FF2B5EF4-FFF2-40B4-BE49-F238E27FC236}">
                <a16:creationId xmlns:a16="http://schemas.microsoft.com/office/drawing/2014/main" id="{9B88188E-7A25-8F41-2810-9BEA5D0A31DE}"/>
              </a:ext>
            </a:extLst>
          </p:cNvPr>
          <p:cNvSpPr/>
          <p:nvPr/>
        </p:nvSpPr>
        <p:spPr>
          <a:xfrm>
            <a:off x="10064774" y="3375794"/>
            <a:ext cx="1872208" cy="598220"/>
          </a:xfrm>
          <a:prstGeom prst="rect">
            <a:avLst/>
          </a:prstGeom>
          <a:solidFill>
            <a:srgbClr val="FF66CC"/>
          </a:solidFill>
        </p:spPr>
        <p:style>
          <a:lnRef idx="0">
            <a:schemeClr val="accent2"/>
          </a:lnRef>
          <a:fillRef idx="3">
            <a:schemeClr val="accent2"/>
          </a:fillRef>
          <a:effectRef idx="3">
            <a:schemeClr val="accent2"/>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846" b="1" i="0" u="none" strike="noStrike" kern="1200" cap="none" spc="0" normalizeH="0" baseline="0" noProof="0" dirty="0">
                <a:ln>
                  <a:noFill/>
                </a:ln>
                <a:solidFill>
                  <a:srgbClr val="FFFFFF"/>
                </a:solidFill>
                <a:effectLst/>
                <a:uLnTx/>
                <a:uFillTx/>
                <a:latin typeface="Arial"/>
                <a:ea typeface="ＭＳ Ｐゴシック"/>
                <a:cs typeface="+mn-cs"/>
              </a:rPr>
              <a:t>３と４の順を</a:t>
            </a:r>
            <a:endParaRPr kumimoji="1" lang="en-US" altLang="ja-JP" sz="1846" b="1"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1846" b="1" i="0" u="none" strike="noStrike" kern="1200" cap="none" spc="0" normalizeH="0" baseline="0" noProof="0" dirty="0">
                <a:ln>
                  <a:noFill/>
                </a:ln>
                <a:solidFill>
                  <a:srgbClr val="FFFFFF"/>
                </a:solidFill>
                <a:effectLst/>
                <a:uLnTx/>
                <a:uFillTx/>
                <a:latin typeface="Arial"/>
                <a:ea typeface="ＭＳ Ｐゴシック"/>
                <a:cs typeface="+mn-cs"/>
              </a:rPr>
              <a:t>入れ替える？</a:t>
            </a:r>
          </a:p>
        </p:txBody>
      </p:sp>
      <p:sp>
        <p:nvSpPr>
          <p:cNvPr id="2" name="フッター プレースホルダー 1">
            <a:extLst>
              <a:ext uri="{FF2B5EF4-FFF2-40B4-BE49-F238E27FC236}">
                <a16:creationId xmlns:a16="http://schemas.microsoft.com/office/drawing/2014/main" id="{2A9789C6-7E39-911B-D1E5-EC4068FE20B4}"/>
              </a:ext>
            </a:extLst>
          </p:cNvPr>
          <p:cNvSpPr>
            <a:spLocks noGrp="1"/>
          </p:cNvSpPr>
          <p:nvPr>
            <p:ph type="ftr" sz="quarter" idx="11"/>
          </p:nvPr>
        </p:nvSpPr>
        <p:spPr/>
        <p:txBody>
          <a:bodyPr/>
          <a:lstStyle/>
          <a:p>
            <a:pPr>
              <a:defRPr/>
            </a:pPr>
            <a:endParaRPr lang="en-US" altLang="ja-JP"/>
          </a:p>
        </p:txBody>
      </p:sp>
      <p:sp>
        <p:nvSpPr>
          <p:cNvPr id="6" name="スライド番号プレースホルダー 5">
            <a:extLst>
              <a:ext uri="{FF2B5EF4-FFF2-40B4-BE49-F238E27FC236}">
                <a16:creationId xmlns:a16="http://schemas.microsoft.com/office/drawing/2014/main" id="{B5F10A7E-966B-5358-995C-47225258C84A}"/>
              </a:ext>
            </a:extLst>
          </p:cNvPr>
          <p:cNvSpPr>
            <a:spLocks noGrp="1"/>
          </p:cNvSpPr>
          <p:nvPr>
            <p:ph type="sldNum" sz="quarter" idx="12"/>
          </p:nvPr>
        </p:nvSpPr>
        <p:spPr/>
        <p:txBody>
          <a:bodyPr/>
          <a:lstStyle/>
          <a:p>
            <a:pPr>
              <a:defRPr/>
            </a:pPr>
            <a:fld id="{9C66F1FC-77AF-4AA3-AB67-8C31B36199A9}" type="slidenum">
              <a:rPr lang="en-US" altLang="ja-JP" smtClean="0"/>
              <a:pPr>
                <a:defRPr/>
              </a:pPr>
              <a:t>1</a:t>
            </a:fld>
            <a:endParaRPr lang="en-US" altLang="ja-JP"/>
          </a:p>
        </p:txBody>
      </p:sp>
    </p:spTree>
    <p:extLst>
      <p:ext uri="{BB962C8B-B14F-4D97-AF65-F5344CB8AC3E}">
        <p14:creationId xmlns:p14="http://schemas.microsoft.com/office/powerpoint/2010/main" val="2952069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55662" y="135434"/>
            <a:ext cx="8243086" cy="476174"/>
          </a:xfrm>
        </p:spPr>
        <p:txBody>
          <a:bodyPr/>
          <a:lstStyle/>
          <a:p>
            <a:r>
              <a:rPr lang="ja-JP" altLang="en-US" sz="2400" dirty="0"/>
              <a:t>国土形成計画における山村振興に関する記載</a:t>
            </a:r>
          </a:p>
        </p:txBody>
      </p:sp>
      <p:sp>
        <p:nvSpPr>
          <p:cNvPr id="13" name="コンテンツ プレースホルダー 2"/>
          <p:cNvSpPr>
            <a:spLocks noGrp="1"/>
          </p:cNvSpPr>
          <p:nvPr>
            <p:ph idx="1"/>
          </p:nvPr>
        </p:nvSpPr>
        <p:spPr>
          <a:xfrm>
            <a:off x="560423" y="1677970"/>
            <a:ext cx="8783567" cy="6162320"/>
          </a:xfrm>
        </p:spPr>
        <p:txBody>
          <a:bodyPr/>
          <a:lstStyle/>
          <a:p>
            <a:pPr marL="0" indent="0">
              <a:buNone/>
            </a:pPr>
            <a:r>
              <a:rPr lang="ja-JP" altLang="en-US" sz="1600" b="1" dirty="0">
                <a:latin typeface="Meiryo UI" panose="020B0604030504040204" pitchFamily="50" charset="-128"/>
                <a:ea typeface="Meiryo UI" panose="020B0604030504040204" pitchFamily="50" charset="-128"/>
              </a:rPr>
              <a:t>第２部 分野別施策の基本的方向</a:t>
            </a:r>
            <a:endParaRPr lang="en-US" altLang="ja-JP" sz="1600" b="1" dirty="0">
              <a:latin typeface="Meiryo UI" panose="020B0604030504040204" pitchFamily="50" charset="-128"/>
              <a:ea typeface="Meiryo UI" panose="020B0604030504040204" pitchFamily="50" charset="-128"/>
            </a:endParaRPr>
          </a:p>
          <a:p>
            <a:pPr marL="0" indent="0">
              <a:buNone/>
            </a:pPr>
            <a:r>
              <a:rPr lang="ja-JP" altLang="en-US" sz="1600" b="1" dirty="0">
                <a:latin typeface="Meiryo UI" panose="020B0604030504040204" pitchFamily="50" charset="-128"/>
                <a:ea typeface="Meiryo UI" panose="020B0604030504040204" pitchFamily="50" charset="-128"/>
              </a:rPr>
              <a:t>第１章 地域の整備に関する基本的な施策</a:t>
            </a:r>
            <a:endParaRPr lang="en-US" altLang="ja-JP" sz="1600" b="1" dirty="0">
              <a:latin typeface="Meiryo UI" panose="020B0604030504040204" pitchFamily="50" charset="-128"/>
              <a:ea typeface="Meiryo UI" panose="020B0604030504040204" pitchFamily="50" charset="-128"/>
            </a:endParaRPr>
          </a:p>
          <a:p>
            <a:pPr marL="0" indent="0">
              <a:buNone/>
            </a:pPr>
            <a:r>
              <a:rPr lang="ja-JP" altLang="en-US" sz="1600" b="1" dirty="0">
                <a:latin typeface="Meiryo UI" panose="020B0604030504040204" pitchFamily="50" charset="-128"/>
                <a:ea typeface="Meiryo UI" panose="020B0604030504040204" pitchFamily="50" charset="-128"/>
              </a:rPr>
              <a:t>第７節 地理的、自然的、社会的条件の厳しい地域への対応</a:t>
            </a:r>
          </a:p>
          <a:p>
            <a:pPr marL="0" indent="0">
              <a:buNone/>
            </a:pPr>
            <a:r>
              <a:rPr lang="ja-JP" altLang="en-US" sz="1600" b="1" dirty="0">
                <a:latin typeface="Meiryo UI" panose="020B0604030504040204" pitchFamily="50" charset="-128"/>
                <a:ea typeface="Meiryo UI" panose="020B0604030504040204" pitchFamily="50" charset="-128"/>
              </a:rPr>
              <a:t>３．山村地域</a:t>
            </a:r>
            <a:endParaRPr lang="en-US" altLang="ja-JP" sz="1600" b="1" dirty="0">
              <a:latin typeface="Meiryo UI" panose="020B0604030504040204" pitchFamily="50" charset="-128"/>
              <a:ea typeface="Meiryo UI" panose="020B0604030504040204" pitchFamily="50" charset="-128"/>
            </a:endParaRPr>
          </a:p>
          <a:p>
            <a:pPr marL="0" indent="0">
              <a:buNone/>
            </a:pPr>
            <a:r>
              <a:rPr lang="ja-JP" altLang="en-US" sz="1600" dirty="0">
                <a:latin typeface="Meiryo UI" panose="020B0604030504040204" pitchFamily="50" charset="-128"/>
                <a:ea typeface="Meiryo UI" panose="020B0604030504040204" pitchFamily="50" charset="-128"/>
              </a:rPr>
              <a:t>　山村は、林野面積比率が高く、交通及び経済的条件等に恵まれないため、産業基盤及び生活環境の整備等が他の地域に比較して十分に行われていない状況にあり、人口減少、高齢化の進行等により、荒廃農地、必要な施業が行われない森林等の問題が顕在化している。また、その地形条件等から土砂災害等の対策の必要性が高い地域である。一方で、山村は、国土の保全、水源の涵養、自然環境の保全、良好な景観の形成、文化の伝承等に重要な役割を担っており、これらの多面的機能が十分かつ適切に発揮され、国民が将来にわたってそれらの恵沢を享受することができるよう、森林等の保全を図るとともに、産業の振興、住民の福祉の向上、地域間の交流の促進等により山村における定住の促進を図ることを旨として、その効果が適切に発揮されるよう、山村の振興を推進する必要がある。</a:t>
            </a:r>
          </a:p>
          <a:p>
            <a:pPr marL="0" indent="0">
              <a:buNone/>
            </a:pPr>
            <a:r>
              <a:rPr lang="ja-JP" altLang="en-US" sz="1600" dirty="0">
                <a:latin typeface="Meiryo UI" panose="020B0604030504040204" pitchFamily="50" charset="-128"/>
                <a:ea typeface="Meiryo UI" panose="020B0604030504040204" pitchFamily="50" charset="-128"/>
              </a:rPr>
              <a:t>　</a:t>
            </a:r>
            <a:endParaRPr lang="en-US" altLang="ja-JP" sz="1600" dirty="0">
              <a:latin typeface="Meiryo UI" panose="020B0604030504040204" pitchFamily="50" charset="-128"/>
              <a:ea typeface="Meiryo UI" panose="020B0604030504040204" pitchFamily="50" charset="-128"/>
            </a:endParaRPr>
          </a:p>
          <a:p>
            <a:pPr marL="0" indent="0">
              <a:buNone/>
            </a:pPr>
            <a:r>
              <a:rPr lang="ja-JP" altLang="en-US" sz="1600" dirty="0">
                <a:latin typeface="Meiryo UI" panose="020B0604030504040204" pitchFamily="50" charset="-128"/>
                <a:ea typeface="Meiryo UI" panose="020B0604030504040204" pitchFamily="50" charset="-128"/>
              </a:rPr>
              <a:t>　このような観点から、交通・通信施設、農林業の生産基盤、国土保全施設、教育・文化施設等の産業基盤及び生活環境の整備とともに、農林水産物の加工業、販売業等の導入、山村の振興に寄与する人材の確保・育成等を図る。</a:t>
            </a:r>
          </a:p>
        </p:txBody>
      </p:sp>
      <p:cxnSp>
        <p:nvCxnSpPr>
          <p:cNvPr id="4" name="直線コネクタ 3"/>
          <p:cNvCxnSpPr>
            <a:cxnSpLocks/>
          </p:cNvCxnSpPr>
          <p:nvPr/>
        </p:nvCxnSpPr>
        <p:spPr>
          <a:xfrm>
            <a:off x="5528270" y="4347864"/>
            <a:ext cx="3599731"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 name="直線コネクタ 6"/>
          <p:cNvCxnSpPr>
            <a:cxnSpLocks/>
          </p:cNvCxnSpPr>
          <p:nvPr/>
        </p:nvCxnSpPr>
        <p:spPr>
          <a:xfrm>
            <a:off x="632418" y="4600980"/>
            <a:ext cx="8495583"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a:cxnSpLocks/>
          </p:cNvCxnSpPr>
          <p:nvPr/>
        </p:nvCxnSpPr>
        <p:spPr>
          <a:xfrm>
            <a:off x="632418" y="4889012"/>
            <a:ext cx="4607820"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コンテンツ プレースホルダー 2"/>
          <p:cNvSpPr txBox="1">
            <a:spLocks/>
          </p:cNvSpPr>
          <p:nvPr/>
        </p:nvSpPr>
        <p:spPr>
          <a:xfrm>
            <a:off x="5960156" y="783506"/>
            <a:ext cx="3563317" cy="247574"/>
          </a:xfrm>
          <a:prstGeom prst="rect">
            <a:avLst/>
          </a:prstGeom>
          <a:noFill/>
          <a:ln>
            <a:noFill/>
          </a:ln>
        </p:spPr>
        <p:txBody>
          <a:bodyPr vert="horz" wrap="square" lIns="91425" tIns="45713" rIns="91425" bIns="45713" numCol="1" anchor="t" anchorCtr="0" compatLnSpc="1">
            <a:prstTxWarp prst="textNoShape">
              <a:avLst/>
            </a:prstTxWarp>
          </a:bodyPr>
          <a:lstStyle>
            <a:lvl1pPr marL="316531" indent="-316531" algn="l" rtl="0" eaLnBrk="1" fontAlgn="base" hangingPunct="1">
              <a:spcBef>
                <a:spcPct val="20000"/>
              </a:spcBef>
              <a:spcAft>
                <a:spcPct val="0"/>
              </a:spcAft>
              <a:buChar char="•"/>
              <a:defRPr kumimoji="1" sz="2954">
                <a:solidFill>
                  <a:schemeClr val="tx1"/>
                </a:solidFill>
                <a:latin typeface="+mn-lt"/>
                <a:ea typeface="+mn-ea"/>
                <a:cs typeface="+mn-cs"/>
              </a:defRPr>
            </a:lvl1pPr>
            <a:lvl2pPr marL="685817" indent="-263776" algn="l" rtl="0" eaLnBrk="1" fontAlgn="base" hangingPunct="1">
              <a:spcBef>
                <a:spcPct val="20000"/>
              </a:spcBef>
              <a:spcAft>
                <a:spcPct val="0"/>
              </a:spcAft>
              <a:buChar char="–"/>
              <a:defRPr kumimoji="1" sz="2585">
                <a:solidFill>
                  <a:schemeClr val="tx1"/>
                </a:solidFill>
                <a:latin typeface="+mn-lt"/>
                <a:ea typeface="+mn-ea"/>
              </a:defRPr>
            </a:lvl2pPr>
            <a:lvl3pPr marL="1055103" indent="-211021" algn="l" rtl="0" eaLnBrk="1" fontAlgn="base" hangingPunct="1">
              <a:spcBef>
                <a:spcPct val="20000"/>
              </a:spcBef>
              <a:spcAft>
                <a:spcPct val="0"/>
              </a:spcAft>
              <a:buChar char="•"/>
              <a:defRPr kumimoji="1" sz="2215">
                <a:solidFill>
                  <a:schemeClr val="tx1"/>
                </a:solidFill>
                <a:latin typeface="+mn-lt"/>
                <a:ea typeface="+mn-ea"/>
              </a:defRPr>
            </a:lvl3pPr>
            <a:lvl4pPr marL="1477145" indent="-211021" algn="l" rtl="0" eaLnBrk="1" fontAlgn="base" hangingPunct="1">
              <a:spcBef>
                <a:spcPct val="20000"/>
              </a:spcBef>
              <a:spcAft>
                <a:spcPct val="0"/>
              </a:spcAft>
              <a:buChar char="–"/>
              <a:defRPr kumimoji="1" sz="1846">
                <a:solidFill>
                  <a:schemeClr val="tx1"/>
                </a:solidFill>
                <a:latin typeface="+mn-lt"/>
                <a:ea typeface="+mn-ea"/>
              </a:defRPr>
            </a:lvl4pPr>
            <a:lvl5pPr marL="1899186" indent="-211021" algn="l" rtl="0" eaLnBrk="1" fontAlgn="base" hangingPunct="1">
              <a:spcBef>
                <a:spcPct val="20000"/>
              </a:spcBef>
              <a:spcAft>
                <a:spcPct val="0"/>
              </a:spcAft>
              <a:buChar char="»"/>
              <a:defRPr kumimoji="1" sz="1846">
                <a:solidFill>
                  <a:schemeClr val="tx1"/>
                </a:solidFill>
                <a:latin typeface="+mn-lt"/>
                <a:ea typeface="+mn-ea"/>
              </a:defRPr>
            </a:lvl5pPr>
            <a:lvl6pPr marL="2321227" indent="-211021" algn="l" rtl="0" eaLnBrk="1" fontAlgn="base" hangingPunct="1">
              <a:spcBef>
                <a:spcPct val="20000"/>
              </a:spcBef>
              <a:spcAft>
                <a:spcPct val="0"/>
              </a:spcAft>
              <a:buChar char="»"/>
              <a:defRPr kumimoji="1" sz="1846">
                <a:solidFill>
                  <a:schemeClr val="tx1"/>
                </a:solidFill>
                <a:latin typeface="+mn-lt"/>
                <a:ea typeface="+mn-ea"/>
              </a:defRPr>
            </a:lvl6pPr>
            <a:lvl7pPr marL="2743269" indent="-211021" algn="l" rtl="0" eaLnBrk="1" fontAlgn="base" hangingPunct="1">
              <a:spcBef>
                <a:spcPct val="20000"/>
              </a:spcBef>
              <a:spcAft>
                <a:spcPct val="0"/>
              </a:spcAft>
              <a:buChar char="»"/>
              <a:defRPr kumimoji="1" sz="1846">
                <a:solidFill>
                  <a:schemeClr val="tx1"/>
                </a:solidFill>
                <a:latin typeface="+mn-lt"/>
                <a:ea typeface="+mn-ea"/>
              </a:defRPr>
            </a:lvl7pPr>
            <a:lvl8pPr marL="3165310" indent="-211021" algn="l" rtl="0" eaLnBrk="1" fontAlgn="base" hangingPunct="1">
              <a:spcBef>
                <a:spcPct val="20000"/>
              </a:spcBef>
              <a:spcAft>
                <a:spcPct val="0"/>
              </a:spcAft>
              <a:buChar char="»"/>
              <a:defRPr kumimoji="1" sz="1846">
                <a:solidFill>
                  <a:schemeClr val="tx1"/>
                </a:solidFill>
                <a:latin typeface="+mn-lt"/>
                <a:ea typeface="+mn-ea"/>
              </a:defRPr>
            </a:lvl8pPr>
            <a:lvl9pPr marL="3587351" indent="-211021" algn="l" rtl="0" eaLnBrk="1" fontAlgn="base" hangingPunct="1">
              <a:spcBef>
                <a:spcPct val="20000"/>
              </a:spcBef>
              <a:spcAft>
                <a:spcPct val="0"/>
              </a:spcAft>
              <a:buChar char="»"/>
              <a:defRPr kumimoji="1" sz="1846">
                <a:solidFill>
                  <a:schemeClr val="tx1"/>
                </a:solidFill>
                <a:latin typeface="+mn-lt"/>
                <a:ea typeface="+mn-ea"/>
              </a:defRPr>
            </a:lvl9pPr>
          </a:lstStyle>
          <a:p>
            <a:pPr marL="0" marR="0" lvl="0" indent="0" algn="l" defTabSz="914217" rtl="0" eaLnBrk="1" fontAlgn="base" latinLnBrk="0" hangingPunct="1">
              <a:lnSpc>
                <a:spcPct val="100000"/>
              </a:lnSpc>
              <a:spcBef>
                <a:spcPct val="20000"/>
              </a:spcBef>
              <a:spcAft>
                <a:spcPct val="0"/>
              </a:spcAft>
              <a:buClrTx/>
              <a:buSzTx/>
              <a:buFontTx/>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国土形成計画</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令和</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5</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年</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7</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月</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28</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日閣議決定</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抜粋</a:t>
            </a: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p:txBody>
      </p:sp>
      <p:cxnSp>
        <p:nvCxnSpPr>
          <p:cNvPr id="3" name="直線コネクタ 2">
            <a:extLst>
              <a:ext uri="{FF2B5EF4-FFF2-40B4-BE49-F238E27FC236}">
                <a16:creationId xmlns:a16="http://schemas.microsoft.com/office/drawing/2014/main" id="{62361E83-C823-D34E-6786-3E9A65C4092C}"/>
              </a:ext>
            </a:extLst>
          </p:cNvPr>
          <p:cNvCxnSpPr>
            <a:cxnSpLocks/>
          </p:cNvCxnSpPr>
          <p:nvPr/>
        </p:nvCxnSpPr>
        <p:spPr>
          <a:xfrm>
            <a:off x="632419" y="5681100"/>
            <a:ext cx="8495582"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5856086A-4FBA-8332-DE73-29EEA0A11202}"/>
              </a:ext>
            </a:extLst>
          </p:cNvPr>
          <p:cNvCxnSpPr>
            <a:cxnSpLocks/>
          </p:cNvCxnSpPr>
          <p:nvPr/>
        </p:nvCxnSpPr>
        <p:spPr>
          <a:xfrm>
            <a:off x="632418" y="5935576"/>
            <a:ext cx="158348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CB93B24B-D5B8-1359-37FE-665B0F98F2CE}"/>
              </a:ext>
            </a:extLst>
          </p:cNvPr>
          <p:cNvCxnSpPr>
            <a:cxnSpLocks/>
          </p:cNvCxnSpPr>
          <p:nvPr/>
        </p:nvCxnSpPr>
        <p:spPr>
          <a:xfrm>
            <a:off x="2418830" y="5418235"/>
            <a:ext cx="683707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8" name="スライド番号プレースホルダー 7">
            <a:extLst>
              <a:ext uri="{FF2B5EF4-FFF2-40B4-BE49-F238E27FC236}">
                <a16:creationId xmlns:a16="http://schemas.microsoft.com/office/drawing/2014/main" id="{A704650B-FAAC-3979-A4B1-426F78DCF4F5}"/>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51FC12D-27C1-4F31-90C9-A93D49E44687}" type="slidenum">
              <a:rPr kumimoji="1" lang="en-US" altLang="ja-JP" sz="1516" b="0" i="0" u="none" strike="noStrike" kern="1200" cap="none" spc="0" normalizeH="0" baseline="0" noProof="0" smtClean="0">
                <a:ln>
                  <a:noFill/>
                </a:ln>
                <a:solidFill>
                  <a:srgbClr val="000000"/>
                </a:solidFill>
                <a:effectLst/>
                <a:uLnTx/>
                <a:uFillTx/>
                <a:latin typeface="Arial" charset="0"/>
                <a:ea typeface="ＭＳ Ｐゴシック" pitchFamily="50"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1" lang="en-US" altLang="ja-JP" sz="1516" b="0" i="0" u="none" strike="noStrike" kern="1200" cap="none" spc="0" normalizeH="0" baseline="0" noProof="0" dirty="0">
              <a:ln>
                <a:noFill/>
              </a:ln>
              <a:solidFill>
                <a:srgbClr val="000000"/>
              </a:solidFill>
              <a:effectLst/>
              <a:uLnTx/>
              <a:uFillTx/>
              <a:latin typeface="Arial" charset="0"/>
              <a:ea typeface="ＭＳ Ｐゴシック" pitchFamily="50" charset="-128"/>
              <a:cs typeface="+mn-cs"/>
            </a:endParaRPr>
          </a:p>
        </p:txBody>
      </p:sp>
    </p:spTree>
    <p:extLst>
      <p:ext uri="{BB962C8B-B14F-4D97-AF65-F5344CB8AC3E}">
        <p14:creationId xmlns:p14="http://schemas.microsoft.com/office/powerpoint/2010/main" val="882106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0" y="85278"/>
            <a:ext cx="7994532" cy="576190"/>
          </a:xfrm>
        </p:spPr>
        <p:txBody>
          <a:bodyPr/>
          <a:lstStyle/>
          <a:p>
            <a:r>
              <a:rPr lang="ja-JP" altLang="en-US" sz="2166" dirty="0"/>
              <a:t>第六次国土利用計画（全国計画）概要</a:t>
            </a:r>
          </a:p>
        </p:txBody>
      </p:sp>
      <p:grpSp>
        <p:nvGrpSpPr>
          <p:cNvPr id="3" name="グループ化 2"/>
          <p:cNvGrpSpPr/>
          <p:nvPr/>
        </p:nvGrpSpPr>
        <p:grpSpPr>
          <a:xfrm>
            <a:off x="2894695" y="5984390"/>
            <a:ext cx="6920559" cy="1567627"/>
            <a:chOff x="5743960" y="7067564"/>
            <a:chExt cx="8806239" cy="2147795"/>
          </a:xfrm>
        </p:grpSpPr>
        <p:sp>
          <p:nvSpPr>
            <p:cNvPr id="98" name="正方形/長方形 97"/>
            <p:cNvSpPr/>
            <p:nvPr/>
          </p:nvSpPr>
          <p:spPr>
            <a:xfrm>
              <a:off x="5766656" y="7067564"/>
              <a:ext cx="8783543" cy="211939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99">
                <a:defRPr/>
              </a:pPr>
              <a:endParaRPr lang="ja-JP" altLang="en-US" sz="1300">
                <a:solidFill>
                  <a:srgbClr val="FFFFFF"/>
                </a:solidFill>
                <a:latin typeface="Arial"/>
                <a:ea typeface="ＭＳ Ｐゴシック"/>
              </a:endParaRPr>
            </a:p>
          </p:txBody>
        </p:sp>
        <p:sp>
          <p:nvSpPr>
            <p:cNvPr id="99" name="テキスト ボックス 98"/>
            <p:cNvSpPr txBox="1"/>
            <p:nvPr/>
          </p:nvSpPr>
          <p:spPr>
            <a:xfrm>
              <a:off x="5766656" y="7081964"/>
              <a:ext cx="2155605" cy="377846"/>
            </a:xfrm>
            <a:prstGeom prst="rect">
              <a:avLst/>
            </a:prstGeom>
            <a:solidFill>
              <a:srgbClr val="0070C0"/>
            </a:solidFill>
          </p:spPr>
          <p:txBody>
            <a:bodyPr wrap="square" rtlCol="0">
              <a:spAutoFit/>
            </a:bodyPr>
            <a:lstStyle/>
            <a:p>
              <a:pPr defTabSz="707499">
                <a:defRPr/>
              </a:pPr>
              <a:r>
                <a:rPr lang="ja-JP" altLang="en-US" sz="1192" b="1" dirty="0">
                  <a:solidFill>
                    <a:srgbClr val="FFFFFF"/>
                  </a:solidFill>
                  <a:ea typeface="ＭＳ Ｐゴシック" charset="-128"/>
                </a:rPr>
                <a:t>３．必要な措置の概要</a:t>
              </a:r>
            </a:p>
          </p:txBody>
        </p:sp>
        <p:sp>
          <p:nvSpPr>
            <p:cNvPr id="53" name="テキスト ボックス 52"/>
            <p:cNvSpPr txBox="1"/>
            <p:nvPr/>
          </p:nvSpPr>
          <p:spPr>
            <a:xfrm>
              <a:off x="5743960" y="7395447"/>
              <a:ext cx="4884672" cy="1819912"/>
            </a:xfrm>
            <a:prstGeom prst="rect">
              <a:avLst/>
            </a:prstGeom>
            <a:noFill/>
          </p:spPr>
          <p:txBody>
            <a:bodyPr wrap="square" rtlCol="0">
              <a:spAutoFit/>
            </a:bodyPr>
            <a:lstStyle/>
            <a:p>
              <a:pPr marL="111417" indent="-111417" defTabSz="707499">
                <a:lnSpc>
                  <a:spcPts val="1393"/>
                </a:lnSpc>
                <a:defRPr/>
              </a:pPr>
              <a:r>
                <a:rPr lang="ja-JP" altLang="en-US" sz="867" dirty="0">
                  <a:solidFill>
                    <a:srgbClr val="000000"/>
                  </a:solidFill>
                  <a:ea typeface="ＭＳ Ｐゴシック" charset="-128"/>
                </a:rPr>
                <a:t>○</a:t>
              </a:r>
              <a:r>
                <a:rPr lang="ja-JP" altLang="en-US" sz="867" b="1" dirty="0">
                  <a:solidFill>
                    <a:srgbClr val="000000"/>
                  </a:solidFill>
                  <a:ea typeface="ＭＳ Ｐゴシック" charset="-128"/>
                </a:rPr>
                <a:t>グリーンインフラ</a:t>
              </a:r>
              <a:r>
                <a:rPr lang="ja-JP" altLang="en-US" sz="867" dirty="0">
                  <a:solidFill>
                    <a:srgbClr val="000000"/>
                  </a:solidFill>
                  <a:ea typeface="ＭＳ Ｐゴシック" charset="-128"/>
                </a:rPr>
                <a:t>や</a:t>
              </a:r>
              <a:r>
                <a:rPr lang="en-US" altLang="ja-JP" sz="867" b="1" dirty="0">
                  <a:solidFill>
                    <a:srgbClr val="000000"/>
                  </a:solidFill>
                  <a:ea typeface="ＭＳ Ｐゴシック" charset="-128"/>
                </a:rPr>
                <a:t>Eco-DRR</a:t>
              </a:r>
              <a:r>
                <a:rPr lang="ja-JP" altLang="en-US" sz="867" dirty="0">
                  <a:solidFill>
                    <a:srgbClr val="000000"/>
                  </a:solidFill>
                  <a:ea typeface="ＭＳ Ｐゴシック" charset="-128"/>
                </a:rPr>
                <a:t>として都市部の緑地を保全・活用</a:t>
              </a:r>
              <a:endParaRPr lang="en-US" altLang="ja-JP" sz="867" dirty="0">
                <a:solidFill>
                  <a:srgbClr val="000000"/>
                </a:solidFill>
                <a:ea typeface="ＭＳ Ｐゴシック" charset="-128"/>
              </a:endParaRPr>
            </a:p>
            <a:p>
              <a:pPr marL="111417" indent="-111417" defTabSz="707499">
                <a:lnSpc>
                  <a:spcPts val="1393"/>
                </a:lnSpc>
                <a:defRPr/>
              </a:pPr>
              <a:r>
                <a:rPr lang="ja-JP" altLang="en-US" sz="867" dirty="0">
                  <a:solidFill>
                    <a:srgbClr val="000000"/>
                  </a:solidFill>
                  <a:ea typeface="ＭＳ Ｐゴシック" charset="-128"/>
                </a:rPr>
                <a:t>○</a:t>
              </a:r>
              <a:r>
                <a:rPr lang="ja-JP" altLang="en-US" sz="867" b="1" dirty="0">
                  <a:solidFill>
                    <a:srgbClr val="000000"/>
                  </a:solidFill>
                  <a:ea typeface="ＭＳ Ｐゴシック" charset="-128"/>
                </a:rPr>
                <a:t>地域の持続性確保につながる産業集積の促進</a:t>
              </a:r>
              <a:r>
                <a:rPr lang="ja-JP" altLang="en-US" sz="867" dirty="0">
                  <a:solidFill>
                    <a:srgbClr val="000000"/>
                  </a:solidFill>
                  <a:ea typeface="ＭＳ Ｐゴシック" charset="-128"/>
                </a:rPr>
                <a:t>を図るための土地利用転換</a:t>
              </a:r>
              <a:endParaRPr lang="en-US" altLang="ja-JP" sz="867" dirty="0">
                <a:solidFill>
                  <a:srgbClr val="000000"/>
                </a:solidFill>
                <a:ea typeface="ＭＳ Ｐゴシック" charset="-128"/>
              </a:endParaRPr>
            </a:p>
            <a:p>
              <a:pPr marL="111417" indent="-111417" defTabSz="707499">
                <a:lnSpc>
                  <a:spcPts val="1393"/>
                </a:lnSpc>
                <a:defRPr/>
              </a:pPr>
              <a:r>
                <a:rPr lang="ja-JP" altLang="en-US" sz="867" dirty="0">
                  <a:solidFill>
                    <a:srgbClr val="000000"/>
                  </a:solidFill>
                  <a:ea typeface="ＭＳ Ｐゴシック" charset="-128"/>
                </a:rPr>
                <a:t>○</a:t>
              </a:r>
              <a:r>
                <a:rPr lang="ja-JP" altLang="en-US" sz="867" b="1" dirty="0">
                  <a:solidFill>
                    <a:srgbClr val="000000"/>
                  </a:solidFill>
                  <a:ea typeface="ＭＳ Ｐゴシック" charset="-128"/>
                </a:rPr>
                <a:t>災害リスクの高い地域の把握、公表、規制区域の指定</a:t>
              </a:r>
              <a:r>
                <a:rPr lang="ja-JP" altLang="en-US" sz="867" dirty="0">
                  <a:solidFill>
                    <a:srgbClr val="000000"/>
                  </a:solidFill>
                  <a:ea typeface="ＭＳ Ｐゴシック" charset="-128"/>
                </a:rPr>
                <a:t>促進</a:t>
              </a:r>
              <a:endParaRPr lang="en-US" altLang="ja-JP" sz="867" dirty="0">
                <a:solidFill>
                  <a:srgbClr val="000000"/>
                </a:solidFill>
                <a:ea typeface="ＭＳ Ｐゴシック" charset="-128"/>
              </a:endParaRPr>
            </a:p>
            <a:p>
              <a:pPr marL="111417" indent="-111417" defTabSz="707499">
                <a:lnSpc>
                  <a:spcPts val="1393"/>
                </a:lnSpc>
                <a:defRPr/>
              </a:pPr>
              <a:r>
                <a:rPr lang="ja-JP" altLang="en-US" sz="867" dirty="0">
                  <a:solidFill>
                    <a:srgbClr val="000000"/>
                  </a:solidFill>
                  <a:ea typeface="ＭＳ Ｐゴシック" charset="-128"/>
                </a:rPr>
                <a:t>○森・里・まち・川・海のつながりを確保した</a:t>
              </a:r>
              <a:r>
                <a:rPr lang="ja-JP" altLang="en-US" sz="867" b="1" dirty="0">
                  <a:solidFill>
                    <a:srgbClr val="000000"/>
                  </a:solidFill>
                  <a:ea typeface="ＭＳ Ｐゴシック" charset="-128"/>
                </a:rPr>
                <a:t>広域的な生態系ネットワークの形成</a:t>
              </a:r>
              <a:endParaRPr lang="en-US" altLang="ja-JP" sz="867" b="1" dirty="0">
                <a:solidFill>
                  <a:srgbClr val="000000"/>
                </a:solidFill>
                <a:ea typeface="ＭＳ Ｐゴシック" charset="-128"/>
              </a:endParaRPr>
            </a:p>
            <a:p>
              <a:pPr marL="111417" indent="-111417" defTabSz="707499">
                <a:lnSpc>
                  <a:spcPts val="1393"/>
                </a:lnSpc>
                <a:defRPr/>
              </a:pPr>
              <a:r>
                <a:rPr lang="ja-JP" altLang="en-US" sz="867" dirty="0">
                  <a:solidFill>
                    <a:srgbClr val="000000"/>
                  </a:solidFill>
                  <a:ea typeface="ＭＳ Ｐゴシック" charset="-128"/>
                </a:rPr>
                <a:t>○</a:t>
              </a:r>
              <a:r>
                <a:rPr lang="ja-JP" altLang="en-US" sz="867" b="1" dirty="0">
                  <a:solidFill>
                    <a:srgbClr val="000000"/>
                  </a:solidFill>
                  <a:ea typeface="ＭＳ Ｐゴシック" charset="-128"/>
                </a:rPr>
                <a:t>地域共生型の太陽光・バイオマス等の再エネ</a:t>
              </a:r>
              <a:r>
                <a:rPr lang="ja-JP" altLang="en-US" sz="867" dirty="0">
                  <a:solidFill>
                    <a:srgbClr val="000000"/>
                  </a:solidFill>
                  <a:ea typeface="ＭＳ Ｐゴシック" charset="-128"/>
                </a:rPr>
                <a:t>の面的導入</a:t>
              </a:r>
              <a:endParaRPr lang="en-US" altLang="ja-JP" sz="867" b="1" dirty="0">
                <a:solidFill>
                  <a:srgbClr val="000000"/>
                </a:solidFill>
                <a:ea typeface="ＭＳ Ｐゴシック" charset="-128"/>
              </a:endParaRPr>
            </a:p>
            <a:p>
              <a:pPr marL="111417" indent="-111417" defTabSz="707499">
                <a:lnSpc>
                  <a:spcPts val="1393"/>
                </a:lnSpc>
                <a:defRPr/>
              </a:pPr>
              <a:r>
                <a:rPr lang="ja-JP" altLang="en-US" sz="867" dirty="0">
                  <a:solidFill>
                    <a:srgbClr val="000000"/>
                  </a:solidFill>
                  <a:ea typeface="ＭＳ Ｐゴシック" charset="-128"/>
                </a:rPr>
                <a:t>○地域の状況に応じ、</a:t>
              </a:r>
              <a:r>
                <a:rPr lang="ja-JP" altLang="en-US" sz="867" b="1" dirty="0">
                  <a:solidFill>
                    <a:srgbClr val="000000"/>
                  </a:solidFill>
                  <a:ea typeface="ＭＳ Ｐゴシック" charset="-128"/>
                </a:rPr>
                <a:t>都市機能や居住の都市中心部や生活拠点等への誘導</a:t>
              </a:r>
              <a:endParaRPr lang="en-US" altLang="ja-JP" sz="867" b="1" dirty="0">
                <a:solidFill>
                  <a:srgbClr val="000000"/>
                </a:solidFill>
                <a:ea typeface="ＭＳ Ｐゴシック" charset="-128"/>
              </a:endParaRPr>
            </a:p>
            <a:p>
              <a:pPr marL="111417" indent="-111417" defTabSz="707499">
                <a:lnSpc>
                  <a:spcPts val="1393"/>
                </a:lnSpc>
                <a:defRPr/>
              </a:pPr>
              <a:r>
                <a:rPr lang="ja-JP" altLang="en-US" sz="867" dirty="0">
                  <a:solidFill>
                    <a:srgbClr val="000000"/>
                  </a:solidFill>
                  <a:ea typeface="ＭＳ Ｐゴシック" charset="-128"/>
                </a:rPr>
                <a:t>○地域課題の解決に向けた</a:t>
              </a:r>
              <a:r>
                <a:rPr lang="ja-JP" altLang="en-US" sz="867" b="1" dirty="0">
                  <a:solidFill>
                    <a:srgbClr val="000000"/>
                  </a:solidFill>
                  <a:ea typeface="ＭＳ Ｐゴシック" charset="-128"/>
                </a:rPr>
                <a:t>市町村・地域管理構想の全国展開</a:t>
              </a:r>
              <a:r>
                <a:rPr lang="ja-JP" altLang="en-US" sz="867" dirty="0">
                  <a:solidFill>
                    <a:srgbClr val="000000"/>
                  </a:solidFill>
                  <a:ea typeface="ＭＳ Ｐゴシック" charset="-128"/>
                </a:rPr>
                <a:t>　　　　　　　　等</a:t>
              </a:r>
              <a:endParaRPr lang="en-US" altLang="ja-JP" sz="867" dirty="0">
                <a:solidFill>
                  <a:srgbClr val="000000"/>
                </a:solidFill>
                <a:ea typeface="ＭＳ Ｐゴシック" charset="-128"/>
              </a:endParaRPr>
            </a:p>
          </p:txBody>
        </p:sp>
      </p:grpSp>
      <p:sp>
        <p:nvSpPr>
          <p:cNvPr id="9" name="角丸四角形 8"/>
          <p:cNvSpPr/>
          <p:nvPr/>
        </p:nvSpPr>
        <p:spPr>
          <a:xfrm>
            <a:off x="1137213" y="1594215"/>
            <a:ext cx="7651160" cy="473260"/>
          </a:xfrm>
          <a:prstGeom prst="roundRect">
            <a:avLst>
              <a:gd name="adj" fmla="val 5000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99">
              <a:defRPr/>
            </a:pPr>
            <a:endParaRPr lang="ja-JP" altLang="en-US" sz="1393">
              <a:solidFill>
                <a:srgbClr val="FFFFFF"/>
              </a:solidFill>
              <a:latin typeface="Arial"/>
              <a:ea typeface="ＭＳ Ｐゴシック"/>
            </a:endParaRPr>
          </a:p>
        </p:txBody>
      </p:sp>
      <p:sp>
        <p:nvSpPr>
          <p:cNvPr id="5" name="テキスト ボックス 4"/>
          <p:cNvSpPr txBox="1"/>
          <p:nvPr/>
        </p:nvSpPr>
        <p:spPr>
          <a:xfrm>
            <a:off x="105300" y="799571"/>
            <a:ext cx="2561035" cy="275781"/>
          </a:xfrm>
          <a:prstGeom prst="rect">
            <a:avLst/>
          </a:prstGeom>
          <a:solidFill>
            <a:srgbClr val="0070C0"/>
          </a:solidFill>
        </p:spPr>
        <p:txBody>
          <a:bodyPr wrap="square" rtlCol="0">
            <a:spAutoFit/>
          </a:bodyPr>
          <a:lstStyle/>
          <a:p>
            <a:pPr algn="ctr" defTabSz="707499">
              <a:defRPr/>
            </a:pPr>
            <a:r>
              <a:rPr lang="ja-JP" altLang="en-US" sz="1192" b="1" dirty="0">
                <a:solidFill>
                  <a:srgbClr val="FFFFFF"/>
                </a:solidFill>
                <a:ea typeface="ＭＳ Ｐゴシック" charset="-128"/>
              </a:rPr>
              <a:t>１．国土の利用に関する基本構想　</a:t>
            </a:r>
          </a:p>
        </p:txBody>
      </p:sp>
      <p:sp>
        <p:nvSpPr>
          <p:cNvPr id="33" name="テキスト ボックス 32"/>
          <p:cNvSpPr txBox="1"/>
          <p:nvPr/>
        </p:nvSpPr>
        <p:spPr>
          <a:xfrm>
            <a:off x="2713815" y="2208505"/>
            <a:ext cx="5172552" cy="275781"/>
          </a:xfrm>
          <a:prstGeom prst="rect">
            <a:avLst/>
          </a:prstGeom>
          <a:noFill/>
        </p:spPr>
        <p:txBody>
          <a:bodyPr wrap="square" rtlCol="0">
            <a:spAutoFit/>
          </a:bodyPr>
          <a:lstStyle/>
          <a:p>
            <a:pPr defTabSz="707499">
              <a:defRPr/>
            </a:pPr>
            <a:r>
              <a:rPr lang="ja-JP" altLang="en-US" sz="1192" b="1" dirty="0">
                <a:solidFill>
                  <a:srgbClr val="0070C0"/>
                </a:solidFill>
                <a:ea typeface="ＭＳ Ｐゴシック" charset="-128"/>
              </a:rPr>
              <a:t>◆国土利用の基本方針： 「</a:t>
            </a:r>
            <a:r>
              <a:rPr lang="ja-JP" altLang="en-US" sz="1192" b="1" dirty="0">
                <a:solidFill>
                  <a:srgbClr val="0070C0"/>
                </a:solidFill>
                <a:latin typeface="ＭＳ Ｐゴシック"/>
                <a:ea typeface="ＭＳ Ｐゴシック" charset="-128"/>
              </a:rPr>
              <a:t>持続可能で自然と共生した国土利用・管理」</a:t>
            </a:r>
            <a:endParaRPr lang="ja-JP" altLang="en-US" sz="1192" b="1" dirty="0">
              <a:solidFill>
                <a:srgbClr val="0070C0"/>
              </a:solidFill>
              <a:ea typeface="ＭＳ Ｐゴシック" charset="-128"/>
            </a:endParaRPr>
          </a:p>
        </p:txBody>
      </p:sp>
      <p:sp>
        <p:nvSpPr>
          <p:cNvPr id="34" name="テキスト ボックス 33"/>
          <p:cNvSpPr txBox="1"/>
          <p:nvPr/>
        </p:nvSpPr>
        <p:spPr>
          <a:xfrm>
            <a:off x="1211439" y="1600880"/>
            <a:ext cx="1057954" cy="425629"/>
          </a:xfrm>
          <a:prstGeom prst="rect">
            <a:avLst/>
          </a:prstGeom>
          <a:noFill/>
          <a:ln>
            <a:noFill/>
          </a:ln>
        </p:spPr>
        <p:txBody>
          <a:bodyPr wrap="square" rtlCol="0">
            <a:spAutoFit/>
          </a:bodyPr>
          <a:lstStyle/>
          <a:p>
            <a:pPr algn="ctr" defTabSz="707499">
              <a:defRPr/>
            </a:pPr>
            <a:r>
              <a:rPr lang="ja-JP" altLang="en-US" sz="1083" b="1" dirty="0">
                <a:solidFill>
                  <a:srgbClr val="000000"/>
                </a:solidFill>
                <a:ea typeface="ＭＳ Ｐゴシック" charset="-128"/>
              </a:rPr>
              <a:t>１～３に</a:t>
            </a:r>
            <a:endParaRPr lang="en-US" altLang="ja-JP" sz="1083" b="1" dirty="0">
              <a:solidFill>
                <a:srgbClr val="000000"/>
              </a:solidFill>
              <a:ea typeface="ＭＳ Ｐゴシック" charset="-128"/>
            </a:endParaRPr>
          </a:p>
          <a:p>
            <a:pPr algn="ctr" defTabSz="707499">
              <a:defRPr/>
            </a:pPr>
            <a:r>
              <a:rPr lang="ja-JP" altLang="en-US" sz="1083" b="1" dirty="0">
                <a:solidFill>
                  <a:srgbClr val="000000"/>
                </a:solidFill>
                <a:ea typeface="ＭＳ Ｐゴシック" charset="-128"/>
              </a:rPr>
              <a:t>共通する課題</a:t>
            </a:r>
          </a:p>
        </p:txBody>
      </p:sp>
      <p:sp>
        <p:nvSpPr>
          <p:cNvPr id="42" name="角丸四角形 41"/>
          <p:cNvSpPr/>
          <p:nvPr/>
        </p:nvSpPr>
        <p:spPr>
          <a:xfrm>
            <a:off x="258571" y="1128892"/>
            <a:ext cx="3063794" cy="428931"/>
          </a:xfrm>
          <a:prstGeom prst="roundRect">
            <a:avLst/>
          </a:prstGeom>
          <a:solidFill>
            <a:srgbClr val="FFFF9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4980" indent="-283737" algn="ctr" defTabSz="707499">
              <a:defRPr/>
            </a:pPr>
            <a:r>
              <a:rPr lang="ja-JP" altLang="en-US" sz="1083" b="1" kern="0" dirty="0">
                <a:solidFill>
                  <a:srgbClr val="000000"/>
                </a:solidFill>
                <a:latin typeface="Arial"/>
                <a:ea typeface="ＭＳ Ｐゴシック"/>
              </a:rPr>
              <a:t>１．人口減少・高齢化等を背景とした</a:t>
            </a:r>
            <a:endParaRPr lang="en-US" altLang="ja-JP" sz="1083" b="1" kern="0" dirty="0">
              <a:solidFill>
                <a:srgbClr val="000000"/>
              </a:solidFill>
              <a:latin typeface="Arial"/>
              <a:ea typeface="ＭＳ Ｐゴシック"/>
            </a:endParaRPr>
          </a:p>
          <a:p>
            <a:pPr marL="194980" indent="-283737" algn="ctr" defTabSz="707499">
              <a:defRPr/>
            </a:pPr>
            <a:r>
              <a:rPr lang="ja-JP" altLang="en-US" sz="1083" b="1" kern="0" dirty="0">
                <a:solidFill>
                  <a:srgbClr val="000000"/>
                </a:solidFill>
                <a:latin typeface="Arial"/>
                <a:ea typeface="ＭＳ Ｐゴシック"/>
              </a:rPr>
              <a:t>国土の管理水準の悪化と地域社会の衰退</a:t>
            </a:r>
            <a:endParaRPr lang="ja-JP" altLang="en-US" sz="1083" b="1" u="sng" kern="0" dirty="0">
              <a:solidFill>
                <a:srgbClr val="000000"/>
              </a:solidFill>
              <a:latin typeface="Arial"/>
              <a:ea typeface="ＭＳ Ｐゴシック"/>
            </a:endParaRPr>
          </a:p>
        </p:txBody>
      </p:sp>
      <p:sp>
        <p:nvSpPr>
          <p:cNvPr id="43" name="角丸四角形 42"/>
          <p:cNvSpPr/>
          <p:nvPr/>
        </p:nvSpPr>
        <p:spPr>
          <a:xfrm>
            <a:off x="3418623" y="1128891"/>
            <a:ext cx="3063794" cy="428931"/>
          </a:xfrm>
          <a:prstGeom prst="roundRect">
            <a:avLst/>
          </a:prstGeom>
          <a:solidFill>
            <a:srgbClr val="FFFF9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4980" indent="-283737" algn="ctr" defTabSz="707499">
              <a:defRPr/>
            </a:pPr>
            <a:r>
              <a:rPr lang="ja-JP" altLang="en-US" sz="1083" b="1" kern="0" dirty="0">
                <a:solidFill>
                  <a:srgbClr val="000000"/>
                </a:solidFill>
                <a:latin typeface="Arial"/>
                <a:ea typeface="ＭＳ Ｐゴシック"/>
              </a:rPr>
              <a:t>２．大規模自然災害に対する</a:t>
            </a:r>
            <a:endParaRPr lang="en-US" altLang="ja-JP" sz="1083" b="1" kern="0" dirty="0">
              <a:solidFill>
                <a:srgbClr val="000000"/>
              </a:solidFill>
              <a:latin typeface="Arial"/>
              <a:ea typeface="ＭＳ Ｐゴシック"/>
            </a:endParaRPr>
          </a:p>
          <a:p>
            <a:pPr marL="194980" indent="-283737" algn="ctr" defTabSz="707499">
              <a:defRPr/>
            </a:pPr>
            <a:r>
              <a:rPr lang="ja-JP" altLang="en-US" sz="1083" b="1" kern="0" dirty="0">
                <a:solidFill>
                  <a:srgbClr val="000000"/>
                </a:solidFill>
                <a:latin typeface="Arial"/>
                <a:ea typeface="ＭＳ Ｐゴシック"/>
              </a:rPr>
              <a:t>脆弱性の解消と危機への対応</a:t>
            </a:r>
            <a:endParaRPr lang="ja-JP" altLang="en-US" sz="1083" b="1" u="sng" kern="0" dirty="0">
              <a:solidFill>
                <a:srgbClr val="000000"/>
              </a:solidFill>
              <a:latin typeface="Arial"/>
              <a:ea typeface="ＭＳ Ｐゴシック"/>
            </a:endParaRPr>
          </a:p>
        </p:txBody>
      </p:sp>
      <p:sp>
        <p:nvSpPr>
          <p:cNvPr id="44" name="角丸四角形 43"/>
          <p:cNvSpPr/>
          <p:nvPr/>
        </p:nvSpPr>
        <p:spPr>
          <a:xfrm>
            <a:off x="6578674" y="1128892"/>
            <a:ext cx="3063794" cy="428931"/>
          </a:xfrm>
          <a:prstGeom prst="roundRect">
            <a:avLst/>
          </a:prstGeom>
          <a:solidFill>
            <a:srgbClr val="FFFF9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38994" bIns="0" rtlCol="0" anchor="ctr"/>
          <a:lstStyle/>
          <a:p>
            <a:pPr marL="194980" indent="-283737" algn="ctr" defTabSz="707499">
              <a:lnSpc>
                <a:spcPts val="1006"/>
              </a:lnSpc>
              <a:defRPr/>
            </a:pPr>
            <a:r>
              <a:rPr lang="ja-JP" altLang="en-US" sz="1083" b="1" dirty="0">
                <a:solidFill>
                  <a:srgbClr val="000000"/>
                </a:solidFill>
                <a:latin typeface="Arial"/>
                <a:ea typeface="ＭＳ Ｐゴシック"/>
              </a:rPr>
              <a:t>３．自然環境や景観等の悪化と</a:t>
            </a:r>
            <a:endParaRPr lang="en-US" altLang="ja-JP" sz="1083" b="1" dirty="0">
              <a:solidFill>
                <a:srgbClr val="000000"/>
              </a:solidFill>
              <a:latin typeface="Arial"/>
              <a:ea typeface="ＭＳ Ｐゴシック"/>
            </a:endParaRPr>
          </a:p>
          <a:p>
            <a:pPr marL="194980" indent="-283737" algn="ctr" defTabSz="707499">
              <a:lnSpc>
                <a:spcPts val="1006"/>
              </a:lnSpc>
              <a:defRPr/>
            </a:pPr>
            <a:r>
              <a:rPr lang="ja-JP" altLang="en-US" sz="1083" b="1" dirty="0">
                <a:solidFill>
                  <a:srgbClr val="000000"/>
                </a:solidFill>
                <a:latin typeface="Arial"/>
                <a:ea typeface="ＭＳ Ｐゴシック"/>
              </a:rPr>
              <a:t>新たな目標（</a:t>
            </a:r>
            <a:r>
              <a:rPr lang="ja-JP" altLang="en-US" sz="928" b="1" dirty="0">
                <a:solidFill>
                  <a:srgbClr val="000000"/>
                </a:solidFill>
                <a:latin typeface="Arial"/>
                <a:ea typeface="ＭＳ Ｐゴシック"/>
              </a:rPr>
              <a:t>カーボンニュートラル、</a:t>
            </a:r>
            <a:r>
              <a:rPr lang="en-US" altLang="ja-JP" sz="928" b="1" dirty="0">
                <a:solidFill>
                  <a:srgbClr val="000000"/>
                </a:solidFill>
                <a:latin typeface="Arial"/>
                <a:ea typeface="ＭＳ Ｐゴシック"/>
              </a:rPr>
              <a:t>30by30</a:t>
            </a:r>
            <a:r>
              <a:rPr lang="ja-JP" altLang="en-US" sz="928" b="1" dirty="0">
                <a:solidFill>
                  <a:srgbClr val="000000"/>
                </a:solidFill>
                <a:latin typeface="Arial"/>
                <a:ea typeface="ＭＳ Ｐゴシック"/>
              </a:rPr>
              <a:t>等</a:t>
            </a:r>
            <a:r>
              <a:rPr lang="ja-JP" altLang="en-US" sz="1083" b="1" dirty="0">
                <a:solidFill>
                  <a:srgbClr val="000000"/>
                </a:solidFill>
                <a:latin typeface="Arial"/>
                <a:ea typeface="ＭＳ Ｐゴシック"/>
              </a:rPr>
              <a:t>）</a:t>
            </a:r>
            <a:endParaRPr lang="en-US" altLang="ja-JP" sz="1083" b="1" dirty="0">
              <a:solidFill>
                <a:srgbClr val="000000"/>
              </a:solidFill>
              <a:latin typeface="Arial"/>
              <a:ea typeface="ＭＳ Ｐゴシック"/>
            </a:endParaRPr>
          </a:p>
          <a:p>
            <a:pPr marL="194980" indent="-283737" algn="ctr" defTabSz="707499">
              <a:lnSpc>
                <a:spcPts val="1006"/>
              </a:lnSpc>
              <a:defRPr/>
            </a:pPr>
            <a:r>
              <a:rPr lang="ja-JP" altLang="en-US" sz="1083" b="1" dirty="0">
                <a:solidFill>
                  <a:srgbClr val="000000"/>
                </a:solidFill>
                <a:latin typeface="Arial"/>
                <a:ea typeface="ＭＳ Ｐゴシック"/>
              </a:rPr>
              <a:t>実現に向けた対応</a:t>
            </a:r>
            <a:endParaRPr lang="en-US" altLang="ja-JP" sz="1083" b="1" dirty="0">
              <a:solidFill>
                <a:srgbClr val="000000"/>
              </a:solidFill>
              <a:latin typeface="Arial"/>
              <a:ea typeface="ＭＳ Ｐゴシック"/>
            </a:endParaRPr>
          </a:p>
        </p:txBody>
      </p:sp>
      <p:sp>
        <p:nvSpPr>
          <p:cNvPr id="45" name="角丸四角形 44"/>
          <p:cNvSpPr/>
          <p:nvPr/>
        </p:nvSpPr>
        <p:spPr>
          <a:xfrm>
            <a:off x="2339616" y="1631600"/>
            <a:ext cx="2534594" cy="389938"/>
          </a:xfrm>
          <a:prstGeom prst="roundRect">
            <a:avLst/>
          </a:prstGeom>
          <a:solidFill>
            <a:srgbClr val="FFFF9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1699" indent="-271699" algn="ctr" defTabSz="707499">
              <a:defRPr/>
            </a:pPr>
            <a:r>
              <a:rPr lang="ja-JP" altLang="en-US" sz="1083" b="1" kern="0" dirty="0">
                <a:solidFill>
                  <a:srgbClr val="000000"/>
                </a:solidFill>
                <a:latin typeface="Arial"/>
                <a:ea typeface="ＭＳ Ｐゴシック"/>
              </a:rPr>
              <a:t>４．デジタルの徹底活用</a:t>
            </a:r>
            <a:endParaRPr lang="ja-JP" altLang="en-US" sz="1083" b="1" u="sng" kern="0" dirty="0">
              <a:solidFill>
                <a:srgbClr val="000000"/>
              </a:solidFill>
              <a:latin typeface="Arial"/>
              <a:ea typeface="ＭＳ Ｐゴシック"/>
            </a:endParaRPr>
          </a:p>
        </p:txBody>
      </p:sp>
      <p:sp>
        <p:nvSpPr>
          <p:cNvPr id="46" name="角丸四角形 45"/>
          <p:cNvSpPr/>
          <p:nvPr/>
        </p:nvSpPr>
        <p:spPr>
          <a:xfrm>
            <a:off x="5086254" y="1631600"/>
            <a:ext cx="2534594" cy="389938"/>
          </a:xfrm>
          <a:prstGeom prst="roundRect">
            <a:avLst/>
          </a:prstGeom>
          <a:solidFill>
            <a:srgbClr val="FFFF99"/>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1699" indent="-271699" algn="ctr" defTabSz="707499">
              <a:defRPr/>
            </a:pPr>
            <a:r>
              <a:rPr lang="ja-JP" altLang="en-US" sz="1083" b="1" kern="0" dirty="0">
                <a:solidFill>
                  <a:srgbClr val="000000"/>
                </a:solidFill>
                <a:latin typeface="Arial"/>
                <a:ea typeface="ＭＳ Ｐゴシック"/>
              </a:rPr>
              <a:t>５．多様な主体の参加と</a:t>
            </a:r>
            <a:endParaRPr lang="en-US" altLang="ja-JP" sz="1083" b="1" kern="0" dirty="0">
              <a:solidFill>
                <a:srgbClr val="000000"/>
              </a:solidFill>
              <a:latin typeface="Arial"/>
              <a:ea typeface="ＭＳ Ｐゴシック"/>
            </a:endParaRPr>
          </a:p>
          <a:p>
            <a:pPr marL="271699" indent="-271699" algn="ctr" defTabSz="707499">
              <a:defRPr/>
            </a:pPr>
            <a:r>
              <a:rPr lang="ja-JP" altLang="en-US" sz="1083" b="1" kern="0" dirty="0">
                <a:solidFill>
                  <a:srgbClr val="000000"/>
                </a:solidFill>
                <a:latin typeface="Arial"/>
                <a:ea typeface="ＭＳ Ｐゴシック"/>
              </a:rPr>
              <a:t>官民連携による地域課題の解決</a:t>
            </a:r>
          </a:p>
        </p:txBody>
      </p:sp>
      <p:sp>
        <p:nvSpPr>
          <p:cNvPr id="10" name="二等辺三角形 9"/>
          <p:cNvSpPr/>
          <p:nvPr/>
        </p:nvSpPr>
        <p:spPr>
          <a:xfrm rot="10800000">
            <a:off x="4196803" y="2097082"/>
            <a:ext cx="1581060" cy="10568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99">
              <a:defRPr/>
            </a:pPr>
            <a:endParaRPr lang="ja-JP" altLang="en-US" sz="1393">
              <a:solidFill>
                <a:srgbClr val="FFFFFF"/>
              </a:solidFill>
              <a:latin typeface="Arial"/>
              <a:ea typeface="ＭＳ Ｐゴシック"/>
            </a:endParaRPr>
          </a:p>
        </p:txBody>
      </p:sp>
      <p:sp>
        <p:nvSpPr>
          <p:cNvPr id="47" name="テキスト ボックス 46"/>
          <p:cNvSpPr txBox="1"/>
          <p:nvPr/>
        </p:nvSpPr>
        <p:spPr>
          <a:xfrm>
            <a:off x="3268315" y="881323"/>
            <a:ext cx="3225944" cy="275781"/>
          </a:xfrm>
          <a:prstGeom prst="rect">
            <a:avLst/>
          </a:prstGeom>
          <a:noFill/>
        </p:spPr>
        <p:txBody>
          <a:bodyPr wrap="square" rtlCol="0">
            <a:spAutoFit/>
          </a:bodyPr>
          <a:lstStyle/>
          <a:p>
            <a:pPr algn="ctr" defTabSz="707499">
              <a:defRPr/>
            </a:pPr>
            <a:r>
              <a:rPr lang="ja-JP" altLang="en-US" sz="1192" b="1" dirty="0">
                <a:solidFill>
                  <a:srgbClr val="0070C0"/>
                </a:solidFill>
                <a:ea typeface="ＭＳ Ｐゴシック" charset="-128"/>
              </a:rPr>
              <a:t>◆国土利用をめぐる基本的条件の変化と課題</a:t>
            </a:r>
          </a:p>
        </p:txBody>
      </p:sp>
      <p:sp>
        <p:nvSpPr>
          <p:cNvPr id="63" name="テキスト ボックス 62"/>
          <p:cNvSpPr txBox="1"/>
          <p:nvPr/>
        </p:nvSpPr>
        <p:spPr>
          <a:xfrm>
            <a:off x="2911551" y="4636295"/>
            <a:ext cx="5853542" cy="275781"/>
          </a:xfrm>
          <a:prstGeom prst="rect">
            <a:avLst/>
          </a:prstGeom>
          <a:noFill/>
        </p:spPr>
        <p:txBody>
          <a:bodyPr wrap="square" rtlCol="0">
            <a:spAutoFit/>
          </a:bodyPr>
          <a:lstStyle/>
          <a:p>
            <a:pPr defTabSz="707499">
              <a:defRPr/>
            </a:pPr>
            <a:r>
              <a:rPr lang="ja-JP" altLang="en-US" sz="1192" b="1" dirty="0">
                <a:solidFill>
                  <a:srgbClr val="0070C0"/>
                </a:solidFill>
                <a:ea typeface="ＭＳ Ｐゴシック" charset="-128"/>
              </a:rPr>
              <a:t>◆地域類型別の基本方向　　　　　　　　　   </a:t>
            </a:r>
            <a:r>
              <a:rPr lang="en-US" altLang="ja-JP" sz="1192" b="1" dirty="0">
                <a:solidFill>
                  <a:srgbClr val="0070C0"/>
                </a:solidFill>
                <a:ea typeface="ＭＳ Ｐゴシック" charset="-128"/>
              </a:rPr>
              <a:t>      </a:t>
            </a:r>
            <a:r>
              <a:rPr lang="ja-JP" altLang="en-US" sz="1192" b="1" dirty="0">
                <a:solidFill>
                  <a:srgbClr val="0070C0"/>
                </a:solidFill>
                <a:ea typeface="ＭＳ Ｐゴシック" charset="-128"/>
              </a:rPr>
              <a:t>  ◆利用区分別の基本方向 </a:t>
            </a:r>
          </a:p>
        </p:txBody>
      </p:sp>
      <p:grpSp>
        <p:nvGrpSpPr>
          <p:cNvPr id="29" name="グループ化 28"/>
          <p:cNvGrpSpPr/>
          <p:nvPr/>
        </p:nvGrpSpPr>
        <p:grpSpPr>
          <a:xfrm>
            <a:off x="141667" y="2478190"/>
            <a:ext cx="3149486" cy="1231111"/>
            <a:chOff x="183107" y="2988933"/>
            <a:chExt cx="4070756" cy="1591229"/>
          </a:xfrm>
        </p:grpSpPr>
        <p:sp>
          <p:nvSpPr>
            <p:cNvPr id="51" name="コンテンツ プレースホルダー 2"/>
            <p:cNvSpPr txBox="1">
              <a:spLocks/>
            </p:cNvSpPr>
            <p:nvPr/>
          </p:nvSpPr>
          <p:spPr bwMode="auto">
            <a:xfrm>
              <a:off x="183107" y="2988933"/>
              <a:ext cx="4070756" cy="288000"/>
            </a:xfrm>
            <a:prstGeom prst="rect">
              <a:avLst/>
            </a:prstGeom>
            <a:solidFill>
              <a:schemeClr val="accent1"/>
            </a:solidFill>
            <a:ln>
              <a:solidFill>
                <a:schemeClr val="tx1"/>
              </a:solidFill>
              <a:prstDash val="solid"/>
            </a:ln>
          </p:spPr>
          <p:txBody>
            <a:bodyPr vert="horz" wrap="square" lIns="99044" tIns="49522" rIns="99044" bIns="49522" numCol="1" anchor="ctr"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194980" indent="-201196" algn="ctr" defTabSz="707499">
                <a:spcBef>
                  <a:spcPts val="325"/>
                </a:spcBef>
                <a:buNone/>
                <a:defRPr/>
              </a:pPr>
              <a:r>
                <a:rPr lang="ja-JP" altLang="en-US" sz="1083" b="1" kern="0" spc="-77" dirty="0">
                  <a:solidFill>
                    <a:srgbClr val="000000"/>
                  </a:solidFill>
                  <a:latin typeface="ＭＳ Ｐゴシック"/>
                  <a:ea typeface="ＭＳ Ｐゴシック"/>
                </a:rPr>
                <a:t>①地域全体の利益を実現する最適な国土利用・管理</a:t>
              </a:r>
              <a:endParaRPr lang="en-US" altLang="ja-JP" sz="1083" kern="0" spc="-77" dirty="0">
                <a:solidFill>
                  <a:srgbClr val="000000"/>
                </a:solidFill>
                <a:latin typeface="ＭＳ Ｐゴシック"/>
                <a:ea typeface="ＭＳ Ｐゴシック"/>
              </a:endParaRPr>
            </a:p>
          </p:txBody>
        </p:sp>
        <p:sp>
          <p:nvSpPr>
            <p:cNvPr id="38" name="コンテンツ プレースホルダー 2"/>
            <p:cNvSpPr txBox="1">
              <a:spLocks/>
            </p:cNvSpPr>
            <p:nvPr/>
          </p:nvSpPr>
          <p:spPr bwMode="auto">
            <a:xfrm>
              <a:off x="183717" y="3275404"/>
              <a:ext cx="4068000" cy="1304758"/>
            </a:xfrm>
            <a:prstGeom prst="rect">
              <a:avLst/>
            </a:prstGeom>
            <a:noFill/>
            <a:ln>
              <a:solidFill>
                <a:schemeClr val="tx1"/>
              </a:solidFill>
              <a:prstDash val="solid"/>
            </a:ln>
          </p:spPr>
          <p:txBody>
            <a:bodyPr vert="horz" wrap="square" lIns="83558" tIns="49522" rIns="83558" bIns="49522" numCol="1" anchor="ctr"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111417" indent="-139271" defTabSz="707499">
                <a:spcBef>
                  <a:spcPts val="217"/>
                </a:spcBef>
                <a:buNone/>
                <a:defRPr/>
              </a:pPr>
              <a:r>
                <a:rPr lang="ja-JP" altLang="en-US" sz="921" kern="0" dirty="0">
                  <a:solidFill>
                    <a:srgbClr val="000000"/>
                  </a:solidFill>
                  <a:latin typeface="ＭＳ Ｐゴシック"/>
                  <a:ea typeface="ＭＳ Ｐゴシック"/>
                </a:rPr>
                <a:t>○土地の利用・管理手法を定める</a:t>
              </a:r>
              <a:r>
                <a:rPr lang="ja-JP" altLang="en-US" sz="921" b="1" kern="0" dirty="0">
                  <a:solidFill>
                    <a:srgbClr val="000000"/>
                  </a:solidFill>
                  <a:latin typeface="ＭＳ Ｐゴシック"/>
                  <a:ea typeface="ＭＳ Ｐゴシック"/>
                </a:rPr>
                <a:t>地域管理構想の全国展開</a:t>
              </a:r>
              <a:endParaRPr lang="en-US" altLang="ja-JP" sz="921" b="1" kern="0" dirty="0">
                <a:solidFill>
                  <a:srgbClr val="000000"/>
                </a:solidFill>
                <a:latin typeface="ＭＳ Ｐゴシック"/>
                <a:ea typeface="ＭＳ Ｐゴシック"/>
              </a:endParaRPr>
            </a:p>
            <a:p>
              <a:pPr marL="154765" indent="-154765" defTabSz="707499">
                <a:spcBef>
                  <a:spcPts val="217"/>
                </a:spcBef>
                <a:buNone/>
                <a:defRPr/>
              </a:pPr>
              <a:r>
                <a:rPr lang="ja-JP" altLang="en-US" sz="921" kern="0" dirty="0">
                  <a:solidFill>
                    <a:srgbClr val="000000"/>
                  </a:solidFill>
                  <a:latin typeface="ＭＳ Ｐゴシック"/>
                  <a:ea typeface="ＭＳ Ｐゴシック"/>
                </a:rPr>
                <a:t>○</a:t>
              </a:r>
              <a:r>
                <a:rPr lang="ja-JP" altLang="en-US" sz="921" dirty="0">
                  <a:solidFill>
                    <a:srgbClr val="000000"/>
                  </a:solidFill>
                  <a:latin typeface="ＭＳ Ｐゴシック"/>
                  <a:ea typeface="ＭＳ Ｐゴシック"/>
                </a:rPr>
                <a:t>所有者不明土地や空き家の利用の円滑化、適正な管理</a:t>
              </a:r>
              <a:endParaRPr lang="en-US" altLang="ja-JP" sz="921" dirty="0">
                <a:solidFill>
                  <a:srgbClr val="000000"/>
                </a:solidFill>
                <a:latin typeface="ＭＳ Ｐゴシック"/>
                <a:ea typeface="ＭＳ Ｐゴシック"/>
              </a:endParaRPr>
            </a:p>
            <a:p>
              <a:pPr marL="154765" indent="-154765" defTabSz="707499">
                <a:spcBef>
                  <a:spcPts val="217"/>
                </a:spcBef>
                <a:buNone/>
                <a:defRPr/>
              </a:pPr>
              <a:r>
                <a:rPr lang="ja-JP" altLang="en-US" sz="921" kern="0" dirty="0">
                  <a:solidFill>
                    <a:srgbClr val="000000"/>
                  </a:solidFill>
                  <a:latin typeface="ＭＳ Ｐゴシック"/>
                  <a:ea typeface="ＭＳ Ｐゴシック"/>
                </a:rPr>
                <a:t>○荒廃農地の発生防止、利用</a:t>
              </a:r>
              <a:endParaRPr lang="en-US" altLang="ja-JP" sz="921" kern="0" dirty="0">
                <a:solidFill>
                  <a:srgbClr val="000000"/>
                </a:solidFill>
                <a:latin typeface="ＭＳ Ｐゴシック"/>
                <a:ea typeface="ＭＳ Ｐゴシック"/>
              </a:endParaRPr>
            </a:p>
            <a:p>
              <a:pPr marL="111417" indent="-154765" defTabSz="707499">
                <a:spcBef>
                  <a:spcPts val="217"/>
                </a:spcBef>
                <a:buNone/>
                <a:defRPr/>
              </a:pPr>
              <a:r>
                <a:rPr lang="ja-JP" altLang="en-US" sz="921" kern="0" dirty="0">
                  <a:solidFill>
                    <a:srgbClr val="000000"/>
                  </a:solidFill>
                  <a:latin typeface="ＭＳ Ｐゴシック"/>
                  <a:ea typeface="ＭＳ Ｐゴシック"/>
                </a:rPr>
                <a:t>○</a:t>
              </a:r>
              <a:r>
                <a:rPr lang="ja-JP" altLang="en-US" sz="921" b="1" kern="0" dirty="0">
                  <a:solidFill>
                    <a:srgbClr val="000000"/>
                  </a:solidFill>
                  <a:latin typeface="ＭＳ Ｐゴシック"/>
                  <a:ea typeface="ＭＳ Ｐゴシック"/>
                </a:rPr>
                <a:t>地域の持続性確保につながる産業集積のための土地利用転換</a:t>
              </a:r>
              <a:r>
                <a:rPr lang="ja-JP" altLang="en-US" sz="921" kern="0" dirty="0">
                  <a:solidFill>
                    <a:srgbClr val="000000"/>
                  </a:solidFill>
                  <a:latin typeface="ＭＳ Ｐゴシック"/>
                  <a:ea typeface="ＭＳ Ｐゴシック"/>
                </a:rPr>
                <a:t>など関連制度の弾力的活用や必要な見直し</a:t>
              </a:r>
              <a:endParaRPr lang="en-US" altLang="ja-JP" sz="921" kern="0" dirty="0">
                <a:solidFill>
                  <a:srgbClr val="000000"/>
                </a:solidFill>
                <a:latin typeface="ＭＳ Ｐゴシック"/>
                <a:ea typeface="ＭＳ Ｐゴシック"/>
              </a:endParaRPr>
            </a:p>
            <a:p>
              <a:pPr marL="111417" indent="-154765" defTabSz="707499">
                <a:spcBef>
                  <a:spcPts val="217"/>
                </a:spcBef>
                <a:buNone/>
                <a:defRPr/>
              </a:pPr>
              <a:r>
                <a:rPr lang="ja-JP" altLang="en-US" sz="921" kern="0" dirty="0">
                  <a:solidFill>
                    <a:srgbClr val="000000"/>
                  </a:solidFill>
                  <a:latin typeface="ＭＳ Ｐゴシック"/>
                  <a:ea typeface="ＭＳ Ｐゴシック"/>
                </a:rPr>
                <a:t>○重要土地等調査法に基づく調査等　　　　　　　　   　　　　等</a:t>
              </a:r>
            </a:p>
          </p:txBody>
        </p:sp>
      </p:grpSp>
      <p:grpSp>
        <p:nvGrpSpPr>
          <p:cNvPr id="28" name="グループ化 27"/>
          <p:cNvGrpSpPr/>
          <p:nvPr/>
        </p:nvGrpSpPr>
        <p:grpSpPr>
          <a:xfrm>
            <a:off x="3356495" y="2478189"/>
            <a:ext cx="3205179" cy="1230647"/>
            <a:chOff x="4338319" y="2988933"/>
            <a:chExt cx="4142741" cy="1590629"/>
          </a:xfrm>
        </p:grpSpPr>
        <p:sp>
          <p:nvSpPr>
            <p:cNvPr id="50" name="コンテンツ プレースホルダー 2"/>
            <p:cNvSpPr txBox="1">
              <a:spLocks/>
            </p:cNvSpPr>
            <p:nvPr/>
          </p:nvSpPr>
          <p:spPr bwMode="auto">
            <a:xfrm>
              <a:off x="4338319" y="2988933"/>
              <a:ext cx="4142741" cy="287999"/>
            </a:xfrm>
            <a:prstGeom prst="rect">
              <a:avLst/>
            </a:prstGeom>
            <a:solidFill>
              <a:schemeClr val="accent1"/>
            </a:solidFill>
            <a:ln>
              <a:solidFill>
                <a:schemeClr val="tx1"/>
              </a:solidFill>
              <a:prstDash val="solid"/>
            </a:ln>
          </p:spPr>
          <p:txBody>
            <a:bodyPr vert="horz" wrap="square" lIns="99044" tIns="49522" rIns="99044" bIns="49522" numCol="1" anchor="ctr"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194980" indent="-285456" algn="ctr" defTabSz="707499">
                <a:spcBef>
                  <a:spcPts val="325"/>
                </a:spcBef>
                <a:buNone/>
                <a:defRPr/>
              </a:pPr>
              <a:r>
                <a:rPr lang="ja-JP" altLang="en-US" sz="1083" b="1" kern="0" spc="-77" dirty="0">
                  <a:solidFill>
                    <a:srgbClr val="000000"/>
                  </a:solidFill>
                  <a:latin typeface="ＭＳ Ｐゴシック"/>
                  <a:ea typeface="ＭＳ Ｐゴシック"/>
                </a:rPr>
                <a:t>②土地本来の災害リスクを踏まえた賢い国土利用・管理</a:t>
              </a:r>
              <a:endParaRPr lang="en-US" altLang="ja-JP" sz="1083" kern="0" spc="-77" dirty="0">
                <a:solidFill>
                  <a:srgbClr val="000000"/>
                </a:solidFill>
                <a:latin typeface="ＭＳ Ｐゴシック"/>
                <a:ea typeface="ＭＳ Ｐゴシック"/>
              </a:endParaRPr>
            </a:p>
          </p:txBody>
        </p:sp>
        <p:sp>
          <p:nvSpPr>
            <p:cNvPr id="39" name="コンテンツ プレースホルダー 2"/>
            <p:cNvSpPr txBox="1">
              <a:spLocks/>
            </p:cNvSpPr>
            <p:nvPr/>
          </p:nvSpPr>
          <p:spPr bwMode="auto">
            <a:xfrm>
              <a:off x="4338847" y="3275403"/>
              <a:ext cx="4140000" cy="1304159"/>
            </a:xfrm>
            <a:prstGeom prst="rect">
              <a:avLst/>
            </a:prstGeom>
            <a:noFill/>
            <a:ln>
              <a:solidFill>
                <a:schemeClr val="tx1"/>
              </a:solidFill>
              <a:prstDash val="solid"/>
            </a:ln>
          </p:spPr>
          <p:txBody>
            <a:bodyPr vert="horz" wrap="square" lIns="83558" tIns="49522" rIns="83558" bIns="49522" numCol="1" anchor="t"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111417" indent="-201196" defTabSz="707499">
                <a:spcBef>
                  <a:spcPts val="217"/>
                </a:spcBef>
                <a:buNone/>
                <a:defRPr/>
              </a:pPr>
              <a:r>
                <a:rPr lang="ja-JP" altLang="en-US" sz="921" kern="0" dirty="0">
                  <a:solidFill>
                    <a:srgbClr val="000000"/>
                  </a:solidFill>
                  <a:latin typeface="ＭＳ Ｐゴシック"/>
                  <a:ea typeface="ＭＳ Ｐゴシック"/>
                </a:rPr>
                <a:t>○気候変動に伴う</a:t>
              </a:r>
              <a:r>
                <a:rPr lang="ja-JP" altLang="en-US" sz="921" b="1" kern="0" dirty="0">
                  <a:solidFill>
                    <a:srgbClr val="000000"/>
                  </a:solidFill>
                  <a:latin typeface="ＭＳ Ｐゴシック"/>
                  <a:ea typeface="ＭＳ Ｐゴシック"/>
                </a:rPr>
                <a:t>水災害の激甚化・頻発化に対応する「流域治水」の推進</a:t>
              </a:r>
              <a:endParaRPr lang="en-US" altLang="ja-JP" sz="921" b="1" kern="0" dirty="0">
                <a:solidFill>
                  <a:srgbClr val="000000"/>
                </a:solidFill>
                <a:latin typeface="ＭＳ Ｐゴシック"/>
                <a:ea typeface="ＭＳ Ｐゴシック"/>
              </a:endParaRPr>
            </a:p>
            <a:p>
              <a:pPr marL="155984" indent="-201196" defTabSz="707499">
                <a:spcBef>
                  <a:spcPts val="217"/>
                </a:spcBef>
                <a:buNone/>
                <a:defRPr/>
              </a:pPr>
              <a:r>
                <a:rPr lang="ja-JP" altLang="en-US" sz="921" kern="0" dirty="0">
                  <a:solidFill>
                    <a:srgbClr val="000000"/>
                  </a:solidFill>
                  <a:latin typeface="ＭＳ Ｐゴシック"/>
                  <a:ea typeface="ＭＳ Ｐゴシック"/>
                </a:rPr>
                <a:t>○災害ハザードエリアにおける開発抑制と居住誘導</a:t>
              </a:r>
              <a:endParaRPr lang="en-US" altLang="ja-JP" sz="921" kern="0" dirty="0">
                <a:solidFill>
                  <a:srgbClr val="000000"/>
                </a:solidFill>
                <a:latin typeface="ＭＳ Ｐゴシック"/>
                <a:ea typeface="ＭＳ Ｐゴシック"/>
              </a:endParaRPr>
            </a:p>
            <a:p>
              <a:pPr marL="155984" indent="-201196" defTabSz="707499">
                <a:spcBef>
                  <a:spcPts val="217"/>
                </a:spcBef>
                <a:buNone/>
                <a:defRPr/>
              </a:pPr>
              <a:r>
                <a:rPr lang="ja-JP" altLang="en-US" sz="921" kern="0">
                  <a:solidFill>
                    <a:srgbClr val="000000"/>
                  </a:solidFill>
                  <a:latin typeface="ＭＳ Ｐゴシック"/>
                  <a:ea typeface="ＭＳ Ｐゴシック"/>
                </a:rPr>
                <a:t>○水源かん養</a:t>
              </a:r>
              <a:r>
                <a:rPr lang="ja-JP" altLang="en-US" sz="921" kern="0" dirty="0">
                  <a:solidFill>
                    <a:srgbClr val="000000"/>
                  </a:solidFill>
                  <a:latin typeface="ＭＳ Ｐゴシック"/>
                  <a:ea typeface="ＭＳ Ｐゴシック"/>
                </a:rPr>
                <a:t>等に重要な役割を果たす森林の整備、保全</a:t>
              </a:r>
              <a:endParaRPr lang="en-US" altLang="ja-JP" sz="921" kern="0" dirty="0">
                <a:solidFill>
                  <a:srgbClr val="000000"/>
                </a:solidFill>
                <a:latin typeface="ＭＳ Ｐゴシック"/>
                <a:ea typeface="ＭＳ Ｐゴシック"/>
              </a:endParaRPr>
            </a:p>
            <a:p>
              <a:pPr marL="155984" indent="-201196" defTabSz="707499">
                <a:spcBef>
                  <a:spcPts val="217"/>
                </a:spcBef>
                <a:buNone/>
                <a:defRPr/>
              </a:pPr>
              <a:r>
                <a:rPr lang="ja-JP" altLang="en-US" sz="921" kern="0" dirty="0">
                  <a:solidFill>
                    <a:srgbClr val="000000"/>
                  </a:solidFill>
                  <a:latin typeface="ＭＳ Ｐゴシック"/>
                  <a:ea typeface="ＭＳ Ｐゴシック"/>
                </a:rPr>
                <a:t>○</a:t>
              </a:r>
              <a:r>
                <a:rPr lang="ja-JP" altLang="en-US" sz="921" b="1" kern="0" dirty="0">
                  <a:solidFill>
                    <a:srgbClr val="000000"/>
                  </a:solidFill>
                  <a:latin typeface="ＭＳ Ｐゴシック"/>
                  <a:ea typeface="ＭＳ Ｐゴシック"/>
                </a:rPr>
                <a:t>事前防災・事前復興</a:t>
              </a:r>
              <a:r>
                <a:rPr lang="ja-JP" altLang="en-US" sz="921" kern="0" dirty="0">
                  <a:solidFill>
                    <a:srgbClr val="000000"/>
                  </a:solidFill>
                  <a:latin typeface="ＭＳ Ｐゴシック"/>
                  <a:ea typeface="ＭＳ Ｐゴシック"/>
                </a:rPr>
                <a:t>の観点からの地域づくり　　　      　　等</a:t>
              </a:r>
              <a:endParaRPr lang="en-US" altLang="ja-JP" sz="921" kern="0" dirty="0">
                <a:solidFill>
                  <a:srgbClr val="000000"/>
                </a:solidFill>
                <a:latin typeface="ＭＳ Ｐゴシック"/>
                <a:ea typeface="ＭＳ Ｐゴシック"/>
              </a:endParaRPr>
            </a:p>
          </p:txBody>
        </p:sp>
      </p:grpSp>
      <p:grpSp>
        <p:nvGrpSpPr>
          <p:cNvPr id="30" name="グループ化 29"/>
          <p:cNvGrpSpPr/>
          <p:nvPr/>
        </p:nvGrpSpPr>
        <p:grpSpPr>
          <a:xfrm>
            <a:off x="5017534" y="3768428"/>
            <a:ext cx="4734955" cy="846627"/>
            <a:chOff x="6485238" y="4656584"/>
            <a:chExt cx="6119999" cy="1094278"/>
          </a:xfrm>
        </p:grpSpPr>
        <p:sp>
          <p:nvSpPr>
            <p:cNvPr id="52" name="コンテンツ プレースホルダー 2"/>
            <p:cNvSpPr txBox="1">
              <a:spLocks/>
            </p:cNvSpPr>
            <p:nvPr/>
          </p:nvSpPr>
          <p:spPr bwMode="auto">
            <a:xfrm>
              <a:off x="6485238" y="4656584"/>
              <a:ext cx="6119999" cy="288000"/>
            </a:xfrm>
            <a:prstGeom prst="rect">
              <a:avLst/>
            </a:prstGeom>
            <a:solidFill>
              <a:schemeClr val="accent1"/>
            </a:solidFill>
            <a:ln>
              <a:solidFill>
                <a:schemeClr val="tx1"/>
              </a:solidFill>
              <a:prstDash val="solid"/>
            </a:ln>
          </p:spPr>
          <p:txBody>
            <a:bodyPr vert="horz" wrap="square" lIns="99044" tIns="49522" rIns="99044" bIns="49522" numCol="1" anchor="ctr"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194980" indent="-285456" defTabSz="707499">
                <a:spcBef>
                  <a:spcPts val="325"/>
                </a:spcBef>
                <a:buNone/>
                <a:defRPr/>
              </a:pPr>
              <a:r>
                <a:rPr lang="ja-JP" altLang="en-US" sz="1083" b="1" kern="0" dirty="0">
                  <a:solidFill>
                    <a:srgbClr val="000000"/>
                  </a:solidFill>
                  <a:latin typeface="ＭＳ Ｐゴシック"/>
                  <a:ea typeface="ＭＳ Ｐゴシック"/>
                </a:rPr>
                <a:t>⑤多様な主体の参加と官民連携による国土利用・管理</a:t>
              </a:r>
              <a:endParaRPr lang="en-US" altLang="ja-JP" sz="1083" kern="0" dirty="0">
                <a:solidFill>
                  <a:srgbClr val="000000"/>
                </a:solidFill>
                <a:latin typeface="ＭＳ Ｐゴシック"/>
                <a:ea typeface="ＭＳ Ｐゴシック"/>
              </a:endParaRPr>
            </a:p>
          </p:txBody>
        </p:sp>
        <p:sp>
          <p:nvSpPr>
            <p:cNvPr id="54" name="コンテンツ プレースホルダー 2"/>
            <p:cNvSpPr txBox="1">
              <a:spLocks/>
            </p:cNvSpPr>
            <p:nvPr/>
          </p:nvSpPr>
          <p:spPr bwMode="auto">
            <a:xfrm>
              <a:off x="6485238" y="4941840"/>
              <a:ext cx="6119999" cy="809022"/>
            </a:xfrm>
            <a:prstGeom prst="rect">
              <a:avLst/>
            </a:prstGeom>
            <a:noFill/>
            <a:ln>
              <a:solidFill>
                <a:schemeClr val="tx1"/>
              </a:solidFill>
              <a:prstDash val="solid"/>
            </a:ln>
          </p:spPr>
          <p:txBody>
            <a:bodyPr vert="horz" wrap="square" lIns="99044" tIns="49522" rIns="99044" bIns="49522" numCol="1" anchor="t"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111417" indent="-139271" defTabSz="707499">
                <a:spcBef>
                  <a:spcPts val="217"/>
                </a:spcBef>
                <a:buNone/>
                <a:defRPr/>
              </a:pPr>
              <a:r>
                <a:rPr lang="ja-JP" altLang="en-US" sz="921" kern="0" dirty="0">
                  <a:solidFill>
                    <a:srgbClr val="000000"/>
                  </a:solidFill>
                  <a:latin typeface="ＭＳ Ｐゴシック"/>
                  <a:ea typeface="ＭＳ Ｐゴシック"/>
                </a:rPr>
                <a:t>○適切な利用・管理が行われていない土地の公共的管理の促進、利用拡大に向けた民の力の最大限の活用など官民連携の推進</a:t>
              </a:r>
              <a:endParaRPr lang="en-US" altLang="ja-JP" sz="921" kern="0" dirty="0">
                <a:solidFill>
                  <a:srgbClr val="000000"/>
                </a:solidFill>
                <a:latin typeface="ＭＳ Ｐゴシック"/>
                <a:ea typeface="ＭＳ Ｐゴシック"/>
              </a:endParaRPr>
            </a:p>
            <a:p>
              <a:pPr marL="201196" indent="-201196" defTabSz="707499">
                <a:spcBef>
                  <a:spcPts val="217"/>
                </a:spcBef>
                <a:buNone/>
                <a:defRPr/>
              </a:pPr>
              <a:r>
                <a:rPr lang="ja-JP" altLang="en-US" sz="921" kern="0" dirty="0">
                  <a:solidFill>
                    <a:srgbClr val="000000"/>
                  </a:solidFill>
                  <a:latin typeface="ＭＳ Ｐゴシック"/>
                  <a:ea typeface="ＭＳ Ｐゴシック"/>
                </a:rPr>
                <a:t>○多様な主体の参加や連携を促進する</a:t>
              </a:r>
              <a:r>
                <a:rPr lang="ja-JP" altLang="en-US" sz="921" b="1" kern="0" dirty="0">
                  <a:solidFill>
                    <a:srgbClr val="000000"/>
                  </a:solidFill>
                  <a:latin typeface="ＭＳ Ｐゴシック"/>
                  <a:ea typeface="ＭＳ Ｐゴシック"/>
                </a:rPr>
                <a:t>コーディネート機能の確保</a:t>
              </a:r>
              <a:r>
                <a:rPr lang="ja-JP" altLang="en-US" sz="921" kern="0" dirty="0">
                  <a:solidFill>
                    <a:srgbClr val="000000"/>
                  </a:solidFill>
                  <a:latin typeface="ＭＳ Ｐゴシック"/>
                  <a:ea typeface="ＭＳ Ｐゴシック"/>
                </a:rPr>
                <a:t>　　　　　　　　　　         　等</a:t>
              </a:r>
              <a:endParaRPr lang="en-US" altLang="ja-JP" sz="921" kern="0" dirty="0">
                <a:solidFill>
                  <a:srgbClr val="000000"/>
                </a:solidFill>
                <a:latin typeface="ＭＳ Ｐゴシック"/>
                <a:ea typeface="ＭＳ Ｐゴシック"/>
              </a:endParaRPr>
            </a:p>
          </p:txBody>
        </p:sp>
      </p:grpSp>
      <p:grpSp>
        <p:nvGrpSpPr>
          <p:cNvPr id="19" name="グループ化 18"/>
          <p:cNvGrpSpPr/>
          <p:nvPr/>
        </p:nvGrpSpPr>
        <p:grpSpPr>
          <a:xfrm>
            <a:off x="144200" y="3768427"/>
            <a:ext cx="4732398" cy="846626"/>
            <a:chOff x="186380" y="4656584"/>
            <a:chExt cx="6116695" cy="1094277"/>
          </a:xfrm>
        </p:grpSpPr>
        <p:sp>
          <p:nvSpPr>
            <p:cNvPr id="48" name="コンテンツ プレースホルダー 2"/>
            <p:cNvSpPr txBox="1">
              <a:spLocks/>
            </p:cNvSpPr>
            <p:nvPr/>
          </p:nvSpPr>
          <p:spPr bwMode="auto">
            <a:xfrm>
              <a:off x="186380" y="4656584"/>
              <a:ext cx="6116695" cy="288000"/>
            </a:xfrm>
            <a:prstGeom prst="rect">
              <a:avLst/>
            </a:prstGeom>
            <a:solidFill>
              <a:schemeClr val="accent1"/>
            </a:solidFill>
            <a:ln>
              <a:solidFill>
                <a:schemeClr val="tx1"/>
              </a:solidFill>
              <a:prstDash val="solid"/>
            </a:ln>
          </p:spPr>
          <p:txBody>
            <a:bodyPr vert="horz" wrap="square" lIns="99044" tIns="49522" rIns="99044" bIns="49522" numCol="1" anchor="ctr"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0" indent="0" defTabSz="707499">
                <a:spcBef>
                  <a:spcPts val="325"/>
                </a:spcBef>
                <a:buNone/>
                <a:defRPr/>
              </a:pPr>
              <a:r>
                <a:rPr lang="ja-JP" altLang="en-US" sz="1083" b="1" kern="0" dirty="0">
                  <a:solidFill>
                    <a:srgbClr val="000000"/>
                  </a:solidFill>
                  <a:latin typeface="ＭＳ Ｐゴシック"/>
                  <a:ea typeface="ＭＳ Ｐゴシック"/>
                </a:rPr>
                <a:t>④国土利用・管理ＤＸ</a:t>
              </a:r>
              <a:endParaRPr lang="ja-JP" altLang="en-US" sz="1083" kern="0" dirty="0">
                <a:solidFill>
                  <a:srgbClr val="000000"/>
                </a:solidFill>
                <a:latin typeface="ＭＳ Ｐゴシック"/>
                <a:ea typeface="ＭＳ Ｐゴシック"/>
              </a:endParaRPr>
            </a:p>
          </p:txBody>
        </p:sp>
        <p:sp>
          <p:nvSpPr>
            <p:cNvPr id="55" name="コンテンツ プレースホルダー 2"/>
            <p:cNvSpPr txBox="1">
              <a:spLocks/>
            </p:cNvSpPr>
            <p:nvPr/>
          </p:nvSpPr>
          <p:spPr bwMode="auto">
            <a:xfrm>
              <a:off x="187323" y="4942431"/>
              <a:ext cx="6115752" cy="808430"/>
            </a:xfrm>
            <a:prstGeom prst="rect">
              <a:avLst/>
            </a:prstGeom>
            <a:noFill/>
            <a:ln>
              <a:solidFill>
                <a:schemeClr val="tx1"/>
              </a:solidFill>
              <a:prstDash val="solid"/>
            </a:ln>
          </p:spPr>
          <p:txBody>
            <a:bodyPr vert="horz" wrap="square" lIns="99044" tIns="49522" rIns="99044" bIns="49522" numCol="1" anchor="ctr"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111417" indent="-139271" defTabSz="707499">
                <a:spcBef>
                  <a:spcPts val="217"/>
                </a:spcBef>
                <a:buNone/>
                <a:defRPr/>
              </a:pPr>
              <a:r>
                <a:rPr lang="ja-JP" altLang="en-US" sz="921" kern="0" dirty="0">
                  <a:solidFill>
                    <a:srgbClr val="000000"/>
                  </a:solidFill>
                  <a:latin typeface="ＭＳ Ｐゴシック"/>
                  <a:ea typeface="ＭＳ Ｐゴシック"/>
                </a:rPr>
                <a:t>○地理空間情報等のデジタルデータ、リモートセンシング等のデジタル技術の徹底活用による国土利用・管理の効率化・高度化</a:t>
              </a:r>
              <a:endParaRPr lang="en-US" altLang="ja-JP" sz="921" kern="0" dirty="0">
                <a:solidFill>
                  <a:srgbClr val="000000"/>
                </a:solidFill>
                <a:latin typeface="ＭＳ Ｐゴシック"/>
                <a:ea typeface="ＭＳ Ｐゴシック"/>
              </a:endParaRPr>
            </a:p>
            <a:p>
              <a:pPr marL="111417" indent="-139271" defTabSz="707499">
                <a:spcBef>
                  <a:spcPts val="217"/>
                </a:spcBef>
                <a:buNone/>
                <a:defRPr/>
              </a:pPr>
              <a:r>
                <a:rPr lang="ja-JP" altLang="en-US" sz="921" kern="0" dirty="0">
                  <a:solidFill>
                    <a:srgbClr val="000000"/>
                  </a:solidFill>
                  <a:latin typeface="ＭＳ Ｐゴシック"/>
                  <a:ea typeface="ＭＳ Ｐゴシック"/>
                </a:rPr>
                <a:t>○効率的・効果的な国土管理を実現するため、各主体が所有する</a:t>
              </a:r>
              <a:r>
                <a:rPr lang="ja-JP" altLang="en-US" sz="921" b="1" kern="0" dirty="0">
                  <a:solidFill>
                    <a:srgbClr val="000000"/>
                  </a:solidFill>
                  <a:latin typeface="ＭＳ Ｐゴシック"/>
                  <a:ea typeface="ＭＳ Ｐゴシック"/>
                </a:rPr>
                <a:t>データのオープン化、連携</a:t>
              </a:r>
              <a:r>
                <a:rPr lang="ja-JP" altLang="en-US" sz="921" kern="0" dirty="0">
                  <a:solidFill>
                    <a:srgbClr val="000000"/>
                  </a:solidFill>
                  <a:latin typeface="ＭＳ Ｐゴシック"/>
                  <a:ea typeface="ＭＳ Ｐゴシック"/>
                </a:rPr>
                <a:t>促進　　　　　　　　　　　　　　　　　　　　　　　　　　　　　　　　　　　　　　　　　　　　　               等</a:t>
              </a:r>
              <a:r>
                <a:rPr lang="ja-JP" altLang="en-US" sz="975" kern="0" dirty="0">
                  <a:solidFill>
                    <a:srgbClr val="000000"/>
                  </a:solidFill>
                  <a:latin typeface="ＭＳ Ｐゴシック"/>
                  <a:ea typeface="ＭＳ Ｐゴシック"/>
                </a:rPr>
                <a:t>　</a:t>
              </a:r>
            </a:p>
          </p:txBody>
        </p:sp>
      </p:grpSp>
      <p:grpSp>
        <p:nvGrpSpPr>
          <p:cNvPr id="23" name="グループ化 22"/>
          <p:cNvGrpSpPr/>
          <p:nvPr/>
        </p:nvGrpSpPr>
        <p:grpSpPr>
          <a:xfrm>
            <a:off x="6623516" y="2478189"/>
            <a:ext cx="3147352" cy="1230647"/>
            <a:chOff x="8560993" y="2988933"/>
            <a:chExt cx="4068000" cy="1590629"/>
          </a:xfrm>
        </p:grpSpPr>
        <p:sp>
          <p:nvSpPr>
            <p:cNvPr id="49" name="コンテンツ プレースホルダー 2"/>
            <p:cNvSpPr txBox="1">
              <a:spLocks/>
            </p:cNvSpPr>
            <p:nvPr/>
          </p:nvSpPr>
          <p:spPr bwMode="auto">
            <a:xfrm>
              <a:off x="8560993" y="2988933"/>
              <a:ext cx="4068000" cy="288000"/>
            </a:xfrm>
            <a:prstGeom prst="rect">
              <a:avLst/>
            </a:prstGeom>
            <a:solidFill>
              <a:schemeClr val="accent1"/>
            </a:solidFill>
            <a:ln>
              <a:solidFill>
                <a:schemeClr val="tx1"/>
              </a:solidFill>
              <a:prstDash val="solid"/>
            </a:ln>
          </p:spPr>
          <p:txBody>
            <a:bodyPr vert="horz" wrap="square" lIns="99044" tIns="49522" rIns="99044" bIns="49522" numCol="1" anchor="ctr"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194980" indent="-285456" algn="ctr" defTabSz="707499">
                <a:spcBef>
                  <a:spcPts val="325"/>
                </a:spcBef>
                <a:buNone/>
                <a:defRPr/>
              </a:pPr>
              <a:r>
                <a:rPr lang="ja-JP" altLang="en-US" sz="1083" b="1" kern="0" spc="-77" dirty="0">
                  <a:solidFill>
                    <a:srgbClr val="000000"/>
                  </a:solidFill>
                  <a:latin typeface="ＭＳ Ｐゴシック"/>
                  <a:ea typeface="ＭＳ Ｐゴシック"/>
                </a:rPr>
                <a:t>③健全な生態系の確保によりつながる国土利用・管理</a:t>
              </a:r>
              <a:endParaRPr lang="en-US" altLang="ja-JP" sz="1083" kern="0" spc="-77" dirty="0">
                <a:solidFill>
                  <a:srgbClr val="000000"/>
                </a:solidFill>
                <a:latin typeface="ＭＳ Ｐゴシック"/>
                <a:ea typeface="ＭＳ Ｐゴシック"/>
              </a:endParaRPr>
            </a:p>
          </p:txBody>
        </p:sp>
        <p:sp>
          <p:nvSpPr>
            <p:cNvPr id="83" name="コンテンツ プレースホルダー 2"/>
            <p:cNvSpPr txBox="1">
              <a:spLocks/>
            </p:cNvSpPr>
            <p:nvPr/>
          </p:nvSpPr>
          <p:spPr bwMode="auto">
            <a:xfrm>
              <a:off x="8560993" y="3275404"/>
              <a:ext cx="4068000" cy="1304158"/>
            </a:xfrm>
            <a:prstGeom prst="rect">
              <a:avLst/>
            </a:prstGeom>
            <a:noFill/>
            <a:ln>
              <a:solidFill>
                <a:schemeClr val="tx1"/>
              </a:solidFill>
              <a:prstDash val="solid"/>
            </a:ln>
            <a:extLst>
              <a:ext uri="{909E8E84-426E-40DD-AFC4-6F175D3DCCD1}">
                <a14:hiddenFill xmlns:a14="http://schemas.microsoft.com/office/drawing/2010/main">
                  <a:solidFill>
                    <a:srgbClr val="FFFFFF"/>
                  </a:solidFill>
                </a14:hiddenFill>
              </a:ext>
            </a:extLst>
          </p:spPr>
          <p:txBody>
            <a:bodyPr vert="horz" wrap="square" lIns="83558" tIns="50135" rIns="83558" bIns="50135" numCol="1" anchor="ctr" anchorCtr="0" compatLnSpc="1">
              <a:prstTxWarp prst="textNoShape">
                <a:avLst/>
              </a:prstTxWarp>
            </a:bodyPr>
            <a:lstStyle>
              <a:lvl1pPr marL="480060" indent="-480060" algn="l" rtl="0" eaLnBrk="1" fontAlgn="base" hangingPunct="1">
                <a:spcBef>
                  <a:spcPct val="20000"/>
                </a:spcBef>
                <a:spcAft>
                  <a:spcPct val="0"/>
                </a:spcAft>
                <a:buChar char="•"/>
                <a:defRPr kumimoji="1" sz="4480">
                  <a:solidFill>
                    <a:schemeClr val="tx1"/>
                  </a:solidFill>
                  <a:latin typeface="+mn-lt"/>
                  <a:ea typeface="+mn-ea"/>
                  <a:cs typeface="+mn-cs"/>
                </a:defRPr>
              </a:lvl1pPr>
              <a:lvl2pPr marL="1040130" indent="-400050" algn="l" rtl="0" eaLnBrk="1" fontAlgn="base" hangingPunct="1">
                <a:spcBef>
                  <a:spcPct val="20000"/>
                </a:spcBef>
                <a:spcAft>
                  <a:spcPct val="0"/>
                </a:spcAft>
                <a:buChar char="–"/>
                <a:defRPr kumimoji="1" sz="3920">
                  <a:solidFill>
                    <a:schemeClr val="tx1"/>
                  </a:solidFill>
                  <a:latin typeface="+mn-lt"/>
                  <a:ea typeface="+mn-ea"/>
                </a:defRPr>
              </a:lvl2pPr>
              <a:lvl3pPr marL="1600200" indent="-320040" algn="l" rtl="0" eaLnBrk="1" fontAlgn="base" hangingPunct="1">
                <a:spcBef>
                  <a:spcPct val="20000"/>
                </a:spcBef>
                <a:spcAft>
                  <a:spcPct val="0"/>
                </a:spcAft>
                <a:buChar char="•"/>
                <a:defRPr kumimoji="1" sz="3360">
                  <a:solidFill>
                    <a:schemeClr val="tx1"/>
                  </a:solidFill>
                  <a:latin typeface="+mn-lt"/>
                  <a:ea typeface="+mn-ea"/>
                </a:defRPr>
              </a:lvl3pPr>
              <a:lvl4pPr marL="2240280" indent="-320040" algn="l" rtl="0" eaLnBrk="1" fontAlgn="base" hangingPunct="1">
                <a:spcBef>
                  <a:spcPct val="20000"/>
                </a:spcBef>
                <a:spcAft>
                  <a:spcPct val="0"/>
                </a:spcAft>
                <a:buChar char="–"/>
                <a:defRPr kumimoji="1" sz="2800">
                  <a:solidFill>
                    <a:schemeClr val="tx1"/>
                  </a:solidFill>
                  <a:latin typeface="+mn-lt"/>
                  <a:ea typeface="+mn-ea"/>
                </a:defRPr>
              </a:lvl4pPr>
              <a:lvl5pPr marL="2880360" indent="-320040" algn="l" rtl="0" eaLnBrk="1" fontAlgn="base" hangingPunct="1">
                <a:spcBef>
                  <a:spcPct val="20000"/>
                </a:spcBef>
                <a:spcAft>
                  <a:spcPct val="0"/>
                </a:spcAft>
                <a:buChar char="»"/>
                <a:defRPr kumimoji="1" sz="2800">
                  <a:solidFill>
                    <a:schemeClr val="tx1"/>
                  </a:solidFill>
                  <a:latin typeface="+mn-lt"/>
                  <a:ea typeface="+mn-ea"/>
                </a:defRPr>
              </a:lvl5pPr>
              <a:lvl6pPr marL="3520440" indent="-320040" algn="l" rtl="0" eaLnBrk="1" fontAlgn="base" hangingPunct="1">
                <a:spcBef>
                  <a:spcPct val="20000"/>
                </a:spcBef>
                <a:spcAft>
                  <a:spcPct val="0"/>
                </a:spcAft>
                <a:buChar char="»"/>
                <a:defRPr kumimoji="1" sz="2800">
                  <a:solidFill>
                    <a:schemeClr val="tx1"/>
                  </a:solidFill>
                  <a:latin typeface="+mn-lt"/>
                  <a:ea typeface="+mn-ea"/>
                </a:defRPr>
              </a:lvl6pPr>
              <a:lvl7pPr marL="4160520" indent="-320040" algn="l" rtl="0" eaLnBrk="1" fontAlgn="base" hangingPunct="1">
                <a:spcBef>
                  <a:spcPct val="20000"/>
                </a:spcBef>
                <a:spcAft>
                  <a:spcPct val="0"/>
                </a:spcAft>
                <a:buChar char="»"/>
                <a:defRPr kumimoji="1" sz="2800">
                  <a:solidFill>
                    <a:schemeClr val="tx1"/>
                  </a:solidFill>
                  <a:latin typeface="+mn-lt"/>
                  <a:ea typeface="+mn-ea"/>
                </a:defRPr>
              </a:lvl7pPr>
              <a:lvl8pPr marL="4800600" indent="-320040" algn="l" rtl="0" eaLnBrk="1" fontAlgn="base" hangingPunct="1">
                <a:spcBef>
                  <a:spcPct val="20000"/>
                </a:spcBef>
                <a:spcAft>
                  <a:spcPct val="0"/>
                </a:spcAft>
                <a:buChar char="»"/>
                <a:defRPr kumimoji="1" sz="2800">
                  <a:solidFill>
                    <a:schemeClr val="tx1"/>
                  </a:solidFill>
                  <a:latin typeface="+mn-lt"/>
                  <a:ea typeface="+mn-ea"/>
                </a:defRPr>
              </a:lvl8pPr>
              <a:lvl9pPr marL="5440680" indent="-320040" algn="l" rtl="0" eaLnBrk="1" fontAlgn="base" hangingPunct="1">
                <a:spcBef>
                  <a:spcPct val="20000"/>
                </a:spcBef>
                <a:spcAft>
                  <a:spcPct val="0"/>
                </a:spcAft>
                <a:buChar char="»"/>
                <a:defRPr kumimoji="1" sz="2800">
                  <a:solidFill>
                    <a:schemeClr val="tx1"/>
                  </a:solidFill>
                  <a:latin typeface="+mn-lt"/>
                  <a:ea typeface="+mn-ea"/>
                </a:defRPr>
              </a:lvl9pPr>
            </a:lstStyle>
            <a:p>
              <a:pPr marL="111417" indent="-139271" defTabSz="707499">
                <a:spcBef>
                  <a:spcPts val="217"/>
                </a:spcBef>
                <a:buNone/>
                <a:defRPr/>
              </a:pPr>
              <a:r>
                <a:rPr lang="ja-JP" altLang="en-US" sz="921" kern="0" dirty="0">
                  <a:solidFill>
                    <a:srgbClr val="000000"/>
                  </a:solidFill>
                  <a:latin typeface="ＭＳ Ｐゴシック"/>
                  <a:ea typeface="ＭＳ Ｐゴシック"/>
                </a:rPr>
                <a:t>○</a:t>
              </a:r>
              <a:r>
                <a:rPr lang="ja-JP" altLang="en-US" sz="921" b="1" kern="0" dirty="0">
                  <a:solidFill>
                    <a:srgbClr val="000000"/>
                  </a:solidFill>
                  <a:latin typeface="ＭＳ Ｐゴシック"/>
                  <a:ea typeface="ＭＳ Ｐゴシック"/>
                </a:rPr>
                <a:t>保護地域の拡充、</a:t>
              </a:r>
              <a:r>
                <a:rPr lang="en-US" altLang="ja-JP" sz="921" b="1" kern="0" dirty="0">
                  <a:solidFill>
                    <a:srgbClr val="000000"/>
                  </a:solidFill>
                  <a:latin typeface="ＭＳ Ｐゴシック"/>
                  <a:ea typeface="ＭＳ Ｐゴシック"/>
                </a:rPr>
                <a:t>OECM</a:t>
              </a:r>
              <a:r>
                <a:rPr lang="ja-JP" altLang="en-US" sz="921" b="1" kern="0" dirty="0">
                  <a:solidFill>
                    <a:srgbClr val="000000"/>
                  </a:solidFill>
                  <a:latin typeface="ＭＳ Ｐゴシック"/>
                  <a:ea typeface="ＭＳ Ｐゴシック"/>
                </a:rPr>
                <a:t>の設定・管理促進による広域的な生態系ネットワークの形成</a:t>
              </a:r>
              <a:endParaRPr lang="en-US" altLang="ja-JP" sz="921" b="1" kern="0" dirty="0">
                <a:solidFill>
                  <a:srgbClr val="000000"/>
                </a:solidFill>
                <a:latin typeface="ＭＳ Ｐゴシック"/>
                <a:ea typeface="ＭＳ Ｐゴシック"/>
              </a:endParaRPr>
            </a:p>
            <a:p>
              <a:pPr marL="111417" indent="-139271" defTabSz="707499">
                <a:spcBef>
                  <a:spcPts val="217"/>
                </a:spcBef>
                <a:buNone/>
                <a:defRPr/>
              </a:pPr>
              <a:r>
                <a:rPr lang="ja-JP" altLang="en-US" sz="921" kern="0" dirty="0">
                  <a:solidFill>
                    <a:srgbClr val="000000"/>
                  </a:solidFill>
                  <a:latin typeface="ＭＳ Ｐゴシック"/>
                  <a:ea typeface="ＭＳ Ｐゴシック"/>
                </a:rPr>
                <a:t>○グリーンインフラ、</a:t>
              </a:r>
              <a:r>
                <a:rPr lang="en-US" altLang="ja-JP" sz="921" kern="0" dirty="0">
                  <a:solidFill>
                    <a:srgbClr val="000000"/>
                  </a:solidFill>
                  <a:latin typeface="ＭＳ Ｐゴシック"/>
                  <a:ea typeface="ＭＳ Ｐゴシック"/>
                </a:rPr>
                <a:t>Eco-DRR</a:t>
              </a:r>
              <a:r>
                <a:rPr lang="ja-JP" altLang="en-US" sz="921" kern="0" dirty="0">
                  <a:solidFill>
                    <a:srgbClr val="000000"/>
                  </a:solidFill>
                  <a:latin typeface="ＭＳ Ｐゴシック"/>
                  <a:ea typeface="ＭＳ Ｐゴシック"/>
                </a:rPr>
                <a:t>など自然環境が有する多様な機能を活用した地域課題の解決</a:t>
              </a:r>
              <a:endParaRPr lang="en-US" altLang="ja-JP" sz="921" kern="0" dirty="0">
                <a:solidFill>
                  <a:srgbClr val="000000"/>
                </a:solidFill>
                <a:latin typeface="ＭＳ Ｐゴシック"/>
                <a:ea typeface="ＭＳ Ｐゴシック"/>
              </a:endParaRPr>
            </a:p>
            <a:p>
              <a:pPr marL="111417" indent="-139271" defTabSz="707499">
                <a:spcBef>
                  <a:spcPts val="217"/>
                </a:spcBef>
                <a:buNone/>
                <a:defRPr/>
              </a:pPr>
              <a:r>
                <a:rPr lang="ja-JP" altLang="en-US" sz="921" kern="0" dirty="0">
                  <a:solidFill>
                    <a:srgbClr val="000000"/>
                  </a:solidFill>
                  <a:latin typeface="ＭＳ Ｐゴシック"/>
                  <a:ea typeface="ＭＳ Ｐゴシック"/>
                </a:rPr>
                <a:t>○カーボンニュートラルの実現に向けた</a:t>
              </a:r>
              <a:r>
                <a:rPr lang="ja-JP" altLang="en-US" sz="921" b="1" kern="0" dirty="0">
                  <a:solidFill>
                    <a:srgbClr val="000000"/>
                  </a:solidFill>
                  <a:latin typeface="ＭＳ Ｐゴシック"/>
                  <a:ea typeface="ＭＳ Ｐゴシック"/>
                </a:rPr>
                <a:t>地域共生型の再生可能エネルギー</a:t>
              </a:r>
              <a:r>
                <a:rPr lang="ja-JP" altLang="en-US" sz="921" kern="0" dirty="0">
                  <a:solidFill>
                    <a:srgbClr val="000000"/>
                  </a:solidFill>
                  <a:latin typeface="ＭＳ Ｐゴシック"/>
                  <a:ea typeface="ＭＳ Ｐゴシック"/>
                </a:rPr>
                <a:t>関連施設の立地誘導　　　　　　　　       等</a:t>
              </a:r>
              <a:endParaRPr lang="en-US" altLang="ja-JP" sz="921" kern="0" dirty="0">
                <a:solidFill>
                  <a:srgbClr val="000000"/>
                </a:solidFill>
                <a:latin typeface="ＭＳ Ｐゴシック"/>
                <a:ea typeface="ＭＳ Ｐゴシック"/>
              </a:endParaRPr>
            </a:p>
          </p:txBody>
        </p:sp>
      </p:grpSp>
      <p:sp>
        <p:nvSpPr>
          <p:cNvPr id="13" name="正方形/長方形 12"/>
          <p:cNvSpPr/>
          <p:nvPr/>
        </p:nvSpPr>
        <p:spPr>
          <a:xfrm>
            <a:off x="4118164" y="4891318"/>
            <a:ext cx="2003984" cy="1026371"/>
          </a:xfrm>
          <a:prstGeom prst="rect">
            <a:avLst/>
          </a:prstGeom>
        </p:spPr>
        <p:txBody>
          <a:bodyPr wrap="square">
            <a:spAutoFit/>
          </a:bodyPr>
          <a:lstStyle/>
          <a:p>
            <a:pPr marL="83562" indent="-83562" defTabSz="707499">
              <a:defRPr/>
            </a:pPr>
            <a:r>
              <a:rPr lang="ja-JP" altLang="en-US" sz="867" dirty="0">
                <a:solidFill>
                  <a:srgbClr val="000000"/>
                </a:solidFill>
                <a:ea typeface="ＭＳ Ｐゴシック" charset="-128"/>
              </a:rPr>
              <a:t>○中心部や生活拠点等への都市機能や居住の集約化</a:t>
            </a:r>
            <a:endParaRPr lang="en-US" altLang="ja-JP" sz="867" dirty="0">
              <a:solidFill>
                <a:srgbClr val="000000"/>
              </a:solidFill>
              <a:ea typeface="ＭＳ Ｐゴシック" charset="-128"/>
            </a:endParaRPr>
          </a:p>
          <a:p>
            <a:pPr marL="83562" indent="-83562" defTabSz="707499">
              <a:defRPr/>
            </a:pPr>
            <a:r>
              <a:rPr lang="ja-JP" altLang="en-US" sz="867" dirty="0">
                <a:solidFill>
                  <a:srgbClr val="000000"/>
                </a:solidFill>
                <a:ea typeface="ＭＳ Ｐゴシック" charset="-128"/>
              </a:rPr>
              <a:t>○災害ハザードエリアの開発抑制とより安全な地域への居住誘導</a:t>
            </a:r>
            <a:endParaRPr lang="en-US" altLang="ja-JP" sz="867" dirty="0">
              <a:solidFill>
                <a:srgbClr val="000000"/>
              </a:solidFill>
              <a:ea typeface="ＭＳ Ｐゴシック" charset="-128"/>
            </a:endParaRPr>
          </a:p>
          <a:p>
            <a:pPr marL="83562" indent="-83562" defTabSz="707499">
              <a:defRPr/>
            </a:pPr>
            <a:r>
              <a:rPr lang="ja-JP" altLang="en-US" sz="867" kern="0" dirty="0">
                <a:solidFill>
                  <a:srgbClr val="000000"/>
                </a:solidFill>
                <a:ea typeface="ＭＳ Ｐゴシック" charset="-128"/>
              </a:rPr>
              <a:t>○農用地の保全等による活性化</a:t>
            </a:r>
            <a:endParaRPr lang="en-US" altLang="ja-JP" sz="867" kern="0" dirty="0">
              <a:solidFill>
                <a:srgbClr val="000000"/>
              </a:solidFill>
              <a:ea typeface="ＭＳ Ｐゴシック" charset="-128"/>
            </a:endParaRPr>
          </a:p>
          <a:p>
            <a:pPr marL="83562" indent="-83562" defTabSz="707499">
              <a:defRPr/>
            </a:pPr>
            <a:r>
              <a:rPr lang="ja-JP" altLang="en-US" sz="867" kern="0" dirty="0">
                <a:solidFill>
                  <a:srgbClr val="000000"/>
                </a:solidFill>
                <a:ea typeface="ＭＳ Ｐゴシック" charset="-128"/>
              </a:rPr>
              <a:t>○保護地域と</a:t>
            </a:r>
            <a:r>
              <a:rPr lang="en-US" altLang="ja-JP" sz="867" kern="0" dirty="0">
                <a:solidFill>
                  <a:srgbClr val="000000"/>
                </a:solidFill>
                <a:ea typeface="ＭＳ Ｐゴシック" charset="-128"/>
              </a:rPr>
              <a:t>OECM</a:t>
            </a:r>
            <a:r>
              <a:rPr lang="ja-JP" altLang="en-US" sz="867" kern="0" dirty="0">
                <a:solidFill>
                  <a:srgbClr val="000000"/>
                </a:solidFill>
                <a:ea typeface="ＭＳ Ｐゴシック" charset="-128"/>
              </a:rPr>
              <a:t>による広域的な生態系ネットワーク化の促進　　        等</a:t>
            </a:r>
          </a:p>
        </p:txBody>
      </p:sp>
      <p:sp>
        <p:nvSpPr>
          <p:cNvPr id="36" name="正方形/長方形 35"/>
          <p:cNvSpPr/>
          <p:nvPr/>
        </p:nvSpPr>
        <p:spPr>
          <a:xfrm>
            <a:off x="112334" y="4825256"/>
            <a:ext cx="2712338" cy="269799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99">
              <a:defRPr/>
            </a:pPr>
            <a:endParaRPr lang="ja-JP" altLang="en-US" sz="1393">
              <a:solidFill>
                <a:srgbClr val="FFFFFF"/>
              </a:solidFill>
              <a:latin typeface="Arial"/>
              <a:ea typeface="ＭＳ Ｐゴシック"/>
            </a:endParaRPr>
          </a:p>
        </p:txBody>
      </p:sp>
      <p:sp>
        <p:nvSpPr>
          <p:cNvPr id="103" name="テキスト ボックス 102"/>
          <p:cNvSpPr txBox="1"/>
          <p:nvPr/>
        </p:nvSpPr>
        <p:spPr>
          <a:xfrm>
            <a:off x="112334" y="4829834"/>
            <a:ext cx="2712339" cy="275781"/>
          </a:xfrm>
          <a:prstGeom prst="rect">
            <a:avLst/>
          </a:prstGeom>
          <a:solidFill>
            <a:srgbClr val="0070C0"/>
          </a:solidFill>
        </p:spPr>
        <p:txBody>
          <a:bodyPr wrap="square" rtlCol="0">
            <a:spAutoFit/>
          </a:bodyPr>
          <a:lstStyle/>
          <a:p>
            <a:pPr defTabSz="707499">
              <a:defRPr/>
            </a:pPr>
            <a:r>
              <a:rPr lang="ja-JP" altLang="en-US" sz="1192" b="1" dirty="0">
                <a:solidFill>
                  <a:srgbClr val="FFFFFF"/>
                </a:solidFill>
                <a:ea typeface="ＭＳ Ｐゴシック" charset="-128"/>
              </a:rPr>
              <a:t>２．国土の利用区分ごとの規模の目標</a:t>
            </a:r>
            <a:endParaRPr lang="ja-JP" altLang="en-US" sz="975" b="1" dirty="0">
              <a:solidFill>
                <a:srgbClr val="FFFFFF"/>
              </a:solidFill>
              <a:ea typeface="ＭＳ Ｐゴシック" charset="-128"/>
            </a:endParaRPr>
          </a:p>
        </p:txBody>
      </p:sp>
      <p:sp>
        <p:nvSpPr>
          <p:cNvPr id="135" name="正方形/長方形 134"/>
          <p:cNvSpPr/>
          <p:nvPr/>
        </p:nvSpPr>
        <p:spPr>
          <a:xfrm>
            <a:off x="97570" y="6944075"/>
            <a:ext cx="2707968" cy="592855"/>
          </a:xfrm>
          <a:prstGeom prst="rect">
            <a:avLst/>
          </a:prstGeom>
        </p:spPr>
        <p:txBody>
          <a:bodyPr wrap="square">
            <a:spAutoFit/>
          </a:bodyPr>
          <a:lstStyle/>
          <a:p>
            <a:pPr marL="65100" indent="-65100" defTabSz="707499">
              <a:defRPr/>
            </a:pPr>
            <a:r>
              <a:rPr lang="en-US" altLang="ja-JP" sz="542" dirty="0">
                <a:solidFill>
                  <a:srgbClr val="000000"/>
                </a:solidFill>
                <a:latin typeface="ＭＳ ゴシック" panose="020B0609070205080204" pitchFamily="49" charset="-128"/>
                <a:ea typeface="ＭＳ ゴシック" panose="020B0609070205080204" pitchFamily="49" charset="-128"/>
              </a:rPr>
              <a:t>※</a:t>
            </a:r>
            <a:r>
              <a:rPr lang="ja-JP" altLang="en-US" sz="542" dirty="0">
                <a:solidFill>
                  <a:srgbClr val="000000"/>
                </a:solidFill>
                <a:latin typeface="ＭＳ ゴシック" panose="020B0609070205080204" pitchFamily="49" charset="-128"/>
                <a:ea typeface="ＭＳ ゴシック" panose="020B0609070205080204" pitchFamily="49" charset="-128"/>
              </a:rPr>
              <a:t>農地面積の数値は、食料・農業・農村基本計画（令和２年</a:t>
            </a:r>
            <a:r>
              <a:rPr lang="en-US" altLang="ja-JP" sz="542" dirty="0">
                <a:solidFill>
                  <a:srgbClr val="000000"/>
                </a:solidFill>
                <a:latin typeface="ＭＳ ゴシック" panose="020B0609070205080204" pitchFamily="49" charset="-128"/>
                <a:ea typeface="ＭＳ ゴシック" panose="020B0609070205080204" pitchFamily="49" charset="-128"/>
              </a:rPr>
              <a:t>3</a:t>
            </a:r>
            <a:r>
              <a:rPr lang="ja-JP" altLang="en-US" sz="542" dirty="0">
                <a:solidFill>
                  <a:srgbClr val="000000"/>
                </a:solidFill>
                <a:latin typeface="ＭＳ ゴシック" panose="020B0609070205080204" pitchFamily="49" charset="-128"/>
                <a:ea typeface="ＭＳ ゴシック" panose="020B0609070205080204" pitchFamily="49" charset="-128"/>
              </a:rPr>
              <a:t>月</a:t>
            </a:r>
            <a:r>
              <a:rPr lang="en-US" altLang="ja-JP" sz="542" dirty="0">
                <a:solidFill>
                  <a:srgbClr val="000000"/>
                </a:solidFill>
                <a:latin typeface="ＭＳ ゴシック" panose="020B0609070205080204" pitchFamily="49" charset="-128"/>
                <a:ea typeface="ＭＳ ゴシック" panose="020B0609070205080204" pitchFamily="49" charset="-128"/>
              </a:rPr>
              <a:t>31</a:t>
            </a:r>
            <a:r>
              <a:rPr lang="ja-JP" altLang="en-US" sz="542" dirty="0">
                <a:solidFill>
                  <a:srgbClr val="000000"/>
                </a:solidFill>
                <a:latin typeface="ＭＳ ゴシック" panose="020B0609070205080204" pitchFamily="49" charset="-128"/>
                <a:ea typeface="ＭＳ ゴシック" panose="020B0609070205080204" pitchFamily="49" charset="-128"/>
              </a:rPr>
              <a:t>日 閣議決定）における令和</a:t>
            </a:r>
            <a:r>
              <a:rPr lang="en-US" altLang="ja-JP" sz="542" dirty="0">
                <a:solidFill>
                  <a:srgbClr val="000000"/>
                </a:solidFill>
                <a:latin typeface="ＭＳ ゴシック" panose="020B0609070205080204" pitchFamily="49" charset="-128"/>
                <a:ea typeface="ＭＳ ゴシック" panose="020B0609070205080204" pitchFamily="49" charset="-128"/>
              </a:rPr>
              <a:t>12</a:t>
            </a:r>
            <a:r>
              <a:rPr lang="ja-JP" altLang="en-US" sz="542" dirty="0">
                <a:solidFill>
                  <a:srgbClr val="000000"/>
                </a:solidFill>
                <a:latin typeface="ＭＳ ゴシック" panose="020B0609070205080204" pitchFamily="49" charset="-128"/>
                <a:ea typeface="ＭＳ ゴシック" panose="020B0609070205080204" pitchFamily="49" charset="-128"/>
              </a:rPr>
              <a:t>年の農地面積の見通しを暫定的に記載したものであり、今後、食料・農業・農村基本計画で新たに農地面積の見通しが変更された場合、その令和</a:t>
            </a:r>
            <a:r>
              <a:rPr lang="en-US" altLang="ja-JP" sz="542" dirty="0">
                <a:solidFill>
                  <a:srgbClr val="000000"/>
                </a:solidFill>
                <a:latin typeface="ＭＳ ゴシック" panose="020B0609070205080204" pitchFamily="49" charset="-128"/>
                <a:ea typeface="ＭＳ ゴシック" panose="020B0609070205080204" pitchFamily="49" charset="-128"/>
              </a:rPr>
              <a:t>15</a:t>
            </a:r>
            <a:r>
              <a:rPr lang="ja-JP" altLang="en-US" sz="542" dirty="0">
                <a:solidFill>
                  <a:srgbClr val="000000"/>
                </a:solidFill>
                <a:latin typeface="ＭＳ ゴシック" panose="020B0609070205080204" pitchFamily="49" charset="-128"/>
                <a:ea typeface="ＭＳ ゴシック" panose="020B0609070205080204" pitchFamily="49" charset="-128"/>
              </a:rPr>
              <a:t>年に相当する数値をもって、この目標も変更されたものとみなす。その場合、農地面積の増減に合わせ、その他（荒廃農地等）の面積の目標が変更されたものとみなす。</a:t>
            </a:r>
          </a:p>
        </p:txBody>
      </p:sp>
      <p:sp>
        <p:nvSpPr>
          <p:cNvPr id="136" name="正方形/長方形 135"/>
          <p:cNvSpPr/>
          <p:nvPr/>
        </p:nvSpPr>
        <p:spPr>
          <a:xfrm>
            <a:off x="7427480" y="4891318"/>
            <a:ext cx="2397663" cy="1026371"/>
          </a:xfrm>
          <a:prstGeom prst="rect">
            <a:avLst/>
          </a:prstGeom>
        </p:spPr>
        <p:txBody>
          <a:bodyPr wrap="square">
            <a:spAutoFit/>
          </a:bodyPr>
          <a:lstStyle/>
          <a:p>
            <a:pPr defTabSz="707499">
              <a:defRPr/>
            </a:pPr>
            <a:r>
              <a:rPr lang="ja-JP" altLang="en-US" sz="867" kern="0" dirty="0">
                <a:solidFill>
                  <a:srgbClr val="000000"/>
                </a:solidFill>
                <a:ea typeface="ＭＳ Ｐゴシック" charset="-128"/>
              </a:rPr>
              <a:t>○食料の安定供給に不可欠な優良農地の確保</a:t>
            </a:r>
            <a:endParaRPr lang="en-US" altLang="ja-JP" sz="867" kern="0" dirty="0">
              <a:solidFill>
                <a:srgbClr val="000000"/>
              </a:solidFill>
              <a:ea typeface="ＭＳ Ｐゴシック" charset="-128"/>
            </a:endParaRPr>
          </a:p>
          <a:p>
            <a:pPr marL="83562" indent="-83562" defTabSz="707499">
              <a:defRPr/>
            </a:pPr>
            <a:r>
              <a:rPr lang="ja-JP" altLang="en-US" sz="867" kern="0" dirty="0">
                <a:solidFill>
                  <a:srgbClr val="000000"/>
                </a:solidFill>
                <a:ea typeface="ＭＳ Ｐゴシック" charset="-128"/>
              </a:rPr>
              <a:t>○カーボンニュートラルの実現に向けた森林資源の循環利用</a:t>
            </a:r>
            <a:endParaRPr lang="en-US" altLang="ja-JP" sz="867" kern="0" dirty="0">
              <a:solidFill>
                <a:srgbClr val="000000"/>
              </a:solidFill>
              <a:ea typeface="ＭＳ Ｐゴシック" charset="-128"/>
            </a:endParaRPr>
          </a:p>
          <a:p>
            <a:pPr marL="83562" indent="-83562" defTabSz="707499">
              <a:defRPr/>
            </a:pPr>
            <a:r>
              <a:rPr lang="ja-JP" altLang="en-US" sz="867" kern="0" dirty="0">
                <a:solidFill>
                  <a:srgbClr val="000000"/>
                </a:solidFill>
                <a:ea typeface="ＭＳ Ｐゴシック" charset="-128"/>
              </a:rPr>
              <a:t>○</a:t>
            </a:r>
            <a:r>
              <a:rPr lang="ja-JP" altLang="en-US" sz="867" dirty="0">
                <a:solidFill>
                  <a:srgbClr val="000000"/>
                </a:solidFill>
                <a:ea typeface="ＭＳ Ｐゴシック" charset="-128"/>
              </a:rPr>
              <a:t>健全な水循環の維持又は回復、生態系ネットワークの形成促進</a:t>
            </a:r>
            <a:endParaRPr lang="en-US" altLang="ja-JP" sz="867" dirty="0">
              <a:solidFill>
                <a:srgbClr val="000000"/>
              </a:solidFill>
              <a:ea typeface="ＭＳ Ｐゴシック" charset="-128"/>
            </a:endParaRPr>
          </a:p>
          <a:p>
            <a:pPr marL="83562" indent="-83562" defTabSz="707499">
              <a:defRPr/>
            </a:pPr>
            <a:r>
              <a:rPr lang="ja-JP" altLang="en-US" sz="867" kern="0" dirty="0">
                <a:solidFill>
                  <a:srgbClr val="000000"/>
                </a:solidFill>
                <a:ea typeface="ＭＳ Ｐゴシック" charset="-128"/>
              </a:rPr>
              <a:t>○低未利用土地の活用、空き家の活用・除却を推進　　　　　　　　　　　　　　　　　　　　　　　　等</a:t>
            </a:r>
            <a:endParaRPr lang="en-US" altLang="ja-JP" sz="867" kern="0" dirty="0">
              <a:solidFill>
                <a:srgbClr val="000000"/>
              </a:solidFill>
              <a:ea typeface="ＭＳ Ｐゴシック" charset="-128"/>
            </a:endParaRPr>
          </a:p>
        </p:txBody>
      </p:sp>
      <p:sp>
        <p:nvSpPr>
          <p:cNvPr id="7" name="テキスト ボックス 6"/>
          <p:cNvSpPr txBox="1"/>
          <p:nvPr/>
        </p:nvSpPr>
        <p:spPr>
          <a:xfrm>
            <a:off x="8244194" y="7320849"/>
            <a:ext cx="1415772" cy="211276"/>
          </a:xfrm>
          <a:prstGeom prst="rect">
            <a:avLst/>
          </a:prstGeom>
          <a:noFill/>
        </p:spPr>
        <p:txBody>
          <a:bodyPr wrap="none" rtlCol="0">
            <a:spAutoFit/>
          </a:bodyPr>
          <a:lstStyle/>
          <a:p>
            <a:pPr defTabSz="707499">
              <a:defRPr/>
            </a:pPr>
            <a:r>
              <a:rPr lang="ja-JP" altLang="en-US" sz="773" dirty="0">
                <a:solidFill>
                  <a:srgbClr val="000000"/>
                </a:solidFill>
                <a:ea typeface="ＭＳ Ｐゴシック" charset="-128"/>
              </a:rPr>
              <a:t>地域管理構想の取組イメージ</a:t>
            </a:r>
          </a:p>
        </p:txBody>
      </p:sp>
      <p:sp>
        <p:nvSpPr>
          <p:cNvPr id="26" name="フリーフォーム 25"/>
          <p:cNvSpPr/>
          <p:nvPr/>
        </p:nvSpPr>
        <p:spPr>
          <a:xfrm>
            <a:off x="103171" y="799460"/>
            <a:ext cx="9712809" cy="5114333"/>
          </a:xfrm>
          <a:custGeom>
            <a:avLst/>
            <a:gdLst>
              <a:gd name="connsiteX0" fmla="*/ 0 w 12553950"/>
              <a:gd name="connsiteY0" fmla="*/ 0 h 6610350"/>
              <a:gd name="connsiteX1" fmla="*/ 12553950 w 12553950"/>
              <a:gd name="connsiteY1" fmla="*/ 0 h 6610350"/>
              <a:gd name="connsiteX2" fmla="*/ 12553950 w 12553950"/>
              <a:gd name="connsiteY2" fmla="*/ 6610350 h 6610350"/>
              <a:gd name="connsiteX3" fmla="*/ 3638550 w 12553950"/>
              <a:gd name="connsiteY3" fmla="*/ 6610350 h 6610350"/>
              <a:gd name="connsiteX4" fmla="*/ 3638550 w 12553950"/>
              <a:gd name="connsiteY4" fmla="*/ 5067300 h 6610350"/>
              <a:gd name="connsiteX5" fmla="*/ 0 w 12553950"/>
              <a:gd name="connsiteY5" fmla="*/ 5067300 h 6610350"/>
              <a:gd name="connsiteX6" fmla="*/ 0 w 12553950"/>
              <a:gd name="connsiteY6" fmla="*/ 0 h 661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53950" h="6610350">
                <a:moveTo>
                  <a:pt x="0" y="0"/>
                </a:moveTo>
                <a:lnTo>
                  <a:pt x="12553950" y="0"/>
                </a:lnTo>
                <a:lnTo>
                  <a:pt x="12553950" y="6610350"/>
                </a:lnTo>
                <a:lnTo>
                  <a:pt x="3638550" y="6610350"/>
                </a:lnTo>
                <a:lnTo>
                  <a:pt x="3638550" y="5067300"/>
                </a:lnTo>
                <a:lnTo>
                  <a:pt x="0" y="5067300"/>
                </a:lnTo>
                <a:lnTo>
                  <a:pt x="0" y="0"/>
                </a:lnTo>
                <a:close/>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07499">
              <a:defRPr/>
            </a:pPr>
            <a:endParaRPr lang="ja-JP" altLang="en-US" sz="1393">
              <a:solidFill>
                <a:srgbClr val="FFFFFF"/>
              </a:solidFill>
              <a:latin typeface="Arial"/>
              <a:ea typeface="ＭＳ Ｐゴシック"/>
            </a:endParaRPr>
          </a:p>
        </p:txBody>
      </p:sp>
      <p:sp>
        <p:nvSpPr>
          <p:cNvPr id="187" name="テキスト ボックス 186"/>
          <p:cNvSpPr txBox="1"/>
          <p:nvPr/>
        </p:nvSpPr>
        <p:spPr>
          <a:xfrm>
            <a:off x="6621936" y="7228649"/>
            <a:ext cx="1415772" cy="306559"/>
          </a:xfrm>
          <a:prstGeom prst="rect">
            <a:avLst/>
          </a:prstGeom>
          <a:noFill/>
        </p:spPr>
        <p:txBody>
          <a:bodyPr wrap="none" rtlCol="0">
            <a:spAutoFit/>
          </a:bodyPr>
          <a:lstStyle/>
          <a:p>
            <a:pPr algn="ctr" defTabSz="707499">
              <a:defRPr/>
            </a:pPr>
            <a:r>
              <a:rPr lang="ja-JP" altLang="en-US" sz="773" dirty="0">
                <a:solidFill>
                  <a:srgbClr val="000000"/>
                </a:solidFill>
                <a:ea typeface="ＭＳ Ｐゴシック" charset="-128"/>
              </a:rPr>
              <a:t>市内の緑地の保全のイメージ</a:t>
            </a:r>
            <a:endParaRPr lang="en-US" altLang="ja-JP" sz="773" dirty="0">
              <a:solidFill>
                <a:srgbClr val="000000"/>
              </a:solidFill>
              <a:ea typeface="ＭＳ Ｐゴシック" charset="-128"/>
            </a:endParaRPr>
          </a:p>
          <a:p>
            <a:pPr algn="ctr" defTabSz="707499">
              <a:defRPr/>
            </a:pPr>
            <a:r>
              <a:rPr lang="zh-TW" altLang="en-US" sz="619" dirty="0">
                <a:solidFill>
                  <a:srgbClr val="000000"/>
                </a:solidFill>
                <a:ea typeface="ＭＳ Ｐゴシック" charset="-128"/>
              </a:rPr>
              <a:t>熱田神宮緑地保全地区</a:t>
            </a:r>
            <a:r>
              <a:rPr lang="en-US" altLang="zh-TW" sz="619" dirty="0">
                <a:solidFill>
                  <a:srgbClr val="000000"/>
                </a:solidFill>
                <a:ea typeface="ＭＳ Ｐゴシック" charset="-128"/>
              </a:rPr>
              <a:t>(</a:t>
            </a:r>
            <a:r>
              <a:rPr lang="zh-TW" altLang="en-US" sz="619" dirty="0">
                <a:solidFill>
                  <a:srgbClr val="000000"/>
                </a:solidFill>
                <a:ea typeface="ＭＳ Ｐゴシック" charset="-128"/>
              </a:rPr>
              <a:t>名古屋市</a:t>
            </a:r>
            <a:r>
              <a:rPr lang="en-US" altLang="zh-TW" sz="619" dirty="0">
                <a:solidFill>
                  <a:srgbClr val="000000"/>
                </a:solidFill>
                <a:ea typeface="ＭＳ Ｐゴシック" charset="-128"/>
              </a:rPr>
              <a:t>) </a:t>
            </a:r>
            <a:endParaRPr lang="ja-JP" altLang="en-US" sz="619" dirty="0">
              <a:solidFill>
                <a:srgbClr val="000000"/>
              </a:solidFill>
              <a:ea typeface="ＭＳ Ｐゴシック" charset="-128"/>
            </a:endParaRPr>
          </a:p>
        </p:txBody>
      </p:sp>
      <p:graphicFrame>
        <p:nvGraphicFramePr>
          <p:cNvPr id="57" name="表 56"/>
          <p:cNvGraphicFramePr>
            <a:graphicFrameLocks noGrp="1"/>
          </p:cNvGraphicFramePr>
          <p:nvPr/>
        </p:nvGraphicFramePr>
        <p:xfrm>
          <a:off x="158347" y="5138836"/>
          <a:ext cx="2620312" cy="1829619"/>
        </p:xfrm>
        <a:graphic>
          <a:graphicData uri="http://schemas.openxmlformats.org/drawingml/2006/table">
            <a:tbl>
              <a:tblPr firstRow="1" firstCol="1" bandRow="1">
                <a:tableStyleId>{9D7B26C5-4107-4FEC-AEDC-1716B250A1EF}</a:tableStyleId>
              </a:tblPr>
              <a:tblGrid>
                <a:gridCol w="220382">
                  <a:extLst>
                    <a:ext uri="{9D8B030D-6E8A-4147-A177-3AD203B41FA5}">
                      <a16:colId xmlns:a16="http://schemas.microsoft.com/office/drawing/2014/main" val="20000"/>
                    </a:ext>
                  </a:extLst>
                </a:gridCol>
                <a:gridCol w="746362">
                  <a:extLst>
                    <a:ext uri="{9D8B030D-6E8A-4147-A177-3AD203B41FA5}">
                      <a16:colId xmlns:a16="http://schemas.microsoft.com/office/drawing/2014/main" val="20001"/>
                    </a:ext>
                  </a:extLst>
                </a:gridCol>
                <a:gridCol w="496070">
                  <a:extLst>
                    <a:ext uri="{9D8B030D-6E8A-4147-A177-3AD203B41FA5}">
                      <a16:colId xmlns:a16="http://schemas.microsoft.com/office/drawing/2014/main" val="20002"/>
                    </a:ext>
                  </a:extLst>
                </a:gridCol>
                <a:gridCol w="496070">
                  <a:extLst>
                    <a:ext uri="{9D8B030D-6E8A-4147-A177-3AD203B41FA5}">
                      <a16:colId xmlns:a16="http://schemas.microsoft.com/office/drawing/2014/main" val="20003"/>
                    </a:ext>
                  </a:extLst>
                </a:gridCol>
                <a:gridCol w="330714">
                  <a:extLst>
                    <a:ext uri="{9D8B030D-6E8A-4147-A177-3AD203B41FA5}">
                      <a16:colId xmlns:a16="http://schemas.microsoft.com/office/drawing/2014/main" val="20004"/>
                    </a:ext>
                  </a:extLst>
                </a:gridCol>
                <a:gridCol w="330714">
                  <a:extLst>
                    <a:ext uri="{9D8B030D-6E8A-4147-A177-3AD203B41FA5}">
                      <a16:colId xmlns:a16="http://schemas.microsoft.com/office/drawing/2014/main" val="20005"/>
                    </a:ext>
                  </a:extLst>
                </a:gridCol>
              </a:tblGrid>
              <a:tr h="177875">
                <a:tc rowSpan="2" gridSpan="2">
                  <a:txBody>
                    <a:bodyPr/>
                    <a:lstStyle/>
                    <a:p>
                      <a:pPr algn="l">
                        <a:lnSpc>
                          <a:spcPts val="800"/>
                        </a:lnSpc>
                        <a:spcAft>
                          <a:spcPts val="0"/>
                        </a:spcAft>
                      </a:pPr>
                      <a:r>
                        <a:rPr lang="en-US" sz="800" kern="100" dirty="0">
                          <a:effectLst/>
                        </a:rPr>
                        <a:t> </a:t>
                      </a:r>
                      <a:endParaRPr lang="ja-JP" sz="5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0" marR="0" marT="0" marB="0" anchor="ctr">
                    <a:lnR w="6350" cap="flat" cmpd="sng" algn="ctr">
                      <a:solidFill>
                        <a:schemeClr val="tx1"/>
                      </a:solidFill>
                      <a:prstDash val="solid"/>
                      <a:round/>
                      <a:headEnd type="none" w="med" len="med"/>
                      <a:tailEnd type="none" w="med" len="med"/>
                    </a:lnR>
                  </a:tcPr>
                </a:tc>
                <a:tc rowSpan="2" hMerge="1">
                  <a:txBody>
                    <a:bodyPr/>
                    <a:lstStyle/>
                    <a:p>
                      <a:endParaRPr kumimoji="1" lang="ja-JP" altLang="en-US"/>
                    </a:p>
                  </a:txBody>
                  <a:tcPr/>
                </a:tc>
                <a:tc rowSpan="2">
                  <a:txBody>
                    <a:bodyPr/>
                    <a:lstStyle/>
                    <a:p>
                      <a:pPr algn="ctr">
                        <a:lnSpc>
                          <a:spcPts val="800"/>
                        </a:lnSpc>
                        <a:spcAft>
                          <a:spcPts val="0"/>
                        </a:spcAft>
                      </a:pPr>
                      <a:r>
                        <a:rPr lang="ja-JP" altLang="en-US" sz="800" kern="100" spc="20" dirty="0">
                          <a:effectLst/>
                        </a:rPr>
                        <a:t>令和</a:t>
                      </a:r>
                      <a:r>
                        <a:rPr lang="en-US" altLang="ja-JP" sz="800" kern="100" spc="20" dirty="0">
                          <a:effectLst/>
                        </a:rPr>
                        <a:t>2</a:t>
                      </a:r>
                      <a:r>
                        <a:rPr lang="ja-JP" sz="800" kern="100" spc="20" dirty="0">
                          <a:effectLst/>
                        </a:rPr>
                        <a:t>年</a:t>
                      </a:r>
                      <a:endParaRPr lang="en-US" altLang="ja-JP" sz="800" kern="100" spc="20" dirty="0">
                        <a:effectLst/>
                      </a:endParaRPr>
                    </a:p>
                    <a:p>
                      <a:pPr algn="ctr">
                        <a:lnSpc>
                          <a:spcPts val="800"/>
                        </a:lnSpc>
                        <a:spcAft>
                          <a:spcPts val="0"/>
                        </a:spcAft>
                      </a:pPr>
                      <a:r>
                        <a:rPr lang="en-US" altLang="ja-JP" sz="500" kern="100" dirty="0">
                          <a:effectLst/>
                          <a:latin typeface="+mn-lt"/>
                          <a:ea typeface="+mn-ea"/>
                          <a:cs typeface="Times New Roman" panose="02020603050405020304" pitchFamily="18" charset="0"/>
                        </a:rPr>
                        <a:t>(</a:t>
                      </a:r>
                      <a:r>
                        <a:rPr lang="ja-JP" altLang="en-US" sz="500" kern="100" dirty="0">
                          <a:effectLst/>
                          <a:latin typeface="+mn-lt"/>
                          <a:ea typeface="+mn-ea"/>
                          <a:cs typeface="Times New Roman" panose="02020603050405020304" pitchFamily="18" charset="0"/>
                        </a:rPr>
                        <a:t>万</a:t>
                      </a:r>
                      <a:r>
                        <a:rPr lang="en-US" altLang="ja-JP" sz="500" kern="100" dirty="0">
                          <a:effectLst/>
                          <a:latin typeface="+mn-lt"/>
                          <a:ea typeface="+mn-ea"/>
                          <a:cs typeface="Times New Roman" panose="02020603050405020304" pitchFamily="18" charset="0"/>
                        </a:rPr>
                        <a:t>ha)</a:t>
                      </a:r>
                      <a:endParaRPr lang="ja-JP" sz="500" kern="100" dirty="0">
                        <a:effectLst/>
                        <a:latin typeface="+mn-lt"/>
                        <a:ea typeface="+mn-ea"/>
                        <a:cs typeface="Times New Roman" panose="02020603050405020304" pitchFamily="18"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rowSpan="2">
                  <a:txBody>
                    <a:bodyPr/>
                    <a:lstStyle/>
                    <a:p>
                      <a:pPr algn="ctr">
                        <a:lnSpc>
                          <a:spcPts val="800"/>
                        </a:lnSpc>
                        <a:spcAft>
                          <a:spcPts val="0"/>
                        </a:spcAft>
                      </a:pPr>
                      <a:r>
                        <a:rPr lang="ja-JP" altLang="en-US" sz="800" kern="100" spc="20" dirty="0">
                          <a:effectLst/>
                        </a:rPr>
                        <a:t>令和</a:t>
                      </a:r>
                      <a:r>
                        <a:rPr lang="en-US" altLang="ja-JP" sz="800" kern="100" spc="20" dirty="0">
                          <a:effectLst/>
                        </a:rPr>
                        <a:t>15</a:t>
                      </a:r>
                      <a:r>
                        <a:rPr lang="ja-JP" sz="800" kern="100" spc="20" dirty="0">
                          <a:effectLst/>
                        </a:rPr>
                        <a:t>年</a:t>
                      </a:r>
                      <a:endParaRPr lang="en-US" altLang="ja-JP" sz="800" kern="100" spc="20" dirty="0">
                        <a:effectLst/>
                      </a:endParaRPr>
                    </a:p>
                    <a:p>
                      <a:pPr marL="0" marR="0" indent="0" algn="ctr" defTabSz="1280160" rtl="0" eaLnBrk="1" fontAlgn="auto" latinLnBrk="0" hangingPunct="1">
                        <a:lnSpc>
                          <a:spcPts val="800"/>
                        </a:lnSpc>
                        <a:spcBef>
                          <a:spcPts val="0"/>
                        </a:spcBef>
                        <a:spcAft>
                          <a:spcPts val="0"/>
                        </a:spcAft>
                        <a:buClrTx/>
                        <a:buSzTx/>
                        <a:buFontTx/>
                        <a:buNone/>
                        <a:tabLst/>
                        <a:defRPr/>
                      </a:pPr>
                      <a:r>
                        <a:rPr lang="en-US" altLang="ja-JP" sz="500" kern="100" dirty="0">
                          <a:effectLst/>
                          <a:latin typeface="+mn-lt"/>
                          <a:ea typeface="+mn-ea"/>
                          <a:cs typeface="Times New Roman" panose="02020603050405020304" pitchFamily="18" charset="0"/>
                        </a:rPr>
                        <a:t>(</a:t>
                      </a:r>
                      <a:r>
                        <a:rPr lang="ja-JP" altLang="en-US" sz="500" kern="100" dirty="0">
                          <a:effectLst/>
                          <a:latin typeface="+mn-lt"/>
                          <a:ea typeface="+mn-ea"/>
                          <a:cs typeface="Times New Roman" panose="02020603050405020304" pitchFamily="18" charset="0"/>
                        </a:rPr>
                        <a:t>万</a:t>
                      </a:r>
                      <a:r>
                        <a:rPr lang="en-US" altLang="ja-JP" sz="500" kern="100" dirty="0">
                          <a:effectLst/>
                          <a:latin typeface="+mn-lt"/>
                          <a:ea typeface="+mn-ea"/>
                          <a:cs typeface="Times New Roman" panose="02020603050405020304" pitchFamily="18" charset="0"/>
                        </a:rPr>
                        <a:t>ha)</a:t>
                      </a:r>
                      <a:endParaRPr lang="ja-JP" altLang="ja-JP" sz="500" kern="100" dirty="0">
                        <a:effectLst/>
                        <a:latin typeface="+mn-lt"/>
                        <a:ea typeface="+mn-ea"/>
                        <a:cs typeface="Times New Roman" panose="02020603050405020304" pitchFamily="18"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gridSpan="2">
                  <a:txBody>
                    <a:bodyPr/>
                    <a:lstStyle/>
                    <a:p>
                      <a:pPr algn="ctr">
                        <a:lnSpc>
                          <a:spcPts val="800"/>
                        </a:lnSpc>
                        <a:spcAft>
                          <a:spcPts val="0"/>
                        </a:spcAft>
                      </a:pPr>
                      <a:r>
                        <a:rPr lang="ja-JP" sz="800" kern="100" spc="20" dirty="0">
                          <a:effectLst/>
                        </a:rPr>
                        <a:t>構成比</a:t>
                      </a:r>
                      <a:r>
                        <a:rPr lang="en-US" altLang="ja-JP" sz="800" kern="100" spc="20" dirty="0">
                          <a:effectLst/>
                        </a:rPr>
                        <a:t>(%)</a:t>
                      </a:r>
                      <a:endParaRPr lang="ja-JP" sz="5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0" marR="0" marT="0" marB="0" anchor="ctr">
                    <a:lnL w="6350" cap="flat" cmpd="sng" algn="ctr">
                      <a:solidFill>
                        <a:schemeClr val="tx1"/>
                      </a:solidFill>
                      <a:prstDash val="solid"/>
                      <a:round/>
                      <a:headEnd type="none" w="med" len="med"/>
                      <a:tailEnd type="none" w="med" len="med"/>
                    </a:lnL>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extLst>
                  <a:ext uri="{0D108BD9-81ED-4DB2-BD59-A6C34878D82A}">
                    <a16:rowId xmlns:a16="http://schemas.microsoft.com/office/drawing/2014/main" val="10000"/>
                  </a:ext>
                </a:extLst>
              </a:tr>
              <a:tr h="208014">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algn="ctr">
                        <a:lnSpc>
                          <a:spcPts val="800"/>
                        </a:lnSpc>
                        <a:spcAft>
                          <a:spcPts val="0"/>
                        </a:spcAft>
                      </a:pPr>
                      <a:r>
                        <a:rPr lang="en-US" altLang="ja-JP" sz="800" kern="100" spc="20" dirty="0">
                          <a:effectLst/>
                        </a:rPr>
                        <a:t>2</a:t>
                      </a:r>
                      <a:r>
                        <a:rPr lang="ja-JP" sz="800" kern="100" spc="20" dirty="0">
                          <a:effectLst/>
                        </a:rPr>
                        <a:t>年</a:t>
                      </a:r>
                      <a:endParaRPr lang="ja-JP" sz="5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ts val="800"/>
                        </a:lnSpc>
                        <a:spcAft>
                          <a:spcPts val="0"/>
                        </a:spcAft>
                      </a:pPr>
                      <a:r>
                        <a:rPr lang="en-US" altLang="ja-JP" sz="800" kern="100" spc="20" dirty="0">
                          <a:effectLst/>
                        </a:rPr>
                        <a:t>15</a:t>
                      </a:r>
                      <a:r>
                        <a:rPr lang="ja-JP" sz="800" kern="100" spc="20" dirty="0">
                          <a:effectLst/>
                        </a:rPr>
                        <a:t>年</a:t>
                      </a:r>
                      <a:endParaRPr lang="ja-JP" sz="5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0" marR="0" marT="0" marB="0" anchor="ctr">
                    <a:lnL w="6350" cap="flat" cmpd="sng" algn="ctr">
                      <a:solidFill>
                        <a:schemeClr val="tx1"/>
                      </a:solidFill>
                      <a:prstDash val="solid"/>
                      <a:round/>
                      <a:headEnd type="none" w="med" len="med"/>
                      <a:tailEnd type="none" w="med" len="med"/>
                    </a:lnL>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173848">
                <a:tc gridSpan="2">
                  <a:txBody>
                    <a:bodyPr/>
                    <a:lstStyle/>
                    <a:p>
                      <a:pPr algn="dist">
                        <a:lnSpc>
                          <a:spcPts val="800"/>
                        </a:lnSpc>
                        <a:spcAft>
                          <a:spcPts val="0"/>
                        </a:spcAft>
                      </a:pPr>
                      <a:r>
                        <a:rPr lang="ja-JP" sz="800" kern="100" spc="20" dirty="0">
                          <a:effectLst/>
                          <a:latin typeface="ＭＳ ゴシック" panose="020B0609070205080204" pitchFamily="49" charset="-128"/>
                          <a:ea typeface="ＭＳ ゴシック" panose="020B0609070205080204" pitchFamily="49" charset="-128"/>
                        </a:rPr>
                        <a:t>農地</a:t>
                      </a:r>
                      <a:endParaRPr lang="ja-JP" sz="80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R w="6350" cap="flat" cmpd="sng" algn="ctr">
                      <a:solidFill>
                        <a:schemeClr val="tx1"/>
                      </a:solidFill>
                      <a:prstDash val="solid"/>
                      <a:round/>
                      <a:headEnd type="none" w="med" len="med"/>
                      <a:tailEnd type="none" w="med" len="med"/>
                    </a:lnR>
                  </a:tcPr>
                </a:tc>
                <a:tc hMerge="1">
                  <a:txBody>
                    <a:bodyPr/>
                    <a:lstStyle/>
                    <a:p>
                      <a:endParaRPr kumimoji="1" lang="ja-JP" altLang="en-US"/>
                    </a:p>
                  </a:txBody>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437</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414※</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11.6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ctr">
                        <a:lnSpc>
                          <a:spcPts val="800"/>
                        </a:lnSpc>
                      </a:pPr>
                      <a:r>
                        <a:rPr lang="en-US" altLang="ja-JP" sz="800" b="1" i="0" u="none" strike="noStrike">
                          <a:solidFill>
                            <a:srgbClr val="000000"/>
                          </a:solidFill>
                          <a:effectLst/>
                          <a:latin typeface="Arial" panose="020B0604020202020204" pitchFamily="34" charset="0"/>
                          <a:ea typeface="游ゴシック" panose="020B0400000000000000" pitchFamily="50" charset="-128"/>
                        </a:rPr>
                        <a:t>11.0 </a:t>
                      </a:r>
                    </a:p>
                  </a:txBody>
                  <a:tcPr marL="10317" marR="10317" marT="10317" marB="0" anchor="ctr">
                    <a:lnL w="635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r h="121742">
                <a:tc gridSpan="2">
                  <a:txBody>
                    <a:bodyPr/>
                    <a:lstStyle/>
                    <a:p>
                      <a:pPr algn="dist">
                        <a:lnSpc>
                          <a:spcPts val="800"/>
                        </a:lnSpc>
                        <a:spcAft>
                          <a:spcPts val="0"/>
                        </a:spcAft>
                      </a:pPr>
                      <a:r>
                        <a:rPr lang="ja-JP" sz="800" kern="100" spc="20" dirty="0">
                          <a:effectLst/>
                          <a:latin typeface="ＭＳ ゴシック" panose="020B0609070205080204" pitchFamily="49" charset="-128"/>
                          <a:ea typeface="ＭＳ ゴシック" panose="020B0609070205080204" pitchFamily="49" charset="-128"/>
                        </a:rPr>
                        <a:t>森林</a:t>
                      </a:r>
                      <a:endParaRPr lang="ja-JP" sz="80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R w="6350" cap="flat" cmpd="sng" algn="ctr">
                      <a:solidFill>
                        <a:schemeClr val="tx1"/>
                      </a:solidFill>
                      <a:prstDash val="solid"/>
                      <a:round/>
                      <a:headEnd type="none" w="med" len="med"/>
                      <a:tailEnd type="none" w="med" len="med"/>
                    </a:lnR>
                  </a:tcPr>
                </a:tc>
                <a:tc hMerge="1">
                  <a:txBody>
                    <a:bodyPr/>
                    <a:lstStyle/>
                    <a:p>
                      <a:endParaRPr kumimoji="1" lang="ja-JP" altLang="en-US"/>
                    </a:p>
                  </a:txBody>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2,503</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a:solidFill>
                            <a:srgbClr val="000000"/>
                          </a:solidFill>
                          <a:effectLst/>
                          <a:latin typeface="Arial" panose="020B0604020202020204" pitchFamily="34" charset="0"/>
                          <a:ea typeface="游ゴシック" panose="020B0400000000000000" pitchFamily="50" charset="-128"/>
                        </a:rPr>
                        <a:t>2,510</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66.2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66.4 </a:t>
                      </a:r>
                    </a:p>
                  </a:txBody>
                  <a:tcPr marL="10317" marR="10317" marT="10317" marB="0" anchor="ctr">
                    <a:lnL w="635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3"/>
                  </a:ext>
                </a:extLst>
              </a:tr>
              <a:tr h="121742">
                <a:tc gridSpan="2">
                  <a:txBody>
                    <a:bodyPr/>
                    <a:lstStyle/>
                    <a:p>
                      <a:pPr algn="dist">
                        <a:lnSpc>
                          <a:spcPts val="800"/>
                        </a:lnSpc>
                        <a:spcAft>
                          <a:spcPts val="0"/>
                        </a:spcAft>
                      </a:pPr>
                      <a:r>
                        <a:rPr lang="ja-JP" sz="800" kern="100" spc="20" dirty="0">
                          <a:effectLst/>
                          <a:latin typeface="ＭＳ ゴシック" panose="020B0609070205080204" pitchFamily="49" charset="-128"/>
                          <a:ea typeface="ＭＳ ゴシック" panose="020B0609070205080204" pitchFamily="49" charset="-128"/>
                        </a:rPr>
                        <a:t>原野等</a:t>
                      </a:r>
                      <a:endParaRPr lang="ja-JP" sz="80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R w="6350" cap="flat" cmpd="sng" algn="ctr">
                      <a:solidFill>
                        <a:schemeClr val="tx1"/>
                      </a:solidFill>
                      <a:prstDash val="solid"/>
                      <a:round/>
                      <a:headEnd type="none" w="med" len="med"/>
                      <a:tailEnd type="none" w="med" len="med"/>
                    </a:lnR>
                  </a:tcPr>
                </a:tc>
                <a:tc hMerge="1">
                  <a:txBody>
                    <a:bodyPr/>
                    <a:lstStyle/>
                    <a:p>
                      <a:endParaRPr kumimoji="1" lang="ja-JP" altLang="en-US"/>
                    </a:p>
                  </a:txBody>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31</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a:solidFill>
                            <a:srgbClr val="000000"/>
                          </a:solidFill>
                          <a:effectLst/>
                          <a:latin typeface="Arial" panose="020B0604020202020204" pitchFamily="34" charset="0"/>
                          <a:ea typeface="游ゴシック" panose="020B0400000000000000" pitchFamily="50" charset="-128"/>
                        </a:rPr>
                        <a:t>31</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0.8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0.8 </a:t>
                      </a:r>
                    </a:p>
                  </a:txBody>
                  <a:tcPr marL="10317" marR="10317" marT="10317" marB="0" anchor="ctr">
                    <a:lnL w="635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4"/>
                  </a:ext>
                </a:extLst>
              </a:tr>
              <a:tr h="121742">
                <a:tc gridSpan="2">
                  <a:txBody>
                    <a:bodyPr/>
                    <a:lstStyle/>
                    <a:p>
                      <a:pPr algn="dist">
                        <a:lnSpc>
                          <a:spcPts val="800"/>
                        </a:lnSpc>
                        <a:spcAft>
                          <a:spcPts val="0"/>
                        </a:spcAft>
                      </a:pPr>
                      <a:r>
                        <a:rPr lang="ja-JP" sz="800" kern="100" spc="20" dirty="0">
                          <a:effectLst/>
                          <a:latin typeface="ＭＳ ゴシック" panose="020B0609070205080204" pitchFamily="49" charset="-128"/>
                          <a:ea typeface="ＭＳ ゴシック" panose="020B0609070205080204" pitchFamily="49" charset="-128"/>
                        </a:rPr>
                        <a:t>水面・河川・水路</a:t>
                      </a:r>
                      <a:endParaRPr lang="ja-JP" sz="80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R w="6350" cap="flat" cmpd="sng" algn="ctr">
                      <a:solidFill>
                        <a:schemeClr val="tx1"/>
                      </a:solidFill>
                      <a:prstDash val="solid"/>
                      <a:round/>
                      <a:headEnd type="none" w="med" len="med"/>
                      <a:tailEnd type="none" w="med" len="med"/>
                    </a:lnR>
                  </a:tcPr>
                </a:tc>
                <a:tc hMerge="1">
                  <a:txBody>
                    <a:bodyPr/>
                    <a:lstStyle/>
                    <a:p>
                      <a:endParaRPr kumimoji="1" lang="ja-JP" altLang="en-US"/>
                    </a:p>
                  </a:txBody>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135</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a:solidFill>
                            <a:srgbClr val="000000"/>
                          </a:solidFill>
                          <a:effectLst/>
                          <a:latin typeface="Arial" panose="020B0604020202020204" pitchFamily="34" charset="0"/>
                          <a:ea typeface="游ゴシック" panose="020B0400000000000000" pitchFamily="50" charset="-128"/>
                        </a:rPr>
                        <a:t>135</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3.6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3.6 </a:t>
                      </a:r>
                    </a:p>
                  </a:txBody>
                  <a:tcPr marL="10317" marR="10317" marT="10317" marB="0" anchor="ctr">
                    <a:lnL w="635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5"/>
                  </a:ext>
                </a:extLst>
              </a:tr>
              <a:tr h="121742">
                <a:tc gridSpan="2">
                  <a:txBody>
                    <a:bodyPr/>
                    <a:lstStyle/>
                    <a:p>
                      <a:pPr algn="dist">
                        <a:lnSpc>
                          <a:spcPts val="800"/>
                        </a:lnSpc>
                        <a:spcAft>
                          <a:spcPts val="0"/>
                        </a:spcAft>
                      </a:pPr>
                      <a:r>
                        <a:rPr lang="ja-JP" sz="800" kern="100" spc="20" dirty="0">
                          <a:effectLst/>
                          <a:latin typeface="ＭＳ ゴシック" panose="020B0609070205080204" pitchFamily="49" charset="-128"/>
                          <a:ea typeface="ＭＳ ゴシック" panose="020B0609070205080204" pitchFamily="49" charset="-128"/>
                        </a:rPr>
                        <a:t>道路</a:t>
                      </a:r>
                      <a:endParaRPr lang="ja-JP" sz="80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R w="6350" cap="flat" cmpd="sng" algn="ctr">
                      <a:solidFill>
                        <a:schemeClr val="tx1"/>
                      </a:solidFill>
                      <a:prstDash val="solid"/>
                      <a:round/>
                      <a:headEnd type="none" w="med" len="med"/>
                      <a:tailEnd type="none" w="med" len="med"/>
                    </a:lnR>
                  </a:tcPr>
                </a:tc>
                <a:tc hMerge="1">
                  <a:txBody>
                    <a:bodyPr/>
                    <a:lstStyle/>
                    <a:p>
                      <a:endParaRPr kumimoji="1" lang="ja-JP" altLang="en-US"/>
                    </a:p>
                  </a:txBody>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142</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a:solidFill>
                            <a:srgbClr val="000000"/>
                          </a:solidFill>
                          <a:effectLst/>
                          <a:latin typeface="Arial" panose="020B0604020202020204" pitchFamily="34" charset="0"/>
                          <a:ea typeface="游ゴシック" panose="020B0400000000000000" pitchFamily="50" charset="-128"/>
                        </a:rPr>
                        <a:t>147</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a:solidFill>
                            <a:srgbClr val="000000"/>
                          </a:solidFill>
                          <a:effectLst/>
                          <a:latin typeface="Arial" panose="020B0604020202020204" pitchFamily="34" charset="0"/>
                          <a:ea typeface="游ゴシック" panose="020B0400000000000000" pitchFamily="50" charset="-128"/>
                        </a:rPr>
                        <a:t>3.7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3.9 </a:t>
                      </a:r>
                    </a:p>
                  </a:txBody>
                  <a:tcPr marL="10317" marR="10317" marT="10317" marB="0" anchor="ctr">
                    <a:lnL w="635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6"/>
                  </a:ext>
                </a:extLst>
              </a:tr>
              <a:tr h="121742">
                <a:tc gridSpan="2">
                  <a:txBody>
                    <a:bodyPr/>
                    <a:lstStyle/>
                    <a:p>
                      <a:pPr algn="dist">
                        <a:lnSpc>
                          <a:spcPts val="800"/>
                        </a:lnSpc>
                        <a:spcAft>
                          <a:spcPts val="0"/>
                        </a:spcAft>
                      </a:pPr>
                      <a:r>
                        <a:rPr lang="ja-JP" sz="800" kern="100" spc="20" dirty="0">
                          <a:effectLst/>
                          <a:latin typeface="ＭＳ ゴシック" panose="020B0609070205080204" pitchFamily="49" charset="-128"/>
                          <a:ea typeface="ＭＳ ゴシック" panose="020B0609070205080204" pitchFamily="49" charset="-128"/>
                        </a:rPr>
                        <a:t>宅地</a:t>
                      </a:r>
                      <a:endParaRPr lang="ja-JP" sz="80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R w="6350" cap="flat" cmpd="sng" algn="ctr">
                      <a:solidFill>
                        <a:schemeClr val="tx1"/>
                      </a:solidFill>
                      <a:prstDash val="solid"/>
                      <a:round/>
                      <a:headEnd type="none" w="med" len="med"/>
                      <a:tailEnd type="none" w="med" len="med"/>
                    </a:lnR>
                  </a:tcPr>
                </a:tc>
                <a:tc hMerge="1">
                  <a:txBody>
                    <a:bodyPr/>
                    <a:lstStyle/>
                    <a:p>
                      <a:endParaRPr kumimoji="1" lang="ja-JP" altLang="en-US"/>
                    </a:p>
                  </a:txBody>
                  <a:tcPr/>
                </a:tc>
                <a:tc>
                  <a:txBody>
                    <a:bodyPr/>
                    <a:lstStyle/>
                    <a:p>
                      <a:pPr algn="r" fontAlgn="ctr">
                        <a:lnSpc>
                          <a:spcPts val="800"/>
                        </a:lnSpc>
                      </a:pPr>
                      <a:r>
                        <a:rPr lang="en-US" altLang="ja-JP" sz="800" b="1" i="0" u="none" strike="noStrike">
                          <a:solidFill>
                            <a:srgbClr val="000000"/>
                          </a:solidFill>
                          <a:effectLst/>
                          <a:latin typeface="Arial" panose="020B0604020202020204" pitchFamily="34" charset="0"/>
                          <a:ea typeface="游ゴシック" panose="020B0400000000000000" pitchFamily="50" charset="-128"/>
                        </a:rPr>
                        <a:t>197</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198</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a:solidFill>
                            <a:srgbClr val="000000"/>
                          </a:solidFill>
                          <a:effectLst/>
                          <a:latin typeface="Arial" panose="020B0604020202020204" pitchFamily="34" charset="0"/>
                          <a:ea typeface="游ゴシック" panose="020B0400000000000000" pitchFamily="50" charset="-128"/>
                        </a:rPr>
                        <a:t>5.2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5.2 </a:t>
                      </a:r>
                    </a:p>
                  </a:txBody>
                  <a:tcPr marL="10317" marR="10317" marT="10317" marB="0" anchor="ctr">
                    <a:lnL w="635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7"/>
                  </a:ext>
                </a:extLst>
              </a:tr>
              <a:tr h="121742">
                <a:tc>
                  <a:txBody>
                    <a:bodyPr/>
                    <a:lstStyle/>
                    <a:p>
                      <a:endParaRPr lang="ja-JP" altLang="en-US" sz="800" dirty="0">
                        <a:solidFill>
                          <a:schemeClr val="tx1"/>
                        </a:solidFill>
                      </a:endParaRPr>
                    </a:p>
                  </a:txBody>
                  <a:tcPr marL="0" marR="0" marT="0" marB="0" anchor="ctr">
                    <a:lnR w="6350" cap="flat" cmpd="sng" algn="ctr">
                      <a:noFill/>
                      <a:prstDash val="solid"/>
                      <a:round/>
                      <a:headEnd type="none" w="med" len="med"/>
                      <a:tailEnd type="none" w="med" len="med"/>
                    </a:lnR>
                    <a:solidFill>
                      <a:schemeClr val="bg1"/>
                    </a:solidFill>
                  </a:tcPr>
                </a:tc>
                <a:tc>
                  <a:txBody>
                    <a:bodyPr/>
                    <a:lstStyle/>
                    <a:p>
                      <a:pPr algn="dist">
                        <a:lnSpc>
                          <a:spcPts val="800"/>
                        </a:lnSpc>
                        <a:spcAft>
                          <a:spcPts val="0"/>
                        </a:spcAft>
                      </a:pPr>
                      <a:r>
                        <a:rPr lang="ja-JP" sz="800" b="0" kern="100" spc="20" dirty="0">
                          <a:solidFill>
                            <a:schemeClr val="tx1"/>
                          </a:solidFill>
                          <a:effectLst/>
                          <a:latin typeface="ＭＳ ゴシック" panose="020B0609070205080204" pitchFamily="49" charset="-128"/>
                          <a:ea typeface="ＭＳ ゴシック" panose="020B0609070205080204" pitchFamily="49" charset="-128"/>
                        </a:rPr>
                        <a:t>住宅地</a:t>
                      </a:r>
                      <a:endParaRPr lang="ja-JP" sz="800" b="0" kern="100" dirty="0">
                        <a:solidFill>
                          <a:schemeClr val="tx1"/>
                        </a:solidFill>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bg1"/>
                    </a:solidFill>
                  </a:tcPr>
                </a:tc>
                <a:tc>
                  <a:txBody>
                    <a:bodyPr/>
                    <a:lstStyle/>
                    <a:p>
                      <a:pPr algn="r" fontAlgn="ctr">
                        <a:lnSpc>
                          <a:spcPts val="800"/>
                        </a:lnSpc>
                      </a:pPr>
                      <a:r>
                        <a:rPr lang="en-US" altLang="ja-JP" sz="800" b="0" i="0" u="none" strike="noStrike" dirty="0">
                          <a:solidFill>
                            <a:srgbClr val="000000"/>
                          </a:solidFill>
                          <a:effectLst/>
                          <a:latin typeface="Arial" panose="020B0604020202020204" pitchFamily="34" charset="0"/>
                          <a:ea typeface="游ゴシック" panose="020B0400000000000000" pitchFamily="50" charset="-128"/>
                        </a:rPr>
                        <a:t>120</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bg1"/>
                    </a:solidFill>
                  </a:tcPr>
                </a:tc>
                <a:tc>
                  <a:txBody>
                    <a:bodyPr/>
                    <a:lstStyle/>
                    <a:p>
                      <a:pPr algn="r" fontAlgn="ctr">
                        <a:lnSpc>
                          <a:spcPts val="800"/>
                        </a:lnSpc>
                      </a:pPr>
                      <a:r>
                        <a:rPr lang="en-US" altLang="ja-JP" sz="800" b="0" i="0" u="none" strike="noStrike">
                          <a:solidFill>
                            <a:srgbClr val="000000"/>
                          </a:solidFill>
                          <a:effectLst/>
                          <a:latin typeface="Arial" panose="020B0604020202020204" pitchFamily="34" charset="0"/>
                          <a:ea typeface="游ゴシック" panose="020B0400000000000000" pitchFamily="50" charset="-128"/>
                        </a:rPr>
                        <a:t>119</a:t>
                      </a:r>
                      <a:endParaRPr lang="en-US" altLang="ja-JP" sz="800" b="0" i="0" u="none" strike="noStrike" dirty="0">
                        <a:solidFill>
                          <a:srgbClr val="000000"/>
                        </a:solidFill>
                        <a:effectLst/>
                        <a:latin typeface="Arial" panose="020B0604020202020204" pitchFamily="34" charset="0"/>
                        <a:ea typeface="游ゴシック" panose="020B0400000000000000" pitchFamily="50" charset="-128"/>
                      </a:endParaRP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bg1"/>
                    </a:solidFill>
                  </a:tcPr>
                </a:tc>
                <a:tc>
                  <a:txBody>
                    <a:bodyPr/>
                    <a:lstStyle/>
                    <a:p>
                      <a:pPr algn="r" fontAlgn="ctr">
                        <a:lnSpc>
                          <a:spcPts val="800"/>
                        </a:lnSpc>
                      </a:pPr>
                      <a:r>
                        <a:rPr lang="en-US" altLang="ja-JP" sz="800" b="0" i="0" u="none" strike="noStrike" dirty="0">
                          <a:solidFill>
                            <a:srgbClr val="000000"/>
                          </a:solidFill>
                          <a:effectLst/>
                          <a:latin typeface="Arial" panose="020B0604020202020204" pitchFamily="34" charset="0"/>
                          <a:ea typeface="游ゴシック" panose="020B0400000000000000" pitchFamily="50" charset="-128"/>
                        </a:rPr>
                        <a:t>3.2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solidFill>
                      <a:schemeClr val="bg1"/>
                    </a:solidFill>
                  </a:tcPr>
                </a:tc>
                <a:tc>
                  <a:txBody>
                    <a:bodyPr/>
                    <a:lstStyle/>
                    <a:p>
                      <a:pPr algn="r" fontAlgn="ctr">
                        <a:lnSpc>
                          <a:spcPts val="800"/>
                        </a:lnSpc>
                      </a:pPr>
                      <a:r>
                        <a:rPr lang="en-US" altLang="ja-JP" sz="800" b="0" i="0" u="none" strike="noStrike" dirty="0">
                          <a:solidFill>
                            <a:srgbClr val="000000"/>
                          </a:solidFill>
                          <a:effectLst/>
                          <a:latin typeface="Arial" panose="020B0604020202020204" pitchFamily="34" charset="0"/>
                          <a:ea typeface="游ゴシック" panose="020B0400000000000000" pitchFamily="50" charset="-128"/>
                        </a:rPr>
                        <a:t>3.2 </a:t>
                      </a:r>
                    </a:p>
                  </a:txBody>
                  <a:tcPr marL="10317" marR="10317" marT="10317" marB="0" anchor="ctr">
                    <a:lnL w="6350" cap="flat" cmpd="sng" algn="ctr">
                      <a:solidFill>
                        <a:schemeClr val="tx1"/>
                      </a:solidFill>
                      <a:prstDash val="solid"/>
                      <a:round/>
                      <a:headEnd type="none" w="med" len="med"/>
                      <a:tailEnd type="none" w="med" len="med"/>
                    </a:lnL>
                    <a:solidFill>
                      <a:schemeClr val="bg1"/>
                    </a:solidFill>
                  </a:tcPr>
                </a:tc>
                <a:extLst>
                  <a:ext uri="{0D108BD9-81ED-4DB2-BD59-A6C34878D82A}">
                    <a16:rowId xmlns:a16="http://schemas.microsoft.com/office/drawing/2014/main" val="10008"/>
                  </a:ext>
                </a:extLst>
              </a:tr>
              <a:tr h="173848">
                <a:tc>
                  <a:txBody>
                    <a:bodyPr/>
                    <a:lstStyle/>
                    <a:p>
                      <a:endParaRPr lang="ja-JP" altLang="en-US" sz="800" dirty="0"/>
                    </a:p>
                  </a:txBody>
                  <a:tcPr marL="0" marR="0" marT="0" marB="0" anchor="ctr">
                    <a:lnR w="6350" cap="flat" cmpd="sng" algn="ctr">
                      <a:noFill/>
                      <a:prstDash val="solid"/>
                      <a:round/>
                      <a:headEnd type="none" w="med" len="med"/>
                      <a:tailEnd type="none" w="med" len="med"/>
                    </a:lnR>
                  </a:tcPr>
                </a:tc>
                <a:tc>
                  <a:txBody>
                    <a:bodyPr/>
                    <a:lstStyle/>
                    <a:p>
                      <a:pPr algn="dist">
                        <a:lnSpc>
                          <a:spcPts val="800"/>
                        </a:lnSpc>
                        <a:spcAft>
                          <a:spcPts val="0"/>
                        </a:spcAft>
                      </a:pPr>
                      <a:r>
                        <a:rPr lang="ja-JP" sz="800" b="0" kern="100" spc="20" dirty="0">
                          <a:effectLst/>
                          <a:latin typeface="ＭＳ ゴシック" panose="020B0609070205080204" pitchFamily="49" charset="-128"/>
                          <a:ea typeface="ＭＳ ゴシック" panose="020B0609070205080204" pitchFamily="49" charset="-128"/>
                        </a:rPr>
                        <a:t>工業用地</a:t>
                      </a:r>
                      <a:endParaRPr lang="ja-JP" sz="800" b="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0" i="0" u="none" strike="noStrike" dirty="0">
                          <a:solidFill>
                            <a:srgbClr val="000000"/>
                          </a:solidFill>
                          <a:effectLst/>
                          <a:latin typeface="Arial" panose="020B0604020202020204" pitchFamily="34" charset="0"/>
                          <a:ea typeface="游ゴシック" panose="020B0400000000000000" pitchFamily="50" charset="-128"/>
                        </a:rPr>
                        <a:t>16</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0" i="0" u="none" strike="noStrike" dirty="0">
                          <a:solidFill>
                            <a:srgbClr val="000000"/>
                          </a:solidFill>
                          <a:effectLst/>
                          <a:latin typeface="Arial" panose="020B0604020202020204" pitchFamily="34" charset="0"/>
                          <a:ea typeface="游ゴシック" panose="020B0400000000000000" pitchFamily="50" charset="-128"/>
                        </a:rPr>
                        <a:t>17</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0" i="0" u="none" strike="noStrike" dirty="0">
                          <a:solidFill>
                            <a:srgbClr val="000000"/>
                          </a:solidFill>
                          <a:effectLst/>
                          <a:latin typeface="Arial" panose="020B0604020202020204" pitchFamily="34" charset="0"/>
                          <a:ea typeface="游ゴシック" panose="020B0400000000000000" pitchFamily="50" charset="-128"/>
                        </a:rPr>
                        <a:t>0.4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0" i="0" u="none" strike="noStrike" dirty="0">
                          <a:solidFill>
                            <a:srgbClr val="000000"/>
                          </a:solidFill>
                          <a:effectLst/>
                          <a:latin typeface="Arial" panose="020B0604020202020204" pitchFamily="34" charset="0"/>
                          <a:ea typeface="游ゴシック" panose="020B0400000000000000" pitchFamily="50" charset="-128"/>
                        </a:rPr>
                        <a:t>0.5 </a:t>
                      </a:r>
                    </a:p>
                  </a:txBody>
                  <a:tcPr marL="10317" marR="10317" marT="10317" marB="0" anchor="ctr">
                    <a:lnL w="635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9"/>
                  </a:ext>
                </a:extLst>
              </a:tr>
              <a:tr h="121742">
                <a:tc>
                  <a:txBody>
                    <a:bodyPr/>
                    <a:lstStyle/>
                    <a:p>
                      <a:endParaRPr lang="ja-JP" altLang="en-US" sz="800" dirty="0"/>
                    </a:p>
                  </a:txBody>
                  <a:tcPr marL="0" marR="0" marT="0" marB="0" anchor="ctr">
                    <a:lnR w="6350" cap="flat" cmpd="sng" algn="ctr">
                      <a:noFill/>
                      <a:prstDash val="solid"/>
                      <a:round/>
                      <a:headEnd type="none" w="med" len="med"/>
                      <a:tailEnd type="none" w="med" len="med"/>
                    </a:lnR>
                  </a:tcPr>
                </a:tc>
                <a:tc>
                  <a:txBody>
                    <a:bodyPr/>
                    <a:lstStyle/>
                    <a:p>
                      <a:pPr algn="dist">
                        <a:lnSpc>
                          <a:spcPts val="800"/>
                        </a:lnSpc>
                        <a:spcAft>
                          <a:spcPts val="0"/>
                        </a:spcAft>
                      </a:pPr>
                      <a:r>
                        <a:rPr lang="ja-JP" sz="800" b="0" kern="100" spc="20" dirty="0">
                          <a:effectLst/>
                          <a:latin typeface="ＭＳ ゴシック" panose="020B0609070205080204" pitchFamily="49" charset="-128"/>
                          <a:ea typeface="ＭＳ ゴシック" panose="020B0609070205080204" pitchFamily="49" charset="-128"/>
                        </a:rPr>
                        <a:t>その他の宅地</a:t>
                      </a:r>
                      <a:endParaRPr lang="ja-JP" sz="800" b="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0" i="0" u="none" strike="noStrike">
                          <a:solidFill>
                            <a:srgbClr val="000000"/>
                          </a:solidFill>
                          <a:effectLst/>
                          <a:latin typeface="Arial" panose="020B0604020202020204" pitchFamily="34" charset="0"/>
                          <a:ea typeface="游ゴシック" panose="020B0400000000000000" pitchFamily="50" charset="-128"/>
                        </a:rPr>
                        <a:t>61</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0" i="0" u="none" strike="noStrike">
                          <a:solidFill>
                            <a:srgbClr val="000000"/>
                          </a:solidFill>
                          <a:effectLst/>
                          <a:latin typeface="Arial" panose="020B0604020202020204" pitchFamily="34" charset="0"/>
                          <a:ea typeface="游ゴシック" panose="020B0400000000000000" pitchFamily="50" charset="-128"/>
                        </a:rPr>
                        <a:t>61</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0" i="0" u="none" strike="noStrike" dirty="0">
                          <a:solidFill>
                            <a:srgbClr val="000000"/>
                          </a:solidFill>
                          <a:effectLst/>
                          <a:latin typeface="Arial" panose="020B0604020202020204" pitchFamily="34" charset="0"/>
                          <a:ea typeface="游ゴシック" panose="020B0400000000000000" pitchFamily="50" charset="-128"/>
                        </a:rPr>
                        <a:t>1.6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tcPr>
                </a:tc>
                <a:tc>
                  <a:txBody>
                    <a:bodyPr/>
                    <a:lstStyle/>
                    <a:p>
                      <a:pPr algn="r" fontAlgn="ctr">
                        <a:lnSpc>
                          <a:spcPts val="800"/>
                        </a:lnSpc>
                      </a:pPr>
                      <a:r>
                        <a:rPr lang="en-US" altLang="ja-JP" sz="800" b="0" i="0" u="none" strike="noStrike" dirty="0">
                          <a:solidFill>
                            <a:srgbClr val="000000"/>
                          </a:solidFill>
                          <a:effectLst/>
                          <a:latin typeface="Arial" panose="020B0604020202020204" pitchFamily="34" charset="0"/>
                          <a:ea typeface="游ゴシック" panose="020B0400000000000000" pitchFamily="50" charset="-128"/>
                        </a:rPr>
                        <a:t>1.6 </a:t>
                      </a:r>
                    </a:p>
                  </a:txBody>
                  <a:tcPr marL="10317" marR="10317" marT="10317" marB="0" anchor="ctr">
                    <a:lnL w="635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10"/>
                  </a:ext>
                </a:extLst>
              </a:tr>
              <a:tr h="121742">
                <a:tc gridSpan="2">
                  <a:txBody>
                    <a:bodyPr/>
                    <a:lstStyle/>
                    <a:p>
                      <a:pPr algn="dist">
                        <a:lnSpc>
                          <a:spcPts val="800"/>
                        </a:lnSpc>
                        <a:spcAft>
                          <a:spcPts val="0"/>
                        </a:spcAft>
                      </a:pPr>
                      <a:r>
                        <a:rPr lang="ja-JP" sz="800" kern="100" spc="20" dirty="0">
                          <a:effectLst/>
                          <a:latin typeface="ＭＳ ゴシック" panose="020B0609070205080204" pitchFamily="49" charset="-128"/>
                          <a:ea typeface="ＭＳ ゴシック" panose="020B0609070205080204" pitchFamily="49" charset="-128"/>
                        </a:rPr>
                        <a:t>その他</a:t>
                      </a:r>
                      <a:endParaRPr lang="ja-JP" sz="80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R w="635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334</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344</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8.8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9.1 </a:t>
                      </a:r>
                    </a:p>
                  </a:txBody>
                  <a:tcPr marL="10317" marR="10317" marT="10317" marB="0" anchor="ctr">
                    <a:lnL w="635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1"/>
                  </a:ext>
                </a:extLst>
              </a:tr>
              <a:tr h="121742">
                <a:tc gridSpan="2">
                  <a:txBody>
                    <a:bodyPr/>
                    <a:lstStyle/>
                    <a:p>
                      <a:pPr algn="dist">
                        <a:lnSpc>
                          <a:spcPts val="800"/>
                        </a:lnSpc>
                        <a:spcAft>
                          <a:spcPts val="0"/>
                        </a:spcAft>
                      </a:pPr>
                      <a:r>
                        <a:rPr lang="ja-JP" sz="800" kern="100" spc="20" dirty="0">
                          <a:effectLst/>
                          <a:latin typeface="ＭＳ ゴシック" panose="020B0609070205080204" pitchFamily="49" charset="-128"/>
                          <a:ea typeface="ＭＳ ゴシック" panose="020B0609070205080204" pitchFamily="49" charset="-128"/>
                        </a:rPr>
                        <a:t>合計</a:t>
                      </a:r>
                      <a:endParaRPr lang="ja-JP" sz="800" kern="100" dirty="0">
                        <a:effectLst/>
                        <a:latin typeface="ＭＳ ゴシック" panose="020B0609070205080204" pitchFamily="49" charset="-128"/>
                        <a:ea typeface="ＭＳ ゴシック" panose="020B0609070205080204" pitchFamily="49" charset="-128"/>
                        <a:cs typeface="Times New Roman" panose="02020603050405020304" pitchFamily="18" charset="0"/>
                      </a:endParaRPr>
                    </a:p>
                  </a:txBody>
                  <a:tcPr marL="0" marR="0" marT="0" marB="0" anchor="ctr">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hMerge="1">
                  <a:txBody>
                    <a:bodyPr/>
                    <a:lstStyle/>
                    <a:p>
                      <a:endParaRPr kumimoji="1" lang="ja-JP" altLang="en-US"/>
                    </a:p>
                  </a:txBody>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3,780</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3,780</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100.0 </a:t>
                      </a:r>
                    </a:p>
                  </a:txBody>
                  <a:tcPr marL="10317" marR="10317" marT="10317"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tc>
                  <a:txBody>
                    <a:bodyPr/>
                    <a:lstStyle/>
                    <a:p>
                      <a:pPr algn="r" fontAlgn="ctr">
                        <a:lnSpc>
                          <a:spcPts val="800"/>
                        </a:lnSpc>
                      </a:pPr>
                      <a:r>
                        <a:rPr lang="en-US" altLang="ja-JP" sz="800" b="1" i="0" u="none" strike="noStrike" dirty="0">
                          <a:solidFill>
                            <a:srgbClr val="000000"/>
                          </a:solidFill>
                          <a:effectLst/>
                          <a:latin typeface="Arial" panose="020B0604020202020204" pitchFamily="34" charset="0"/>
                          <a:ea typeface="游ゴシック" panose="020B0400000000000000" pitchFamily="50" charset="-128"/>
                        </a:rPr>
                        <a:t>100.0 </a:t>
                      </a:r>
                    </a:p>
                  </a:txBody>
                  <a:tcPr marL="10317" marR="10317" marT="10317" marB="0" anchor="ctr">
                    <a:lnL w="635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99"/>
                    </a:solidFill>
                  </a:tcPr>
                </a:tc>
                <a:extLst>
                  <a:ext uri="{0D108BD9-81ED-4DB2-BD59-A6C34878D82A}">
                    <a16:rowId xmlns:a16="http://schemas.microsoft.com/office/drawing/2014/main" val="10012"/>
                  </a:ext>
                </a:extLst>
              </a:tr>
            </a:tbl>
          </a:graphicData>
        </a:graphic>
      </p:graphicFrame>
      <p:pic>
        <p:nvPicPr>
          <p:cNvPr id="1026" name="Picture 2" descr="https://www.mlit.go.jp/common/001189507.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671606" y="6276838"/>
            <a:ext cx="1278995" cy="936728"/>
          </a:xfrm>
          <a:prstGeom prst="rect">
            <a:avLst/>
          </a:prstGeom>
          <a:noFill/>
          <a:extLst>
            <a:ext uri="{909E8E84-426E-40DD-AFC4-6F175D3DCCD1}">
              <a14:hiddenFill xmlns:a14="http://schemas.microsoft.com/office/drawing/2010/main">
                <a:solidFill>
                  <a:srgbClr val="FFFFFF"/>
                </a:solidFill>
              </a14:hiddenFill>
            </a:ext>
          </a:extLst>
        </p:spPr>
      </p:pic>
      <p:pic>
        <p:nvPicPr>
          <p:cNvPr id="2" name="図 1"/>
          <p:cNvPicPr>
            <a:picLocks noChangeAspect="1"/>
          </p:cNvPicPr>
          <p:nvPr/>
        </p:nvPicPr>
        <p:blipFill>
          <a:blip r:embed="rId4"/>
          <a:stretch>
            <a:fillRect/>
          </a:stretch>
        </p:blipFill>
        <p:spPr>
          <a:xfrm>
            <a:off x="3064065" y="4913353"/>
            <a:ext cx="1054100" cy="974844"/>
          </a:xfrm>
          <a:prstGeom prst="rect">
            <a:avLst/>
          </a:prstGeom>
        </p:spPr>
      </p:pic>
      <p:pic>
        <p:nvPicPr>
          <p:cNvPr id="58" name="図 57"/>
          <p:cNvPicPr>
            <a:picLocks noChangeAspect="1"/>
          </p:cNvPicPr>
          <p:nvPr/>
        </p:nvPicPr>
        <p:blipFill>
          <a:blip r:embed="rId5"/>
          <a:stretch>
            <a:fillRect/>
          </a:stretch>
        </p:blipFill>
        <p:spPr>
          <a:xfrm>
            <a:off x="7972566" y="6054822"/>
            <a:ext cx="1825264" cy="1297874"/>
          </a:xfrm>
          <a:prstGeom prst="rect">
            <a:avLst/>
          </a:prstGeom>
        </p:spPr>
      </p:pic>
      <p:pic>
        <p:nvPicPr>
          <p:cNvPr id="6" name="図 5"/>
          <p:cNvPicPr>
            <a:picLocks noChangeAspect="1"/>
          </p:cNvPicPr>
          <p:nvPr/>
        </p:nvPicPr>
        <p:blipFill>
          <a:blip r:embed="rId6"/>
          <a:stretch>
            <a:fillRect/>
          </a:stretch>
        </p:blipFill>
        <p:spPr>
          <a:xfrm>
            <a:off x="6049392" y="4935643"/>
            <a:ext cx="1437717" cy="952554"/>
          </a:xfrm>
          <a:prstGeom prst="rect">
            <a:avLst/>
          </a:prstGeom>
        </p:spPr>
      </p:pic>
      <p:sp>
        <p:nvSpPr>
          <p:cNvPr id="56" name="正方形/長方形 55"/>
          <p:cNvSpPr/>
          <p:nvPr/>
        </p:nvSpPr>
        <p:spPr>
          <a:xfrm>
            <a:off x="7395091" y="224497"/>
            <a:ext cx="2417613" cy="3119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r>
              <a:rPr lang="en-US" altLang="ja-JP" sz="1300" dirty="0">
                <a:solidFill>
                  <a:srgbClr val="000000"/>
                </a:solidFill>
                <a:latin typeface="ＭＳ Ｐゴシック"/>
                <a:ea typeface="ＭＳ Ｐゴシック"/>
              </a:rPr>
              <a:t>2023</a:t>
            </a:r>
            <a:r>
              <a:rPr lang="ja-JP" altLang="en-US" sz="1300" dirty="0">
                <a:solidFill>
                  <a:srgbClr val="000000"/>
                </a:solidFill>
                <a:latin typeface="ＭＳ Ｐゴシック"/>
                <a:ea typeface="ＭＳ Ｐゴシック"/>
              </a:rPr>
              <a:t>年（令和</a:t>
            </a:r>
            <a:r>
              <a:rPr lang="en-US" altLang="ja-JP" sz="1300" dirty="0">
                <a:solidFill>
                  <a:srgbClr val="000000"/>
                </a:solidFill>
                <a:latin typeface="ＭＳ Ｐゴシック"/>
                <a:ea typeface="ＭＳ Ｐゴシック"/>
              </a:rPr>
              <a:t>5</a:t>
            </a:r>
            <a:r>
              <a:rPr lang="ja-JP" altLang="en-US" sz="1300" dirty="0">
                <a:solidFill>
                  <a:srgbClr val="000000"/>
                </a:solidFill>
                <a:latin typeface="ＭＳ Ｐゴシック"/>
                <a:ea typeface="ＭＳ Ｐゴシック"/>
              </a:rPr>
              <a:t>年）</a:t>
            </a:r>
            <a:r>
              <a:rPr lang="en-US" altLang="ja-JP" sz="1300" dirty="0">
                <a:solidFill>
                  <a:srgbClr val="000000"/>
                </a:solidFill>
                <a:latin typeface="ＭＳ Ｐゴシック"/>
                <a:ea typeface="ＭＳ Ｐゴシック"/>
              </a:rPr>
              <a:t>7</a:t>
            </a:r>
            <a:r>
              <a:rPr lang="ja-JP" altLang="en-US" sz="1300" dirty="0">
                <a:solidFill>
                  <a:srgbClr val="000000"/>
                </a:solidFill>
                <a:latin typeface="ＭＳ Ｐゴシック"/>
                <a:ea typeface="ＭＳ Ｐゴシック"/>
              </a:rPr>
              <a:t>月閣議決定</a:t>
            </a:r>
          </a:p>
        </p:txBody>
      </p:sp>
      <p:sp>
        <p:nvSpPr>
          <p:cNvPr id="79" name="テキスト ボックス 37"/>
          <p:cNvSpPr txBox="1"/>
          <p:nvPr/>
        </p:nvSpPr>
        <p:spPr bwMode="gray">
          <a:xfrm>
            <a:off x="7950602" y="6064776"/>
            <a:ext cx="1106063" cy="123604"/>
          </a:xfrm>
          <a:prstGeom prst="rect">
            <a:avLst/>
          </a:prstGeom>
          <a:solidFill>
            <a:schemeClr val="bg1"/>
          </a:solidFill>
          <a:ln w="12700">
            <a:noFill/>
          </a:ln>
        </p:spPr>
        <p:txBody>
          <a:bodyPr vert="horz" wrap="square" lIns="3451" tIns="3451" rIns="3451" bIns="3451" rtlCol="0" anchor="ctr">
            <a:spAutoFit/>
          </a:bodyPr>
          <a:lstStyle>
            <a:defPPr>
              <a:defRPr lang="ja-JP"/>
            </a:defPPr>
            <a:lvl1pPr algn="ctr">
              <a:defRPr sz="16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defRPr>
                <a:solidFill>
                  <a:schemeClr val="tx1"/>
                </a:solidFill>
                <a:latin typeface="Arial" charset="0"/>
                <a:ea typeface="ＭＳ Ｐゴシック" charset="-128"/>
              </a:defRPr>
            </a:lvl2pPr>
            <a:lvl3pPr>
              <a:defRPr>
                <a:solidFill>
                  <a:schemeClr val="tx1"/>
                </a:solidFill>
                <a:latin typeface="Arial" charset="0"/>
                <a:ea typeface="ＭＳ Ｐゴシック" charset="-128"/>
              </a:defRPr>
            </a:lvl3pPr>
            <a:lvl4pPr>
              <a:defRPr>
                <a:solidFill>
                  <a:schemeClr val="tx1"/>
                </a:solidFill>
                <a:latin typeface="Arial" charset="0"/>
                <a:ea typeface="ＭＳ Ｐゴシック" charset="-128"/>
              </a:defRPr>
            </a:lvl4pPr>
            <a:lvl5pPr>
              <a:defRPr>
                <a:solidFill>
                  <a:schemeClr val="tx1"/>
                </a:solidFill>
                <a:latin typeface="Arial" charset="0"/>
                <a:ea typeface="ＭＳ Ｐゴシック" charset="-128"/>
              </a:defRPr>
            </a:lvl5pPr>
            <a:lvl6pPr>
              <a:defRPr>
                <a:solidFill>
                  <a:schemeClr val="tx1"/>
                </a:solidFill>
                <a:latin typeface="Arial" charset="0"/>
                <a:ea typeface="ＭＳ Ｐゴシック" charset="-128"/>
              </a:defRPr>
            </a:lvl6pPr>
            <a:lvl7pPr>
              <a:defRPr>
                <a:solidFill>
                  <a:schemeClr val="tx1"/>
                </a:solidFill>
                <a:latin typeface="Arial" charset="0"/>
                <a:ea typeface="ＭＳ Ｐゴシック" charset="-128"/>
              </a:defRPr>
            </a:lvl7pPr>
            <a:lvl8pPr>
              <a:defRPr>
                <a:solidFill>
                  <a:schemeClr val="tx1"/>
                </a:solidFill>
                <a:latin typeface="Arial" charset="0"/>
                <a:ea typeface="ＭＳ Ｐゴシック" charset="-128"/>
              </a:defRPr>
            </a:lvl8pPr>
            <a:lvl9pPr>
              <a:defRPr>
                <a:solidFill>
                  <a:schemeClr val="tx1"/>
                </a:solidFill>
                <a:latin typeface="Arial" charset="0"/>
                <a:ea typeface="ＭＳ Ｐゴシック" charset="-128"/>
              </a:defRPr>
            </a:lvl9pPr>
          </a:lstStyle>
          <a:p>
            <a:pPr algn="l" defTabSz="914329">
              <a:defRPr/>
            </a:pPr>
            <a:r>
              <a:rPr lang="ja-JP" altLang="en-US" sz="758" b="0" dirty="0">
                <a:solidFill>
                  <a:srgbClr val="000000"/>
                </a:solidFill>
                <a:latin typeface="メイリオ" panose="020B0604030504040204" pitchFamily="50" charset="-128"/>
                <a:ea typeface="メイリオ" panose="020B0604030504040204" pitchFamily="50" charset="-128"/>
                <a:cs typeface="メイリオ" panose="020B0604030504040204" pitchFamily="50" charset="-128"/>
              </a:rPr>
              <a:t>○地域管理構想図の作成</a:t>
            </a:r>
          </a:p>
        </p:txBody>
      </p:sp>
      <p:sp>
        <p:nvSpPr>
          <p:cNvPr id="16" name="正方形/長方形 15"/>
          <p:cNvSpPr/>
          <p:nvPr/>
        </p:nvSpPr>
        <p:spPr>
          <a:xfrm>
            <a:off x="7999598" y="6765709"/>
            <a:ext cx="542418" cy="4478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FFFFFF"/>
              </a:solidFill>
              <a:latin typeface="Arial"/>
              <a:ea typeface="ＭＳ Ｐゴシック"/>
            </a:endParaRPr>
          </a:p>
        </p:txBody>
      </p:sp>
      <p:sp>
        <p:nvSpPr>
          <p:cNvPr id="80" name="正方形/長方形 79"/>
          <p:cNvSpPr/>
          <p:nvPr/>
        </p:nvSpPr>
        <p:spPr>
          <a:xfrm>
            <a:off x="7931028" y="6728110"/>
            <a:ext cx="729764" cy="525465"/>
          </a:xfrm>
          <a:prstGeom prst="rect">
            <a:avLst/>
          </a:prstGeom>
        </p:spPr>
        <p:txBody>
          <a:bodyPr wrap="square">
            <a:spAutoFit/>
          </a:bodyPr>
          <a:lstStyle/>
          <a:p>
            <a:pPr defTabSz="914329">
              <a:defRPr/>
            </a:pPr>
            <a:r>
              <a:rPr lang="ja-JP" altLang="en-US" sz="563" dirty="0">
                <a:solidFill>
                  <a:srgbClr val="000000"/>
                </a:solidFill>
                <a:latin typeface="メイリオ" panose="020B0604030504040204" pitchFamily="50" charset="-128"/>
                <a:ea typeface="メイリオ" panose="020B0604030504040204" pitchFamily="50" charset="-128"/>
              </a:rPr>
              <a:t>草刈りなど</a:t>
            </a:r>
            <a:endParaRPr lang="en-US" altLang="ja-JP" sz="563" dirty="0">
              <a:solidFill>
                <a:srgbClr val="000000"/>
              </a:solidFill>
              <a:latin typeface="メイリオ" panose="020B0604030504040204" pitchFamily="50" charset="-128"/>
              <a:ea typeface="メイリオ" panose="020B0604030504040204" pitchFamily="50" charset="-128"/>
            </a:endParaRPr>
          </a:p>
          <a:p>
            <a:pPr defTabSz="990498">
              <a:defRPr/>
            </a:pPr>
            <a:r>
              <a:rPr lang="ja-JP" altLang="en-US" sz="563" b="1" u="sng" dirty="0">
                <a:solidFill>
                  <a:srgbClr val="000000"/>
                </a:solidFill>
                <a:latin typeface="メイリオ" panose="020B0604030504040204" pitchFamily="50" charset="-128"/>
                <a:ea typeface="メイリオ" panose="020B0604030504040204" pitchFamily="50" charset="-128"/>
              </a:rPr>
              <a:t>手のかからない方法で管理</a:t>
            </a:r>
            <a:endParaRPr lang="en-US" altLang="ja-JP" sz="563" b="1" u="sng" dirty="0">
              <a:solidFill>
                <a:srgbClr val="000000"/>
              </a:solidFill>
              <a:latin typeface="メイリオ" panose="020B0604030504040204" pitchFamily="50" charset="-128"/>
              <a:ea typeface="メイリオ" panose="020B0604030504040204" pitchFamily="50" charset="-128"/>
            </a:endParaRPr>
          </a:p>
          <a:p>
            <a:pPr marL="88894" indent="-88894" defTabSz="914329">
              <a:defRPr/>
            </a:pPr>
            <a:r>
              <a:rPr lang="ja-JP" altLang="en-US" sz="563" dirty="0">
                <a:solidFill>
                  <a:srgbClr val="000000"/>
                </a:solidFill>
                <a:latin typeface="メイリオ" panose="020B0604030504040204" pitchFamily="50" charset="-128"/>
                <a:ea typeface="メイリオ" panose="020B0604030504040204" pitchFamily="50" charset="-128"/>
              </a:rPr>
              <a:t>・将来の活用に備えた農地</a:t>
            </a:r>
            <a:endParaRPr lang="ja-JP" altLang="en-US" sz="563" b="1" u="sng" dirty="0">
              <a:solidFill>
                <a:srgbClr val="000000"/>
              </a:solidFill>
              <a:latin typeface="メイリオ" panose="020B0604030504040204" pitchFamily="50" charset="-128"/>
              <a:ea typeface="メイリオ" panose="020B0604030504040204" pitchFamily="50" charset="-128"/>
            </a:endParaRPr>
          </a:p>
        </p:txBody>
      </p:sp>
      <p:sp>
        <p:nvSpPr>
          <p:cNvPr id="81" name="正方形/長方形 80"/>
          <p:cNvSpPr/>
          <p:nvPr/>
        </p:nvSpPr>
        <p:spPr>
          <a:xfrm>
            <a:off x="9105496" y="6151516"/>
            <a:ext cx="646993" cy="348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FFFFFF"/>
              </a:solidFill>
              <a:latin typeface="Arial"/>
              <a:ea typeface="ＭＳ Ｐゴシック"/>
            </a:endParaRPr>
          </a:p>
        </p:txBody>
      </p:sp>
      <p:sp>
        <p:nvSpPr>
          <p:cNvPr id="82" name="正方形/長方形 81"/>
          <p:cNvSpPr/>
          <p:nvPr/>
        </p:nvSpPr>
        <p:spPr>
          <a:xfrm>
            <a:off x="9161883" y="6953725"/>
            <a:ext cx="608985" cy="1885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FFFFFF"/>
              </a:solidFill>
              <a:latin typeface="Arial"/>
              <a:ea typeface="ＭＳ Ｐゴシック"/>
            </a:endParaRPr>
          </a:p>
        </p:txBody>
      </p:sp>
      <p:sp>
        <p:nvSpPr>
          <p:cNvPr id="84" name="テキスト ボックス 20"/>
          <p:cNvSpPr txBox="1"/>
          <p:nvPr/>
        </p:nvSpPr>
        <p:spPr>
          <a:xfrm>
            <a:off x="9047528" y="6121937"/>
            <a:ext cx="791497" cy="438824"/>
          </a:xfrm>
          <a:prstGeom prst="rect">
            <a:avLst/>
          </a:prstGeom>
          <a:noFill/>
          <a:ln w="9525">
            <a:noFill/>
            <a:miter lim="800000"/>
            <a:headEnd/>
            <a:tailEnd/>
          </a:ln>
        </p:spPr>
        <p:txBody>
          <a:bodyPr vert="horz" wrap="square" lIns="38994" tIns="45713" rIns="38994" bIns="45713" numCol="1" rtlCol="0" anchor="t" anchorCtr="0" compatLnSpc="1">
            <a:prstTxWarp prst="textNoShape">
              <a:avLst/>
            </a:prstTxWarp>
            <a:spAutoFit/>
          </a:bodyPr>
          <a:lstStyle/>
          <a:p>
            <a:pPr algn="ctr" defTabSz="990498">
              <a:defRPr/>
            </a:pPr>
            <a:r>
              <a:rPr lang="ja-JP" altLang="en-US" sz="563" b="1" u="sng" dirty="0">
                <a:solidFill>
                  <a:srgbClr val="000000"/>
                </a:solidFill>
                <a:latin typeface="メイリオ" panose="020B0604030504040204" pitchFamily="50" charset="-128"/>
                <a:ea typeface="メイリオ" panose="020B0604030504040204" pitchFamily="50" charset="-128"/>
              </a:rPr>
              <a:t>積極的に維持</a:t>
            </a:r>
            <a:endParaRPr lang="en-US" altLang="ja-JP" sz="563" b="1" u="sng" dirty="0">
              <a:solidFill>
                <a:srgbClr val="000000"/>
              </a:solidFill>
              <a:latin typeface="メイリオ" panose="020B0604030504040204" pitchFamily="50" charset="-128"/>
              <a:ea typeface="メイリオ" panose="020B0604030504040204" pitchFamily="50" charset="-128"/>
            </a:endParaRPr>
          </a:p>
          <a:p>
            <a:pPr defTabSz="990498">
              <a:defRPr/>
            </a:pPr>
            <a:r>
              <a:rPr lang="ja-JP" altLang="en-US" sz="563" dirty="0">
                <a:solidFill>
                  <a:srgbClr val="000000"/>
                </a:solidFill>
                <a:latin typeface="メイリオ" panose="020B0604030504040204" pitchFamily="50" charset="-128"/>
                <a:ea typeface="メイリオ" panose="020B0604030504040204" pitchFamily="50" charset="-128"/>
              </a:rPr>
              <a:t>・貴重な棚田</a:t>
            </a:r>
            <a:endParaRPr lang="en-US" altLang="ja-JP" sz="563" dirty="0">
              <a:solidFill>
                <a:srgbClr val="000000"/>
              </a:solidFill>
              <a:latin typeface="メイリオ" panose="020B0604030504040204" pitchFamily="50" charset="-128"/>
              <a:ea typeface="メイリオ" panose="020B0604030504040204" pitchFamily="50" charset="-128"/>
            </a:endParaRPr>
          </a:p>
          <a:p>
            <a:pPr marL="88894" indent="-88894" defTabSz="990498">
              <a:defRPr/>
            </a:pPr>
            <a:r>
              <a:rPr lang="ja-JP" altLang="en-US" sz="563" dirty="0">
                <a:solidFill>
                  <a:srgbClr val="000000"/>
                </a:solidFill>
                <a:latin typeface="メイリオ" panose="020B0604030504040204" pitchFamily="50" charset="-128"/>
                <a:ea typeface="メイリオ" panose="020B0604030504040204" pitchFamily="50" charset="-128"/>
              </a:rPr>
              <a:t>・獣害防止のため管理が必要な森林</a:t>
            </a:r>
            <a:endParaRPr lang="en-US" altLang="ja-JP" sz="563" dirty="0">
              <a:solidFill>
                <a:srgbClr val="000000"/>
              </a:solidFill>
              <a:latin typeface="メイリオ" panose="020B0604030504040204" pitchFamily="50" charset="-128"/>
              <a:ea typeface="メイリオ" panose="020B0604030504040204" pitchFamily="50" charset="-128"/>
            </a:endParaRPr>
          </a:p>
        </p:txBody>
      </p:sp>
      <p:sp>
        <p:nvSpPr>
          <p:cNvPr id="85" name="テキスト ボックス 34"/>
          <p:cNvSpPr txBox="1"/>
          <p:nvPr/>
        </p:nvSpPr>
        <p:spPr>
          <a:xfrm>
            <a:off x="9105496" y="6912445"/>
            <a:ext cx="694429" cy="265571"/>
          </a:xfrm>
          <a:prstGeom prst="rect">
            <a:avLst/>
          </a:prstGeom>
          <a:noFill/>
          <a:ln w="9525">
            <a:noFill/>
            <a:miter lim="800000"/>
            <a:headEnd/>
            <a:tailEnd/>
          </a:ln>
        </p:spPr>
        <p:txBody>
          <a:bodyPr vert="horz" wrap="square" lIns="77988" tIns="45713" rIns="77988" bIns="45713" numCol="1" rtlCol="0" anchor="t" anchorCtr="0" compatLnSpc="1">
            <a:prstTxWarp prst="textNoShape">
              <a:avLst/>
            </a:prstTxWarp>
            <a:spAutoFit/>
          </a:bodyPr>
          <a:lstStyle/>
          <a:p>
            <a:pPr defTabSz="914329">
              <a:defRPr/>
            </a:pPr>
            <a:r>
              <a:rPr lang="ja-JP" altLang="en-US" sz="563" dirty="0">
                <a:solidFill>
                  <a:srgbClr val="000000"/>
                </a:solidFill>
                <a:latin typeface="メイリオ" panose="020B0604030504040204" pitchFamily="50" charset="-128"/>
                <a:ea typeface="メイリオ" panose="020B0604030504040204" pitchFamily="50" charset="-128"/>
              </a:rPr>
              <a:t>見守りなど</a:t>
            </a:r>
            <a:r>
              <a:rPr lang="ja-JP" altLang="en-US" sz="563" b="1" u="sng" dirty="0">
                <a:solidFill>
                  <a:srgbClr val="000000"/>
                </a:solidFill>
                <a:latin typeface="メイリオ" panose="020B0604030504040204" pitchFamily="50" charset="-128"/>
                <a:ea typeface="メイリオ" panose="020B0604030504040204" pitchFamily="50" charset="-128"/>
              </a:rPr>
              <a:t>必要最小限の管理</a:t>
            </a:r>
            <a:endParaRPr lang="en-US" altLang="ja-JP" sz="563" b="1" u="sng" dirty="0">
              <a:solidFill>
                <a:srgbClr val="000000"/>
              </a:solidFill>
              <a:latin typeface="メイリオ" panose="020B0604030504040204" pitchFamily="50" charset="-128"/>
              <a:ea typeface="メイリオ" panose="020B0604030504040204" pitchFamily="50" charset="-128"/>
            </a:endParaRPr>
          </a:p>
        </p:txBody>
      </p:sp>
      <p:sp>
        <p:nvSpPr>
          <p:cNvPr id="4" name="テキスト ボックス 3"/>
          <p:cNvSpPr txBox="1"/>
          <p:nvPr/>
        </p:nvSpPr>
        <p:spPr>
          <a:xfrm>
            <a:off x="10258673" y="299403"/>
            <a:ext cx="2339885" cy="992579"/>
          </a:xfrm>
          <a:prstGeom prst="rect">
            <a:avLst/>
          </a:prstGeom>
          <a:solidFill>
            <a:schemeClr val="accent1"/>
          </a:solidFill>
        </p:spPr>
        <p:txBody>
          <a:bodyPr wrap="square" rtlCol="0">
            <a:spAutoFit/>
          </a:bodyPr>
          <a:lstStyle/>
          <a:p>
            <a:pPr defTabSz="990478">
              <a:defRPr/>
            </a:pPr>
            <a:r>
              <a:rPr lang="en-US" altLang="ja-JP" sz="1950" dirty="0">
                <a:solidFill>
                  <a:srgbClr val="000000"/>
                </a:solidFill>
              </a:rPr>
              <a:t>7/31</a:t>
            </a:r>
          </a:p>
          <a:p>
            <a:pPr defTabSz="990478">
              <a:defRPr/>
            </a:pPr>
            <a:r>
              <a:rPr lang="ja-JP" altLang="en-US" sz="1950" dirty="0">
                <a:solidFill>
                  <a:srgbClr val="000000"/>
                </a:solidFill>
              </a:rPr>
              <a:t>閣議決定を明記したバージョンに修正</a:t>
            </a:r>
          </a:p>
        </p:txBody>
      </p:sp>
      <p:sp>
        <p:nvSpPr>
          <p:cNvPr id="60" name="スライド番号プレースホルダー 1"/>
          <p:cNvSpPr txBox="1">
            <a:spLocks/>
          </p:cNvSpPr>
          <p:nvPr/>
        </p:nvSpPr>
        <p:spPr bwMode="auto">
          <a:xfrm>
            <a:off x="7505999" y="7074545"/>
            <a:ext cx="2311030" cy="515855"/>
          </a:xfrm>
          <a:prstGeom prst="rect">
            <a:avLst/>
          </a:prstGeom>
          <a:noFill/>
          <a:ln w="9525">
            <a:noFill/>
            <a:miter lim="800000"/>
            <a:headEnd/>
            <a:tailEnd/>
          </a:ln>
          <a:effectLst/>
        </p:spPr>
        <p:txBody>
          <a:bodyPr vert="horz" wrap="square" lIns="99044" tIns="49522" rIns="99044" bIns="49522" numCol="1" anchor="t" anchorCtr="0" compatLnSpc="1">
            <a:prstTxWarp prst="textNoShape">
              <a:avLst/>
            </a:prstTxWarp>
          </a:bodyPr>
          <a:lstStyle>
            <a:defPPr>
              <a:defRPr lang="ja-JP"/>
            </a:defPPr>
            <a:lvl1pPr algn="r" rtl="0" fontAlgn="base">
              <a:spcBef>
                <a:spcPct val="0"/>
              </a:spcBef>
              <a:spcAft>
                <a:spcPct val="0"/>
              </a:spcAft>
              <a:defRPr kumimoji="1" sz="1800" b="1" i="1" kern="1200">
                <a:solidFill>
                  <a:schemeClr val="tx1"/>
                </a:solidFill>
                <a:latin typeface="+mn-lt"/>
                <a:ea typeface="ＭＳ Ｐゴシック" pitchFamily="50"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defTabSz="990478">
              <a:defRPr/>
            </a:pPr>
            <a:fld id="{DE9C2EA1-6911-4BAC-954D-0A2DD024DDCF}" type="slidenum">
              <a:rPr lang="en-US" altLang="ja-JP" sz="1950">
                <a:solidFill>
                  <a:srgbClr val="000000"/>
                </a:solidFill>
                <a:latin typeface="Calibri" panose="020F0502020204030204"/>
              </a:rPr>
              <a:pPr defTabSz="990478">
                <a:defRPr/>
              </a:pPr>
              <a:t>20</a:t>
            </a:fld>
            <a:endParaRPr lang="en-US" altLang="ja-JP" sz="1950" dirty="0">
              <a:solidFill>
                <a:srgbClr val="000000"/>
              </a:solidFill>
              <a:latin typeface="Calibri" panose="020F0502020204030204"/>
            </a:endParaRPr>
          </a:p>
        </p:txBody>
      </p:sp>
    </p:spTree>
    <p:extLst>
      <p:ext uri="{BB962C8B-B14F-4D97-AF65-F5344CB8AC3E}">
        <p14:creationId xmlns:p14="http://schemas.microsoft.com/office/powerpoint/2010/main" val="17958184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角丸四角形 17"/>
          <p:cNvSpPr/>
          <p:nvPr/>
        </p:nvSpPr>
        <p:spPr>
          <a:xfrm>
            <a:off x="128703" y="4579114"/>
            <a:ext cx="9662873" cy="2978574"/>
          </a:xfrm>
          <a:prstGeom prst="roundRect">
            <a:avLst>
              <a:gd name="adj" fmla="val 6395"/>
            </a:avLst>
          </a:prstGeom>
          <a:solidFill>
            <a:srgbClr val="CC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FFFFFF"/>
              </a:solidFill>
              <a:latin typeface="Arial"/>
              <a:ea typeface="ＭＳ Ｐゴシック"/>
            </a:endParaRPr>
          </a:p>
        </p:txBody>
      </p:sp>
      <p:sp>
        <p:nvSpPr>
          <p:cNvPr id="4" name="角丸四角形 3"/>
          <p:cNvSpPr/>
          <p:nvPr/>
        </p:nvSpPr>
        <p:spPr>
          <a:xfrm>
            <a:off x="116444" y="993992"/>
            <a:ext cx="9662873" cy="3543793"/>
          </a:xfrm>
          <a:prstGeom prst="roundRect">
            <a:avLst>
              <a:gd name="adj" fmla="val 639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r>
              <a:rPr lang="ja-JP" altLang="en-US" sz="1950" b="1" kern="0">
                <a:solidFill>
                  <a:srgbClr val="FFFFFF"/>
                </a:solidFill>
                <a:latin typeface="Arial"/>
                <a:ea typeface="ＭＳ Ｐゴシック"/>
              </a:rPr>
              <a:t>イ 農山漁村</a:t>
            </a:r>
            <a:endParaRPr lang="en-US" altLang="ja-JP" sz="1733" kern="0" dirty="0">
              <a:solidFill>
                <a:srgbClr val="FFFFFF"/>
              </a:solidFill>
              <a:latin typeface="Arial"/>
              <a:ea typeface="ＭＳ Ｐゴシック"/>
            </a:endParaRPr>
          </a:p>
        </p:txBody>
      </p:sp>
      <p:sp>
        <p:nvSpPr>
          <p:cNvPr id="2" name="タイトル 1"/>
          <p:cNvSpPr>
            <a:spLocks noGrp="1"/>
          </p:cNvSpPr>
          <p:nvPr>
            <p:ph type="title"/>
          </p:nvPr>
        </p:nvSpPr>
        <p:spPr/>
        <p:txBody>
          <a:bodyPr/>
          <a:lstStyle/>
          <a:p>
            <a:r>
              <a:rPr lang="ja-JP" altLang="en-US" sz="2600" dirty="0"/>
              <a:t>地域類型別、利用区分別の国土利用の基本方向</a:t>
            </a:r>
            <a:r>
              <a:rPr lang="ja-JP" altLang="en-US" sz="1516" dirty="0"/>
              <a:t>（主な記載事項）</a:t>
            </a:r>
            <a:endParaRPr lang="ja-JP" altLang="en-US" sz="2600" dirty="0"/>
          </a:p>
        </p:txBody>
      </p:sp>
      <p:sp>
        <p:nvSpPr>
          <p:cNvPr id="5" name="テキスト ボックス 4"/>
          <p:cNvSpPr txBox="1"/>
          <p:nvPr/>
        </p:nvSpPr>
        <p:spPr>
          <a:xfrm>
            <a:off x="194440" y="1027958"/>
            <a:ext cx="3959738" cy="392415"/>
          </a:xfrm>
          <a:prstGeom prst="rect">
            <a:avLst/>
          </a:prstGeom>
          <a:noFill/>
          <a:ln>
            <a:noFill/>
          </a:ln>
        </p:spPr>
        <p:txBody>
          <a:bodyPr wrap="none" rtlCol="0">
            <a:spAutoFit/>
          </a:bodyPr>
          <a:lstStyle/>
          <a:p>
            <a:pPr defTabSz="990478">
              <a:defRPr/>
            </a:pPr>
            <a:r>
              <a:rPr lang="ja-JP" altLang="en-US" sz="1950" b="1" dirty="0">
                <a:solidFill>
                  <a:srgbClr val="000000"/>
                </a:solidFill>
                <a:ea typeface="ＭＳ Ｐゴシック" charset="-128"/>
              </a:rPr>
              <a:t>地域類型別の国土利用の基本方向</a:t>
            </a:r>
          </a:p>
        </p:txBody>
      </p:sp>
      <p:sp>
        <p:nvSpPr>
          <p:cNvPr id="9" name="コンテンツ プレースホルダー 2"/>
          <p:cNvSpPr txBox="1">
            <a:spLocks/>
          </p:cNvSpPr>
          <p:nvPr/>
        </p:nvSpPr>
        <p:spPr bwMode="auto">
          <a:xfrm>
            <a:off x="2102560" y="2516590"/>
            <a:ext cx="7607413" cy="936655"/>
          </a:xfrm>
          <a:prstGeom prst="rect">
            <a:avLst/>
          </a:prstGeom>
          <a:solidFill>
            <a:schemeClr val="bg1"/>
          </a:solidFill>
          <a:ln w="34925">
            <a:solidFill>
              <a:srgbClr val="C00000"/>
            </a:solidFill>
            <a:prstDash val="solid"/>
          </a:ln>
        </p:spPr>
        <p:txBody>
          <a:bodyPr vert="horz" wrap="square" lIns="99044" tIns="49522" rIns="99044" bIns="49522" numCol="1" anchor="ctr"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0" indent="0" defTabSz="990478">
              <a:buNone/>
              <a:defRPr/>
            </a:pPr>
            <a:r>
              <a:rPr lang="ja-JP" altLang="en-US" sz="1408" kern="0" dirty="0">
                <a:solidFill>
                  <a:srgbClr val="000000"/>
                </a:solidFill>
                <a:latin typeface="Arial"/>
                <a:ea typeface="ＭＳ Ｐゴシック"/>
              </a:rPr>
              <a:t>○多様な地域資源の活用を通じた雇用促進・所得向上による健全な地域社会の構築　○中山間地域等における集落機能の維持・強化　○農用地の保全等による活性化　○デジタル技術も活用した鳥獣被害対策とジビエ利活用の拡大　○森林サービス産業等による山村価値の創造　○里地里山等のうち適切なものは</a:t>
            </a:r>
            <a:r>
              <a:rPr lang="en-US" altLang="ja-JP" sz="1408" kern="0" dirty="0">
                <a:solidFill>
                  <a:srgbClr val="000000"/>
                </a:solidFill>
                <a:latin typeface="Arial"/>
                <a:ea typeface="ＭＳ Ｐゴシック"/>
              </a:rPr>
              <a:t>OECM</a:t>
            </a:r>
            <a:r>
              <a:rPr lang="ja-JP" altLang="en-US" sz="1408" kern="0" dirty="0">
                <a:solidFill>
                  <a:srgbClr val="000000"/>
                </a:solidFill>
                <a:latin typeface="Arial"/>
                <a:ea typeface="ＭＳ Ｐゴシック"/>
              </a:rPr>
              <a:t>として設定・管理　 　</a:t>
            </a:r>
            <a:r>
              <a:rPr lang="ja-JP" altLang="en-US" sz="1408" kern="0" dirty="0">
                <a:solidFill>
                  <a:srgbClr val="FF0000"/>
                </a:solidFill>
                <a:latin typeface="Arial"/>
                <a:ea typeface="ＭＳ Ｐゴシック"/>
              </a:rPr>
              <a:t>　　　　　　　　　　　　　　　　　　　　</a:t>
            </a:r>
            <a:r>
              <a:rPr lang="ja-JP" altLang="en-US" sz="1408" kern="0" dirty="0">
                <a:solidFill>
                  <a:srgbClr val="000000"/>
                </a:solidFill>
                <a:latin typeface="Arial"/>
                <a:ea typeface="ＭＳ Ｐゴシック"/>
              </a:rPr>
              <a:t>　　　　　 　　等</a:t>
            </a:r>
            <a:endParaRPr lang="en-US" altLang="ja-JP" sz="1408" kern="0" dirty="0">
              <a:solidFill>
                <a:srgbClr val="000000"/>
              </a:solidFill>
              <a:latin typeface="Arial"/>
              <a:ea typeface="ＭＳ Ｐゴシック"/>
            </a:endParaRPr>
          </a:p>
        </p:txBody>
      </p:sp>
      <p:sp>
        <p:nvSpPr>
          <p:cNvPr id="6" name="コンテンツ プレースホルダー 2"/>
          <p:cNvSpPr>
            <a:spLocks noGrp="1"/>
          </p:cNvSpPr>
          <p:nvPr>
            <p:ph idx="1"/>
          </p:nvPr>
        </p:nvSpPr>
        <p:spPr>
          <a:xfrm>
            <a:off x="2101897" y="1506189"/>
            <a:ext cx="7608075" cy="935850"/>
          </a:xfrm>
          <a:solidFill>
            <a:schemeClr val="bg1"/>
          </a:solidFill>
          <a:ln>
            <a:solidFill>
              <a:schemeClr val="tx1"/>
            </a:solidFill>
            <a:prstDash val="solid"/>
          </a:ln>
        </p:spPr>
        <p:txBody>
          <a:bodyPr anchor="ctr"/>
          <a:lstStyle/>
          <a:p>
            <a:pPr marL="0" indent="0">
              <a:buNone/>
            </a:pPr>
            <a:r>
              <a:rPr lang="ja-JP" altLang="en-US" sz="1408" dirty="0"/>
              <a:t>○中心部や生活拠点等への都市機能や居住の集約化　○災害ハザードエリアの開発抑制とより安全な地域への居住誘導　○所有者不明土地などの低未利用土地や空き家の利用の円滑化、適正な管理の確保　○グリーンインフラや</a:t>
            </a:r>
            <a:r>
              <a:rPr lang="en-US" altLang="ja-JP" sz="1408" dirty="0"/>
              <a:t>Eco-DRR</a:t>
            </a:r>
            <a:r>
              <a:rPr lang="ja-JP" altLang="en-US" sz="1408" dirty="0"/>
              <a:t>としての都市部の緑地保全　○都市内の緑地等を</a:t>
            </a:r>
            <a:r>
              <a:rPr lang="en-US" altLang="ja-JP" sz="1408" dirty="0"/>
              <a:t>OECM</a:t>
            </a:r>
            <a:r>
              <a:rPr lang="ja-JP" altLang="en-US" sz="1408" dirty="0"/>
              <a:t>として設定・管理　　　　　　　　　　　　　　　　　　　　　　　　　　　　　　　　　　　　　　　　　　　　等</a:t>
            </a:r>
            <a:endParaRPr lang="en-US" altLang="ja-JP" sz="1408" dirty="0"/>
          </a:p>
        </p:txBody>
      </p:sp>
      <p:sp>
        <p:nvSpPr>
          <p:cNvPr id="10" name="コンテンツ プレースホルダー 2"/>
          <p:cNvSpPr txBox="1">
            <a:spLocks/>
          </p:cNvSpPr>
          <p:nvPr/>
        </p:nvSpPr>
        <p:spPr bwMode="auto">
          <a:xfrm>
            <a:off x="2102558" y="3526991"/>
            <a:ext cx="7607414" cy="935850"/>
          </a:xfrm>
          <a:prstGeom prst="rect">
            <a:avLst/>
          </a:prstGeom>
          <a:solidFill>
            <a:schemeClr val="bg1"/>
          </a:solidFill>
          <a:ln>
            <a:solidFill>
              <a:schemeClr val="tx1"/>
            </a:solidFill>
            <a:prstDash val="solid"/>
          </a:ln>
        </p:spPr>
        <p:txBody>
          <a:bodyPr vert="horz" wrap="square" lIns="99044" tIns="49522" rIns="99044" bIns="49522" numCol="1" anchor="ctr"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0" indent="0" defTabSz="990478">
              <a:buNone/>
              <a:defRPr/>
            </a:pPr>
            <a:r>
              <a:rPr lang="ja-JP" altLang="en-US" sz="1408" kern="0" dirty="0">
                <a:solidFill>
                  <a:srgbClr val="000000"/>
                </a:solidFill>
                <a:latin typeface="Arial"/>
                <a:ea typeface="ＭＳ Ｐゴシック"/>
              </a:rPr>
              <a:t>○原生的な自然地域など自然環境の適切な保全・再生、外来種や野生鳥獣による被害等の防止</a:t>
            </a:r>
            <a:br>
              <a:rPr lang="en-US" altLang="ja-JP" sz="1408" kern="0" dirty="0">
                <a:solidFill>
                  <a:srgbClr val="000000"/>
                </a:solidFill>
                <a:latin typeface="Arial"/>
                <a:ea typeface="ＭＳ Ｐゴシック"/>
              </a:rPr>
            </a:br>
            <a:r>
              <a:rPr lang="ja-JP" altLang="en-US" sz="1408" kern="0" dirty="0">
                <a:solidFill>
                  <a:srgbClr val="000000"/>
                </a:solidFill>
                <a:latin typeface="Arial"/>
                <a:ea typeface="ＭＳ Ｐゴシック"/>
              </a:rPr>
              <a:t>○保護地域と</a:t>
            </a:r>
            <a:r>
              <a:rPr lang="en-US" altLang="ja-JP" sz="1408" kern="0" dirty="0">
                <a:solidFill>
                  <a:srgbClr val="000000"/>
                </a:solidFill>
                <a:latin typeface="Arial"/>
                <a:ea typeface="ＭＳ Ｐゴシック"/>
              </a:rPr>
              <a:t>OECM</a:t>
            </a:r>
            <a:r>
              <a:rPr lang="ja-JP" altLang="en-US" sz="1408" kern="0" dirty="0">
                <a:solidFill>
                  <a:srgbClr val="000000"/>
                </a:solidFill>
                <a:latin typeface="Arial"/>
                <a:ea typeface="ＭＳ Ｐゴシック"/>
              </a:rPr>
              <a:t>による広域的な生態系ネットワーク化の促進　○自然環境の有する多様な機能を活用したグリーンインフラの推進　○自然とのふれあいの場としての適切な利用　　　　　　等</a:t>
            </a:r>
            <a:endParaRPr lang="en-US" altLang="ja-JP" sz="1408" kern="0" dirty="0">
              <a:solidFill>
                <a:srgbClr val="000000"/>
              </a:solidFill>
              <a:latin typeface="Arial"/>
              <a:ea typeface="ＭＳ Ｐゴシック"/>
            </a:endParaRPr>
          </a:p>
        </p:txBody>
      </p:sp>
      <p:sp>
        <p:nvSpPr>
          <p:cNvPr id="11" name="テキスト ボックス 10"/>
          <p:cNvSpPr txBox="1"/>
          <p:nvPr/>
        </p:nvSpPr>
        <p:spPr>
          <a:xfrm>
            <a:off x="194440" y="4761331"/>
            <a:ext cx="3959738" cy="392415"/>
          </a:xfrm>
          <a:prstGeom prst="rect">
            <a:avLst/>
          </a:prstGeom>
          <a:noFill/>
        </p:spPr>
        <p:txBody>
          <a:bodyPr wrap="none" rtlCol="0">
            <a:spAutoFit/>
          </a:bodyPr>
          <a:lstStyle/>
          <a:p>
            <a:pPr defTabSz="990478">
              <a:defRPr/>
            </a:pPr>
            <a:r>
              <a:rPr lang="ja-JP" altLang="en-US" sz="1950" b="1" dirty="0">
                <a:solidFill>
                  <a:srgbClr val="000000"/>
                </a:solidFill>
                <a:ea typeface="ＭＳ Ｐゴシック" charset="-128"/>
              </a:rPr>
              <a:t>利用区分別の国土利用の基本方向</a:t>
            </a:r>
          </a:p>
        </p:txBody>
      </p:sp>
      <p:sp>
        <p:nvSpPr>
          <p:cNvPr id="14" name="コンテンツ プレースホルダー 2"/>
          <p:cNvSpPr txBox="1">
            <a:spLocks/>
          </p:cNvSpPr>
          <p:nvPr/>
        </p:nvSpPr>
        <p:spPr bwMode="auto">
          <a:xfrm>
            <a:off x="3407898" y="5373702"/>
            <a:ext cx="3119500" cy="2124392"/>
          </a:xfrm>
          <a:prstGeom prst="rect">
            <a:avLst/>
          </a:prstGeom>
          <a:solidFill>
            <a:schemeClr val="bg1"/>
          </a:solidFill>
          <a:ln>
            <a:solidFill>
              <a:schemeClr val="tx1"/>
            </a:solidFill>
            <a:prstDash val="solid"/>
          </a:ln>
        </p:spPr>
        <p:txBody>
          <a:bodyPr vert="horz" wrap="square" lIns="99044" tIns="49522" rIns="99044" bIns="49522" numCol="1" anchor="t"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0" indent="0" defTabSz="990478">
              <a:buNone/>
              <a:defRPr/>
            </a:pPr>
            <a:r>
              <a:rPr lang="ja-JP" altLang="en-US" sz="1733" b="1" kern="0" dirty="0">
                <a:solidFill>
                  <a:srgbClr val="000000"/>
                </a:solidFill>
                <a:latin typeface="Arial"/>
                <a:ea typeface="ＭＳ Ｐゴシック"/>
              </a:rPr>
              <a:t>イ 森林</a:t>
            </a:r>
            <a:endParaRPr lang="en-US" altLang="ja-JP" sz="1733" b="1" kern="0" dirty="0">
              <a:solidFill>
                <a:srgbClr val="000000"/>
              </a:solidFill>
              <a:latin typeface="Arial"/>
              <a:ea typeface="ＭＳ Ｐゴシック"/>
            </a:endParaRPr>
          </a:p>
          <a:p>
            <a:pPr marL="194976" indent="-194976" defTabSz="990478">
              <a:spcBef>
                <a:spcPts val="325"/>
              </a:spcBef>
              <a:buNone/>
              <a:defRPr/>
            </a:pPr>
            <a:r>
              <a:rPr lang="ja-JP" altLang="en-US" sz="1408" kern="0" dirty="0">
                <a:solidFill>
                  <a:srgbClr val="000000"/>
                </a:solidFill>
                <a:latin typeface="Arial"/>
                <a:ea typeface="ＭＳ Ｐゴシック"/>
              </a:rPr>
              <a:t>○国土の保全等に重要な役割を果たす森林の整備、保全</a:t>
            </a:r>
            <a:endParaRPr lang="en-US" altLang="ja-JP" sz="1408" kern="0" dirty="0">
              <a:solidFill>
                <a:srgbClr val="000000"/>
              </a:solidFill>
              <a:latin typeface="Arial"/>
              <a:ea typeface="ＭＳ Ｐゴシック"/>
            </a:endParaRPr>
          </a:p>
          <a:p>
            <a:pPr marL="194976" indent="-194976" defTabSz="990478">
              <a:spcBef>
                <a:spcPts val="325"/>
              </a:spcBef>
              <a:buNone/>
              <a:defRPr/>
            </a:pPr>
            <a:r>
              <a:rPr lang="ja-JP" altLang="en-US" sz="1408" kern="0" dirty="0">
                <a:solidFill>
                  <a:srgbClr val="000000"/>
                </a:solidFill>
                <a:latin typeface="Arial"/>
                <a:ea typeface="ＭＳ Ｐゴシック"/>
              </a:rPr>
              <a:t>○新たな木材需要創出による国産材の利用促進</a:t>
            </a:r>
            <a:endParaRPr lang="en-US" altLang="ja-JP" sz="1408" kern="0" dirty="0">
              <a:solidFill>
                <a:srgbClr val="000000"/>
              </a:solidFill>
              <a:latin typeface="Arial"/>
              <a:ea typeface="ＭＳ Ｐゴシック"/>
            </a:endParaRPr>
          </a:p>
          <a:p>
            <a:pPr marL="94577" indent="-94577" defTabSz="990478">
              <a:spcBef>
                <a:spcPts val="325"/>
              </a:spcBef>
              <a:buNone/>
              <a:defRPr/>
            </a:pPr>
            <a:r>
              <a:rPr lang="ja-JP" altLang="en-US" sz="1408" kern="0" dirty="0">
                <a:solidFill>
                  <a:srgbClr val="000000"/>
                </a:solidFill>
                <a:latin typeface="Arial"/>
                <a:ea typeface="ＭＳ Ｐゴシック"/>
              </a:rPr>
              <a:t>○原生的森林生態系等の適正な保全</a:t>
            </a:r>
            <a:endParaRPr lang="en-US" altLang="ja-JP" sz="1408" kern="0" dirty="0">
              <a:solidFill>
                <a:srgbClr val="000000"/>
              </a:solidFill>
              <a:latin typeface="Arial"/>
              <a:ea typeface="ＭＳ Ｐゴシック"/>
            </a:endParaRPr>
          </a:p>
          <a:p>
            <a:pPr marL="194976" indent="-194976" defTabSz="990478">
              <a:spcBef>
                <a:spcPts val="325"/>
              </a:spcBef>
              <a:buNone/>
              <a:defRPr/>
            </a:pPr>
            <a:r>
              <a:rPr lang="ja-JP" altLang="en-US" sz="1408" kern="0" dirty="0">
                <a:solidFill>
                  <a:srgbClr val="000000"/>
                </a:solidFill>
                <a:latin typeface="Arial"/>
                <a:ea typeface="ＭＳ Ｐゴシック"/>
              </a:rPr>
              <a:t>○カーボンニュートラルの実現に向けた森林資源の循環利用　　      　等</a:t>
            </a:r>
            <a:endParaRPr lang="en-US" altLang="ja-JP" sz="1408" kern="0" dirty="0">
              <a:solidFill>
                <a:srgbClr val="000000"/>
              </a:solidFill>
              <a:latin typeface="Arial"/>
              <a:ea typeface="ＭＳ Ｐゴシック"/>
            </a:endParaRPr>
          </a:p>
          <a:p>
            <a:pPr marL="0" indent="0" defTabSz="990478">
              <a:buNone/>
              <a:defRPr/>
            </a:pPr>
            <a:endParaRPr lang="en-US" altLang="ja-JP" sz="1950" kern="0" dirty="0">
              <a:solidFill>
                <a:srgbClr val="000000"/>
              </a:solidFill>
              <a:latin typeface="Arial"/>
              <a:ea typeface="ＭＳ Ｐゴシック"/>
            </a:endParaRPr>
          </a:p>
        </p:txBody>
      </p:sp>
      <p:sp>
        <p:nvSpPr>
          <p:cNvPr id="15" name="コンテンツ プレースホルダー 2"/>
          <p:cNvSpPr txBox="1">
            <a:spLocks/>
          </p:cNvSpPr>
          <p:nvPr/>
        </p:nvSpPr>
        <p:spPr bwMode="auto">
          <a:xfrm>
            <a:off x="194438" y="5371901"/>
            <a:ext cx="3119500" cy="2112042"/>
          </a:xfrm>
          <a:prstGeom prst="rect">
            <a:avLst/>
          </a:prstGeom>
          <a:solidFill>
            <a:schemeClr val="bg1"/>
          </a:solidFill>
          <a:ln>
            <a:solidFill>
              <a:schemeClr val="tx1"/>
            </a:solidFill>
            <a:prstDash val="solid"/>
          </a:ln>
        </p:spPr>
        <p:txBody>
          <a:bodyPr vert="horz" wrap="square" lIns="99044" tIns="49522" rIns="99044" bIns="49522" numCol="1" anchor="t"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0" indent="0" defTabSz="990478">
              <a:buNone/>
              <a:defRPr/>
            </a:pPr>
            <a:r>
              <a:rPr lang="ja-JP" altLang="en-US" sz="1733" b="1" kern="0" dirty="0">
                <a:solidFill>
                  <a:srgbClr val="000000"/>
                </a:solidFill>
                <a:latin typeface="Arial"/>
                <a:ea typeface="ＭＳ Ｐゴシック"/>
              </a:rPr>
              <a:t>ア　農地</a:t>
            </a:r>
            <a:endParaRPr lang="en-US" altLang="ja-JP" sz="1733" b="1" kern="0" dirty="0">
              <a:solidFill>
                <a:srgbClr val="000000"/>
              </a:solidFill>
              <a:latin typeface="Arial"/>
              <a:ea typeface="ＭＳ Ｐゴシック"/>
            </a:endParaRPr>
          </a:p>
          <a:p>
            <a:pPr marL="194976" indent="-194976" defTabSz="990478">
              <a:spcBef>
                <a:spcPts val="325"/>
              </a:spcBef>
              <a:buNone/>
              <a:defRPr/>
            </a:pPr>
            <a:r>
              <a:rPr lang="ja-JP" altLang="en-US" sz="1408" kern="0" dirty="0">
                <a:solidFill>
                  <a:srgbClr val="000000"/>
                </a:solidFill>
                <a:latin typeface="Arial"/>
                <a:ea typeface="ＭＳ Ｐゴシック"/>
              </a:rPr>
              <a:t>○食料の安定供給に不可欠な優良農地の確保</a:t>
            </a:r>
            <a:endParaRPr lang="en-US" altLang="ja-JP" sz="1408" kern="0" dirty="0">
              <a:solidFill>
                <a:srgbClr val="000000"/>
              </a:solidFill>
              <a:latin typeface="Arial"/>
              <a:ea typeface="ＭＳ Ｐゴシック"/>
            </a:endParaRPr>
          </a:p>
          <a:p>
            <a:pPr marL="94577" indent="-94577" defTabSz="990478">
              <a:spcBef>
                <a:spcPts val="325"/>
              </a:spcBef>
              <a:buNone/>
              <a:defRPr/>
            </a:pPr>
            <a:r>
              <a:rPr lang="ja-JP" altLang="en-US" sz="1408" kern="0" dirty="0">
                <a:solidFill>
                  <a:srgbClr val="000000"/>
                </a:solidFill>
                <a:latin typeface="Arial"/>
                <a:ea typeface="ＭＳ Ｐゴシック"/>
              </a:rPr>
              <a:t>○多面的機能の適切な維持・発揮</a:t>
            </a:r>
            <a:endParaRPr lang="en-US" altLang="ja-JP" sz="1408" kern="0" dirty="0">
              <a:solidFill>
                <a:srgbClr val="000000"/>
              </a:solidFill>
              <a:latin typeface="Arial"/>
              <a:ea typeface="ＭＳ Ｐゴシック"/>
            </a:endParaRPr>
          </a:p>
          <a:p>
            <a:pPr marL="94577" indent="-94577" defTabSz="990478">
              <a:spcBef>
                <a:spcPts val="325"/>
              </a:spcBef>
              <a:buNone/>
              <a:defRPr/>
            </a:pPr>
            <a:r>
              <a:rPr lang="ja-JP" altLang="en-US" sz="1408" kern="0" dirty="0">
                <a:solidFill>
                  <a:srgbClr val="000000"/>
                </a:solidFill>
                <a:latin typeface="Arial"/>
                <a:ea typeface="ＭＳ Ｐゴシック"/>
              </a:rPr>
              <a:t>○農地の集積・集約化の推進</a:t>
            </a:r>
            <a:endParaRPr lang="en-US" altLang="ja-JP" sz="1408" kern="0" dirty="0">
              <a:solidFill>
                <a:srgbClr val="000000"/>
              </a:solidFill>
              <a:latin typeface="Arial"/>
              <a:ea typeface="ＭＳ Ｐゴシック"/>
            </a:endParaRPr>
          </a:p>
          <a:p>
            <a:pPr marL="194976" indent="-194976" defTabSz="990478">
              <a:buNone/>
              <a:defRPr/>
            </a:pPr>
            <a:r>
              <a:rPr lang="ja-JP" altLang="en-US" sz="1408" kern="0" dirty="0">
                <a:solidFill>
                  <a:srgbClr val="000000"/>
                </a:solidFill>
                <a:latin typeface="Arial"/>
                <a:ea typeface="ＭＳ Ｐゴシック"/>
              </a:rPr>
              <a:t>○計画的な保全・利用等により農地の適切な利用を確保</a:t>
            </a:r>
            <a:endParaRPr lang="en-US" altLang="ja-JP" sz="1408" kern="0" dirty="0">
              <a:solidFill>
                <a:srgbClr val="000000"/>
              </a:solidFill>
              <a:latin typeface="Arial"/>
              <a:ea typeface="ＭＳ Ｐゴシック"/>
            </a:endParaRPr>
          </a:p>
          <a:p>
            <a:pPr marL="92857" indent="-92857" defTabSz="990478">
              <a:buNone/>
              <a:defRPr/>
            </a:pPr>
            <a:r>
              <a:rPr lang="ja-JP" altLang="en-US" sz="1408" kern="0" dirty="0">
                <a:solidFill>
                  <a:srgbClr val="000000"/>
                </a:solidFill>
                <a:latin typeface="Arial"/>
                <a:ea typeface="ＭＳ Ｐゴシック"/>
              </a:rPr>
              <a:t>○スマート農業による生産性の向上等</a:t>
            </a:r>
            <a:endParaRPr lang="en-US" altLang="ja-JP" sz="1408" kern="0" dirty="0">
              <a:solidFill>
                <a:srgbClr val="000000"/>
              </a:solidFill>
              <a:latin typeface="Arial"/>
              <a:ea typeface="ＭＳ Ｐゴシック"/>
            </a:endParaRPr>
          </a:p>
        </p:txBody>
      </p:sp>
      <p:sp>
        <p:nvSpPr>
          <p:cNvPr id="16" name="コンテンツ プレースホルダー 2"/>
          <p:cNvSpPr txBox="1">
            <a:spLocks/>
          </p:cNvSpPr>
          <p:nvPr/>
        </p:nvSpPr>
        <p:spPr bwMode="auto">
          <a:xfrm>
            <a:off x="6621357" y="5371900"/>
            <a:ext cx="3119500" cy="1247939"/>
          </a:xfrm>
          <a:prstGeom prst="rect">
            <a:avLst/>
          </a:prstGeom>
          <a:solidFill>
            <a:schemeClr val="bg1"/>
          </a:solidFill>
          <a:ln>
            <a:solidFill>
              <a:schemeClr val="tx1"/>
            </a:solidFill>
            <a:prstDash val="solid"/>
          </a:ln>
        </p:spPr>
        <p:txBody>
          <a:bodyPr vert="horz" wrap="square" lIns="99044" tIns="49522" rIns="99044" bIns="49522" numCol="1" anchor="t" anchorCtr="0" compatLnSpc="1">
            <a:prstTxWarp prst="textNoShape">
              <a:avLst/>
            </a:prstTxWarp>
          </a:bodyPr>
          <a:lstStyle>
            <a:lvl1pPr marL="342900" indent="-342900" algn="l" rtl="0" eaLnBrk="1" fontAlgn="base" hangingPunct="1">
              <a:spcBef>
                <a:spcPct val="20000"/>
              </a:spcBef>
              <a:spcAft>
                <a:spcPct val="0"/>
              </a:spcAft>
              <a:buChar char="•"/>
              <a:defRPr kumimoji="1"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mn-ea"/>
              </a:defRPr>
            </a:lvl2pPr>
            <a:lvl3pPr marL="1143000" indent="-228600" algn="l" rtl="0" eaLnBrk="1" fontAlgn="base" hangingPunct="1">
              <a:spcBef>
                <a:spcPct val="20000"/>
              </a:spcBef>
              <a:spcAft>
                <a:spcPct val="0"/>
              </a:spcAft>
              <a:buChar char="•"/>
              <a:defRPr kumimoji="1" sz="2400">
                <a:solidFill>
                  <a:schemeClr val="tx1"/>
                </a:solidFill>
                <a:latin typeface="+mn-lt"/>
                <a:ea typeface="+mn-ea"/>
              </a:defRPr>
            </a:lvl3pPr>
            <a:lvl4pPr marL="1600200" indent="-228600" algn="l" rtl="0" eaLnBrk="1" fontAlgn="base" hangingPunct="1">
              <a:spcBef>
                <a:spcPct val="20000"/>
              </a:spcBef>
              <a:spcAft>
                <a:spcPct val="0"/>
              </a:spcAft>
              <a:buChar char="–"/>
              <a:defRPr kumimoji="1" sz="2000">
                <a:solidFill>
                  <a:schemeClr val="tx1"/>
                </a:solidFill>
                <a:latin typeface="+mn-lt"/>
                <a:ea typeface="+mn-ea"/>
              </a:defRPr>
            </a:lvl4pPr>
            <a:lvl5pPr marL="2057400" indent="-228600" algn="l" rtl="0" eaLnBrk="1" fontAlgn="base" hangingPunct="1">
              <a:spcBef>
                <a:spcPct val="20000"/>
              </a:spcBef>
              <a:spcAft>
                <a:spcPct val="0"/>
              </a:spcAft>
              <a:buChar char="»"/>
              <a:defRPr kumimoji="1" sz="2000">
                <a:solidFill>
                  <a:schemeClr val="tx1"/>
                </a:solidFill>
                <a:latin typeface="+mn-lt"/>
                <a:ea typeface="+mn-ea"/>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a:lstStyle>
          <a:p>
            <a:pPr marL="0" indent="0" defTabSz="990478">
              <a:buNone/>
              <a:defRPr/>
            </a:pPr>
            <a:r>
              <a:rPr lang="ja-JP" altLang="en-US" sz="1733" b="1" kern="0" dirty="0">
                <a:solidFill>
                  <a:srgbClr val="000000"/>
                </a:solidFill>
                <a:latin typeface="Arial"/>
                <a:ea typeface="ＭＳ Ｐゴシック"/>
              </a:rPr>
              <a:t>ウ 原野等</a:t>
            </a:r>
            <a:endParaRPr lang="en-US" altLang="ja-JP" sz="1733" b="1" kern="0" dirty="0">
              <a:solidFill>
                <a:srgbClr val="000000"/>
              </a:solidFill>
              <a:latin typeface="Arial"/>
              <a:ea typeface="ＭＳ Ｐゴシック"/>
            </a:endParaRPr>
          </a:p>
          <a:p>
            <a:pPr marL="94577" indent="-94577" defTabSz="990478">
              <a:buNone/>
              <a:defRPr/>
            </a:pPr>
            <a:r>
              <a:rPr lang="ja-JP" altLang="en-US" sz="1408" kern="0" dirty="0">
                <a:solidFill>
                  <a:srgbClr val="000000"/>
                </a:solidFill>
                <a:latin typeface="Arial"/>
                <a:ea typeface="ＭＳ Ｐゴシック"/>
              </a:rPr>
              <a:t>○湿原など貴重な自然環境は保全</a:t>
            </a:r>
            <a:endParaRPr lang="en-US" altLang="ja-JP" sz="1408" kern="0" dirty="0">
              <a:solidFill>
                <a:srgbClr val="000000"/>
              </a:solidFill>
              <a:latin typeface="Arial"/>
              <a:ea typeface="ＭＳ Ｐゴシック"/>
            </a:endParaRPr>
          </a:p>
          <a:p>
            <a:pPr marL="194976" indent="-194976" defTabSz="990478">
              <a:buNone/>
              <a:defRPr/>
            </a:pPr>
            <a:r>
              <a:rPr lang="ja-JP" altLang="en-US" sz="1408" kern="0" dirty="0">
                <a:solidFill>
                  <a:srgbClr val="000000"/>
                </a:solidFill>
                <a:latin typeface="Arial"/>
                <a:ea typeface="ＭＳ Ｐゴシック"/>
              </a:rPr>
              <a:t>○その他の採草放牧地などは適正に利用　　　　　　　　　　　　　　      　等</a:t>
            </a:r>
            <a:endParaRPr lang="en-US" altLang="ja-JP" sz="1408" kern="0" dirty="0">
              <a:solidFill>
                <a:srgbClr val="000000"/>
              </a:solidFill>
              <a:latin typeface="Arial"/>
              <a:ea typeface="ＭＳ Ｐゴシック"/>
            </a:endParaRPr>
          </a:p>
        </p:txBody>
      </p:sp>
      <p:sp>
        <p:nvSpPr>
          <p:cNvPr id="7" name="テキスト ボックス 6"/>
          <p:cNvSpPr txBox="1"/>
          <p:nvPr/>
        </p:nvSpPr>
        <p:spPr>
          <a:xfrm>
            <a:off x="4115999" y="4602614"/>
            <a:ext cx="5558424" cy="742319"/>
          </a:xfrm>
          <a:prstGeom prst="rect">
            <a:avLst/>
          </a:prstGeom>
          <a:noFill/>
        </p:spPr>
        <p:txBody>
          <a:bodyPr wrap="square" rtlCol="0">
            <a:spAutoFit/>
          </a:bodyPr>
          <a:lstStyle/>
          <a:p>
            <a:pPr defTabSz="990478">
              <a:defRPr/>
            </a:pPr>
            <a:r>
              <a:rPr lang="ja-JP" altLang="en-US" sz="1408" dirty="0">
                <a:solidFill>
                  <a:srgbClr val="000000"/>
                </a:solidFill>
                <a:ea typeface="ＭＳ Ｐゴシック" charset="-128"/>
              </a:rPr>
              <a:t>各利用区分を個別に捉えるだけでなく、相互の有機的な関連性に十分留意し、地域全体の利益を実現する最適な国土利用・管理が実現できるよう調整を図ることが必要</a:t>
            </a:r>
          </a:p>
        </p:txBody>
      </p:sp>
      <p:sp>
        <p:nvSpPr>
          <p:cNvPr id="17" name="テキスト ボックス 16"/>
          <p:cNvSpPr txBox="1"/>
          <p:nvPr/>
        </p:nvSpPr>
        <p:spPr>
          <a:xfrm>
            <a:off x="4115999" y="995878"/>
            <a:ext cx="5780366" cy="492443"/>
          </a:xfrm>
          <a:prstGeom prst="rect">
            <a:avLst/>
          </a:prstGeom>
          <a:noFill/>
        </p:spPr>
        <p:txBody>
          <a:bodyPr wrap="square" rtlCol="0">
            <a:spAutoFit/>
          </a:bodyPr>
          <a:lstStyle/>
          <a:p>
            <a:pPr defTabSz="990478">
              <a:defRPr/>
            </a:pPr>
            <a:r>
              <a:rPr lang="ja-JP" altLang="en-US" sz="1300" dirty="0">
                <a:solidFill>
                  <a:srgbClr val="000000"/>
                </a:solidFill>
                <a:ea typeface="ＭＳ Ｐゴシック" charset="-128"/>
              </a:rPr>
              <a:t>都市、農山漁村、自然維持地域は互いに独立して存在するものではなく、相互</a:t>
            </a:r>
            <a:endParaRPr lang="en-US" altLang="ja-JP" sz="1300" dirty="0">
              <a:solidFill>
                <a:srgbClr val="000000"/>
              </a:solidFill>
              <a:ea typeface="ＭＳ Ｐゴシック" charset="-128"/>
            </a:endParaRPr>
          </a:p>
          <a:p>
            <a:pPr defTabSz="990478">
              <a:defRPr/>
            </a:pPr>
            <a:r>
              <a:rPr lang="ja-JP" altLang="en-US" sz="1300" dirty="0">
                <a:solidFill>
                  <a:srgbClr val="000000"/>
                </a:solidFill>
                <a:ea typeface="ＭＳ Ｐゴシック" charset="-128"/>
              </a:rPr>
              <a:t>貢献や連携により相乗効果を生み出し、空間の質的向上を図ることが重要</a:t>
            </a:r>
          </a:p>
        </p:txBody>
      </p:sp>
      <p:sp>
        <p:nvSpPr>
          <p:cNvPr id="13" name="角丸四角形 12"/>
          <p:cNvSpPr/>
          <p:nvPr/>
        </p:nvSpPr>
        <p:spPr>
          <a:xfrm>
            <a:off x="194440" y="1763967"/>
            <a:ext cx="1871700" cy="38550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r>
              <a:rPr lang="ja-JP" altLang="en-US" sz="1733" b="1" dirty="0">
                <a:solidFill>
                  <a:srgbClr val="000000"/>
                </a:solidFill>
                <a:latin typeface="Arial"/>
                <a:ea typeface="ＭＳ Ｐゴシック"/>
              </a:rPr>
              <a:t>ア 都市</a:t>
            </a:r>
          </a:p>
        </p:txBody>
      </p:sp>
      <p:sp>
        <p:nvSpPr>
          <p:cNvPr id="22" name="角丸四角形 21"/>
          <p:cNvSpPr/>
          <p:nvPr/>
        </p:nvSpPr>
        <p:spPr>
          <a:xfrm>
            <a:off x="194440" y="2785151"/>
            <a:ext cx="1871700" cy="38550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r>
              <a:rPr lang="ja-JP" altLang="en-US" sz="1733" b="1" kern="0" dirty="0">
                <a:solidFill>
                  <a:srgbClr val="000000"/>
                </a:solidFill>
                <a:highlight>
                  <a:srgbClr val="FFFF00"/>
                </a:highlight>
                <a:latin typeface="Arial"/>
                <a:ea typeface="ＭＳ Ｐゴシック"/>
              </a:rPr>
              <a:t>イ 農山漁村</a:t>
            </a:r>
            <a:endParaRPr lang="en-US" altLang="ja-JP" sz="1408" kern="0" dirty="0">
              <a:solidFill>
                <a:srgbClr val="000000"/>
              </a:solidFill>
              <a:highlight>
                <a:srgbClr val="FFFF00"/>
              </a:highlight>
              <a:latin typeface="Arial"/>
              <a:ea typeface="ＭＳ Ｐゴシック"/>
            </a:endParaRPr>
          </a:p>
        </p:txBody>
      </p:sp>
      <p:sp>
        <p:nvSpPr>
          <p:cNvPr id="23" name="角丸四角形 22"/>
          <p:cNvSpPr/>
          <p:nvPr/>
        </p:nvSpPr>
        <p:spPr>
          <a:xfrm>
            <a:off x="194440" y="3806335"/>
            <a:ext cx="1871908" cy="38550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r>
              <a:rPr lang="ja-JP" altLang="en-US" sz="1733" b="1" kern="0" dirty="0">
                <a:solidFill>
                  <a:srgbClr val="000000"/>
                </a:solidFill>
                <a:latin typeface="Arial"/>
                <a:ea typeface="ＭＳ Ｐゴシック"/>
              </a:rPr>
              <a:t>ウ 自然維持地域</a:t>
            </a:r>
            <a:endParaRPr lang="en-US" altLang="ja-JP" sz="1516" kern="0" dirty="0">
              <a:solidFill>
                <a:srgbClr val="000000"/>
              </a:solidFill>
              <a:latin typeface="Arial"/>
              <a:ea typeface="ＭＳ Ｐゴシック"/>
            </a:endParaRPr>
          </a:p>
        </p:txBody>
      </p:sp>
      <p:grpSp>
        <p:nvGrpSpPr>
          <p:cNvPr id="35" name="グループ化 34"/>
          <p:cNvGrpSpPr/>
          <p:nvPr/>
        </p:nvGrpSpPr>
        <p:grpSpPr>
          <a:xfrm>
            <a:off x="1628179" y="2208878"/>
            <a:ext cx="360173" cy="1536744"/>
            <a:chOff x="1187624" y="1887118"/>
            <a:chExt cx="332521" cy="1418760"/>
          </a:xfrm>
        </p:grpSpPr>
        <p:grpSp>
          <p:nvGrpSpPr>
            <p:cNvPr id="31" name="グループ化 30"/>
            <p:cNvGrpSpPr/>
            <p:nvPr/>
          </p:nvGrpSpPr>
          <p:grpSpPr>
            <a:xfrm>
              <a:off x="1187624" y="1887118"/>
              <a:ext cx="327131" cy="461762"/>
              <a:chOff x="1187624" y="1887118"/>
              <a:chExt cx="327131" cy="461762"/>
            </a:xfrm>
          </p:grpSpPr>
          <p:sp>
            <p:nvSpPr>
              <p:cNvPr id="29" name="山形 28"/>
              <p:cNvSpPr/>
              <p:nvPr/>
            </p:nvSpPr>
            <p:spPr>
              <a:xfrm rot="5400000">
                <a:off x="1218609" y="1856133"/>
                <a:ext cx="265162" cy="327131"/>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000000"/>
                  </a:solidFill>
                  <a:latin typeface="Arial"/>
                  <a:ea typeface="ＭＳ Ｐゴシック"/>
                </a:endParaRPr>
              </a:p>
            </p:txBody>
          </p:sp>
          <p:sp>
            <p:nvSpPr>
              <p:cNvPr id="30" name="山形 29"/>
              <p:cNvSpPr/>
              <p:nvPr/>
            </p:nvSpPr>
            <p:spPr>
              <a:xfrm rot="5400000">
                <a:off x="1218609" y="2052733"/>
                <a:ext cx="265162" cy="327131"/>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000000"/>
                  </a:solidFill>
                  <a:latin typeface="Arial"/>
                  <a:ea typeface="ＭＳ Ｐゴシック"/>
                </a:endParaRPr>
              </a:p>
            </p:txBody>
          </p:sp>
        </p:grpSp>
        <p:grpSp>
          <p:nvGrpSpPr>
            <p:cNvPr id="32" name="グループ化 31"/>
            <p:cNvGrpSpPr/>
            <p:nvPr/>
          </p:nvGrpSpPr>
          <p:grpSpPr>
            <a:xfrm>
              <a:off x="1193014" y="2844116"/>
              <a:ext cx="327131" cy="461762"/>
              <a:chOff x="1187624" y="1887118"/>
              <a:chExt cx="327131" cy="461762"/>
            </a:xfrm>
          </p:grpSpPr>
          <p:sp>
            <p:nvSpPr>
              <p:cNvPr id="33" name="山形 32"/>
              <p:cNvSpPr/>
              <p:nvPr/>
            </p:nvSpPr>
            <p:spPr>
              <a:xfrm rot="5400000">
                <a:off x="1218609" y="1856133"/>
                <a:ext cx="265162" cy="327131"/>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000000"/>
                  </a:solidFill>
                  <a:latin typeface="Arial"/>
                  <a:ea typeface="ＭＳ Ｐゴシック"/>
                </a:endParaRPr>
              </a:p>
            </p:txBody>
          </p:sp>
          <p:sp>
            <p:nvSpPr>
              <p:cNvPr id="34" name="山形 33"/>
              <p:cNvSpPr/>
              <p:nvPr/>
            </p:nvSpPr>
            <p:spPr>
              <a:xfrm rot="5400000">
                <a:off x="1218609" y="2052733"/>
                <a:ext cx="265162" cy="327131"/>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000000"/>
                  </a:solidFill>
                  <a:latin typeface="Arial"/>
                  <a:ea typeface="ＭＳ Ｐゴシック"/>
                </a:endParaRPr>
              </a:p>
            </p:txBody>
          </p:sp>
        </p:grpSp>
      </p:grpSp>
      <p:grpSp>
        <p:nvGrpSpPr>
          <p:cNvPr id="36" name="グループ化 35"/>
          <p:cNvGrpSpPr/>
          <p:nvPr/>
        </p:nvGrpSpPr>
        <p:grpSpPr>
          <a:xfrm rot="10800000">
            <a:off x="350433" y="2186246"/>
            <a:ext cx="360173" cy="1536744"/>
            <a:chOff x="1187624" y="1887118"/>
            <a:chExt cx="332521" cy="1418760"/>
          </a:xfrm>
        </p:grpSpPr>
        <p:grpSp>
          <p:nvGrpSpPr>
            <p:cNvPr id="37" name="グループ化 36"/>
            <p:cNvGrpSpPr/>
            <p:nvPr/>
          </p:nvGrpSpPr>
          <p:grpSpPr>
            <a:xfrm>
              <a:off x="1187624" y="1887118"/>
              <a:ext cx="327131" cy="461762"/>
              <a:chOff x="1187624" y="1887118"/>
              <a:chExt cx="327131" cy="461762"/>
            </a:xfrm>
          </p:grpSpPr>
          <p:sp>
            <p:nvSpPr>
              <p:cNvPr id="41" name="山形 40"/>
              <p:cNvSpPr/>
              <p:nvPr/>
            </p:nvSpPr>
            <p:spPr>
              <a:xfrm rot="5400000">
                <a:off x="1218609" y="1856133"/>
                <a:ext cx="265162" cy="327131"/>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000000"/>
                  </a:solidFill>
                  <a:latin typeface="Arial"/>
                  <a:ea typeface="ＭＳ Ｐゴシック"/>
                </a:endParaRPr>
              </a:p>
            </p:txBody>
          </p:sp>
          <p:sp>
            <p:nvSpPr>
              <p:cNvPr id="42" name="山形 41"/>
              <p:cNvSpPr/>
              <p:nvPr/>
            </p:nvSpPr>
            <p:spPr>
              <a:xfrm rot="5400000">
                <a:off x="1218609" y="2052733"/>
                <a:ext cx="265162" cy="327131"/>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000000"/>
                  </a:solidFill>
                  <a:latin typeface="Arial"/>
                  <a:ea typeface="ＭＳ Ｐゴシック"/>
                </a:endParaRPr>
              </a:p>
            </p:txBody>
          </p:sp>
        </p:grpSp>
        <p:grpSp>
          <p:nvGrpSpPr>
            <p:cNvPr id="38" name="グループ化 37"/>
            <p:cNvGrpSpPr/>
            <p:nvPr/>
          </p:nvGrpSpPr>
          <p:grpSpPr>
            <a:xfrm>
              <a:off x="1193014" y="2844116"/>
              <a:ext cx="327131" cy="461762"/>
              <a:chOff x="1187624" y="1887118"/>
              <a:chExt cx="327131" cy="461762"/>
            </a:xfrm>
          </p:grpSpPr>
          <p:sp>
            <p:nvSpPr>
              <p:cNvPr id="39" name="山形 38"/>
              <p:cNvSpPr/>
              <p:nvPr/>
            </p:nvSpPr>
            <p:spPr>
              <a:xfrm rot="5400000">
                <a:off x="1218609" y="1856133"/>
                <a:ext cx="265162" cy="327131"/>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000000"/>
                  </a:solidFill>
                  <a:latin typeface="Arial"/>
                  <a:ea typeface="ＭＳ Ｐゴシック"/>
                </a:endParaRPr>
              </a:p>
            </p:txBody>
          </p:sp>
          <p:sp>
            <p:nvSpPr>
              <p:cNvPr id="40" name="山形 39"/>
              <p:cNvSpPr/>
              <p:nvPr/>
            </p:nvSpPr>
            <p:spPr>
              <a:xfrm rot="5400000">
                <a:off x="1218609" y="2052733"/>
                <a:ext cx="265162" cy="327131"/>
              </a:xfrm>
              <a:prstGeom prst="chevron">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000000"/>
                  </a:solidFill>
                  <a:latin typeface="Arial"/>
                  <a:ea typeface="ＭＳ Ｐゴシック"/>
                </a:endParaRPr>
              </a:p>
            </p:txBody>
          </p:sp>
        </p:grpSp>
      </p:grpSp>
      <p:sp>
        <p:nvSpPr>
          <p:cNvPr id="43" name="テキスト ボックス 42"/>
          <p:cNvSpPr txBox="1"/>
          <p:nvPr/>
        </p:nvSpPr>
        <p:spPr>
          <a:xfrm>
            <a:off x="767347" y="2233740"/>
            <a:ext cx="851515" cy="492443"/>
          </a:xfrm>
          <a:prstGeom prst="rect">
            <a:avLst/>
          </a:prstGeom>
          <a:noFill/>
        </p:spPr>
        <p:txBody>
          <a:bodyPr wrap="none" rtlCol="0">
            <a:spAutoFit/>
          </a:bodyPr>
          <a:lstStyle/>
          <a:p>
            <a:pPr algn="ctr" defTabSz="990478">
              <a:defRPr/>
            </a:pPr>
            <a:r>
              <a:rPr lang="ja-JP" altLang="en-US" sz="1300" dirty="0">
                <a:solidFill>
                  <a:srgbClr val="000000"/>
                </a:solidFill>
                <a:ea typeface="ＭＳ Ｐゴシック" charset="-128"/>
              </a:rPr>
              <a:t>相互貢献</a:t>
            </a:r>
            <a:endParaRPr lang="en-US" altLang="ja-JP" sz="1300" dirty="0">
              <a:solidFill>
                <a:srgbClr val="000000"/>
              </a:solidFill>
              <a:ea typeface="ＭＳ Ｐゴシック" charset="-128"/>
            </a:endParaRPr>
          </a:p>
          <a:p>
            <a:pPr algn="ctr" defTabSz="990478">
              <a:defRPr/>
            </a:pPr>
            <a:r>
              <a:rPr lang="ja-JP" altLang="en-US" sz="1300" dirty="0">
                <a:solidFill>
                  <a:srgbClr val="000000"/>
                </a:solidFill>
                <a:ea typeface="ＭＳ Ｐゴシック" charset="-128"/>
              </a:rPr>
              <a:t>・連携</a:t>
            </a:r>
          </a:p>
        </p:txBody>
      </p:sp>
      <p:sp>
        <p:nvSpPr>
          <p:cNvPr id="44" name="テキスト ボックス 43"/>
          <p:cNvSpPr txBox="1"/>
          <p:nvPr/>
        </p:nvSpPr>
        <p:spPr>
          <a:xfrm>
            <a:off x="770117" y="3245565"/>
            <a:ext cx="851515" cy="492443"/>
          </a:xfrm>
          <a:prstGeom prst="rect">
            <a:avLst/>
          </a:prstGeom>
          <a:noFill/>
        </p:spPr>
        <p:txBody>
          <a:bodyPr wrap="none" rtlCol="0">
            <a:spAutoFit/>
          </a:bodyPr>
          <a:lstStyle/>
          <a:p>
            <a:pPr defTabSz="990478">
              <a:defRPr/>
            </a:pPr>
            <a:r>
              <a:rPr lang="ja-JP" altLang="en-US" sz="1300" dirty="0">
                <a:solidFill>
                  <a:srgbClr val="000000"/>
                </a:solidFill>
                <a:ea typeface="ＭＳ Ｐゴシック" charset="-128"/>
              </a:rPr>
              <a:t>相互貢献</a:t>
            </a:r>
            <a:endParaRPr lang="en-US" altLang="ja-JP" sz="1300" dirty="0">
              <a:solidFill>
                <a:srgbClr val="000000"/>
              </a:solidFill>
              <a:ea typeface="ＭＳ Ｐゴシック" charset="-128"/>
            </a:endParaRPr>
          </a:p>
          <a:p>
            <a:pPr defTabSz="990478">
              <a:defRPr/>
            </a:pPr>
            <a:r>
              <a:rPr lang="ja-JP" altLang="en-US" sz="1300" dirty="0">
                <a:solidFill>
                  <a:srgbClr val="000000"/>
                </a:solidFill>
                <a:ea typeface="ＭＳ Ｐゴシック" charset="-128"/>
              </a:rPr>
              <a:t>・連携</a:t>
            </a:r>
          </a:p>
        </p:txBody>
      </p:sp>
      <p:sp>
        <p:nvSpPr>
          <p:cNvPr id="45" name="スライド番号プレースホルダー 1"/>
          <p:cNvSpPr txBox="1">
            <a:spLocks/>
          </p:cNvSpPr>
          <p:nvPr/>
        </p:nvSpPr>
        <p:spPr bwMode="auto">
          <a:xfrm>
            <a:off x="7505999" y="7074545"/>
            <a:ext cx="2311030" cy="515855"/>
          </a:xfrm>
          <a:prstGeom prst="rect">
            <a:avLst/>
          </a:prstGeom>
          <a:noFill/>
          <a:ln w="9525">
            <a:noFill/>
            <a:miter lim="800000"/>
            <a:headEnd/>
            <a:tailEnd/>
          </a:ln>
          <a:effectLst/>
        </p:spPr>
        <p:txBody>
          <a:bodyPr vert="horz" wrap="square" lIns="99044" tIns="49522" rIns="99044" bIns="49522" numCol="1" anchor="t" anchorCtr="0" compatLnSpc="1">
            <a:prstTxWarp prst="textNoShape">
              <a:avLst/>
            </a:prstTxWarp>
          </a:bodyPr>
          <a:lstStyle>
            <a:defPPr>
              <a:defRPr lang="ja-JP"/>
            </a:defPPr>
            <a:lvl1pPr algn="r" rtl="0" fontAlgn="base">
              <a:spcBef>
                <a:spcPct val="0"/>
              </a:spcBef>
              <a:spcAft>
                <a:spcPct val="0"/>
              </a:spcAft>
              <a:defRPr kumimoji="1" sz="1800" b="1" i="1" kern="1200">
                <a:solidFill>
                  <a:schemeClr val="tx1"/>
                </a:solidFill>
                <a:latin typeface="+mn-lt"/>
                <a:ea typeface="ＭＳ Ｐゴシック" pitchFamily="50"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a:lstStyle>
          <a:p>
            <a:pPr defTabSz="990478">
              <a:defRPr/>
            </a:pPr>
            <a:fld id="{DE9C2EA1-6911-4BAC-954D-0A2DD024DDCF}" type="slidenum">
              <a:rPr lang="en-US" altLang="ja-JP" sz="1950">
                <a:solidFill>
                  <a:srgbClr val="000000"/>
                </a:solidFill>
                <a:latin typeface="Calibri" panose="020F0502020204030204"/>
              </a:rPr>
              <a:pPr defTabSz="990478">
                <a:defRPr/>
              </a:pPr>
              <a:t>21</a:t>
            </a:fld>
            <a:endParaRPr lang="en-US" altLang="ja-JP" sz="1950" dirty="0">
              <a:solidFill>
                <a:srgbClr val="000000"/>
              </a:solidFill>
              <a:latin typeface="Calibri" panose="020F0502020204030204"/>
            </a:endParaRPr>
          </a:p>
        </p:txBody>
      </p:sp>
    </p:spTree>
    <p:extLst>
      <p:ext uri="{BB962C8B-B14F-4D97-AF65-F5344CB8AC3E}">
        <p14:creationId xmlns:p14="http://schemas.microsoft.com/office/powerpoint/2010/main" val="10460971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lang="ja-JP" altLang="en-US" sz="3000" dirty="0">
                <a:solidFill>
                  <a:schemeClr val="accent6"/>
                </a:solidFill>
                <a:latin typeface="ＤＦ特太ゴシック体" panose="020B0509000000000000" pitchFamily="49" charset="-128"/>
                <a:ea typeface="ＤＦ特太ゴシック体" panose="020B0509000000000000" pitchFamily="49" charset="-128"/>
              </a:rPr>
              <a:t>３．</a:t>
            </a:r>
            <a:r>
              <a:rPr kumimoji="1" lang="ja-JP" altLang="en-US" sz="3000" dirty="0">
                <a:solidFill>
                  <a:schemeClr val="accent6"/>
                </a:solidFill>
                <a:latin typeface="ＤＦ特太ゴシック体" panose="020B0509000000000000" pitchFamily="49" charset="-128"/>
                <a:ea typeface="ＤＦ特太ゴシック体" panose="020B0509000000000000" pitchFamily="49" charset="-128"/>
              </a:rPr>
              <a:t>小さな拠点の取組について</a:t>
            </a:r>
          </a:p>
        </p:txBody>
      </p:sp>
    </p:spTree>
    <p:extLst>
      <p:ext uri="{BB962C8B-B14F-4D97-AF65-F5344CB8AC3E}">
        <p14:creationId xmlns:p14="http://schemas.microsoft.com/office/powerpoint/2010/main" val="29011792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pPr>
              <a:defRPr/>
            </a:pPr>
            <a:r>
              <a:rPr lang="ja-JP" altLang="en-US" sz="2400" dirty="0"/>
              <a:t>集落での問題の発生状況</a:t>
            </a:r>
          </a:p>
        </p:txBody>
      </p:sp>
      <p:pic>
        <p:nvPicPr>
          <p:cNvPr id="6" name="図 5"/>
          <p:cNvPicPr>
            <a:picLocks noChangeAspect="1"/>
          </p:cNvPicPr>
          <p:nvPr/>
        </p:nvPicPr>
        <p:blipFill>
          <a:blip r:embed="rId3"/>
          <a:stretch>
            <a:fillRect/>
          </a:stretch>
        </p:blipFill>
        <p:spPr>
          <a:xfrm>
            <a:off x="127670" y="711498"/>
            <a:ext cx="6644169" cy="6955370"/>
          </a:xfrm>
          <a:prstGeom prst="rect">
            <a:avLst/>
          </a:prstGeom>
        </p:spPr>
      </p:pic>
      <p:sp>
        <p:nvSpPr>
          <p:cNvPr id="3" name="テキスト ボックス 2"/>
          <p:cNvSpPr txBox="1"/>
          <p:nvPr/>
        </p:nvSpPr>
        <p:spPr>
          <a:xfrm>
            <a:off x="6176341" y="855514"/>
            <a:ext cx="3600401" cy="2254405"/>
          </a:xfrm>
          <a:prstGeom prst="rect">
            <a:avLst/>
          </a:prstGeom>
          <a:ln w="9525"/>
        </p:spPr>
        <p:style>
          <a:lnRef idx="2">
            <a:schemeClr val="dk1"/>
          </a:lnRef>
          <a:fillRef idx="1">
            <a:schemeClr val="lt1"/>
          </a:fillRef>
          <a:effectRef idx="0">
            <a:schemeClr val="dk1"/>
          </a:effectRef>
          <a:fontRef idx="minor">
            <a:schemeClr val="dk1"/>
          </a:fontRef>
        </p:style>
        <p:txBody>
          <a:bodyPr wrap="square" lIns="99003" tIns="49501" rIns="99003" bIns="49501" rtlCol="0">
            <a:spAutoFit/>
          </a:bodyPr>
          <a:lstStyle/>
          <a:p>
            <a:pPr marL="192580" indent="-192580"/>
            <a:r>
              <a:rPr lang="ja-JP" altLang="en-US" sz="1400" dirty="0">
                <a:solidFill>
                  <a:srgbClr val="000000"/>
                </a:solidFill>
                <a:latin typeface="ＭＳ Ｐゴシック"/>
              </a:rPr>
              <a:t>■「空き家の増加」が</a:t>
            </a:r>
            <a:r>
              <a:rPr lang="en-US" altLang="ja-JP" sz="1400" dirty="0">
                <a:solidFill>
                  <a:srgbClr val="000000"/>
                </a:solidFill>
                <a:latin typeface="ＭＳ Ｐゴシック"/>
              </a:rPr>
              <a:t>87.4</a:t>
            </a:r>
            <a:r>
              <a:rPr lang="ja-JP" altLang="en-US" sz="1400" dirty="0">
                <a:solidFill>
                  <a:srgbClr val="000000"/>
                </a:solidFill>
                <a:latin typeface="ＭＳ Ｐゴシック"/>
              </a:rPr>
              <a:t>％と最も多くの集落で発生しているほか、</a:t>
            </a:r>
            <a:endParaRPr lang="en-US" altLang="ja-JP" sz="1400" dirty="0">
              <a:solidFill>
                <a:srgbClr val="000000"/>
              </a:solidFill>
              <a:latin typeface="ＭＳ Ｐゴシック"/>
            </a:endParaRPr>
          </a:p>
          <a:p>
            <a:pPr marL="192580" indent="-192580"/>
            <a:r>
              <a:rPr lang="ja-JP" altLang="en-US" sz="1400" dirty="0">
                <a:solidFill>
                  <a:srgbClr val="000000"/>
                </a:solidFill>
                <a:latin typeface="ＭＳ Ｐゴシック"/>
              </a:rPr>
              <a:t>　「耕作放棄地の増大」（</a:t>
            </a:r>
            <a:r>
              <a:rPr lang="en-US" altLang="ja-JP" sz="1400" dirty="0">
                <a:solidFill>
                  <a:srgbClr val="000000"/>
                </a:solidFill>
                <a:latin typeface="ＭＳ Ｐゴシック"/>
              </a:rPr>
              <a:t>71.7</a:t>
            </a:r>
            <a:r>
              <a:rPr lang="ja-JP" altLang="en-US" sz="1400" dirty="0">
                <a:solidFill>
                  <a:srgbClr val="000000"/>
                </a:solidFill>
                <a:latin typeface="ＭＳ Ｐゴシック"/>
              </a:rPr>
              <a:t>％）、</a:t>
            </a:r>
            <a:endParaRPr lang="en-US" altLang="ja-JP" sz="1400" dirty="0">
              <a:solidFill>
                <a:srgbClr val="000000"/>
              </a:solidFill>
              <a:latin typeface="ＭＳ Ｐゴシック"/>
            </a:endParaRPr>
          </a:p>
          <a:p>
            <a:pPr marL="192580" indent="-192580"/>
            <a:r>
              <a:rPr lang="ja-JP" altLang="en-US" sz="1400" dirty="0">
                <a:solidFill>
                  <a:srgbClr val="000000"/>
                </a:solidFill>
                <a:latin typeface="ＭＳ Ｐゴシック"/>
              </a:rPr>
              <a:t>　「住宅の荒廃（老朽家屋の増加）」（</a:t>
            </a:r>
            <a:r>
              <a:rPr lang="en-US" altLang="ja-JP" sz="1400" dirty="0">
                <a:solidFill>
                  <a:srgbClr val="000000"/>
                </a:solidFill>
                <a:latin typeface="ＭＳ Ｐゴシック"/>
              </a:rPr>
              <a:t>69.2</a:t>
            </a:r>
            <a:r>
              <a:rPr lang="ja-JP" altLang="en-US" sz="1400" dirty="0">
                <a:solidFill>
                  <a:srgbClr val="000000"/>
                </a:solidFill>
                <a:latin typeface="ＭＳ Ｐゴシック"/>
              </a:rPr>
              <a:t>％）、</a:t>
            </a:r>
            <a:endParaRPr lang="en-US" altLang="ja-JP" sz="1400" dirty="0">
              <a:solidFill>
                <a:srgbClr val="000000"/>
              </a:solidFill>
              <a:latin typeface="ＭＳ Ｐゴシック"/>
            </a:endParaRPr>
          </a:p>
          <a:p>
            <a:pPr marL="192580" indent="-192580"/>
            <a:r>
              <a:rPr lang="ja-JP" altLang="en-US" sz="1400" dirty="0">
                <a:solidFill>
                  <a:srgbClr val="000000"/>
                </a:solidFill>
                <a:latin typeface="ＭＳ Ｐゴシック"/>
              </a:rPr>
              <a:t>　「獣害・病虫害の発生」（</a:t>
            </a:r>
            <a:r>
              <a:rPr lang="en-US" altLang="ja-JP" sz="1400" dirty="0">
                <a:solidFill>
                  <a:srgbClr val="000000"/>
                </a:solidFill>
                <a:latin typeface="ＭＳ Ｐゴシック"/>
              </a:rPr>
              <a:t>65.6</a:t>
            </a:r>
            <a:r>
              <a:rPr lang="ja-JP" altLang="en-US" sz="1400" dirty="0">
                <a:solidFill>
                  <a:srgbClr val="000000"/>
                </a:solidFill>
                <a:latin typeface="ＭＳ Ｐゴシック"/>
              </a:rPr>
              <a:t>％）、</a:t>
            </a:r>
            <a:endParaRPr lang="en-US" altLang="ja-JP" sz="1400" dirty="0">
              <a:solidFill>
                <a:srgbClr val="000000"/>
              </a:solidFill>
              <a:latin typeface="ＭＳ Ｐゴシック"/>
            </a:endParaRPr>
          </a:p>
          <a:p>
            <a:pPr marL="192580" indent="-192580"/>
            <a:r>
              <a:rPr lang="ja-JP" altLang="en-US" sz="1400" dirty="0">
                <a:solidFill>
                  <a:srgbClr val="000000"/>
                </a:solidFill>
                <a:latin typeface="ＭＳ Ｐゴシック"/>
              </a:rPr>
              <a:t>　「商店・スーパー等の閉鎖」（</a:t>
            </a:r>
            <a:r>
              <a:rPr lang="en-US" altLang="ja-JP" sz="1400" dirty="0">
                <a:solidFill>
                  <a:srgbClr val="000000"/>
                </a:solidFill>
                <a:latin typeface="ＭＳ Ｐゴシック"/>
              </a:rPr>
              <a:t>64.1</a:t>
            </a:r>
            <a:r>
              <a:rPr lang="ja-JP" altLang="en-US" sz="1400" dirty="0">
                <a:solidFill>
                  <a:srgbClr val="000000"/>
                </a:solidFill>
                <a:latin typeface="ＭＳ Ｐゴシック"/>
              </a:rPr>
              <a:t>％）、</a:t>
            </a:r>
            <a:endParaRPr lang="en-US" altLang="ja-JP" sz="1400" dirty="0">
              <a:solidFill>
                <a:srgbClr val="000000"/>
              </a:solidFill>
              <a:latin typeface="ＭＳ Ｐゴシック"/>
            </a:endParaRPr>
          </a:p>
          <a:p>
            <a:pPr marL="192580" indent="-192580"/>
            <a:r>
              <a:rPr lang="ja-JP" altLang="en-US" sz="1400" dirty="0">
                <a:solidFill>
                  <a:srgbClr val="000000"/>
                </a:solidFill>
                <a:latin typeface="ＭＳ Ｐゴシック"/>
              </a:rPr>
              <a:t>　「働き口の減少」（</a:t>
            </a:r>
            <a:r>
              <a:rPr lang="en-US" altLang="ja-JP" sz="1400" dirty="0">
                <a:solidFill>
                  <a:srgbClr val="000000"/>
                </a:solidFill>
                <a:latin typeface="ＭＳ Ｐゴシック"/>
              </a:rPr>
              <a:t>60.9</a:t>
            </a:r>
            <a:r>
              <a:rPr lang="ja-JP" altLang="en-US" sz="1400" dirty="0">
                <a:solidFill>
                  <a:srgbClr val="000000"/>
                </a:solidFill>
                <a:latin typeface="ＭＳ Ｐゴシック"/>
              </a:rPr>
              <a:t>％）、</a:t>
            </a:r>
            <a:endParaRPr lang="en-US" altLang="ja-JP" sz="1400" dirty="0">
              <a:solidFill>
                <a:srgbClr val="000000"/>
              </a:solidFill>
              <a:latin typeface="ＭＳ Ｐゴシック"/>
            </a:endParaRPr>
          </a:p>
          <a:p>
            <a:pPr marL="192580" indent="-192580"/>
            <a:r>
              <a:rPr lang="ja-JP" altLang="en-US" sz="1400" dirty="0">
                <a:solidFill>
                  <a:srgbClr val="000000"/>
                </a:solidFill>
                <a:latin typeface="ＭＳ Ｐゴシック"/>
              </a:rPr>
              <a:t>　「公共交通の利便性の低下」（</a:t>
            </a:r>
            <a:r>
              <a:rPr lang="en-US" altLang="ja-JP" sz="1400" dirty="0">
                <a:solidFill>
                  <a:srgbClr val="000000"/>
                </a:solidFill>
                <a:latin typeface="ＭＳ Ｐゴシック"/>
              </a:rPr>
              <a:t>58.6</a:t>
            </a:r>
            <a:r>
              <a:rPr lang="ja-JP" altLang="en-US" sz="1400" dirty="0">
                <a:solidFill>
                  <a:srgbClr val="000000"/>
                </a:solidFill>
                <a:latin typeface="ＭＳ Ｐゴシック"/>
              </a:rPr>
              <a:t>％）</a:t>
            </a:r>
            <a:endParaRPr lang="en-US" altLang="ja-JP" sz="1400" dirty="0">
              <a:solidFill>
                <a:srgbClr val="000000"/>
              </a:solidFill>
              <a:latin typeface="ＭＳ Ｐゴシック"/>
            </a:endParaRPr>
          </a:p>
          <a:p>
            <a:pPr marL="192580" indent="-192580"/>
            <a:r>
              <a:rPr lang="ja-JP" altLang="en-US" sz="1400" dirty="0">
                <a:solidFill>
                  <a:srgbClr val="000000"/>
                </a:solidFill>
                <a:latin typeface="ＭＳ Ｐゴシック"/>
              </a:rPr>
              <a:t>　　が約６割超の市町村から多くの集落でみられる問題として指摘されている。</a:t>
            </a:r>
          </a:p>
        </p:txBody>
      </p:sp>
      <p:sp>
        <p:nvSpPr>
          <p:cNvPr id="22" name="正方形/長方形 21"/>
          <p:cNvSpPr/>
          <p:nvPr/>
        </p:nvSpPr>
        <p:spPr>
          <a:xfrm>
            <a:off x="6700279" y="6040090"/>
            <a:ext cx="3148471" cy="830997"/>
          </a:xfrm>
          <a:prstGeom prst="rect">
            <a:avLst/>
          </a:prstGeom>
        </p:spPr>
        <p:txBody>
          <a:bodyPr wrap="square">
            <a:spAutoFit/>
          </a:bodyPr>
          <a:lstStyle/>
          <a:p>
            <a:r>
              <a:rPr lang="ja-JP" altLang="en-US" sz="1200" dirty="0"/>
              <a:t>出典：「過疎地域における集落の状況に関する現況把握調査報告書」（令和２年３月総務省）</a:t>
            </a:r>
            <a:endParaRPr lang="en-US" altLang="ja-JP" sz="1200" dirty="0"/>
          </a:p>
          <a:p>
            <a:r>
              <a:rPr lang="en-US" altLang="ja-JP" sz="1200" dirty="0"/>
              <a:t>https://www.soumu.go.jp/menu_news/s-news/01gyosei10_02000066.html</a:t>
            </a:r>
            <a:endParaRPr lang="ja-JP" altLang="en-US" sz="1200" dirty="0"/>
          </a:p>
        </p:txBody>
      </p:sp>
      <p:sp>
        <p:nvSpPr>
          <p:cNvPr id="10" name="正方形/長方形 9"/>
          <p:cNvSpPr/>
          <p:nvPr/>
        </p:nvSpPr>
        <p:spPr>
          <a:xfrm>
            <a:off x="2719958" y="5608042"/>
            <a:ext cx="3888432" cy="1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正方形/長方形 11"/>
          <p:cNvSpPr/>
          <p:nvPr/>
        </p:nvSpPr>
        <p:spPr>
          <a:xfrm>
            <a:off x="2480648" y="1906744"/>
            <a:ext cx="3636000" cy="1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p:cNvSpPr/>
          <p:nvPr/>
        </p:nvSpPr>
        <p:spPr>
          <a:xfrm>
            <a:off x="1855862" y="1390191"/>
            <a:ext cx="4212000" cy="1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p:cNvSpPr/>
          <p:nvPr/>
        </p:nvSpPr>
        <p:spPr>
          <a:xfrm>
            <a:off x="2402865" y="3407206"/>
            <a:ext cx="3564000" cy="1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2215902" y="5968042"/>
            <a:ext cx="3707960" cy="16204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p:cNvSpPr/>
          <p:nvPr/>
        </p:nvSpPr>
        <p:spPr>
          <a:xfrm>
            <a:off x="2756366" y="2248580"/>
            <a:ext cx="3096000" cy="1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正方形/長方形 3">
            <a:extLst>
              <a:ext uri="{FF2B5EF4-FFF2-40B4-BE49-F238E27FC236}">
                <a16:creationId xmlns:a16="http://schemas.microsoft.com/office/drawing/2014/main" id="{D20F56F3-B66D-B53B-DD0A-0241721DBF0E}"/>
              </a:ext>
            </a:extLst>
          </p:cNvPr>
          <p:cNvSpPr/>
          <p:nvPr/>
        </p:nvSpPr>
        <p:spPr>
          <a:xfrm>
            <a:off x="2143862" y="5788042"/>
            <a:ext cx="3600432" cy="180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フッター プレースホルダー 4">
            <a:extLst>
              <a:ext uri="{FF2B5EF4-FFF2-40B4-BE49-F238E27FC236}">
                <a16:creationId xmlns:a16="http://schemas.microsoft.com/office/drawing/2014/main" id="{9D509B58-E81F-F865-F277-CBA40A600C03}"/>
              </a:ext>
            </a:extLst>
          </p:cNvPr>
          <p:cNvSpPr>
            <a:spLocks noGrp="1"/>
          </p:cNvSpPr>
          <p:nvPr>
            <p:ph type="ftr" sz="quarter" idx="11"/>
          </p:nvPr>
        </p:nvSpPr>
        <p:spPr/>
        <p:txBody>
          <a:bodyPr/>
          <a:lstStyle/>
          <a:p>
            <a:endParaRPr lang="en-US" altLang="ja-JP">
              <a:solidFill>
                <a:srgbClr val="000000"/>
              </a:solidFill>
            </a:endParaRPr>
          </a:p>
        </p:txBody>
      </p:sp>
      <p:sp>
        <p:nvSpPr>
          <p:cNvPr id="7" name="スライド番号プレースホルダー 6">
            <a:extLst>
              <a:ext uri="{FF2B5EF4-FFF2-40B4-BE49-F238E27FC236}">
                <a16:creationId xmlns:a16="http://schemas.microsoft.com/office/drawing/2014/main" id="{B6E133E7-49DC-D60D-9255-91ECA6ED0CCF}"/>
              </a:ext>
            </a:extLst>
          </p:cNvPr>
          <p:cNvSpPr>
            <a:spLocks noGrp="1"/>
          </p:cNvSpPr>
          <p:nvPr>
            <p:ph type="sldNum" sz="quarter" idx="12"/>
          </p:nvPr>
        </p:nvSpPr>
        <p:spPr/>
        <p:txBody>
          <a:bodyPr/>
          <a:lstStyle/>
          <a:p>
            <a:fld id="{546713ED-0D50-42B9-98DE-04CFF2F73FDD}" type="slidenum">
              <a:rPr lang="en-US" altLang="ja-JP" smtClean="0">
                <a:solidFill>
                  <a:srgbClr val="000000"/>
                </a:solidFill>
              </a:rPr>
              <a:pPr/>
              <a:t>23</a:t>
            </a:fld>
            <a:endParaRPr lang="en-US" altLang="ja-JP">
              <a:solidFill>
                <a:srgbClr val="000000"/>
              </a:solidFill>
            </a:endParaRPr>
          </a:p>
        </p:txBody>
      </p:sp>
    </p:spTree>
    <p:extLst>
      <p:ext uri="{BB962C8B-B14F-4D97-AF65-F5344CB8AC3E}">
        <p14:creationId xmlns:p14="http://schemas.microsoft.com/office/powerpoint/2010/main" val="22175730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p:cNvGrpSpPr/>
          <p:nvPr/>
        </p:nvGrpSpPr>
        <p:grpSpPr>
          <a:xfrm>
            <a:off x="252592" y="1763041"/>
            <a:ext cx="9414222" cy="5762006"/>
            <a:chOff x="233199" y="1474709"/>
            <a:chExt cx="8691444" cy="5319627"/>
          </a:xfrm>
        </p:grpSpPr>
        <p:pic>
          <p:nvPicPr>
            <p:cNvPr id="1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3199" y="1474709"/>
              <a:ext cx="8691444" cy="5319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正方形/長方形 14"/>
            <p:cNvSpPr/>
            <p:nvPr/>
          </p:nvSpPr>
          <p:spPr>
            <a:xfrm>
              <a:off x="4697500" y="4982111"/>
              <a:ext cx="183283" cy="293134"/>
            </a:xfrm>
            <a:prstGeom prst="rect">
              <a:avLst/>
            </a:prstGeom>
            <a:solidFill>
              <a:srgbClr val="FEFBA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ja-JP" altLang="en-US">
                <a:solidFill>
                  <a:srgbClr val="FFFFFF"/>
                </a:solidFill>
              </a:endParaRPr>
            </a:p>
          </p:txBody>
        </p:sp>
      </p:grpSp>
      <p:sp>
        <p:nvSpPr>
          <p:cNvPr id="24" name="テキスト ボックス 23"/>
          <p:cNvSpPr txBox="1"/>
          <p:nvPr/>
        </p:nvSpPr>
        <p:spPr>
          <a:xfrm>
            <a:off x="6371884" y="1855914"/>
            <a:ext cx="3102131" cy="359009"/>
          </a:xfrm>
          <a:prstGeom prst="rect">
            <a:avLst/>
          </a:prstGeom>
          <a:solidFill>
            <a:schemeClr val="bg1"/>
          </a:solidFill>
        </p:spPr>
        <p:txBody>
          <a:bodyPr wrap="none" rtlCol="0">
            <a:spAutoFit/>
          </a:bodyPr>
          <a:lstStyle/>
          <a:p>
            <a:r>
              <a:rPr lang="ja-JP" altLang="en-US" sz="1733" b="1" dirty="0"/>
              <a:t>「小さな拠点」形成後のイメージ</a:t>
            </a:r>
          </a:p>
        </p:txBody>
      </p:sp>
      <p:sp>
        <p:nvSpPr>
          <p:cNvPr id="33" name="テキスト ボックス 32"/>
          <p:cNvSpPr txBox="1"/>
          <p:nvPr/>
        </p:nvSpPr>
        <p:spPr>
          <a:xfrm>
            <a:off x="350437" y="1071988"/>
            <a:ext cx="184731" cy="369332"/>
          </a:xfrm>
          <a:prstGeom prst="rect">
            <a:avLst/>
          </a:prstGeom>
          <a:noFill/>
        </p:spPr>
        <p:txBody>
          <a:bodyPr wrap="none" rtlCol="0">
            <a:spAutoFit/>
          </a:bodyPr>
          <a:lstStyle/>
          <a:p>
            <a:endParaRPr kumimoji="1" lang="ja-JP" altLang="en-US" dirty="0"/>
          </a:p>
        </p:txBody>
      </p:sp>
      <p:sp>
        <p:nvSpPr>
          <p:cNvPr id="34" name="正方形/長方形 33"/>
          <p:cNvSpPr/>
          <p:nvPr/>
        </p:nvSpPr>
        <p:spPr>
          <a:xfrm>
            <a:off x="2" y="795861"/>
            <a:ext cx="9709972" cy="892360"/>
          </a:xfrm>
          <a:prstGeom prst="rect">
            <a:avLst/>
          </a:prstGeom>
        </p:spPr>
        <p:txBody>
          <a:bodyPr wrap="square">
            <a:spAutoFit/>
          </a:bodyPr>
          <a:lstStyle/>
          <a:p>
            <a:pPr marL="92857">
              <a:spcBef>
                <a:spcPts val="0"/>
              </a:spcBef>
              <a:spcAft>
                <a:spcPts val="0"/>
              </a:spcAft>
            </a:pPr>
            <a:r>
              <a:rPr lang="ja-JP" altLang="en-US" sz="1733" b="1" dirty="0">
                <a:latin typeface="+mn-ea"/>
              </a:rPr>
              <a:t>小学校区など、複数の集落が散在する地域（集落生活圏）において、商店、診療所などの</a:t>
            </a:r>
            <a:r>
              <a:rPr lang="ja-JP" altLang="en-US" sz="1733" b="1" dirty="0">
                <a:solidFill>
                  <a:srgbClr val="FF0000"/>
                </a:solidFill>
                <a:latin typeface="+mn-ea"/>
              </a:rPr>
              <a:t>日常生活に不可欠な施設・機能</a:t>
            </a:r>
            <a:r>
              <a:rPr lang="ja-JP" altLang="en-US" sz="1733" b="1" dirty="0">
                <a:latin typeface="+mn-ea"/>
              </a:rPr>
              <a:t>や地域活動を行う場所を集約・確保し、</a:t>
            </a:r>
            <a:r>
              <a:rPr lang="ja-JP" altLang="en-US" sz="1733" b="1" dirty="0">
                <a:solidFill>
                  <a:srgbClr val="FF0000"/>
                </a:solidFill>
                <a:latin typeface="+mn-ea"/>
              </a:rPr>
              <a:t>周辺集落とコミュニティバス等の交通ネットワークで結ぶこと</a:t>
            </a:r>
            <a:r>
              <a:rPr lang="ja-JP" altLang="en-US" sz="1733" b="1" dirty="0">
                <a:latin typeface="+mn-ea"/>
              </a:rPr>
              <a:t>で、人々が集い、交流する機会が広がっていく、集落地域の再生を目指す取組</a:t>
            </a:r>
            <a:endParaRPr lang="en-US" altLang="ja-JP" sz="1733" b="1" i="1" dirty="0">
              <a:solidFill>
                <a:srgbClr val="FF0000"/>
              </a:solidFill>
              <a:latin typeface="+mn-ea"/>
            </a:endParaRPr>
          </a:p>
        </p:txBody>
      </p:sp>
      <p:sp>
        <p:nvSpPr>
          <p:cNvPr id="8" name="角丸四角形吹き出し 7"/>
          <p:cNvSpPr/>
          <p:nvPr/>
        </p:nvSpPr>
        <p:spPr>
          <a:xfrm>
            <a:off x="325343" y="2374650"/>
            <a:ext cx="2252623" cy="985419"/>
          </a:xfrm>
          <a:prstGeom prst="wedgeRoundRectCallout">
            <a:avLst>
              <a:gd name="adj1" fmla="val -5383"/>
              <a:gd name="adj2" fmla="val 75857"/>
              <a:gd name="adj3" fmla="val 16667"/>
            </a:avLst>
          </a:prstGeom>
          <a:ln w="12700">
            <a:solidFill>
              <a:srgbClr val="0070C0"/>
            </a:solidFill>
          </a:ln>
        </p:spPr>
        <p:style>
          <a:lnRef idx="2">
            <a:schemeClr val="accent6"/>
          </a:lnRef>
          <a:fillRef idx="1">
            <a:schemeClr val="lt1"/>
          </a:fillRef>
          <a:effectRef idx="0">
            <a:schemeClr val="accent6"/>
          </a:effectRef>
          <a:fontRef idx="minor">
            <a:schemeClr val="dk1"/>
          </a:fontRef>
        </p:style>
        <p:txBody>
          <a:bodyPr anchor="ctr"/>
          <a:lstStyle/>
          <a:p>
            <a:pPr indent="-194976">
              <a:defRPr/>
            </a:pPr>
            <a:r>
              <a:rPr lang="ja-JP" altLang="en-US" sz="1408" b="1" dirty="0">
                <a:solidFill>
                  <a:srgbClr val="000000"/>
                </a:solidFill>
              </a:rPr>
              <a:t>小さな拠点づくりに併せてコミュニティバスなどにより交通手段を確保</a:t>
            </a:r>
          </a:p>
        </p:txBody>
      </p:sp>
      <p:sp>
        <p:nvSpPr>
          <p:cNvPr id="9" name="角丸四角形吹き出し 8"/>
          <p:cNvSpPr/>
          <p:nvPr/>
        </p:nvSpPr>
        <p:spPr>
          <a:xfrm>
            <a:off x="528433" y="4087190"/>
            <a:ext cx="3237393" cy="725473"/>
          </a:xfrm>
          <a:prstGeom prst="wedgeRoundRectCallout">
            <a:avLst>
              <a:gd name="adj1" fmla="val 36854"/>
              <a:gd name="adj2" fmla="val 94069"/>
              <a:gd name="adj3" fmla="val 16667"/>
            </a:avLst>
          </a:prstGeom>
          <a:ln w="12700">
            <a:solidFill>
              <a:srgbClr val="0070C0"/>
            </a:solidFill>
          </a:ln>
        </p:spPr>
        <p:style>
          <a:lnRef idx="2">
            <a:schemeClr val="accent6"/>
          </a:lnRef>
          <a:fillRef idx="1">
            <a:schemeClr val="lt1"/>
          </a:fillRef>
          <a:effectRef idx="0">
            <a:schemeClr val="accent6"/>
          </a:effectRef>
          <a:fontRef idx="minor">
            <a:schemeClr val="dk1"/>
          </a:fontRef>
        </p:style>
        <p:txBody>
          <a:bodyPr anchor="ctr"/>
          <a:lstStyle/>
          <a:p>
            <a:pPr indent="-194976">
              <a:defRPr/>
            </a:pPr>
            <a:r>
              <a:rPr lang="ja-JP" altLang="en-US" sz="1408" b="1" dirty="0">
                <a:solidFill>
                  <a:srgbClr val="000000"/>
                </a:solidFill>
              </a:rPr>
              <a:t>道の駅に特産品直売所、コミュニティスペース、役場機能、診療所などを併設</a:t>
            </a:r>
          </a:p>
        </p:txBody>
      </p:sp>
      <p:sp>
        <p:nvSpPr>
          <p:cNvPr id="11" name="角丸四角形吹き出し 10"/>
          <p:cNvSpPr/>
          <p:nvPr/>
        </p:nvSpPr>
        <p:spPr>
          <a:xfrm>
            <a:off x="428430" y="6765708"/>
            <a:ext cx="2027899" cy="672882"/>
          </a:xfrm>
          <a:prstGeom prst="wedgeRoundRectCallout">
            <a:avLst>
              <a:gd name="adj1" fmla="val -5119"/>
              <a:gd name="adj2" fmla="val -107017"/>
              <a:gd name="adj3" fmla="val 16667"/>
            </a:avLst>
          </a:prstGeom>
          <a:ln w="12700">
            <a:solidFill>
              <a:srgbClr val="0070C0"/>
            </a:solidFill>
          </a:ln>
        </p:spPr>
        <p:style>
          <a:lnRef idx="2">
            <a:schemeClr val="accent6"/>
          </a:lnRef>
          <a:fillRef idx="1">
            <a:schemeClr val="lt1"/>
          </a:fillRef>
          <a:effectRef idx="0">
            <a:schemeClr val="accent6"/>
          </a:effectRef>
          <a:fontRef idx="minor">
            <a:schemeClr val="dk1"/>
          </a:fontRef>
        </p:style>
        <p:txBody>
          <a:bodyPr anchor="ctr"/>
          <a:lstStyle/>
          <a:p>
            <a:pPr indent="-194976">
              <a:defRPr/>
            </a:pPr>
            <a:r>
              <a:rPr lang="ja-JP" altLang="en-US" sz="1408" b="1" dirty="0">
                <a:solidFill>
                  <a:srgbClr val="000000"/>
                </a:solidFill>
              </a:rPr>
              <a:t>旧役場庁舎を公民館、図書館などに活用</a:t>
            </a:r>
          </a:p>
        </p:txBody>
      </p:sp>
      <p:sp>
        <p:nvSpPr>
          <p:cNvPr id="12" name="角丸四角形吹き出し 11"/>
          <p:cNvSpPr/>
          <p:nvPr/>
        </p:nvSpPr>
        <p:spPr>
          <a:xfrm>
            <a:off x="5186195" y="6717364"/>
            <a:ext cx="2890666" cy="747852"/>
          </a:xfrm>
          <a:prstGeom prst="wedgeRoundRectCallout">
            <a:avLst>
              <a:gd name="adj1" fmla="val -68222"/>
              <a:gd name="adj2" fmla="val -44968"/>
              <a:gd name="adj3" fmla="val 16667"/>
            </a:avLst>
          </a:prstGeom>
          <a:ln w="12700">
            <a:solidFill>
              <a:srgbClr val="0070C0"/>
            </a:solidFill>
          </a:ln>
        </p:spPr>
        <p:style>
          <a:lnRef idx="2">
            <a:schemeClr val="accent6"/>
          </a:lnRef>
          <a:fillRef idx="1">
            <a:schemeClr val="lt1"/>
          </a:fillRef>
          <a:effectRef idx="0">
            <a:schemeClr val="accent6"/>
          </a:effectRef>
          <a:fontRef idx="minor">
            <a:schemeClr val="dk1"/>
          </a:fontRef>
        </p:style>
        <p:txBody>
          <a:bodyPr anchor="ctr"/>
          <a:lstStyle/>
          <a:p>
            <a:pPr indent="-194976">
              <a:defRPr/>
            </a:pPr>
            <a:r>
              <a:rPr lang="ja-JP" altLang="en-US" sz="1408" b="1" dirty="0">
                <a:solidFill>
                  <a:srgbClr val="000000"/>
                </a:solidFill>
              </a:rPr>
              <a:t>スーパー撤退後の施設を集落コンビニ、農産物出荷拠点などに活用</a:t>
            </a:r>
          </a:p>
        </p:txBody>
      </p:sp>
      <p:sp>
        <p:nvSpPr>
          <p:cNvPr id="16" name="角丸四角形吹き出し 15"/>
          <p:cNvSpPr/>
          <p:nvPr/>
        </p:nvSpPr>
        <p:spPr>
          <a:xfrm>
            <a:off x="6512130" y="5414467"/>
            <a:ext cx="2055494" cy="644325"/>
          </a:xfrm>
          <a:prstGeom prst="wedgeRoundRectCallout">
            <a:avLst>
              <a:gd name="adj1" fmla="val -78501"/>
              <a:gd name="adj2" fmla="val 25934"/>
              <a:gd name="adj3" fmla="val 16667"/>
            </a:avLst>
          </a:prstGeom>
          <a:ln w="12700">
            <a:solidFill>
              <a:srgbClr val="0070C0"/>
            </a:solidFill>
          </a:ln>
        </p:spPr>
        <p:style>
          <a:lnRef idx="2">
            <a:schemeClr val="accent6"/>
          </a:lnRef>
          <a:fillRef idx="1">
            <a:schemeClr val="lt1"/>
          </a:fillRef>
          <a:effectRef idx="0">
            <a:schemeClr val="accent6"/>
          </a:effectRef>
          <a:fontRef idx="minor">
            <a:schemeClr val="dk1"/>
          </a:fontRef>
        </p:style>
        <p:txBody>
          <a:bodyPr anchor="ctr"/>
          <a:lstStyle/>
          <a:p>
            <a:pPr indent="-194976">
              <a:defRPr/>
            </a:pPr>
            <a:r>
              <a:rPr lang="ja-JP" altLang="en-US" sz="1408" b="1" dirty="0">
                <a:solidFill>
                  <a:srgbClr val="000000"/>
                </a:solidFill>
              </a:rPr>
              <a:t>廃校舎を保育所、デイサービスセンター、体験宿泊施設などに活用</a:t>
            </a:r>
          </a:p>
        </p:txBody>
      </p:sp>
      <p:sp>
        <p:nvSpPr>
          <p:cNvPr id="2" name="タイトル 1"/>
          <p:cNvSpPr>
            <a:spLocks noGrp="1"/>
          </p:cNvSpPr>
          <p:nvPr>
            <p:ph type="title" idx="4294967295"/>
          </p:nvPr>
        </p:nvSpPr>
        <p:spPr>
          <a:xfrm>
            <a:off x="0" y="0"/>
            <a:ext cx="8100000" cy="538209"/>
          </a:xfrm>
        </p:spPr>
        <p:txBody>
          <a:bodyPr/>
          <a:lstStyle/>
          <a:p>
            <a:r>
              <a:rPr kumimoji="1" lang="ja-JP" altLang="en-US" sz="2400" dirty="0"/>
              <a:t>「小さな拠点」とは</a:t>
            </a:r>
          </a:p>
        </p:txBody>
      </p:sp>
      <p:sp>
        <p:nvSpPr>
          <p:cNvPr id="5" name="テキスト ボックス 4"/>
          <p:cNvSpPr txBox="1"/>
          <p:nvPr/>
        </p:nvSpPr>
        <p:spPr>
          <a:xfrm>
            <a:off x="4290524" y="1947069"/>
            <a:ext cx="1808632" cy="369332"/>
          </a:xfrm>
          <a:prstGeom prst="rect">
            <a:avLst/>
          </a:prstGeom>
          <a:noFill/>
        </p:spPr>
        <p:txBody>
          <a:bodyPr wrap="square" rtlCol="0">
            <a:spAutoFit/>
          </a:bodyPr>
          <a:lstStyle/>
          <a:p>
            <a:r>
              <a:rPr kumimoji="1" lang="ja-JP" altLang="en-US" b="1" dirty="0"/>
              <a:t>集落生活圏</a:t>
            </a:r>
          </a:p>
        </p:txBody>
      </p:sp>
      <p:sp>
        <p:nvSpPr>
          <p:cNvPr id="4" name="フッター プレースホルダー 3">
            <a:extLst>
              <a:ext uri="{FF2B5EF4-FFF2-40B4-BE49-F238E27FC236}">
                <a16:creationId xmlns:a16="http://schemas.microsoft.com/office/drawing/2014/main" id="{B4B8F030-9410-4456-E80E-189CDE40BD0B}"/>
              </a:ext>
            </a:extLst>
          </p:cNvPr>
          <p:cNvSpPr>
            <a:spLocks noGrp="1"/>
          </p:cNvSpPr>
          <p:nvPr>
            <p:ph type="ftr" sz="quarter" idx="11"/>
          </p:nvPr>
        </p:nvSpPr>
        <p:spPr/>
        <p:txBody>
          <a:bodyPr/>
          <a:lstStyle/>
          <a:p>
            <a:endParaRPr lang="en-US" altLang="ja-JP">
              <a:solidFill>
                <a:srgbClr val="000000"/>
              </a:solidFill>
            </a:endParaRPr>
          </a:p>
        </p:txBody>
      </p:sp>
      <p:sp>
        <p:nvSpPr>
          <p:cNvPr id="6" name="スライド番号プレースホルダー 5">
            <a:extLst>
              <a:ext uri="{FF2B5EF4-FFF2-40B4-BE49-F238E27FC236}">
                <a16:creationId xmlns:a16="http://schemas.microsoft.com/office/drawing/2014/main" id="{AEC8ECBE-0C72-EDE7-F5FE-92A124977E20}"/>
              </a:ext>
            </a:extLst>
          </p:cNvPr>
          <p:cNvSpPr>
            <a:spLocks noGrp="1"/>
          </p:cNvSpPr>
          <p:nvPr>
            <p:ph type="sldNum" sz="quarter" idx="12"/>
          </p:nvPr>
        </p:nvSpPr>
        <p:spPr/>
        <p:txBody>
          <a:bodyPr/>
          <a:lstStyle/>
          <a:p>
            <a:fld id="{0E455E4F-1C3C-4418-94C1-62F004438B6B}" type="slidenum">
              <a:rPr lang="en-US" altLang="ja-JP" smtClean="0">
                <a:solidFill>
                  <a:srgbClr val="000000"/>
                </a:solidFill>
              </a:rPr>
              <a:pPr/>
              <a:t>24</a:t>
            </a:fld>
            <a:endParaRPr lang="en-US" altLang="ja-JP">
              <a:solidFill>
                <a:srgbClr val="000000"/>
              </a:solidFill>
            </a:endParaRPr>
          </a:p>
        </p:txBody>
      </p:sp>
    </p:spTree>
    <p:extLst>
      <p:ext uri="{BB962C8B-B14F-4D97-AF65-F5344CB8AC3E}">
        <p14:creationId xmlns:p14="http://schemas.microsoft.com/office/powerpoint/2010/main" val="4171302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txBox="1">
            <a:spLocks/>
          </p:cNvSpPr>
          <p:nvPr/>
        </p:nvSpPr>
        <p:spPr>
          <a:xfrm>
            <a:off x="211493" y="165697"/>
            <a:ext cx="9014054" cy="493824"/>
          </a:xfrm>
          <a:prstGeom prst="rect">
            <a:avLst/>
          </a:prstGeom>
        </p:spPr>
        <p:txBody>
          <a:bodyPr lIns="90721" tIns="45361" rIns="90721" bIns="45361"/>
          <a:lstStyle>
            <a:lvl1pPr algn="l" rtl="0" fontAlgn="base">
              <a:spcBef>
                <a:spcPct val="0"/>
              </a:spcBef>
              <a:spcAft>
                <a:spcPct val="0"/>
              </a:spcAft>
              <a:defRPr kumimoji="1" sz="2800">
                <a:solidFill>
                  <a:srgbClr val="4087C8"/>
                </a:solidFill>
                <a:latin typeface="+mj-lt"/>
                <a:ea typeface="+mj-ea"/>
                <a:cs typeface="+mj-cs"/>
              </a:defRPr>
            </a:lvl1pPr>
            <a:lvl2pPr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875385"/>
            <a:r>
              <a:rPr lang="ja-JP" altLang="en-US" sz="2297" kern="0" dirty="0">
                <a:latin typeface="HGP創英角ｺﾞｼｯｸUB"/>
                <a:ea typeface="HGP創英角ｺﾞｼｯｸUB"/>
              </a:rPr>
              <a:t>「小さな拠点」に係る取組の経緯等について</a:t>
            </a:r>
          </a:p>
        </p:txBody>
      </p:sp>
      <p:sp>
        <p:nvSpPr>
          <p:cNvPr id="55" name="テキスト ボックス 54"/>
          <p:cNvSpPr txBox="1"/>
          <p:nvPr/>
        </p:nvSpPr>
        <p:spPr>
          <a:xfrm>
            <a:off x="249352" y="846808"/>
            <a:ext cx="9321351" cy="6353573"/>
          </a:xfrm>
          <a:prstGeom prst="rect">
            <a:avLst/>
          </a:prstGeom>
          <a:noFill/>
        </p:spPr>
        <p:txBody>
          <a:bodyPr wrap="square" lIns="34563" tIns="34563" rIns="34563" bIns="34563" rtlCol="0">
            <a:spAutoFit/>
          </a:bodyPr>
          <a:lstStyle/>
          <a:p>
            <a:pPr defTabSz="875385">
              <a:lnSpc>
                <a:spcPts val="1436"/>
              </a:lnSpc>
            </a:pPr>
            <a:r>
              <a:rPr lang="ja-JP" altLang="en-US" sz="1340" dirty="0">
                <a:solidFill>
                  <a:srgbClr val="000000"/>
                </a:solidFill>
                <a:ea typeface="ＭＳ Ｐゴシック" charset="-128"/>
              </a:rPr>
              <a:t> </a:t>
            </a:r>
            <a:r>
              <a:rPr lang="ja-JP" altLang="en-US" sz="1340" b="1" dirty="0">
                <a:solidFill>
                  <a:srgbClr val="000000"/>
                </a:solidFill>
                <a:ea typeface="ＭＳ Ｐゴシック" charset="-128"/>
              </a:rPr>
              <a:t> </a:t>
            </a:r>
            <a:r>
              <a:rPr lang="ja-JP" altLang="en-US" sz="1340" b="1" u="sng" dirty="0">
                <a:solidFill>
                  <a:srgbClr val="000000"/>
                </a:solidFill>
                <a:ea typeface="ＭＳ Ｐゴシック" charset="-128"/>
              </a:rPr>
              <a:t>○取組の経緯</a:t>
            </a:r>
            <a:endParaRPr lang="en-US" altLang="ja-JP" sz="1340" b="1" u="sng" dirty="0">
              <a:solidFill>
                <a:srgbClr val="000000"/>
              </a:solidFill>
              <a:ea typeface="ＭＳ Ｐゴシック" charset="-128"/>
            </a:endParaRPr>
          </a:p>
          <a:p>
            <a:pPr defTabSz="875385">
              <a:lnSpc>
                <a:spcPts val="1436"/>
              </a:lnSpc>
            </a:pPr>
            <a:r>
              <a:rPr lang="ja-JP" altLang="en-US" sz="1340" dirty="0">
                <a:solidFill>
                  <a:srgbClr val="000000"/>
                </a:solidFill>
                <a:ea typeface="ＭＳ Ｐゴシック" charset="-128"/>
              </a:rPr>
              <a:t>　　</a:t>
            </a:r>
            <a:r>
              <a:rPr lang="ja-JP" altLang="en-US" sz="1340" b="1" dirty="0">
                <a:solidFill>
                  <a:srgbClr val="0070C0"/>
                </a:solidFill>
                <a:ea typeface="ＭＳ Ｐゴシック" charset="-128"/>
              </a:rPr>
              <a:t>平成２０年７月　国土形成計画（全国計画）</a:t>
            </a:r>
            <a:endParaRPr lang="en-US" altLang="ja-JP" sz="1340" b="1" dirty="0">
              <a:solidFill>
                <a:srgbClr val="0070C0"/>
              </a:solidFill>
              <a:ea typeface="ＭＳ Ｐゴシック" charset="-128"/>
            </a:endParaRPr>
          </a:p>
          <a:p>
            <a:pPr marL="255320" indent="173254" defTabSz="875385">
              <a:lnSpc>
                <a:spcPts val="1436"/>
              </a:lnSpc>
            </a:pPr>
            <a:r>
              <a:rPr lang="ja-JP" altLang="en-US" sz="1340" dirty="0">
                <a:solidFill>
                  <a:srgbClr val="000000"/>
                </a:solidFill>
                <a:latin typeface="ＭＳ 明朝" pitchFamily="17" charset="-128"/>
                <a:ea typeface="ＭＳ 明朝" pitchFamily="17" charset="-128"/>
              </a:rPr>
              <a:t>「地域によっては、人口減少、高齢化が著しく、維持・存続が危ぶまれる集落が存在している。」と初めて国土計画に位置付け</a:t>
            </a:r>
            <a:endParaRPr lang="en-US" altLang="ja-JP" sz="1340" dirty="0">
              <a:solidFill>
                <a:srgbClr val="000000"/>
              </a:solidFill>
              <a:latin typeface="ＭＳ 明朝" pitchFamily="17" charset="-128"/>
              <a:ea typeface="ＭＳ 明朝" pitchFamily="17" charset="-128"/>
            </a:endParaRPr>
          </a:p>
          <a:p>
            <a:pPr defTabSz="875385">
              <a:lnSpc>
                <a:spcPts val="1436"/>
              </a:lnSpc>
            </a:pPr>
            <a:r>
              <a:rPr lang="ja-JP" altLang="en-US" sz="1340" dirty="0">
                <a:solidFill>
                  <a:srgbClr val="000000"/>
                </a:solidFill>
                <a:ea typeface="ＭＳ Ｐゴシック" charset="-128"/>
              </a:rPr>
              <a:t>　　</a:t>
            </a:r>
            <a:r>
              <a:rPr lang="ja-JP" altLang="en-US" sz="1340" b="1" dirty="0">
                <a:solidFill>
                  <a:srgbClr val="000000"/>
                </a:solidFill>
                <a:ea typeface="ＭＳ Ｐゴシック" charset="-128"/>
              </a:rPr>
              <a:t>平成２１年４月　国土交通省　過疎集落研究会報告書（座長：小田切徳美明治大学農学部教授）</a:t>
            </a:r>
            <a:endParaRPr lang="en-US" altLang="ja-JP" sz="1340" b="1" dirty="0">
              <a:solidFill>
                <a:srgbClr val="000000"/>
              </a:solidFill>
              <a:ea typeface="ＭＳ Ｐゴシック" charset="-128"/>
            </a:endParaRPr>
          </a:p>
          <a:p>
            <a:pPr marL="255320" indent="173254" defTabSz="875385">
              <a:lnSpc>
                <a:spcPts val="1436"/>
              </a:lnSpc>
            </a:pPr>
            <a:r>
              <a:rPr lang="ja-JP" altLang="en-US" sz="1340" dirty="0">
                <a:solidFill>
                  <a:srgbClr val="000000"/>
                </a:solidFill>
                <a:latin typeface="ＭＳ 明朝" pitchFamily="17" charset="-128"/>
                <a:ea typeface="ＭＳ 明朝" pitchFamily="17" charset="-128"/>
              </a:rPr>
              <a:t>過疎集落の住民生活の安定を図るためには、（中略）具体的には、①</a:t>
            </a:r>
            <a:r>
              <a:rPr lang="ja-JP" altLang="en-US" sz="1340" u="sng" dirty="0">
                <a:solidFill>
                  <a:srgbClr val="000000"/>
                </a:solidFill>
                <a:latin typeface="ＭＳ 明朝" pitchFamily="17" charset="-128"/>
                <a:ea typeface="ＭＳ 明朝" pitchFamily="17" charset="-128"/>
              </a:rPr>
              <a:t>日常的な医療、福祉、買い物、地域交通等の生活に必要な基礎的サービスを提供する、</a:t>
            </a:r>
            <a:r>
              <a:rPr lang="ja-JP" altLang="en-US" sz="1340" u="sng" dirty="0">
                <a:solidFill>
                  <a:srgbClr val="4087C8"/>
                </a:solidFill>
                <a:latin typeface="ＭＳ 明朝" pitchFamily="17" charset="-128"/>
                <a:ea typeface="ＭＳ 明朝" pitchFamily="17" charset="-128"/>
              </a:rPr>
              <a:t>小さな拠点</a:t>
            </a:r>
            <a:r>
              <a:rPr lang="ja-JP" altLang="en-US" sz="1340" u="sng" dirty="0">
                <a:solidFill>
                  <a:srgbClr val="000000"/>
                </a:solidFill>
                <a:latin typeface="ＭＳ 明朝" pitchFamily="17" charset="-128"/>
                <a:ea typeface="ＭＳ 明朝" pitchFamily="17" charset="-128"/>
              </a:rPr>
              <a:t>を整備すること</a:t>
            </a:r>
            <a:r>
              <a:rPr lang="ja-JP" altLang="en-US" sz="1340" dirty="0">
                <a:solidFill>
                  <a:srgbClr val="000000"/>
                </a:solidFill>
                <a:latin typeface="ＭＳ 明朝" pitchFamily="17" charset="-128"/>
                <a:ea typeface="ＭＳ 明朝" pitchFamily="17" charset="-128"/>
              </a:rPr>
              <a:t>」</a:t>
            </a:r>
            <a:endParaRPr lang="en-US" altLang="ja-JP" sz="1340" dirty="0">
              <a:solidFill>
                <a:srgbClr val="000000"/>
              </a:solidFill>
              <a:latin typeface="ＭＳ 明朝" pitchFamily="17" charset="-128"/>
              <a:ea typeface="ＭＳ 明朝" pitchFamily="17" charset="-128"/>
            </a:endParaRPr>
          </a:p>
          <a:p>
            <a:pPr defTabSz="875385">
              <a:lnSpc>
                <a:spcPts val="1436"/>
              </a:lnSpc>
            </a:pPr>
            <a:endParaRPr lang="en-US" altLang="ja-JP" sz="1340" dirty="0">
              <a:solidFill>
                <a:srgbClr val="000000"/>
              </a:solidFill>
              <a:ea typeface="ＭＳ Ｐゴシック" charset="-128"/>
            </a:endParaRPr>
          </a:p>
          <a:p>
            <a:pPr defTabSz="875385">
              <a:lnSpc>
                <a:spcPts val="1436"/>
              </a:lnSpc>
            </a:pPr>
            <a:r>
              <a:rPr lang="ja-JP" altLang="en-US" sz="1340" dirty="0">
                <a:solidFill>
                  <a:srgbClr val="000000"/>
                </a:solidFill>
                <a:ea typeface="ＭＳ Ｐゴシック" charset="-128"/>
              </a:rPr>
              <a:t>　　</a:t>
            </a:r>
            <a:r>
              <a:rPr lang="ja-JP" altLang="en-US" sz="1340" b="1" dirty="0">
                <a:solidFill>
                  <a:srgbClr val="000000"/>
                </a:solidFill>
                <a:ea typeface="ＭＳ Ｐゴシック" charset="-128"/>
              </a:rPr>
              <a:t>平成２２年１月　国土審議会政策部会集落課題検討委員会とりまとめ（委員長：奥野信宏中京大学総合政策学部教授）</a:t>
            </a:r>
            <a:endParaRPr lang="en-US" altLang="ja-JP" sz="1340" b="1" dirty="0">
              <a:solidFill>
                <a:srgbClr val="000000"/>
              </a:solidFill>
              <a:ea typeface="ＭＳ Ｐゴシック" charset="-128"/>
            </a:endParaRPr>
          </a:p>
          <a:p>
            <a:pPr marL="255320" indent="173254" defTabSz="875385">
              <a:lnSpc>
                <a:spcPts val="1436"/>
              </a:lnSpc>
            </a:pPr>
            <a:r>
              <a:rPr lang="ja-JP" altLang="en-US" sz="1340" dirty="0">
                <a:solidFill>
                  <a:srgbClr val="000000"/>
                </a:solidFill>
                <a:latin typeface="ＭＳ 明朝" pitchFamily="17" charset="-128"/>
                <a:ea typeface="ＭＳ 明朝" pitchFamily="17" charset="-128"/>
              </a:rPr>
              <a:t>「基礎的な生活サービスを集落住民に効果的に提供するためには、（中略）</a:t>
            </a:r>
            <a:r>
              <a:rPr lang="en-US" altLang="ja-JP" sz="1340" u="sng" dirty="0">
                <a:solidFill>
                  <a:srgbClr val="0070C0"/>
                </a:solidFill>
                <a:latin typeface="ＭＳ 明朝" pitchFamily="17" charset="-128"/>
                <a:ea typeface="ＭＳ 明朝" pitchFamily="17" charset="-128"/>
              </a:rPr>
              <a:t>『</a:t>
            </a:r>
            <a:r>
              <a:rPr lang="ja-JP" altLang="en-US" sz="1340" u="sng" dirty="0">
                <a:solidFill>
                  <a:srgbClr val="0070C0"/>
                </a:solidFill>
                <a:latin typeface="ＭＳ 明朝" pitchFamily="17" charset="-128"/>
                <a:ea typeface="ＭＳ 明朝" pitchFamily="17" charset="-128"/>
              </a:rPr>
              <a:t>小さな拠点</a:t>
            </a:r>
            <a:r>
              <a:rPr lang="en-US" altLang="ja-JP" sz="1340" u="sng" dirty="0">
                <a:solidFill>
                  <a:srgbClr val="0070C0"/>
                </a:solidFill>
                <a:latin typeface="ＭＳ 明朝" pitchFamily="17" charset="-128"/>
                <a:ea typeface="ＭＳ 明朝" pitchFamily="17" charset="-128"/>
              </a:rPr>
              <a:t>』</a:t>
            </a:r>
            <a:r>
              <a:rPr lang="ja-JP" altLang="en-US" sz="1340" u="sng" dirty="0">
                <a:solidFill>
                  <a:srgbClr val="000000"/>
                </a:solidFill>
                <a:latin typeface="ＭＳ 明朝" pitchFamily="17" charset="-128"/>
                <a:ea typeface="ＭＳ 明朝" pitchFamily="17" charset="-128"/>
              </a:rPr>
              <a:t>を整備するとともに、それへのアクセス手段を確保することが有効</a:t>
            </a:r>
            <a:r>
              <a:rPr lang="ja-JP" altLang="en-US" sz="1340" dirty="0">
                <a:solidFill>
                  <a:srgbClr val="000000"/>
                </a:solidFill>
                <a:latin typeface="ＭＳ 明朝" pitchFamily="17" charset="-128"/>
                <a:ea typeface="ＭＳ 明朝" pitchFamily="17" charset="-128"/>
              </a:rPr>
              <a:t>である。」「</a:t>
            </a:r>
            <a:r>
              <a:rPr lang="en-US" altLang="ja-JP" sz="1340" u="sng" dirty="0">
                <a:solidFill>
                  <a:srgbClr val="0070C0"/>
                </a:solidFill>
                <a:latin typeface="ＭＳ 明朝" pitchFamily="17" charset="-128"/>
                <a:ea typeface="ＭＳ 明朝" pitchFamily="17" charset="-128"/>
              </a:rPr>
              <a:t>『</a:t>
            </a:r>
            <a:r>
              <a:rPr lang="ja-JP" altLang="en-US" sz="1340" u="sng" dirty="0">
                <a:solidFill>
                  <a:srgbClr val="0070C0"/>
                </a:solidFill>
                <a:latin typeface="ＭＳ 明朝" pitchFamily="17" charset="-128"/>
                <a:ea typeface="ＭＳ 明朝" pitchFamily="17" charset="-128"/>
              </a:rPr>
              <a:t>小さな拠点</a:t>
            </a:r>
            <a:r>
              <a:rPr lang="en-US" altLang="ja-JP" sz="1340" u="sng" dirty="0">
                <a:solidFill>
                  <a:srgbClr val="0070C0"/>
                </a:solidFill>
                <a:latin typeface="ＭＳ 明朝" pitchFamily="17" charset="-128"/>
                <a:ea typeface="ＭＳ 明朝" pitchFamily="17" charset="-128"/>
              </a:rPr>
              <a:t>』</a:t>
            </a:r>
            <a:r>
              <a:rPr lang="ja-JP" altLang="en-US" sz="1340" u="sng" dirty="0">
                <a:solidFill>
                  <a:srgbClr val="000000"/>
                </a:solidFill>
                <a:latin typeface="ＭＳ 明朝" pitchFamily="17" charset="-128"/>
                <a:ea typeface="ＭＳ 明朝" pitchFamily="17" charset="-128"/>
              </a:rPr>
              <a:t>は、人々が直接出会い、交流する機会を提供する場としても機能</a:t>
            </a:r>
            <a:r>
              <a:rPr lang="ja-JP" altLang="en-US" sz="1340" dirty="0">
                <a:solidFill>
                  <a:srgbClr val="000000"/>
                </a:solidFill>
                <a:latin typeface="ＭＳ 明朝" pitchFamily="17" charset="-128"/>
                <a:ea typeface="ＭＳ 明朝" pitchFamily="17" charset="-128"/>
              </a:rPr>
              <a:t>し、地域の</a:t>
            </a:r>
            <a:r>
              <a:rPr lang="en-US" altLang="ja-JP" sz="1340" dirty="0">
                <a:solidFill>
                  <a:srgbClr val="000000"/>
                </a:solidFill>
                <a:latin typeface="ＭＳ 明朝" pitchFamily="17" charset="-128"/>
                <a:ea typeface="ＭＳ 明朝" pitchFamily="17" charset="-128"/>
              </a:rPr>
              <a:t>『</a:t>
            </a:r>
            <a:r>
              <a:rPr lang="ja-JP" altLang="en-US" sz="1340" dirty="0">
                <a:solidFill>
                  <a:srgbClr val="000000"/>
                </a:solidFill>
                <a:latin typeface="ＭＳ 明朝" pitchFamily="17" charset="-128"/>
                <a:ea typeface="ＭＳ 明朝" pitchFamily="17" charset="-128"/>
              </a:rPr>
              <a:t>絆</a:t>
            </a:r>
            <a:r>
              <a:rPr lang="en-US" altLang="ja-JP" sz="1340" dirty="0">
                <a:solidFill>
                  <a:srgbClr val="000000"/>
                </a:solidFill>
                <a:latin typeface="ＭＳ 明朝" pitchFamily="17" charset="-128"/>
                <a:ea typeface="ＭＳ 明朝" pitchFamily="17" charset="-128"/>
              </a:rPr>
              <a:t>』</a:t>
            </a:r>
            <a:r>
              <a:rPr lang="ja-JP" altLang="en-US" sz="1340" dirty="0">
                <a:solidFill>
                  <a:srgbClr val="000000"/>
                </a:solidFill>
                <a:latin typeface="ＭＳ 明朝" pitchFamily="17" charset="-128"/>
                <a:ea typeface="ＭＳ 明朝" pitchFamily="17" charset="-128"/>
              </a:rPr>
              <a:t>を再構築するという役割も期待できる。」</a:t>
            </a:r>
          </a:p>
          <a:p>
            <a:pPr defTabSz="875385">
              <a:lnSpc>
                <a:spcPts val="1436"/>
              </a:lnSpc>
            </a:pPr>
            <a:endParaRPr lang="en-US" altLang="ja-JP" sz="1340" dirty="0">
              <a:solidFill>
                <a:srgbClr val="000000"/>
              </a:solidFill>
              <a:ea typeface="ＭＳ Ｐゴシック" charset="-128"/>
            </a:endParaRPr>
          </a:p>
          <a:p>
            <a:pPr defTabSz="875385">
              <a:lnSpc>
                <a:spcPts val="1436"/>
              </a:lnSpc>
            </a:pPr>
            <a:r>
              <a:rPr lang="ja-JP" altLang="en-US" sz="1340" dirty="0">
                <a:solidFill>
                  <a:srgbClr val="000000"/>
                </a:solidFill>
                <a:ea typeface="ＭＳ Ｐゴシック" charset="-128"/>
              </a:rPr>
              <a:t>　　</a:t>
            </a:r>
            <a:r>
              <a:rPr lang="ja-JP" altLang="en-US" sz="1340" b="1" dirty="0">
                <a:solidFill>
                  <a:srgbClr val="000000"/>
                </a:solidFill>
                <a:ea typeface="ＭＳ Ｐゴシック" charset="-128"/>
              </a:rPr>
              <a:t>平成２５年３月　</a:t>
            </a:r>
            <a:r>
              <a:rPr lang="ja-JP" altLang="en-US" sz="1340" b="1" dirty="0">
                <a:solidFill>
                  <a:srgbClr val="0070C0"/>
                </a:solidFill>
                <a:ea typeface="ＭＳ Ｐゴシック" charset="-128"/>
              </a:rPr>
              <a:t>「</a:t>
            </a:r>
            <a:r>
              <a:rPr lang="en-US" altLang="ja-JP" sz="1340" b="1" dirty="0">
                <a:solidFill>
                  <a:srgbClr val="0070C0"/>
                </a:solidFill>
                <a:ea typeface="ＭＳ Ｐゴシック" charset="-128"/>
              </a:rPr>
              <a:t>『</a:t>
            </a:r>
            <a:r>
              <a:rPr lang="ja-JP" altLang="en-US" sz="1340" b="1" dirty="0">
                <a:solidFill>
                  <a:srgbClr val="0070C0"/>
                </a:solidFill>
                <a:ea typeface="ＭＳ Ｐゴシック" charset="-128"/>
              </a:rPr>
              <a:t>小さな拠点</a:t>
            </a:r>
            <a:r>
              <a:rPr lang="en-US" altLang="ja-JP" sz="1340" b="1" dirty="0">
                <a:solidFill>
                  <a:srgbClr val="0070C0"/>
                </a:solidFill>
                <a:ea typeface="ＭＳ Ｐゴシック" charset="-128"/>
              </a:rPr>
              <a:t>』</a:t>
            </a:r>
            <a:r>
              <a:rPr lang="ja-JP" altLang="en-US" sz="1340" b="1" dirty="0">
                <a:solidFill>
                  <a:srgbClr val="0070C0"/>
                </a:solidFill>
                <a:ea typeface="ＭＳ Ｐゴシック" charset="-128"/>
              </a:rPr>
              <a:t>づくりガイドブック」の作成</a:t>
            </a:r>
            <a:endParaRPr lang="en-US" altLang="ja-JP" sz="1340" b="1" dirty="0">
              <a:solidFill>
                <a:srgbClr val="0070C0"/>
              </a:solidFill>
              <a:ea typeface="ＭＳ Ｐゴシック" charset="-128"/>
            </a:endParaRPr>
          </a:p>
          <a:p>
            <a:pPr defTabSz="875385">
              <a:lnSpc>
                <a:spcPts val="1436"/>
              </a:lnSpc>
            </a:pPr>
            <a:endParaRPr lang="en-US" altLang="ja-JP" sz="1340" dirty="0">
              <a:solidFill>
                <a:srgbClr val="000000"/>
              </a:solidFill>
              <a:ea typeface="ＭＳ Ｐゴシック" charset="-128"/>
            </a:endParaRPr>
          </a:p>
          <a:p>
            <a:pPr defTabSz="875385">
              <a:lnSpc>
                <a:spcPts val="1436"/>
              </a:lnSpc>
            </a:pPr>
            <a:r>
              <a:rPr lang="ja-JP" altLang="en-US" sz="1340" dirty="0">
                <a:solidFill>
                  <a:srgbClr val="000000"/>
                </a:solidFill>
                <a:ea typeface="ＭＳ Ｐゴシック" charset="-128"/>
              </a:rPr>
              <a:t>　　</a:t>
            </a:r>
            <a:r>
              <a:rPr lang="ja-JP" altLang="en-US" sz="1340" b="1" dirty="0">
                <a:solidFill>
                  <a:srgbClr val="000000"/>
                </a:solidFill>
                <a:ea typeface="ＭＳ Ｐゴシック" charset="-128"/>
              </a:rPr>
              <a:t>平成２５～２６年　国の調査を通じた地域内の合意形成支援（</a:t>
            </a:r>
            <a:r>
              <a:rPr lang="ja-JP" altLang="en-US" sz="1340" b="1" dirty="0">
                <a:solidFill>
                  <a:srgbClr val="0070C0"/>
                </a:solidFill>
                <a:ea typeface="ＭＳ Ｐゴシック" charset="-128"/>
              </a:rPr>
              <a:t>モニター調査の実施（全国２４地域）</a:t>
            </a:r>
            <a:r>
              <a:rPr lang="ja-JP" altLang="en-US" sz="1340" b="1" dirty="0">
                <a:solidFill>
                  <a:srgbClr val="000000"/>
                </a:solidFill>
                <a:ea typeface="ＭＳ Ｐゴシック" charset="-128"/>
              </a:rPr>
              <a:t>）</a:t>
            </a:r>
            <a:endParaRPr lang="en-US" altLang="ja-JP" sz="1340" b="1" dirty="0">
              <a:solidFill>
                <a:srgbClr val="000000"/>
              </a:solidFill>
              <a:ea typeface="ＭＳ Ｐゴシック" charset="-128"/>
            </a:endParaRPr>
          </a:p>
          <a:p>
            <a:pPr defTabSz="875385">
              <a:lnSpc>
                <a:spcPts val="1436"/>
              </a:lnSpc>
            </a:pPr>
            <a:r>
              <a:rPr lang="ja-JP" altLang="en-US" sz="1340" dirty="0">
                <a:solidFill>
                  <a:srgbClr val="000000"/>
                </a:solidFill>
                <a:ea typeface="ＭＳ Ｐゴシック" charset="-128"/>
              </a:rPr>
              <a:t>　　</a:t>
            </a:r>
            <a:endParaRPr lang="en-US" altLang="ja-JP" sz="1340" dirty="0">
              <a:solidFill>
                <a:srgbClr val="000000"/>
              </a:solidFill>
              <a:ea typeface="ＭＳ Ｐゴシック" charset="-128"/>
            </a:endParaRPr>
          </a:p>
          <a:p>
            <a:pPr defTabSz="875385">
              <a:lnSpc>
                <a:spcPts val="1436"/>
              </a:lnSpc>
            </a:pPr>
            <a:r>
              <a:rPr lang="ja-JP" altLang="en-US" sz="1340" dirty="0">
                <a:solidFill>
                  <a:srgbClr val="000000"/>
                </a:solidFill>
                <a:ea typeface="ＭＳ Ｐゴシック" charset="-128"/>
              </a:rPr>
              <a:t>　　</a:t>
            </a:r>
            <a:r>
              <a:rPr lang="ja-JP" altLang="en-US" sz="1340" b="1" dirty="0">
                <a:solidFill>
                  <a:srgbClr val="000000"/>
                </a:solidFill>
                <a:ea typeface="ＭＳ Ｐゴシック" charset="-128"/>
              </a:rPr>
              <a:t>平成２６年７月</a:t>
            </a:r>
            <a:r>
              <a:rPr lang="ja-JP" altLang="en-US" sz="1340" b="1" dirty="0">
                <a:solidFill>
                  <a:srgbClr val="0070C0"/>
                </a:solidFill>
                <a:ea typeface="ＭＳ Ｐゴシック" charset="-128"/>
              </a:rPr>
              <a:t>　「国土のグランドデザイン</a:t>
            </a:r>
            <a:r>
              <a:rPr lang="en-US" altLang="ja-JP" sz="1340" b="1" dirty="0">
                <a:solidFill>
                  <a:srgbClr val="0070C0"/>
                </a:solidFill>
                <a:ea typeface="ＭＳ Ｐゴシック" charset="-128"/>
              </a:rPr>
              <a:t>2050</a:t>
            </a:r>
            <a:r>
              <a:rPr lang="ja-JP" altLang="en-US" sz="1340" b="1" dirty="0">
                <a:solidFill>
                  <a:srgbClr val="0070C0"/>
                </a:solidFill>
                <a:ea typeface="ＭＳ Ｐゴシック" charset="-128"/>
              </a:rPr>
              <a:t>」</a:t>
            </a:r>
            <a:endParaRPr lang="en-US" altLang="ja-JP" sz="1340" b="1" dirty="0">
              <a:solidFill>
                <a:srgbClr val="0070C0"/>
              </a:solidFill>
              <a:ea typeface="ＭＳ Ｐゴシック" charset="-128"/>
            </a:endParaRPr>
          </a:p>
          <a:p>
            <a:pPr marL="255320" indent="173254" defTabSz="875385">
              <a:lnSpc>
                <a:spcPts val="1436"/>
              </a:lnSpc>
            </a:pPr>
            <a:r>
              <a:rPr lang="ja-JP" altLang="en-US" sz="1340" dirty="0">
                <a:solidFill>
                  <a:srgbClr val="000000"/>
                </a:solidFill>
                <a:latin typeface="ＭＳ 明朝" pitchFamily="17" charset="-128"/>
                <a:ea typeface="ＭＳ 明朝" pitchFamily="17" charset="-128"/>
              </a:rPr>
              <a:t>「</a:t>
            </a:r>
            <a:r>
              <a:rPr lang="ja-JP" altLang="ja-JP" sz="1340" dirty="0">
                <a:solidFill>
                  <a:srgbClr val="000000"/>
                </a:solidFill>
                <a:latin typeface="ＭＳ 明朝" pitchFamily="17" charset="-128"/>
                <a:ea typeface="ＭＳ 明朝" pitchFamily="17" charset="-128"/>
              </a:rPr>
              <a:t>集落が散在する地域において、</a:t>
            </a:r>
            <a:r>
              <a:rPr lang="ja-JP" altLang="ja-JP" sz="1340" u="sng" dirty="0">
                <a:solidFill>
                  <a:srgbClr val="000000"/>
                </a:solidFill>
                <a:latin typeface="ＭＳ 明朝" pitchFamily="17" charset="-128"/>
                <a:ea typeface="ＭＳ 明朝" pitchFamily="17" charset="-128"/>
              </a:rPr>
              <a:t>商店、診療所など日常生活に不可欠な施設や地域活動を行う場を、歩いて動ける範囲に集め、周辺地域とネットワークでつないだ</a:t>
            </a:r>
            <a:r>
              <a:rPr lang="ja-JP" altLang="ja-JP" sz="1340" u="sng" dirty="0">
                <a:solidFill>
                  <a:srgbClr val="4087C8"/>
                </a:solidFill>
                <a:latin typeface="ＭＳ 明朝" pitchFamily="17" charset="-128"/>
                <a:ea typeface="ＭＳ 明朝" pitchFamily="17" charset="-128"/>
              </a:rPr>
              <a:t>「小さな拠点」</a:t>
            </a:r>
            <a:r>
              <a:rPr lang="ja-JP" altLang="ja-JP" sz="1340" u="sng" dirty="0">
                <a:solidFill>
                  <a:srgbClr val="000000"/>
                </a:solidFill>
                <a:latin typeface="ＭＳ 明朝" pitchFamily="17" charset="-128"/>
                <a:ea typeface="ＭＳ 明朝" pitchFamily="17" charset="-128"/>
              </a:rPr>
              <a:t>を形成する</a:t>
            </a:r>
            <a:r>
              <a:rPr lang="ja-JP" altLang="ja-JP" sz="1340" dirty="0">
                <a:solidFill>
                  <a:srgbClr val="000000"/>
                </a:solidFill>
                <a:latin typeface="ＭＳ 明朝" pitchFamily="17" charset="-128"/>
                <a:ea typeface="ＭＳ 明朝" pitchFamily="17" charset="-128"/>
              </a:rPr>
              <a:t>。</a:t>
            </a:r>
            <a:r>
              <a:rPr lang="ja-JP" altLang="en-US" sz="1340" dirty="0">
                <a:solidFill>
                  <a:srgbClr val="000000"/>
                </a:solidFill>
                <a:latin typeface="ＭＳ 明朝" pitchFamily="17" charset="-128"/>
                <a:ea typeface="ＭＳ 明朝" pitchFamily="17" charset="-128"/>
              </a:rPr>
              <a:t>」</a:t>
            </a:r>
            <a:endParaRPr lang="en-US" altLang="ja-JP" sz="1340" dirty="0">
              <a:solidFill>
                <a:srgbClr val="000000"/>
              </a:solidFill>
              <a:latin typeface="ＭＳ 明朝" pitchFamily="17" charset="-128"/>
              <a:ea typeface="ＭＳ 明朝" pitchFamily="17" charset="-128"/>
            </a:endParaRPr>
          </a:p>
          <a:p>
            <a:pPr defTabSz="875385">
              <a:lnSpc>
                <a:spcPts val="1436"/>
              </a:lnSpc>
            </a:pPr>
            <a:endParaRPr lang="en-US" altLang="ja-JP" sz="1340" dirty="0">
              <a:solidFill>
                <a:srgbClr val="000000"/>
              </a:solidFill>
              <a:latin typeface="ＭＳ Ｐ明朝" panose="02020600040205080304" pitchFamily="18" charset="-128"/>
              <a:ea typeface="ＭＳ Ｐ明朝" panose="02020600040205080304" pitchFamily="18" charset="-128"/>
            </a:endParaRPr>
          </a:p>
          <a:p>
            <a:pPr defTabSz="875385">
              <a:lnSpc>
                <a:spcPts val="1436"/>
              </a:lnSpc>
            </a:pPr>
            <a:r>
              <a:rPr lang="ja-JP" altLang="en-US" sz="1340" dirty="0">
                <a:solidFill>
                  <a:srgbClr val="000000"/>
                </a:solidFill>
                <a:ea typeface="ＭＳ Ｐゴシック" charset="-128"/>
              </a:rPr>
              <a:t>　　</a:t>
            </a:r>
            <a:r>
              <a:rPr lang="ja-JP" altLang="en-US" sz="1340" b="1" dirty="0">
                <a:solidFill>
                  <a:srgbClr val="000000"/>
                </a:solidFill>
                <a:ea typeface="ＭＳ Ｐゴシック" charset="-128"/>
              </a:rPr>
              <a:t>平成２７年３月　</a:t>
            </a:r>
            <a:r>
              <a:rPr lang="ja-JP" altLang="en-US" sz="1340" b="1" dirty="0">
                <a:solidFill>
                  <a:srgbClr val="0070C0"/>
                </a:solidFill>
                <a:ea typeface="ＭＳ Ｐゴシック" charset="-128"/>
              </a:rPr>
              <a:t>「</a:t>
            </a:r>
            <a:r>
              <a:rPr lang="en-US" altLang="ja-JP" sz="1340" b="1" dirty="0">
                <a:solidFill>
                  <a:srgbClr val="0070C0"/>
                </a:solidFill>
                <a:ea typeface="ＭＳ Ｐゴシック" charset="-128"/>
              </a:rPr>
              <a:t>【</a:t>
            </a:r>
            <a:r>
              <a:rPr lang="ja-JP" altLang="en-US" sz="1340" b="1" dirty="0">
                <a:solidFill>
                  <a:srgbClr val="0070C0"/>
                </a:solidFill>
                <a:ea typeface="ＭＳ Ｐゴシック" charset="-128"/>
              </a:rPr>
              <a:t>実践編</a:t>
            </a:r>
            <a:r>
              <a:rPr lang="en-US" altLang="ja-JP" sz="1340" b="1" dirty="0">
                <a:solidFill>
                  <a:srgbClr val="0070C0"/>
                </a:solidFill>
                <a:ea typeface="ＭＳ Ｐゴシック" charset="-128"/>
              </a:rPr>
              <a:t>】『</a:t>
            </a:r>
            <a:r>
              <a:rPr lang="ja-JP" altLang="en-US" sz="1340" b="1" dirty="0">
                <a:solidFill>
                  <a:srgbClr val="0070C0"/>
                </a:solidFill>
                <a:ea typeface="ＭＳ Ｐゴシック" charset="-128"/>
              </a:rPr>
              <a:t>小さな拠点</a:t>
            </a:r>
            <a:r>
              <a:rPr lang="en-US" altLang="ja-JP" sz="1340" b="1" dirty="0">
                <a:solidFill>
                  <a:srgbClr val="0070C0"/>
                </a:solidFill>
                <a:ea typeface="ＭＳ Ｐゴシック" charset="-128"/>
              </a:rPr>
              <a:t>』</a:t>
            </a:r>
            <a:r>
              <a:rPr lang="ja-JP" altLang="en-US" sz="1340" b="1" dirty="0">
                <a:solidFill>
                  <a:srgbClr val="0070C0"/>
                </a:solidFill>
                <a:ea typeface="ＭＳ Ｐゴシック" charset="-128"/>
              </a:rPr>
              <a:t>づくりガイドブック」の作成</a:t>
            </a:r>
            <a:endParaRPr lang="en-US" altLang="ja-JP" sz="1340" b="1" dirty="0">
              <a:solidFill>
                <a:srgbClr val="0070C0"/>
              </a:solidFill>
              <a:ea typeface="ＭＳ Ｐゴシック" charset="-128"/>
            </a:endParaRPr>
          </a:p>
          <a:p>
            <a:pPr defTabSz="875385">
              <a:lnSpc>
                <a:spcPts val="1436"/>
              </a:lnSpc>
            </a:pPr>
            <a:endParaRPr lang="en-US" altLang="ja-JP" sz="1340" dirty="0">
              <a:solidFill>
                <a:srgbClr val="000000"/>
              </a:solidFill>
              <a:ea typeface="ＭＳ Ｐゴシック" charset="-128"/>
            </a:endParaRPr>
          </a:p>
          <a:p>
            <a:pPr defTabSz="875385">
              <a:lnSpc>
                <a:spcPts val="1436"/>
              </a:lnSpc>
            </a:pPr>
            <a:r>
              <a:rPr lang="ja-JP" altLang="en-US" sz="1340" dirty="0">
                <a:solidFill>
                  <a:srgbClr val="000000"/>
                </a:solidFill>
                <a:ea typeface="ＭＳ Ｐゴシック" charset="-128"/>
              </a:rPr>
              <a:t>　　</a:t>
            </a:r>
            <a:r>
              <a:rPr lang="ja-JP" altLang="ja-JP" sz="1340" b="1" dirty="0">
                <a:solidFill>
                  <a:srgbClr val="000000"/>
                </a:solidFill>
                <a:ea typeface="ＭＳ Ｐゴシック" charset="-128"/>
              </a:rPr>
              <a:t>平成</a:t>
            </a:r>
            <a:r>
              <a:rPr lang="ja-JP" altLang="en-US" sz="1340" b="1" dirty="0">
                <a:solidFill>
                  <a:srgbClr val="000000"/>
                </a:solidFill>
                <a:ea typeface="ＭＳ Ｐゴシック" charset="-128"/>
              </a:rPr>
              <a:t>２７</a:t>
            </a:r>
            <a:r>
              <a:rPr lang="ja-JP" altLang="ja-JP" sz="1340" b="1" dirty="0">
                <a:solidFill>
                  <a:srgbClr val="000000"/>
                </a:solidFill>
                <a:ea typeface="ＭＳ Ｐゴシック" charset="-128"/>
              </a:rPr>
              <a:t>年</a:t>
            </a:r>
            <a:r>
              <a:rPr lang="ja-JP" altLang="en-US" sz="1340" b="1" dirty="0">
                <a:solidFill>
                  <a:srgbClr val="000000"/>
                </a:solidFill>
                <a:ea typeface="ＭＳ Ｐゴシック" charset="-128"/>
              </a:rPr>
              <a:t>８</a:t>
            </a:r>
            <a:r>
              <a:rPr lang="ja-JP" altLang="ja-JP" sz="1340" b="1" dirty="0">
                <a:solidFill>
                  <a:srgbClr val="000000"/>
                </a:solidFill>
                <a:ea typeface="ＭＳ Ｐゴシック" charset="-128"/>
              </a:rPr>
              <a:t>月</a:t>
            </a:r>
            <a:r>
              <a:rPr lang="ja-JP" altLang="ja-JP" sz="1340" b="1" dirty="0">
                <a:solidFill>
                  <a:srgbClr val="0070C0"/>
                </a:solidFill>
                <a:ea typeface="ＭＳ Ｐゴシック" charset="-128"/>
              </a:rPr>
              <a:t>「</a:t>
            </a:r>
            <a:r>
              <a:rPr lang="ja-JP" altLang="en-US" sz="1340" b="1" dirty="0">
                <a:solidFill>
                  <a:srgbClr val="0070C0"/>
                </a:solidFill>
                <a:ea typeface="ＭＳ Ｐゴシック" charset="-128"/>
              </a:rPr>
              <a:t>国土</a:t>
            </a:r>
            <a:r>
              <a:rPr lang="ja-JP" altLang="ja-JP" sz="1340" b="1" dirty="0">
                <a:solidFill>
                  <a:srgbClr val="0070C0"/>
                </a:solidFill>
                <a:ea typeface="ＭＳ Ｐゴシック" charset="-128"/>
              </a:rPr>
              <a:t>形成計画（全国計画）」</a:t>
            </a:r>
          </a:p>
          <a:p>
            <a:pPr marL="255320" indent="173254" defTabSz="875385">
              <a:lnSpc>
                <a:spcPts val="1436"/>
              </a:lnSpc>
            </a:pPr>
            <a:r>
              <a:rPr lang="ja-JP" altLang="en-US" sz="1340" dirty="0">
                <a:solidFill>
                  <a:srgbClr val="000000"/>
                </a:solidFill>
                <a:latin typeface="ＭＳ Ｐ明朝" panose="02020600040205080304" pitchFamily="18" charset="-128"/>
                <a:ea typeface="ＭＳ Ｐ明朝" panose="02020600040205080304" pitchFamily="18" charset="-128"/>
              </a:rPr>
              <a:t>「（略）小学校区等複数の集落を包含する地域において</a:t>
            </a:r>
            <a:r>
              <a:rPr lang="ja-JP" altLang="en-US" sz="1340" u="sng" dirty="0">
                <a:solidFill>
                  <a:srgbClr val="000000"/>
                </a:solidFill>
                <a:latin typeface="ＭＳ Ｐ明朝" panose="02020600040205080304" pitchFamily="18" charset="-128"/>
                <a:ea typeface="ＭＳ Ｐ明朝" panose="02020600040205080304" pitchFamily="18" charset="-128"/>
              </a:rPr>
              <a:t>、生活サービス機能や地域活動の拠点を歩いて動ける範囲に集め</a:t>
            </a:r>
            <a:r>
              <a:rPr lang="ja-JP" altLang="en-US" sz="1340" dirty="0">
                <a:solidFill>
                  <a:srgbClr val="000000"/>
                </a:solidFill>
                <a:latin typeface="ＭＳ Ｐ明朝" panose="02020600040205080304" pitchFamily="18" charset="-128"/>
                <a:ea typeface="ＭＳ Ｐ明朝" panose="02020600040205080304" pitchFamily="18" charset="-128"/>
              </a:rPr>
              <a:t>利便性を高めるとともに、</a:t>
            </a:r>
            <a:r>
              <a:rPr lang="ja-JP" altLang="en-US" sz="1340" u="sng" dirty="0">
                <a:solidFill>
                  <a:srgbClr val="000000"/>
                </a:solidFill>
                <a:latin typeface="ＭＳ Ｐ明朝" panose="02020600040205080304" pitchFamily="18" charset="-128"/>
                <a:ea typeface="ＭＳ Ｐ明朝" panose="02020600040205080304" pitchFamily="18" charset="-128"/>
              </a:rPr>
              <a:t>周辺集落とコミュニティバス等の交通ネットワークでつなぐ</a:t>
            </a:r>
            <a:r>
              <a:rPr lang="ja-JP" altLang="en-US" sz="1340" u="sng" dirty="0">
                <a:solidFill>
                  <a:srgbClr val="0070C0"/>
                </a:solidFill>
                <a:latin typeface="ＭＳ Ｐ明朝" panose="02020600040205080304" pitchFamily="18" charset="-128"/>
                <a:ea typeface="ＭＳ Ｐ明朝" panose="02020600040205080304" pitchFamily="18" charset="-128"/>
              </a:rPr>
              <a:t>「小さな拠点」</a:t>
            </a:r>
            <a:r>
              <a:rPr lang="ja-JP" altLang="en-US" sz="1340" u="sng" dirty="0">
                <a:solidFill>
                  <a:srgbClr val="000000"/>
                </a:solidFill>
                <a:latin typeface="ＭＳ Ｐ明朝" panose="02020600040205080304" pitchFamily="18" charset="-128"/>
                <a:ea typeface="ＭＳ Ｐ明朝" panose="02020600040205080304" pitchFamily="18" charset="-128"/>
              </a:rPr>
              <a:t>を形成</a:t>
            </a:r>
            <a:r>
              <a:rPr lang="ja-JP" altLang="en-US" sz="1340" dirty="0">
                <a:solidFill>
                  <a:srgbClr val="000000"/>
                </a:solidFill>
                <a:latin typeface="ＭＳ Ｐ明朝" panose="02020600040205080304" pitchFamily="18" charset="-128"/>
                <a:ea typeface="ＭＳ Ｐ明朝" panose="02020600040205080304" pitchFamily="18" charset="-128"/>
              </a:rPr>
              <a:t>し、</a:t>
            </a:r>
            <a:r>
              <a:rPr lang="ja-JP" altLang="en-US" sz="1340" u="sng" dirty="0">
                <a:solidFill>
                  <a:srgbClr val="000000"/>
                </a:solidFill>
                <a:latin typeface="ＭＳ Ｐ明朝" panose="02020600040205080304" pitchFamily="18" charset="-128"/>
                <a:ea typeface="ＭＳ Ｐ明朝" panose="02020600040205080304" pitchFamily="18" charset="-128"/>
              </a:rPr>
              <a:t>必要な生活サービス機能等を維持する</a:t>
            </a:r>
            <a:r>
              <a:rPr lang="ja-JP" altLang="en-US" sz="1340" dirty="0">
                <a:solidFill>
                  <a:srgbClr val="000000"/>
                </a:solidFill>
                <a:latin typeface="ＭＳ Ｐ明朝" panose="02020600040205080304" pitchFamily="18" charset="-128"/>
                <a:ea typeface="ＭＳ Ｐ明朝" panose="02020600040205080304" pitchFamily="18" charset="-128"/>
              </a:rPr>
              <a:t>。」</a:t>
            </a:r>
            <a:endParaRPr lang="en-US" altLang="ja-JP" sz="1340" dirty="0">
              <a:solidFill>
                <a:srgbClr val="000000"/>
              </a:solidFill>
              <a:latin typeface="ＭＳ Ｐ明朝" panose="02020600040205080304" pitchFamily="18" charset="-128"/>
              <a:ea typeface="ＭＳ Ｐ明朝" panose="02020600040205080304" pitchFamily="18" charset="-128"/>
            </a:endParaRPr>
          </a:p>
          <a:p>
            <a:pPr defTabSz="875385">
              <a:lnSpc>
                <a:spcPts val="1436"/>
              </a:lnSpc>
            </a:pPr>
            <a:endParaRPr lang="en-US" altLang="ja-JP" sz="1340" dirty="0">
              <a:solidFill>
                <a:srgbClr val="000000"/>
              </a:solidFill>
              <a:latin typeface="ＭＳ Ｐ明朝" panose="02020600040205080304" pitchFamily="18" charset="-128"/>
              <a:ea typeface="ＭＳ Ｐ明朝" panose="02020600040205080304" pitchFamily="18" charset="-128"/>
            </a:endParaRPr>
          </a:p>
          <a:p>
            <a:pPr defTabSz="875385">
              <a:lnSpc>
                <a:spcPts val="1436"/>
              </a:lnSpc>
            </a:pPr>
            <a:r>
              <a:rPr lang="ja-JP" altLang="en-US" sz="1340" dirty="0">
                <a:solidFill>
                  <a:srgbClr val="000000"/>
                </a:solidFill>
                <a:ea typeface="ＭＳ Ｐゴシック" charset="-128"/>
              </a:rPr>
              <a:t>　　</a:t>
            </a:r>
            <a:r>
              <a:rPr lang="ja-JP" altLang="en-US" sz="1340" b="1" dirty="0">
                <a:solidFill>
                  <a:srgbClr val="000000"/>
                </a:solidFill>
                <a:ea typeface="ＭＳ Ｐゴシック" charset="-128"/>
              </a:rPr>
              <a:t>令和５年７月「</a:t>
            </a:r>
            <a:r>
              <a:rPr lang="ja-JP" altLang="en-US" sz="1340" b="1" dirty="0">
                <a:solidFill>
                  <a:srgbClr val="0070C0"/>
                </a:solidFill>
                <a:ea typeface="ＭＳ Ｐゴシック" charset="-128"/>
              </a:rPr>
              <a:t>国土</a:t>
            </a:r>
            <a:r>
              <a:rPr lang="ja-JP" altLang="ja-JP" sz="1340" b="1" dirty="0">
                <a:solidFill>
                  <a:srgbClr val="0070C0"/>
                </a:solidFill>
                <a:ea typeface="ＭＳ Ｐゴシック" charset="-128"/>
              </a:rPr>
              <a:t>形成計画（全国計画） </a:t>
            </a:r>
            <a:r>
              <a:rPr lang="ja-JP" altLang="en-US" sz="1340" b="1" dirty="0">
                <a:solidFill>
                  <a:srgbClr val="000000"/>
                </a:solidFill>
                <a:ea typeface="ＭＳ Ｐゴシック" charset="-128"/>
              </a:rPr>
              <a:t>」</a:t>
            </a:r>
            <a:endParaRPr lang="en-US" altLang="ja-JP" sz="1340" b="1" dirty="0">
              <a:solidFill>
                <a:srgbClr val="000000"/>
              </a:solidFill>
              <a:ea typeface="ＭＳ Ｐゴシック" charset="-128"/>
            </a:endParaRPr>
          </a:p>
          <a:p>
            <a:pPr marL="255320" indent="173254" defTabSz="875385">
              <a:lnSpc>
                <a:spcPts val="1436"/>
              </a:lnSpc>
            </a:pPr>
            <a:r>
              <a:rPr lang="ja-JP" altLang="en-US" sz="1340" dirty="0">
                <a:solidFill>
                  <a:srgbClr val="000000"/>
                </a:solidFill>
                <a:ea typeface="ＭＳ Ｐゴシック" charset="-128"/>
              </a:rPr>
              <a:t>中山間地域等において、必要な生活サービスの維持・確保や地域における仕事・収入の確保等の核となる小さな拠点の形成を図るとともに、小さな拠点における地域運営組織</a:t>
            </a:r>
            <a:r>
              <a:rPr lang="en-US" altLang="ja-JP" sz="1340" dirty="0">
                <a:solidFill>
                  <a:srgbClr val="000000"/>
                </a:solidFill>
                <a:ea typeface="ＭＳ Ｐゴシック" charset="-128"/>
              </a:rPr>
              <a:t>35</a:t>
            </a:r>
            <a:r>
              <a:rPr lang="ja-JP" altLang="en-US" sz="1340" dirty="0">
                <a:solidFill>
                  <a:srgbClr val="000000"/>
                </a:solidFill>
                <a:ea typeface="ＭＳ Ｐゴシック" charset="-128"/>
              </a:rPr>
              <a:t>の形成や、集落のネットワーク化を推進するなどにより、地域課題の解決に向けた取組を持続的に実践する。</a:t>
            </a:r>
            <a:endParaRPr lang="en-US" altLang="ja-JP" sz="1340" dirty="0">
              <a:solidFill>
                <a:srgbClr val="000000"/>
              </a:solidFill>
              <a:ea typeface="ＭＳ Ｐゴシック" charset="-128"/>
            </a:endParaRPr>
          </a:p>
          <a:p>
            <a:pPr defTabSz="875385">
              <a:lnSpc>
                <a:spcPts val="1436"/>
              </a:lnSpc>
            </a:pPr>
            <a:endParaRPr lang="en-US" altLang="ja-JP" sz="1340" dirty="0">
              <a:solidFill>
                <a:srgbClr val="000000"/>
              </a:solidFill>
              <a:ea typeface="ＭＳ Ｐゴシック" charset="-128"/>
            </a:endParaRPr>
          </a:p>
          <a:p>
            <a:pPr defTabSz="875385">
              <a:lnSpc>
                <a:spcPts val="1436"/>
              </a:lnSpc>
            </a:pPr>
            <a:r>
              <a:rPr lang="ja-JP" altLang="en-US" sz="1340" dirty="0">
                <a:solidFill>
                  <a:srgbClr val="000000"/>
                </a:solidFill>
                <a:ea typeface="ＭＳ Ｐゴシック" charset="-128"/>
              </a:rPr>
              <a:t>　</a:t>
            </a:r>
            <a:r>
              <a:rPr lang="ja-JP" altLang="en-US" sz="1340" b="1" u="sng" dirty="0">
                <a:solidFill>
                  <a:srgbClr val="000000"/>
                </a:solidFill>
                <a:ea typeface="ＭＳ Ｐゴシック" charset="-128"/>
              </a:rPr>
              <a:t>○他省庁との連携</a:t>
            </a:r>
            <a:endParaRPr lang="en-US" altLang="ja-JP" sz="1340" b="1" u="sng" dirty="0">
              <a:solidFill>
                <a:srgbClr val="000000"/>
              </a:solidFill>
              <a:ea typeface="ＭＳ Ｐゴシック" charset="-128"/>
            </a:endParaRPr>
          </a:p>
          <a:p>
            <a:pPr defTabSz="875385">
              <a:lnSpc>
                <a:spcPts val="1436"/>
              </a:lnSpc>
            </a:pPr>
            <a:r>
              <a:rPr lang="ja-JP" altLang="en-US" sz="1340" dirty="0">
                <a:solidFill>
                  <a:srgbClr val="000000"/>
                </a:solidFill>
                <a:ea typeface="ＭＳ Ｐゴシック" charset="-128"/>
              </a:rPr>
              <a:t>　　　</a:t>
            </a:r>
            <a:r>
              <a:rPr lang="ja-JP" altLang="en-US" sz="1340" dirty="0">
                <a:solidFill>
                  <a:srgbClr val="000000"/>
                </a:solidFill>
                <a:latin typeface="ＭＳ 明朝" pitchFamily="17" charset="-128"/>
                <a:ea typeface="ＭＳ 明朝" pitchFamily="17" charset="-128"/>
              </a:rPr>
              <a:t>内閣府地方創生推進室、総務省、農林水産省と連携して、「小さな拠点」に関する取組を推進。</a:t>
            </a:r>
            <a:endParaRPr lang="en-US" altLang="ja-JP" sz="1340" dirty="0">
              <a:solidFill>
                <a:srgbClr val="000000"/>
              </a:solidFill>
              <a:latin typeface="ＭＳ 明朝" pitchFamily="17" charset="-128"/>
              <a:ea typeface="ＭＳ 明朝" pitchFamily="17" charset="-128"/>
            </a:endParaRPr>
          </a:p>
        </p:txBody>
      </p:sp>
      <p:sp>
        <p:nvSpPr>
          <p:cNvPr id="17" name="角丸四角形 16"/>
          <p:cNvSpPr/>
          <p:nvPr/>
        </p:nvSpPr>
        <p:spPr>
          <a:xfrm>
            <a:off x="236120" y="777875"/>
            <a:ext cx="9395232" cy="6648288"/>
          </a:xfrm>
          <a:prstGeom prst="roundRect">
            <a:avLst>
              <a:gd name="adj" fmla="val 4105"/>
            </a:avLst>
          </a:prstGeom>
          <a:noFill/>
          <a:ln w="38100">
            <a:solidFill>
              <a:srgbClr val="4087C8"/>
            </a:solidFill>
          </a:ln>
        </p:spPr>
        <p:style>
          <a:lnRef idx="2">
            <a:schemeClr val="accent2"/>
          </a:lnRef>
          <a:fillRef idx="1">
            <a:schemeClr val="lt1"/>
          </a:fillRef>
          <a:effectRef idx="0">
            <a:schemeClr val="accent2"/>
          </a:effectRef>
          <a:fontRef idx="minor">
            <a:schemeClr val="dk1"/>
          </a:fontRef>
        </p:style>
        <p:txBody>
          <a:bodyPr/>
          <a:lstStyle/>
          <a:p>
            <a:pPr defTabSz="875385">
              <a:defRPr/>
            </a:pPr>
            <a:endParaRPr lang="ja-JP" altLang="en-US" sz="1348" dirty="0">
              <a:solidFill>
                <a:srgbClr val="000000"/>
              </a:solidFill>
              <a:latin typeface="ＭＳ Ｐゴシック" pitchFamily="50" charset="-128"/>
              <a:ea typeface="ＭＳ Ｐゴシック"/>
            </a:endParaRPr>
          </a:p>
        </p:txBody>
      </p:sp>
      <p:sp>
        <p:nvSpPr>
          <p:cNvPr id="2" name="フッター プレースホルダー 1">
            <a:extLst>
              <a:ext uri="{FF2B5EF4-FFF2-40B4-BE49-F238E27FC236}">
                <a16:creationId xmlns:a16="http://schemas.microsoft.com/office/drawing/2014/main" id="{48FDEB36-1DD8-1F89-78D5-D58B2ED2002D}"/>
              </a:ext>
            </a:extLst>
          </p:cNvPr>
          <p:cNvSpPr>
            <a:spLocks noGrp="1"/>
          </p:cNvSpPr>
          <p:nvPr>
            <p:ph type="ftr" sz="quarter" idx="11"/>
          </p:nvPr>
        </p:nvSpPr>
        <p:spPr/>
        <p:txBody>
          <a:bodyPr/>
          <a:lstStyle/>
          <a:p>
            <a:endParaRPr lang="en-US" altLang="ja-JP">
              <a:solidFill>
                <a:srgbClr val="000000"/>
              </a:solidFill>
            </a:endParaRPr>
          </a:p>
        </p:txBody>
      </p:sp>
      <p:sp>
        <p:nvSpPr>
          <p:cNvPr id="4" name="スライド番号プレースホルダー 3">
            <a:extLst>
              <a:ext uri="{FF2B5EF4-FFF2-40B4-BE49-F238E27FC236}">
                <a16:creationId xmlns:a16="http://schemas.microsoft.com/office/drawing/2014/main" id="{D5300D1F-1E65-E8ED-FA7E-CE6AD72B72B6}"/>
              </a:ext>
            </a:extLst>
          </p:cNvPr>
          <p:cNvSpPr>
            <a:spLocks noGrp="1"/>
          </p:cNvSpPr>
          <p:nvPr>
            <p:ph type="sldNum" sz="quarter" idx="12"/>
          </p:nvPr>
        </p:nvSpPr>
        <p:spPr/>
        <p:txBody>
          <a:bodyPr/>
          <a:lstStyle/>
          <a:p>
            <a:fld id="{0E455E4F-1C3C-4418-94C1-62F004438B6B}" type="slidenum">
              <a:rPr lang="en-US" altLang="ja-JP" smtClean="0">
                <a:solidFill>
                  <a:srgbClr val="000000"/>
                </a:solidFill>
              </a:rPr>
              <a:pPr/>
              <a:t>25</a:t>
            </a:fld>
            <a:endParaRPr lang="en-US" altLang="ja-JP">
              <a:solidFill>
                <a:srgbClr val="000000"/>
              </a:solidFill>
            </a:endParaRPr>
          </a:p>
        </p:txBody>
      </p:sp>
    </p:spTree>
    <p:extLst>
      <p:ext uri="{BB962C8B-B14F-4D97-AF65-F5344CB8AC3E}">
        <p14:creationId xmlns:p14="http://schemas.microsoft.com/office/powerpoint/2010/main" val="19143660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211493" y="165695"/>
            <a:ext cx="8185374" cy="445828"/>
          </a:xfrm>
          <a:prstGeom prst="rect">
            <a:avLst/>
          </a:prstGeom>
          <a:noFill/>
        </p:spPr>
        <p:txBody>
          <a:bodyPr wrap="square" rtlCol="0">
            <a:spAutoFit/>
          </a:bodyPr>
          <a:lstStyle/>
          <a:p>
            <a:pPr defTabSz="875385">
              <a:defRPr/>
            </a:pPr>
            <a:r>
              <a:rPr lang="ja-JP" altLang="en-US" sz="2297" dirty="0">
                <a:solidFill>
                  <a:srgbClr val="0070C0"/>
                </a:solidFill>
                <a:latin typeface="HGP創英角ｺﾞｼｯｸUB"/>
                <a:ea typeface="HGP創英角ｺﾞｼｯｸUB"/>
              </a:rPr>
              <a:t>国土形成計画（全国計画）</a:t>
            </a:r>
            <a:r>
              <a:rPr lang="zh-TW" altLang="en-US" sz="1659" dirty="0">
                <a:solidFill>
                  <a:srgbClr val="0070C0"/>
                </a:solidFill>
                <a:latin typeface="HGP創英角ｺﾞｼｯｸUB"/>
                <a:ea typeface="HGP創英角ｺﾞｼｯｸUB"/>
              </a:rPr>
              <a:t>　（</a:t>
            </a:r>
            <a:r>
              <a:rPr lang="ja-JP" altLang="en-US" sz="1659" dirty="0">
                <a:solidFill>
                  <a:srgbClr val="0070C0"/>
                </a:solidFill>
                <a:latin typeface="HGP創英角ｺﾞｼｯｸUB"/>
                <a:ea typeface="HGP創英角ｺﾞｼｯｸUB"/>
              </a:rPr>
              <a:t>令和５</a:t>
            </a:r>
            <a:r>
              <a:rPr lang="zh-TW" altLang="en-US" sz="1659" dirty="0">
                <a:solidFill>
                  <a:srgbClr val="0070C0"/>
                </a:solidFill>
                <a:latin typeface="HGP創英角ｺﾞｼｯｸUB"/>
                <a:ea typeface="HGP創英角ｺﾞｼｯｸUB"/>
              </a:rPr>
              <a:t>年</a:t>
            </a:r>
            <a:r>
              <a:rPr lang="ja-JP" altLang="en-US" sz="1659" dirty="0">
                <a:solidFill>
                  <a:srgbClr val="0070C0"/>
                </a:solidFill>
                <a:latin typeface="HGP創英角ｺﾞｼｯｸUB"/>
                <a:ea typeface="HGP創英角ｺﾞｼｯｸUB"/>
              </a:rPr>
              <a:t>７</a:t>
            </a:r>
            <a:r>
              <a:rPr lang="zh-TW" altLang="en-US" sz="1659" dirty="0">
                <a:solidFill>
                  <a:srgbClr val="0070C0"/>
                </a:solidFill>
                <a:latin typeface="HGP創英角ｺﾞｼｯｸUB"/>
                <a:ea typeface="HGP創英角ｺﾞｼｯｸUB"/>
              </a:rPr>
              <a:t>月</a:t>
            </a:r>
            <a:r>
              <a:rPr lang="en-US" altLang="zh-TW" sz="1659" dirty="0">
                <a:solidFill>
                  <a:srgbClr val="0070C0"/>
                </a:solidFill>
                <a:latin typeface="HGP創英角ｺﾞｼｯｸUB"/>
                <a:ea typeface="HGP創英角ｺﾞｼｯｸUB"/>
              </a:rPr>
              <a:t>2</a:t>
            </a:r>
            <a:r>
              <a:rPr lang="en-US" altLang="ja-JP" sz="1659" dirty="0">
                <a:solidFill>
                  <a:srgbClr val="0070C0"/>
                </a:solidFill>
                <a:latin typeface="HGP創英角ｺﾞｼｯｸUB"/>
                <a:ea typeface="HGP創英角ｺﾞｼｯｸUB"/>
              </a:rPr>
              <a:t>8</a:t>
            </a:r>
            <a:r>
              <a:rPr lang="zh-TW" altLang="en-US" sz="1659" dirty="0">
                <a:solidFill>
                  <a:srgbClr val="0070C0"/>
                </a:solidFill>
                <a:latin typeface="HGP創英角ｺﾞｼｯｸUB"/>
                <a:ea typeface="HGP創英角ｺﾞｼｯｸUB"/>
              </a:rPr>
              <a:t>日</a:t>
            </a:r>
            <a:r>
              <a:rPr lang="ja-JP" altLang="en-US" sz="1659" dirty="0">
                <a:solidFill>
                  <a:srgbClr val="0070C0"/>
                </a:solidFill>
                <a:latin typeface="HGP創英角ｺﾞｼｯｸUB"/>
                <a:ea typeface="HGP創英角ｺﾞｼｯｸUB"/>
              </a:rPr>
              <a:t>閣議決定</a:t>
            </a:r>
            <a:r>
              <a:rPr lang="zh-TW" altLang="en-US" sz="1659" dirty="0">
                <a:solidFill>
                  <a:srgbClr val="0070C0"/>
                </a:solidFill>
                <a:latin typeface="HGP創英角ｺﾞｼｯｸUB"/>
                <a:ea typeface="HGP創英角ｺﾞｼｯｸUB"/>
              </a:rPr>
              <a:t>）</a:t>
            </a:r>
            <a:r>
              <a:rPr lang="ja-JP" altLang="en-US" sz="2297" dirty="0">
                <a:solidFill>
                  <a:srgbClr val="0070C0"/>
                </a:solidFill>
                <a:latin typeface="HGP創英角ｺﾞｼｯｸUB"/>
                <a:ea typeface="HGP創英角ｺﾞｼｯｸUB"/>
              </a:rPr>
              <a:t>　（抜粋）</a:t>
            </a:r>
          </a:p>
        </p:txBody>
      </p:sp>
      <p:sp>
        <p:nvSpPr>
          <p:cNvPr id="5" name="テキスト ボックス 4"/>
          <p:cNvSpPr txBox="1"/>
          <p:nvPr/>
        </p:nvSpPr>
        <p:spPr>
          <a:xfrm>
            <a:off x="322963" y="708943"/>
            <a:ext cx="9305352" cy="6809813"/>
          </a:xfrm>
          <a:prstGeom prst="rect">
            <a:avLst/>
          </a:prstGeom>
          <a:noFill/>
        </p:spPr>
        <p:txBody>
          <a:bodyPr wrap="square" rtlCol="0">
            <a:spAutoFit/>
          </a:bodyPr>
          <a:lstStyle/>
          <a:p>
            <a:pPr defTabSz="875385">
              <a:defRPr/>
            </a:pPr>
            <a:r>
              <a:rPr lang="ja-JP" altLang="en-US" sz="1915" b="1" dirty="0">
                <a:solidFill>
                  <a:srgbClr val="000000"/>
                </a:solidFill>
              </a:rPr>
              <a:t>第１部 新たな国土の将来ビジョン</a:t>
            </a:r>
            <a:endParaRPr lang="en-US" altLang="ja-JP" sz="1915" b="1" dirty="0">
              <a:solidFill>
                <a:srgbClr val="000000"/>
              </a:solidFill>
            </a:endParaRPr>
          </a:p>
          <a:p>
            <a:pPr defTabSz="875385">
              <a:defRPr/>
            </a:pPr>
            <a:r>
              <a:rPr lang="ja-JP" altLang="en-US" sz="1723" b="1" dirty="0">
                <a:solidFill>
                  <a:srgbClr val="000000"/>
                </a:solidFill>
              </a:rPr>
              <a:t>第２章 目指す国土の姿</a:t>
            </a:r>
            <a:endParaRPr lang="en-US" altLang="ja-JP" sz="1659" b="1" dirty="0">
              <a:solidFill>
                <a:srgbClr val="000000"/>
              </a:solidFill>
            </a:endParaRPr>
          </a:p>
          <a:p>
            <a:pPr defTabSz="875385">
              <a:defRPr/>
            </a:pPr>
            <a:r>
              <a:rPr lang="ja-JP" altLang="en-US" sz="1532" b="1" dirty="0">
                <a:solidFill>
                  <a:srgbClr val="000000"/>
                </a:solidFill>
              </a:rPr>
              <a:t>第２節 国土構造の基本構想</a:t>
            </a:r>
            <a:endParaRPr lang="en-US" altLang="ja-JP" sz="1532" b="1" dirty="0">
              <a:solidFill>
                <a:srgbClr val="000000"/>
              </a:solidFill>
            </a:endParaRPr>
          </a:p>
          <a:p>
            <a:pPr defTabSz="875385"/>
            <a:r>
              <a:rPr lang="ja-JP" altLang="en-US" sz="1436" b="1" dirty="0">
                <a:solidFill>
                  <a:srgbClr val="000000"/>
                </a:solidFill>
              </a:rPr>
              <a:t>４．持続可能な生活圏の再構築</a:t>
            </a:r>
            <a:endParaRPr lang="en-US" altLang="ja-JP" sz="1436" b="1" dirty="0">
              <a:solidFill>
                <a:srgbClr val="000000"/>
              </a:solidFill>
            </a:endParaRPr>
          </a:p>
          <a:p>
            <a:pPr defTabSz="875385"/>
            <a:r>
              <a:rPr lang="ja-JP" altLang="en-US" sz="1436" b="1" dirty="0">
                <a:solidFill>
                  <a:srgbClr val="000000"/>
                </a:solidFill>
              </a:rPr>
              <a:t>（小さな拠点を核とした集落生活圏の形成）</a:t>
            </a:r>
          </a:p>
          <a:p>
            <a:pPr defTabSz="875385"/>
            <a:r>
              <a:rPr lang="ja-JP" altLang="en-US" sz="1436" dirty="0">
                <a:solidFill>
                  <a:srgbClr val="000000"/>
                </a:solidFill>
              </a:rPr>
              <a:t>　</a:t>
            </a:r>
            <a:r>
              <a:rPr lang="ja-JP" altLang="en-US" sz="1436" b="1" u="sng" dirty="0">
                <a:solidFill>
                  <a:srgbClr val="FF0000"/>
                </a:solidFill>
              </a:rPr>
              <a:t>中山間地域等において</a:t>
            </a:r>
            <a:r>
              <a:rPr lang="ja-JP" altLang="en-US" sz="1436" u="sng" dirty="0">
                <a:solidFill>
                  <a:srgbClr val="000000"/>
                </a:solidFill>
              </a:rPr>
              <a:t>、必要な生活サービスの維持・確保や地域における仕事・収入の確保等の</a:t>
            </a:r>
            <a:r>
              <a:rPr lang="ja-JP" altLang="en-US" sz="1436" u="sng" dirty="0"/>
              <a:t>核となる</a:t>
            </a:r>
            <a:r>
              <a:rPr lang="ja-JP" altLang="en-US" sz="1436" b="1" u="sng" dirty="0">
                <a:solidFill>
                  <a:srgbClr val="FF0000"/>
                </a:solidFill>
              </a:rPr>
              <a:t>小さな拠点の形成</a:t>
            </a:r>
            <a:r>
              <a:rPr lang="ja-JP" altLang="en-US" sz="1436" u="sng" dirty="0">
                <a:solidFill>
                  <a:srgbClr val="000000"/>
                </a:solidFill>
              </a:rPr>
              <a:t>を図る</a:t>
            </a:r>
            <a:r>
              <a:rPr lang="ja-JP" altLang="en-US" sz="1436" dirty="0">
                <a:solidFill>
                  <a:srgbClr val="000000"/>
                </a:solidFill>
              </a:rPr>
              <a:t>とともに、</a:t>
            </a:r>
            <a:r>
              <a:rPr lang="ja-JP" altLang="en-US" sz="1436" b="1" u="sng" dirty="0">
                <a:solidFill>
                  <a:srgbClr val="FF0000"/>
                </a:solidFill>
              </a:rPr>
              <a:t>小さな拠点における地域運営組織</a:t>
            </a:r>
            <a:r>
              <a:rPr lang="en-US" altLang="ja-JP" sz="1436" b="1" u="sng" baseline="30000" dirty="0">
                <a:solidFill>
                  <a:srgbClr val="FF0000"/>
                </a:solidFill>
              </a:rPr>
              <a:t>35</a:t>
            </a:r>
            <a:r>
              <a:rPr lang="ja-JP" altLang="en-US" sz="1436" b="1" u="sng" dirty="0">
                <a:solidFill>
                  <a:srgbClr val="FF0000"/>
                </a:solidFill>
              </a:rPr>
              <a:t>の形成</a:t>
            </a:r>
            <a:r>
              <a:rPr lang="ja-JP" altLang="en-US" sz="1436" u="sng" dirty="0">
                <a:solidFill>
                  <a:srgbClr val="000000"/>
                </a:solidFill>
              </a:rPr>
              <a:t>や、</a:t>
            </a:r>
            <a:r>
              <a:rPr lang="ja-JP" altLang="en-US" sz="1436" b="1" u="sng" dirty="0">
                <a:solidFill>
                  <a:srgbClr val="FF0000"/>
                </a:solidFill>
              </a:rPr>
              <a:t>集落のネットワーク化を推進</a:t>
            </a:r>
            <a:r>
              <a:rPr lang="ja-JP" altLang="en-US" sz="1436" u="sng" dirty="0">
                <a:solidFill>
                  <a:srgbClr val="000000"/>
                </a:solidFill>
              </a:rPr>
              <a:t>する</a:t>
            </a:r>
            <a:r>
              <a:rPr lang="ja-JP" altLang="en-US" sz="1436" dirty="0">
                <a:solidFill>
                  <a:srgbClr val="000000"/>
                </a:solidFill>
              </a:rPr>
              <a:t>などにより、</a:t>
            </a:r>
            <a:r>
              <a:rPr lang="ja-JP" altLang="en-US" sz="1436" u="sng" dirty="0">
                <a:solidFill>
                  <a:srgbClr val="000000"/>
                </a:solidFill>
              </a:rPr>
              <a:t>地域課題の解決に向けた取組を持続的に実践する</a:t>
            </a:r>
            <a:r>
              <a:rPr lang="ja-JP" altLang="en-US" sz="1436" dirty="0">
                <a:solidFill>
                  <a:srgbClr val="000000"/>
                </a:solidFill>
              </a:rPr>
              <a:t>。</a:t>
            </a:r>
          </a:p>
          <a:p>
            <a:pPr defTabSz="875385"/>
            <a:r>
              <a:rPr lang="ja-JP" altLang="en-US" sz="1436" dirty="0">
                <a:solidFill>
                  <a:srgbClr val="000000"/>
                </a:solidFill>
              </a:rPr>
              <a:t>　小さな拠点を核とした集落生活圏において、複数集落を対象に農用地の保全管理や地域資源の活用、生活支援を集約的に担う農村型地域運営組織（農村 </a:t>
            </a:r>
            <a:r>
              <a:rPr lang="en-US" altLang="ja-JP" sz="1436" dirty="0">
                <a:solidFill>
                  <a:srgbClr val="000000"/>
                </a:solidFill>
              </a:rPr>
              <a:t>RMO</a:t>
            </a:r>
            <a:r>
              <a:rPr lang="ja-JP" altLang="en-US" sz="1436" dirty="0">
                <a:solidFill>
                  <a:srgbClr val="000000"/>
                </a:solidFill>
              </a:rPr>
              <a:t>）</a:t>
            </a:r>
            <a:r>
              <a:rPr lang="en-US" altLang="ja-JP" sz="1436" baseline="30000" dirty="0">
                <a:solidFill>
                  <a:srgbClr val="000000"/>
                </a:solidFill>
              </a:rPr>
              <a:t>36</a:t>
            </a:r>
            <a:r>
              <a:rPr lang="ja-JP" altLang="en-US" sz="1436" dirty="0">
                <a:solidFill>
                  <a:srgbClr val="000000"/>
                </a:solidFill>
              </a:rPr>
              <a:t>が、「小さな拠点」の持つ機能を効率的・効果的に利用することも期待される。</a:t>
            </a:r>
            <a:endParaRPr lang="en-US" altLang="ja-JP" sz="1436" dirty="0">
              <a:solidFill>
                <a:srgbClr val="000000"/>
              </a:solidFill>
            </a:endParaRPr>
          </a:p>
          <a:p>
            <a:pPr marL="82068" indent="-82068" defTabSz="875385"/>
            <a:r>
              <a:rPr lang="en-US" altLang="ja-JP" sz="1245" baseline="30000" dirty="0">
                <a:solidFill>
                  <a:srgbClr val="000000"/>
                </a:solidFill>
              </a:rPr>
              <a:t>36</a:t>
            </a:r>
            <a:r>
              <a:rPr lang="ja-JP" altLang="en-US" sz="1245" baseline="30000" dirty="0">
                <a:solidFill>
                  <a:srgbClr val="FF0000"/>
                </a:solidFill>
              </a:rPr>
              <a:t>　</a:t>
            </a:r>
            <a:r>
              <a:rPr lang="ja-JP" altLang="en-US" sz="1149" dirty="0">
                <a:solidFill>
                  <a:srgbClr val="000000"/>
                </a:solidFill>
              </a:rPr>
              <a:t>複数の集落の機能を補完して、農用地保全活動や農業を核とした経済活動と併せて、生活支援等の地域コミュニティの維持に資する取組を行う組織。</a:t>
            </a:r>
            <a:endParaRPr lang="en-US" altLang="ja-JP" sz="1149" dirty="0">
              <a:solidFill>
                <a:srgbClr val="000000"/>
              </a:solidFill>
            </a:endParaRPr>
          </a:p>
          <a:p>
            <a:pPr marL="82068" indent="-82068" defTabSz="875385"/>
            <a:endParaRPr lang="en-US" altLang="ja-JP" sz="1245" dirty="0">
              <a:solidFill>
                <a:srgbClr val="000000"/>
              </a:solidFill>
            </a:endParaRPr>
          </a:p>
          <a:p>
            <a:pPr marL="82068" indent="-82068" defTabSz="875385"/>
            <a:r>
              <a:rPr lang="ja-JP" altLang="en-US" sz="1723" b="1" dirty="0">
                <a:solidFill>
                  <a:srgbClr val="000000"/>
                </a:solidFill>
              </a:rPr>
              <a:t>第３章 国土の刷新に向けた重点テーマ</a:t>
            </a:r>
            <a:endParaRPr lang="en-US" altLang="ja-JP" sz="1723" b="1" dirty="0">
              <a:solidFill>
                <a:srgbClr val="000000"/>
              </a:solidFill>
            </a:endParaRPr>
          </a:p>
          <a:p>
            <a:pPr marL="82068" indent="-82068" defTabSz="875385"/>
            <a:r>
              <a:rPr lang="ja-JP" altLang="en-US" sz="1627" b="1" dirty="0">
                <a:solidFill>
                  <a:srgbClr val="000000"/>
                </a:solidFill>
              </a:rPr>
              <a:t>第１節 デジタルとリアルが融合した地域生活圏の形成</a:t>
            </a:r>
            <a:endParaRPr lang="en-US" altLang="ja-JP" sz="1627" b="1" dirty="0">
              <a:solidFill>
                <a:srgbClr val="000000"/>
              </a:solidFill>
            </a:endParaRPr>
          </a:p>
          <a:p>
            <a:pPr marL="82068" indent="-82068" defTabSz="875385"/>
            <a:r>
              <a:rPr lang="ja-JP" altLang="en-US" sz="1436" b="1" dirty="0">
                <a:solidFill>
                  <a:srgbClr val="000000"/>
                </a:solidFill>
                <a:latin typeface="ＭＳ Ｐゴシック"/>
                <a:ea typeface="ＭＳ Ｐゴシック"/>
              </a:rPr>
              <a:t>３．地域生活圏の形成に向けたエリアの考え方</a:t>
            </a:r>
            <a:endParaRPr lang="en-US" altLang="ja-JP" sz="1436" b="1" dirty="0">
              <a:solidFill>
                <a:srgbClr val="000000"/>
              </a:solidFill>
              <a:latin typeface="ＭＳ Ｐゴシック"/>
              <a:ea typeface="ＭＳ Ｐゴシック"/>
            </a:endParaRPr>
          </a:p>
          <a:p>
            <a:pPr marL="82068" indent="-82068" defTabSz="875385"/>
            <a:r>
              <a:rPr lang="ja-JP" altLang="en-US" sz="1436" b="1" dirty="0">
                <a:solidFill>
                  <a:srgbClr val="000000"/>
                </a:solidFill>
                <a:latin typeface="ＭＳ Ｐゴシック"/>
                <a:ea typeface="ＭＳ Ｐゴシック"/>
              </a:rPr>
              <a:t>（規模の柔軟性） </a:t>
            </a:r>
            <a:endParaRPr lang="en-US" altLang="ja-JP" sz="1436" b="1" dirty="0">
              <a:solidFill>
                <a:srgbClr val="000000"/>
              </a:solidFill>
              <a:latin typeface="ＭＳ Ｐゴシック"/>
              <a:ea typeface="ＭＳ Ｐゴシック"/>
            </a:endParaRPr>
          </a:p>
          <a:p>
            <a:pPr defTabSz="875385"/>
            <a:r>
              <a:rPr lang="ja-JP" altLang="en-US" sz="1436" dirty="0">
                <a:solidFill>
                  <a:srgbClr val="000000"/>
                </a:solidFill>
                <a:latin typeface="ＭＳ Ｐゴシック"/>
                <a:ea typeface="ＭＳ Ｐゴシック"/>
              </a:rPr>
              <a:t>　地域生活圏の形成に向けては、地域の文化的・自然的特性を活かしつつ、生活・経済の実態に応じ地域が主体的にデザインすることが重要である。</a:t>
            </a:r>
          </a:p>
          <a:p>
            <a:pPr defTabSz="875385"/>
            <a:r>
              <a:rPr lang="ja-JP" altLang="en-US" sz="1436" dirty="0">
                <a:solidFill>
                  <a:srgbClr val="000000"/>
                </a:solidFill>
                <a:latin typeface="ＭＳ Ｐゴシック"/>
                <a:ea typeface="ＭＳ Ｐゴシック"/>
              </a:rPr>
              <a:t>　より大きな人口集積で様々な機能をフルセット型でそろえる従来の生活圏の発想にこだわらず、デジタル活用等を図ることにより、より小さな集積でも質の高い機能や活動・サービスの維持・向上が可能となる生活圏の形成を目指す。こうした発想から、リアルな地域空間で日常生活に不可欠なサービスを相当程度維持しうる集積規模の目安として、生活圏内人口 </a:t>
            </a:r>
            <a:r>
              <a:rPr lang="en-US" altLang="ja-JP" sz="1436" dirty="0">
                <a:solidFill>
                  <a:srgbClr val="000000"/>
                </a:solidFill>
                <a:latin typeface="ＭＳ Ｐゴシック"/>
                <a:ea typeface="ＭＳ Ｐゴシック"/>
              </a:rPr>
              <a:t>10 </a:t>
            </a:r>
            <a:r>
              <a:rPr lang="ja-JP" altLang="en-US" sz="1436" dirty="0">
                <a:solidFill>
                  <a:srgbClr val="000000"/>
                </a:solidFill>
                <a:latin typeface="ＭＳ Ｐゴシック"/>
                <a:ea typeface="ＭＳ Ｐゴシック"/>
              </a:rPr>
              <a:t>万人程度以上を想定するが、地域生活圏の人口集積については、厳密に条件設定をするものではなく、あくまで生活・経済の実態に応じて、各種生活サービスの提供に必要な範囲を検討・設定することが重要である。</a:t>
            </a:r>
          </a:p>
          <a:p>
            <a:pPr defTabSz="875385"/>
            <a:r>
              <a:rPr lang="ja-JP" altLang="en-US" sz="1436" dirty="0">
                <a:solidFill>
                  <a:srgbClr val="000000"/>
                </a:solidFill>
                <a:latin typeface="ＭＳ Ｐゴシック"/>
                <a:ea typeface="ＭＳ Ｐゴシック"/>
              </a:rPr>
              <a:t>　こうした発想からの</a:t>
            </a:r>
            <a:r>
              <a:rPr lang="ja-JP" altLang="en-US" sz="1436" b="1" u="sng" dirty="0">
                <a:solidFill>
                  <a:srgbClr val="FF0000"/>
                </a:solidFill>
                <a:latin typeface="ＭＳ Ｐゴシック"/>
                <a:ea typeface="ＭＳ Ｐゴシック"/>
              </a:rPr>
              <a:t>地域生活圏の形成</a:t>
            </a:r>
            <a:r>
              <a:rPr lang="ja-JP" altLang="en-US" sz="1436" u="sng" dirty="0">
                <a:solidFill>
                  <a:srgbClr val="000000"/>
                </a:solidFill>
                <a:latin typeface="ＭＳ Ｐゴシック"/>
                <a:ea typeface="ＭＳ Ｐゴシック"/>
              </a:rPr>
              <a:t>においては、その中での取組もその活動・サービスの内容に応じて、地方の中心都市を拠点とする</a:t>
            </a:r>
            <a:r>
              <a:rPr lang="ja-JP" altLang="en-US" sz="1436" b="1" u="sng" dirty="0">
                <a:solidFill>
                  <a:srgbClr val="FF0000"/>
                </a:solidFill>
                <a:latin typeface="ＭＳ Ｐゴシック"/>
                <a:ea typeface="ＭＳ Ｐゴシック"/>
              </a:rPr>
              <a:t>市町村界を越える広域レベルの取組から</a:t>
            </a:r>
            <a:r>
              <a:rPr lang="ja-JP" altLang="en-US" sz="1436" u="sng" dirty="0">
                <a:solidFill>
                  <a:srgbClr val="000000"/>
                </a:solidFill>
                <a:latin typeface="ＭＳ Ｐゴシック"/>
                <a:ea typeface="ＭＳ Ｐゴシック"/>
              </a:rPr>
              <a:t>、</a:t>
            </a:r>
            <a:r>
              <a:rPr lang="ja-JP" altLang="en-US" sz="1436" b="1" u="sng" dirty="0">
                <a:solidFill>
                  <a:srgbClr val="FF0000"/>
                </a:solidFill>
                <a:latin typeface="ＭＳ Ｐゴシック"/>
                <a:ea typeface="ＭＳ Ｐゴシック"/>
              </a:rPr>
              <a:t>中山間地域における小さな拠点を核とした小規模の取組</a:t>
            </a:r>
            <a:r>
              <a:rPr lang="ja-JP" altLang="en-US" sz="1436" u="sng" dirty="0">
                <a:solidFill>
                  <a:srgbClr val="000000"/>
                </a:solidFill>
                <a:latin typeface="ＭＳ Ｐゴシック"/>
                <a:ea typeface="ＭＳ Ｐゴシック"/>
              </a:rPr>
              <a:t>まで、様々な規模での取組を重層的に包含するものと捉えられる</a:t>
            </a:r>
            <a:r>
              <a:rPr lang="ja-JP" altLang="en-US" sz="1436" dirty="0">
                <a:solidFill>
                  <a:srgbClr val="000000"/>
                </a:solidFill>
                <a:latin typeface="ＭＳ Ｐゴシック"/>
                <a:ea typeface="ＭＳ Ｐゴシック"/>
              </a:rPr>
              <a:t>。</a:t>
            </a:r>
          </a:p>
          <a:p>
            <a:pPr defTabSz="875385"/>
            <a:r>
              <a:rPr lang="ja-JP" altLang="en-US" sz="1436" dirty="0">
                <a:solidFill>
                  <a:srgbClr val="000000"/>
                </a:solidFill>
                <a:latin typeface="ＭＳ Ｐゴシック"/>
                <a:ea typeface="ＭＳ Ｐゴシック"/>
              </a:rPr>
              <a:t>　従来のフルセット主義から脱却し、都市の集積規模等に応じて、各種生活サービス提供の機能・役割を分担・連携していくことが重要となる。</a:t>
            </a:r>
          </a:p>
        </p:txBody>
      </p:sp>
      <p:sp>
        <p:nvSpPr>
          <p:cNvPr id="2" name="正方形/長方形 1">
            <a:extLst>
              <a:ext uri="{FF2B5EF4-FFF2-40B4-BE49-F238E27FC236}">
                <a16:creationId xmlns:a16="http://schemas.microsoft.com/office/drawing/2014/main" id="{EB352E7B-6E30-43A7-3B6E-45BA7394FB7E}"/>
              </a:ext>
            </a:extLst>
          </p:cNvPr>
          <p:cNvSpPr/>
          <p:nvPr/>
        </p:nvSpPr>
        <p:spPr>
          <a:xfrm>
            <a:off x="9988993" y="405856"/>
            <a:ext cx="2369252" cy="1268145"/>
          </a:xfrm>
          <a:prstGeom prst="rect">
            <a:avLst/>
          </a:prstGeom>
          <a:solidFill>
            <a:srgbClr val="FF66CC"/>
          </a:solidFill>
        </p:spPr>
        <p:style>
          <a:lnRef idx="0">
            <a:schemeClr val="accent2"/>
          </a:lnRef>
          <a:fillRef idx="3">
            <a:schemeClr val="accent2"/>
          </a:fillRef>
          <a:effectRef idx="3">
            <a:schemeClr val="accent2"/>
          </a:effectRef>
          <a:fontRef idx="minor">
            <a:schemeClr val="lt1"/>
          </a:fontRef>
        </p:style>
        <p:txBody>
          <a:bodyPr rtlCol="0" anchor="ctr"/>
          <a:lstStyle/>
          <a:p>
            <a:pPr algn="ctr" defTabSz="808068" fontAlgn="auto">
              <a:spcBef>
                <a:spcPts val="0"/>
              </a:spcBef>
              <a:spcAft>
                <a:spcPts val="0"/>
              </a:spcAft>
              <a:defRPr/>
            </a:pPr>
            <a:r>
              <a:rPr lang="ja-JP" altLang="en-US" sz="1767" b="1" dirty="0">
                <a:solidFill>
                  <a:srgbClr val="FFFFFF"/>
                </a:solidFill>
                <a:latin typeface="Arial"/>
                <a:ea typeface="ＭＳ Ｐゴシック"/>
              </a:rPr>
              <a:t>とりあえず「小さな拠点」が記載されている部分を引用し、下線を追加したもの</a:t>
            </a:r>
          </a:p>
        </p:txBody>
      </p:sp>
      <p:sp>
        <p:nvSpPr>
          <p:cNvPr id="4" name="フッター プレースホルダー 3">
            <a:extLst>
              <a:ext uri="{FF2B5EF4-FFF2-40B4-BE49-F238E27FC236}">
                <a16:creationId xmlns:a16="http://schemas.microsoft.com/office/drawing/2014/main" id="{EF10919C-73C8-D278-9397-8C0E96EEE8FD}"/>
              </a:ext>
            </a:extLst>
          </p:cNvPr>
          <p:cNvSpPr>
            <a:spLocks noGrp="1"/>
          </p:cNvSpPr>
          <p:nvPr>
            <p:ph type="ftr" sz="quarter" idx="11"/>
          </p:nvPr>
        </p:nvSpPr>
        <p:spPr/>
        <p:txBody>
          <a:bodyPr/>
          <a:lstStyle/>
          <a:p>
            <a:endParaRPr lang="en-US" altLang="ja-JP">
              <a:solidFill>
                <a:srgbClr val="000000"/>
              </a:solidFill>
            </a:endParaRPr>
          </a:p>
        </p:txBody>
      </p:sp>
      <p:sp>
        <p:nvSpPr>
          <p:cNvPr id="6" name="スライド番号プレースホルダー 5">
            <a:extLst>
              <a:ext uri="{FF2B5EF4-FFF2-40B4-BE49-F238E27FC236}">
                <a16:creationId xmlns:a16="http://schemas.microsoft.com/office/drawing/2014/main" id="{D7125DC3-7F2E-451B-0242-69C49E635235}"/>
              </a:ext>
            </a:extLst>
          </p:cNvPr>
          <p:cNvSpPr>
            <a:spLocks noGrp="1"/>
          </p:cNvSpPr>
          <p:nvPr>
            <p:ph type="sldNum" sz="quarter" idx="12"/>
          </p:nvPr>
        </p:nvSpPr>
        <p:spPr/>
        <p:txBody>
          <a:bodyPr/>
          <a:lstStyle/>
          <a:p>
            <a:fld id="{0E455E4F-1C3C-4418-94C1-62F004438B6B}" type="slidenum">
              <a:rPr lang="en-US" altLang="ja-JP" smtClean="0">
                <a:solidFill>
                  <a:srgbClr val="000000"/>
                </a:solidFill>
              </a:rPr>
              <a:pPr/>
              <a:t>26</a:t>
            </a:fld>
            <a:endParaRPr lang="en-US" altLang="ja-JP">
              <a:solidFill>
                <a:srgbClr val="000000"/>
              </a:solidFill>
            </a:endParaRPr>
          </a:p>
        </p:txBody>
      </p:sp>
    </p:spTree>
    <p:extLst>
      <p:ext uri="{BB962C8B-B14F-4D97-AF65-F5344CB8AC3E}">
        <p14:creationId xmlns:p14="http://schemas.microsoft.com/office/powerpoint/2010/main" val="16485442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807CCB2D-AF24-B0AE-7610-B2F1B3781AE0}"/>
              </a:ext>
            </a:extLst>
          </p:cNvPr>
          <p:cNvSpPr>
            <a:spLocks noGrp="1"/>
          </p:cNvSpPr>
          <p:nvPr>
            <p:ph type="sldNum" sz="quarter" idx="12"/>
          </p:nvPr>
        </p:nvSpPr>
        <p:spPr/>
        <p:txBody>
          <a:bodyPr/>
          <a:lstStyle/>
          <a:p>
            <a:pPr defTabSz="875385"/>
            <a:fld id="{0E455E4F-1C3C-4418-94C1-62F004438B6B}" type="slidenum">
              <a:rPr lang="en-US" altLang="ja-JP">
                <a:solidFill>
                  <a:srgbClr val="000000"/>
                </a:solidFill>
              </a:rPr>
              <a:pPr defTabSz="875385"/>
              <a:t>27</a:t>
            </a:fld>
            <a:endParaRPr lang="en-US" altLang="ja-JP">
              <a:solidFill>
                <a:srgbClr val="000000"/>
              </a:solidFill>
            </a:endParaRPr>
          </a:p>
        </p:txBody>
      </p:sp>
      <p:sp>
        <p:nvSpPr>
          <p:cNvPr id="3" name="テキスト ボックス 2">
            <a:extLst>
              <a:ext uri="{FF2B5EF4-FFF2-40B4-BE49-F238E27FC236}">
                <a16:creationId xmlns:a16="http://schemas.microsoft.com/office/drawing/2014/main" id="{37DE8A0B-894A-927E-6808-58FDB958AE4A}"/>
              </a:ext>
            </a:extLst>
          </p:cNvPr>
          <p:cNvSpPr txBox="1"/>
          <p:nvPr/>
        </p:nvSpPr>
        <p:spPr>
          <a:xfrm>
            <a:off x="211492" y="165695"/>
            <a:ext cx="7754076" cy="445828"/>
          </a:xfrm>
          <a:prstGeom prst="rect">
            <a:avLst/>
          </a:prstGeom>
          <a:noFill/>
        </p:spPr>
        <p:txBody>
          <a:bodyPr wrap="square" rtlCol="0">
            <a:spAutoFit/>
          </a:bodyPr>
          <a:lstStyle/>
          <a:p>
            <a:pPr defTabSz="875385"/>
            <a:r>
              <a:rPr lang="ja-JP" altLang="en-US" sz="2297" dirty="0">
                <a:solidFill>
                  <a:srgbClr val="0070C0"/>
                </a:solidFill>
                <a:latin typeface="HGP創英角ｺﾞｼｯｸUB"/>
                <a:ea typeface="HGP創英角ｺﾞｼｯｸUB"/>
              </a:rPr>
              <a:t>国土形成計画（全国計画）パンフレットより</a:t>
            </a:r>
          </a:p>
        </p:txBody>
      </p:sp>
      <p:pic>
        <p:nvPicPr>
          <p:cNvPr id="5" name="図 4">
            <a:extLst>
              <a:ext uri="{FF2B5EF4-FFF2-40B4-BE49-F238E27FC236}">
                <a16:creationId xmlns:a16="http://schemas.microsoft.com/office/drawing/2014/main" id="{BAF2459F-1D2A-9B6E-82A4-5F47A938CA42}"/>
              </a:ext>
            </a:extLst>
          </p:cNvPr>
          <p:cNvPicPr>
            <a:picLocks noChangeAspect="1"/>
          </p:cNvPicPr>
          <p:nvPr/>
        </p:nvPicPr>
        <p:blipFill>
          <a:blip r:embed="rId2"/>
          <a:stretch>
            <a:fillRect/>
          </a:stretch>
        </p:blipFill>
        <p:spPr>
          <a:xfrm>
            <a:off x="1507094" y="777875"/>
            <a:ext cx="7196460" cy="6479682"/>
          </a:xfrm>
          <a:prstGeom prst="rect">
            <a:avLst/>
          </a:prstGeom>
        </p:spPr>
      </p:pic>
      <p:sp>
        <p:nvSpPr>
          <p:cNvPr id="4" name="正方形/長方形 3">
            <a:extLst>
              <a:ext uri="{FF2B5EF4-FFF2-40B4-BE49-F238E27FC236}">
                <a16:creationId xmlns:a16="http://schemas.microsoft.com/office/drawing/2014/main" id="{14BE3D19-79E4-4976-87AE-9F46E6149F27}"/>
              </a:ext>
            </a:extLst>
          </p:cNvPr>
          <p:cNvSpPr/>
          <p:nvPr/>
        </p:nvSpPr>
        <p:spPr>
          <a:xfrm>
            <a:off x="9988993" y="433211"/>
            <a:ext cx="2369252" cy="1723319"/>
          </a:xfrm>
          <a:prstGeom prst="rect">
            <a:avLst/>
          </a:prstGeom>
          <a:solidFill>
            <a:srgbClr val="FF66CC"/>
          </a:solidFill>
        </p:spPr>
        <p:style>
          <a:lnRef idx="0">
            <a:schemeClr val="accent2"/>
          </a:lnRef>
          <a:fillRef idx="3">
            <a:schemeClr val="accent2"/>
          </a:fillRef>
          <a:effectRef idx="3">
            <a:schemeClr val="accent2"/>
          </a:effectRef>
          <a:fontRef idx="minor">
            <a:schemeClr val="lt1"/>
          </a:fontRef>
        </p:style>
        <p:txBody>
          <a:bodyPr rtlCol="0" anchor="ctr"/>
          <a:lstStyle/>
          <a:p>
            <a:pPr algn="ctr" defTabSz="808068" fontAlgn="auto">
              <a:spcBef>
                <a:spcPts val="0"/>
              </a:spcBef>
              <a:spcAft>
                <a:spcPts val="0"/>
              </a:spcAft>
              <a:defRPr/>
            </a:pPr>
            <a:r>
              <a:rPr lang="ja-JP" altLang="en-US" sz="1767" b="1" dirty="0">
                <a:solidFill>
                  <a:srgbClr val="FFFFFF"/>
                </a:solidFill>
                <a:latin typeface="Arial"/>
                <a:ea typeface="ＭＳ Ｐゴシック"/>
              </a:rPr>
              <a:t>前スライド</a:t>
            </a:r>
            <a:r>
              <a:rPr lang="en-US" altLang="ja-JP" sz="1767" b="1" dirty="0">
                <a:solidFill>
                  <a:srgbClr val="FFFFFF"/>
                </a:solidFill>
                <a:latin typeface="Arial"/>
                <a:ea typeface="ＭＳ Ｐゴシック"/>
              </a:rPr>
              <a:t>(</a:t>
            </a:r>
            <a:r>
              <a:rPr lang="ja-JP" altLang="en-US" sz="1767" b="1" dirty="0">
                <a:solidFill>
                  <a:srgbClr val="FFFFFF"/>
                </a:solidFill>
                <a:latin typeface="Arial"/>
                <a:ea typeface="ＭＳ Ｐゴシック"/>
              </a:rPr>
              <a:t>２次計画リーフレット引用</a:t>
            </a:r>
            <a:r>
              <a:rPr lang="en-US" altLang="ja-JP" sz="1767" b="1" dirty="0">
                <a:solidFill>
                  <a:srgbClr val="FFFFFF"/>
                </a:solidFill>
                <a:latin typeface="Arial"/>
                <a:ea typeface="ＭＳ Ｐゴシック"/>
              </a:rPr>
              <a:t>)</a:t>
            </a:r>
            <a:r>
              <a:rPr lang="ja-JP" altLang="en-US" sz="1767" b="1" dirty="0">
                <a:solidFill>
                  <a:srgbClr val="FFFFFF"/>
                </a:solidFill>
                <a:latin typeface="Arial"/>
                <a:ea typeface="ＭＳ Ｐゴシック"/>
              </a:rPr>
              <a:t>の更新として３次計画パンフレットから小さな拠点が出ている部分を引用したもの</a:t>
            </a:r>
          </a:p>
        </p:txBody>
      </p:sp>
      <p:sp>
        <p:nvSpPr>
          <p:cNvPr id="6" name="フッター プレースホルダー 5">
            <a:extLst>
              <a:ext uri="{FF2B5EF4-FFF2-40B4-BE49-F238E27FC236}">
                <a16:creationId xmlns:a16="http://schemas.microsoft.com/office/drawing/2014/main" id="{5F57ACA4-94FA-B2E9-5563-A459A7AE6653}"/>
              </a:ext>
            </a:extLst>
          </p:cNvPr>
          <p:cNvSpPr>
            <a:spLocks noGrp="1"/>
          </p:cNvSpPr>
          <p:nvPr>
            <p:ph type="ftr" sz="quarter" idx="11"/>
          </p:nvPr>
        </p:nvSpPr>
        <p:spPr/>
        <p:txBody>
          <a:bodyPr/>
          <a:lstStyle/>
          <a:p>
            <a:endParaRPr lang="en-US" altLang="ja-JP">
              <a:solidFill>
                <a:srgbClr val="000000"/>
              </a:solidFill>
            </a:endParaRPr>
          </a:p>
        </p:txBody>
      </p:sp>
    </p:spTree>
    <p:extLst>
      <p:ext uri="{BB962C8B-B14F-4D97-AF65-F5344CB8AC3E}">
        <p14:creationId xmlns:p14="http://schemas.microsoft.com/office/powerpoint/2010/main" val="4237755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直線矢印コネクタ 27"/>
          <p:cNvCxnSpPr/>
          <p:nvPr/>
        </p:nvCxnSpPr>
        <p:spPr>
          <a:xfrm flipH="1">
            <a:off x="8552606" y="3179230"/>
            <a:ext cx="34622" cy="4373028"/>
          </a:xfrm>
          <a:prstGeom prst="straightConnector1">
            <a:avLst/>
          </a:prstGeom>
          <a:ln w="50800">
            <a:solidFill>
              <a:srgbClr val="3333CC"/>
            </a:solidFill>
            <a:tailEnd type="triangle"/>
          </a:ln>
        </p:spPr>
        <p:style>
          <a:lnRef idx="1">
            <a:schemeClr val="accent1"/>
          </a:lnRef>
          <a:fillRef idx="0">
            <a:schemeClr val="accent1"/>
          </a:fillRef>
          <a:effectRef idx="0">
            <a:schemeClr val="accent1"/>
          </a:effectRef>
          <a:fontRef idx="minor">
            <a:schemeClr val="tx1"/>
          </a:fontRef>
        </p:style>
      </p:cxnSp>
      <p:sp>
        <p:nvSpPr>
          <p:cNvPr id="3" name="テキスト ボックス 2"/>
          <p:cNvSpPr txBox="1"/>
          <p:nvPr/>
        </p:nvSpPr>
        <p:spPr>
          <a:xfrm>
            <a:off x="0" y="0"/>
            <a:ext cx="7883943" cy="461665"/>
          </a:xfrm>
          <a:prstGeom prst="rect">
            <a:avLst/>
          </a:prstGeom>
          <a:noFill/>
        </p:spPr>
        <p:txBody>
          <a:bodyPr wrap="square" rtlCol="0">
            <a:spAutoFit/>
          </a:bodyPr>
          <a:lstStyle/>
          <a:p>
            <a:r>
              <a:rPr lang="ja-JP" altLang="en-US" sz="2400" dirty="0">
                <a:solidFill>
                  <a:srgbClr val="0070C0"/>
                </a:solidFill>
                <a:latin typeface="HGP創英角ｺﾞｼｯｸUB"/>
                <a:ea typeface="HGP創英角ｺﾞｼｯｸUB"/>
              </a:rPr>
              <a:t>政府の計画における「小さな拠点」の位置付け</a:t>
            </a:r>
          </a:p>
        </p:txBody>
      </p:sp>
      <p:cxnSp>
        <p:nvCxnSpPr>
          <p:cNvPr id="7" name="直線矢印コネクタ 6"/>
          <p:cNvCxnSpPr/>
          <p:nvPr/>
        </p:nvCxnSpPr>
        <p:spPr>
          <a:xfrm>
            <a:off x="896405" y="837999"/>
            <a:ext cx="23353" cy="6660849"/>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p:cNvSpPr txBox="1"/>
          <p:nvPr/>
        </p:nvSpPr>
        <p:spPr>
          <a:xfrm>
            <a:off x="67487" y="927522"/>
            <a:ext cx="4509568" cy="906022"/>
          </a:xfrm>
          <a:prstGeom prst="rect">
            <a:avLst/>
          </a:prstGeom>
          <a:solidFill>
            <a:schemeClr val="bg1"/>
          </a:solidFill>
        </p:spPr>
        <p:txBody>
          <a:bodyPr wrap="none" tIns="0" bIns="38994" rtlCol="0">
            <a:spAutoFit/>
          </a:bodyPr>
          <a:lstStyle/>
          <a:p>
            <a:r>
              <a:rPr lang="ja-JP" altLang="en-US" sz="2600" dirty="0">
                <a:solidFill>
                  <a:srgbClr val="000000"/>
                </a:solidFill>
                <a:latin typeface="ＭＳ Ｐゴシック"/>
                <a:ea typeface="ＭＳ Ｐゴシック"/>
              </a:rPr>
              <a:t>○国土のグランドデザイン</a:t>
            </a:r>
            <a:r>
              <a:rPr lang="en-US" altLang="ja-JP" sz="2600" dirty="0">
                <a:solidFill>
                  <a:srgbClr val="000000"/>
                </a:solidFill>
                <a:latin typeface="ＭＳ Ｐゴシック"/>
                <a:ea typeface="ＭＳ Ｐゴシック"/>
              </a:rPr>
              <a:t>2050</a:t>
            </a:r>
          </a:p>
          <a:p>
            <a:r>
              <a:rPr lang="ja-JP" altLang="en-US" sz="1516" dirty="0">
                <a:solidFill>
                  <a:srgbClr val="000000"/>
                </a:solidFill>
                <a:latin typeface="ＭＳ Ｐゴシック"/>
                <a:ea typeface="ＭＳ Ｐゴシック"/>
              </a:rPr>
              <a:t>　　（国土交通省　</a:t>
            </a:r>
            <a:r>
              <a:rPr lang="en-US" altLang="ja-JP" sz="1516" dirty="0">
                <a:solidFill>
                  <a:srgbClr val="000000"/>
                </a:solidFill>
                <a:latin typeface="ＭＳ Ｐゴシック"/>
                <a:ea typeface="ＭＳ Ｐゴシック"/>
              </a:rPr>
              <a:t>H26.7</a:t>
            </a:r>
            <a:r>
              <a:rPr lang="ja-JP" altLang="en-US" sz="1516" dirty="0">
                <a:solidFill>
                  <a:srgbClr val="000000"/>
                </a:solidFill>
                <a:latin typeface="ＭＳ Ｐゴシック"/>
                <a:ea typeface="ＭＳ Ｐゴシック"/>
              </a:rPr>
              <a:t>）</a:t>
            </a:r>
            <a:endParaRPr lang="en-US" altLang="ja-JP" sz="1516" dirty="0">
              <a:solidFill>
                <a:srgbClr val="000000"/>
              </a:solidFill>
              <a:latin typeface="ＭＳ Ｐゴシック"/>
              <a:ea typeface="ＭＳ Ｐゴシック"/>
            </a:endParaRPr>
          </a:p>
          <a:p>
            <a:r>
              <a:rPr lang="ja-JP" altLang="en-US" sz="1516" b="1" dirty="0">
                <a:solidFill>
                  <a:srgbClr val="C00000"/>
                </a:solidFill>
              </a:rPr>
              <a:t>　　　　「小さな拠点」の形成推進</a:t>
            </a:r>
            <a:endParaRPr lang="en-US" altLang="ja-JP" sz="1516" dirty="0">
              <a:solidFill>
                <a:srgbClr val="000000"/>
              </a:solidFill>
              <a:latin typeface="ＭＳ Ｐゴシック"/>
              <a:ea typeface="ＭＳ Ｐゴシック"/>
            </a:endParaRPr>
          </a:p>
        </p:txBody>
      </p:sp>
      <p:cxnSp>
        <p:nvCxnSpPr>
          <p:cNvPr id="26" name="直線矢印コネクタ 25"/>
          <p:cNvCxnSpPr/>
          <p:nvPr/>
        </p:nvCxnSpPr>
        <p:spPr>
          <a:xfrm>
            <a:off x="4628499" y="1071988"/>
            <a:ext cx="35675" cy="6480270"/>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テキスト ボックス 26"/>
          <p:cNvSpPr txBox="1"/>
          <p:nvPr/>
        </p:nvSpPr>
        <p:spPr>
          <a:xfrm>
            <a:off x="144813" y="5320010"/>
            <a:ext cx="2518638" cy="439484"/>
          </a:xfrm>
          <a:prstGeom prst="rect">
            <a:avLst/>
          </a:prstGeom>
          <a:solidFill>
            <a:schemeClr val="bg1"/>
          </a:solidFill>
        </p:spPr>
        <p:txBody>
          <a:bodyPr wrap="none" tIns="0" bIns="38994" rtlCol="0">
            <a:spAutoFit/>
          </a:bodyPr>
          <a:lstStyle/>
          <a:p>
            <a:r>
              <a:rPr lang="ja-JP" altLang="en-US" sz="2600" dirty="0">
                <a:solidFill>
                  <a:srgbClr val="000000"/>
                </a:solidFill>
                <a:latin typeface="ＭＳ Ｐゴシック"/>
                <a:ea typeface="ＭＳ Ｐゴシック"/>
              </a:rPr>
              <a:t>○</a:t>
            </a:r>
            <a:r>
              <a:rPr lang="zh-CN" altLang="en-US" sz="2600" dirty="0">
                <a:solidFill>
                  <a:srgbClr val="000000"/>
                </a:solidFill>
                <a:latin typeface="ＭＳ Ｐゴシック"/>
                <a:ea typeface="ＭＳ Ｐゴシック"/>
              </a:rPr>
              <a:t>広域地方計画</a:t>
            </a:r>
            <a:endParaRPr lang="en-US" altLang="zh-CN" sz="2600" dirty="0">
              <a:solidFill>
                <a:srgbClr val="000000"/>
              </a:solidFill>
              <a:latin typeface="ＭＳ Ｐゴシック"/>
              <a:ea typeface="ＭＳ Ｐゴシック"/>
            </a:endParaRPr>
          </a:p>
        </p:txBody>
      </p:sp>
      <p:sp>
        <p:nvSpPr>
          <p:cNvPr id="14" name="テキスト ボックス 13"/>
          <p:cNvSpPr txBox="1"/>
          <p:nvPr/>
        </p:nvSpPr>
        <p:spPr>
          <a:xfrm>
            <a:off x="97424" y="3663826"/>
            <a:ext cx="4185761" cy="906022"/>
          </a:xfrm>
          <a:prstGeom prst="rect">
            <a:avLst/>
          </a:prstGeom>
          <a:solidFill>
            <a:schemeClr val="bg1"/>
          </a:solidFill>
          <a:ln>
            <a:noFill/>
          </a:ln>
        </p:spPr>
        <p:txBody>
          <a:bodyPr wrap="none" tIns="0" bIns="38994" rtlCol="0">
            <a:spAutoFit/>
          </a:bodyPr>
          <a:lstStyle/>
          <a:p>
            <a:r>
              <a:rPr lang="ja-JP" altLang="en-US" sz="2600" dirty="0">
                <a:solidFill>
                  <a:srgbClr val="000000"/>
                </a:solidFill>
                <a:latin typeface="ＭＳ Ｐゴシック"/>
                <a:ea typeface="ＭＳ Ｐゴシック"/>
              </a:rPr>
              <a:t>○</a:t>
            </a:r>
            <a:r>
              <a:rPr lang="zh-CN" altLang="en-US" sz="2600" dirty="0">
                <a:solidFill>
                  <a:srgbClr val="000000"/>
                </a:solidFill>
                <a:latin typeface="ＭＳ Ｐゴシック"/>
                <a:ea typeface="ＭＳ Ｐゴシック"/>
              </a:rPr>
              <a:t>国土形成計画（全国計画）</a:t>
            </a:r>
            <a:endParaRPr lang="en-US" altLang="zh-CN" sz="2600" dirty="0">
              <a:solidFill>
                <a:srgbClr val="000000"/>
              </a:solidFill>
              <a:latin typeface="ＭＳ Ｐゴシック"/>
              <a:ea typeface="ＭＳ Ｐゴシック"/>
            </a:endParaRPr>
          </a:p>
          <a:p>
            <a:r>
              <a:rPr lang="ja-JP" altLang="en-US" sz="1516" dirty="0">
                <a:solidFill>
                  <a:srgbClr val="000000"/>
                </a:solidFill>
                <a:latin typeface="ＭＳ Ｐゴシック"/>
                <a:ea typeface="ＭＳ Ｐゴシック"/>
              </a:rPr>
              <a:t>　　（</a:t>
            </a:r>
            <a:r>
              <a:rPr lang="zh-TW" altLang="en-US" sz="1516" dirty="0">
                <a:solidFill>
                  <a:srgbClr val="000000"/>
                </a:solidFill>
                <a:latin typeface="ＭＳ Ｐゴシック"/>
                <a:ea typeface="ＭＳ Ｐゴシック"/>
              </a:rPr>
              <a:t>平成</a:t>
            </a:r>
            <a:r>
              <a:rPr lang="en-US" altLang="zh-TW" sz="1516" dirty="0">
                <a:solidFill>
                  <a:srgbClr val="000000"/>
                </a:solidFill>
                <a:latin typeface="ＭＳ Ｐゴシック"/>
                <a:ea typeface="ＭＳ Ｐゴシック"/>
              </a:rPr>
              <a:t>27</a:t>
            </a:r>
            <a:r>
              <a:rPr lang="zh-TW" altLang="en-US" sz="1516" dirty="0">
                <a:solidFill>
                  <a:srgbClr val="000000"/>
                </a:solidFill>
                <a:latin typeface="ＭＳ Ｐゴシック"/>
                <a:ea typeface="ＭＳ Ｐゴシック"/>
              </a:rPr>
              <a:t>年</a:t>
            </a:r>
            <a:r>
              <a:rPr lang="en-US" altLang="zh-TW" sz="1516" dirty="0">
                <a:solidFill>
                  <a:srgbClr val="000000"/>
                </a:solidFill>
                <a:latin typeface="ＭＳ Ｐゴシック"/>
                <a:ea typeface="ＭＳ Ｐゴシック"/>
              </a:rPr>
              <a:t>8</a:t>
            </a:r>
            <a:r>
              <a:rPr lang="zh-TW" altLang="en-US" sz="1516" dirty="0">
                <a:solidFill>
                  <a:srgbClr val="000000"/>
                </a:solidFill>
                <a:latin typeface="ＭＳ Ｐゴシック"/>
                <a:ea typeface="ＭＳ Ｐゴシック"/>
              </a:rPr>
              <a:t>月</a:t>
            </a:r>
            <a:r>
              <a:rPr lang="en-US" altLang="zh-TW" sz="1516" dirty="0">
                <a:solidFill>
                  <a:srgbClr val="000000"/>
                </a:solidFill>
                <a:latin typeface="ＭＳ Ｐゴシック"/>
                <a:ea typeface="ＭＳ Ｐゴシック"/>
              </a:rPr>
              <a:t>14</a:t>
            </a:r>
            <a:r>
              <a:rPr lang="zh-TW" altLang="en-US" sz="1516" dirty="0">
                <a:solidFill>
                  <a:srgbClr val="000000"/>
                </a:solidFill>
                <a:latin typeface="ＭＳ Ｐゴシック"/>
                <a:ea typeface="ＭＳ Ｐゴシック"/>
              </a:rPr>
              <a:t>日</a:t>
            </a:r>
            <a:r>
              <a:rPr lang="ja-JP" altLang="en-US" sz="1516" dirty="0">
                <a:solidFill>
                  <a:srgbClr val="000000"/>
                </a:solidFill>
                <a:latin typeface="ＭＳ Ｐゴシック"/>
                <a:ea typeface="ＭＳ Ｐゴシック"/>
              </a:rPr>
              <a:t>閣議決定）</a:t>
            </a:r>
            <a:endParaRPr lang="en-US" altLang="ja-JP" sz="1516" dirty="0">
              <a:solidFill>
                <a:srgbClr val="000000"/>
              </a:solidFill>
              <a:latin typeface="ＭＳ Ｐゴシック"/>
              <a:ea typeface="ＭＳ Ｐゴシック"/>
            </a:endParaRPr>
          </a:p>
          <a:p>
            <a:r>
              <a:rPr lang="ja-JP" altLang="en-US" sz="1516" dirty="0"/>
              <a:t>　　　</a:t>
            </a:r>
            <a:r>
              <a:rPr lang="ja-JP" altLang="en-US" sz="1516" b="1" dirty="0">
                <a:solidFill>
                  <a:srgbClr val="C00000"/>
                </a:solidFill>
              </a:rPr>
              <a:t>集落地域における小さな拠点の形成</a:t>
            </a:r>
            <a:endParaRPr lang="ja-JP" altLang="en-US" sz="1516" b="1" dirty="0">
              <a:solidFill>
                <a:srgbClr val="C00000"/>
              </a:solidFill>
              <a:latin typeface="ＭＳ Ｐゴシック"/>
              <a:ea typeface="ＭＳ Ｐゴシック"/>
            </a:endParaRPr>
          </a:p>
        </p:txBody>
      </p:sp>
      <p:sp>
        <p:nvSpPr>
          <p:cNvPr id="15" name="テキスト ボックス 14"/>
          <p:cNvSpPr txBox="1"/>
          <p:nvPr/>
        </p:nvSpPr>
        <p:spPr>
          <a:xfrm>
            <a:off x="3079998" y="1359570"/>
            <a:ext cx="6793288" cy="608761"/>
          </a:xfrm>
          <a:prstGeom prst="rect">
            <a:avLst/>
          </a:prstGeom>
          <a:solidFill>
            <a:schemeClr val="bg1"/>
          </a:solidFill>
        </p:spPr>
        <p:txBody>
          <a:bodyPr wrap="square" tIns="0" bIns="38994" rtlCol="0">
            <a:spAutoFit/>
          </a:bodyPr>
          <a:lstStyle/>
          <a:p>
            <a:r>
              <a:rPr lang="ja-JP" altLang="en-US" sz="2400" dirty="0">
                <a:solidFill>
                  <a:srgbClr val="000000"/>
                </a:solidFill>
                <a:latin typeface="ＭＳ Ｐゴシック"/>
                <a:ea typeface="ＭＳ Ｐゴシック"/>
              </a:rPr>
              <a:t>○基本方針（</a:t>
            </a:r>
            <a:r>
              <a:rPr lang="ja-JP" altLang="en-US" sz="1300" dirty="0">
                <a:latin typeface="+mn-ea"/>
                <a:ea typeface="+mn-ea"/>
              </a:rPr>
              <a:t>平成</a:t>
            </a:r>
            <a:r>
              <a:rPr lang="en-US" altLang="ja-JP" sz="1300" dirty="0">
                <a:latin typeface="+mn-ea"/>
                <a:ea typeface="+mn-ea"/>
              </a:rPr>
              <a:t>26</a:t>
            </a:r>
            <a:r>
              <a:rPr lang="ja-JP" altLang="en-US" sz="1300" dirty="0">
                <a:latin typeface="+mn-ea"/>
                <a:ea typeface="+mn-ea"/>
              </a:rPr>
              <a:t>年</a:t>
            </a:r>
            <a:r>
              <a:rPr lang="en-US" altLang="ja-JP" sz="1300" dirty="0">
                <a:latin typeface="+mn-ea"/>
                <a:ea typeface="+mn-ea"/>
              </a:rPr>
              <a:t>9</a:t>
            </a:r>
            <a:r>
              <a:rPr lang="ja-JP" altLang="en-US" sz="1300" dirty="0">
                <a:latin typeface="+mn-ea"/>
                <a:ea typeface="+mn-ea"/>
              </a:rPr>
              <a:t>月</a:t>
            </a:r>
            <a:r>
              <a:rPr lang="en-US" altLang="ja-JP" sz="1300" dirty="0">
                <a:latin typeface="+mn-ea"/>
                <a:ea typeface="+mn-ea"/>
              </a:rPr>
              <a:t>12</a:t>
            </a:r>
            <a:r>
              <a:rPr lang="ja-JP" altLang="en-US" sz="1300" dirty="0"/>
              <a:t>日まち・ひと・しごと創生本部決定 </a:t>
            </a:r>
            <a:r>
              <a:rPr lang="ja-JP" altLang="en-US" sz="1300" dirty="0">
                <a:solidFill>
                  <a:srgbClr val="000000"/>
                </a:solidFill>
                <a:latin typeface="ＭＳ Ｐゴシック"/>
                <a:ea typeface="ＭＳ Ｐゴシック"/>
              </a:rPr>
              <a:t>）</a:t>
            </a:r>
            <a:endParaRPr lang="en-US" altLang="ja-JP" sz="1300" dirty="0">
              <a:solidFill>
                <a:srgbClr val="000000"/>
              </a:solidFill>
              <a:latin typeface="ＭＳ Ｐゴシック"/>
              <a:ea typeface="ＭＳ Ｐゴシック"/>
            </a:endParaRPr>
          </a:p>
          <a:p>
            <a:r>
              <a:rPr lang="ja-JP" altLang="en-US" sz="1300" b="1" dirty="0">
                <a:solidFill>
                  <a:srgbClr val="C00000"/>
                </a:solidFill>
                <a:latin typeface="ＭＳ Ｐゴシック"/>
                <a:ea typeface="ＭＳ Ｐゴシック"/>
              </a:rPr>
              <a:t>小さな拠点における制度縦割りを排除した「多世代交流・多機能型」の生活サービス支援を推進</a:t>
            </a:r>
          </a:p>
        </p:txBody>
      </p:sp>
      <p:sp>
        <p:nvSpPr>
          <p:cNvPr id="17" name="テキスト ボックス 16"/>
          <p:cNvSpPr txBox="1"/>
          <p:nvPr/>
        </p:nvSpPr>
        <p:spPr>
          <a:xfrm>
            <a:off x="3079998" y="2223666"/>
            <a:ext cx="6824416" cy="608761"/>
          </a:xfrm>
          <a:prstGeom prst="rect">
            <a:avLst/>
          </a:prstGeom>
          <a:solidFill>
            <a:schemeClr val="bg1"/>
          </a:solidFill>
        </p:spPr>
        <p:txBody>
          <a:bodyPr wrap="square" tIns="0" bIns="38994" rtlCol="0">
            <a:spAutoFit/>
          </a:bodyPr>
          <a:lstStyle/>
          <a:p>
            <a:r>
              <a:rPr lang="ja-JP" altLang="en-US" sz="2400" dirty="0">
                <a:solidFill>
                  <a:srgbClr val="000000"/>
                </a:solidFill>
                <a:latin typeface="ＭＳ Ｐゴシック"/>
                <a:ea typeface="ＭＳ Ｐゴシック"/>
              </a:rPr>
              <a:t>○まち・ひと・しごと創生総合戦略</a:t>
            </a:r>
            <a:r>
              <a:rPr lang="ja-JP" altLang="en-US" sz="1400" dirty="0">
                <a:solidFill>
                  <a:srgbClr val="000000"/>
                </a:solidFill>
                <a:latin typeface="ＭＳ Ｐゴシック"/>
                <a:ea typeface="ＭＳ Ｐゴシック"/>
              </a:rPr>
              <a:t>（</a:t>
            </a:r>
            <a:r>
              <a:rPr lang="zh-TW" altLang="en-US" sz="1400" dirty="0">
                <a:solidFill>
                  <a:srgbClr val="000000"/>
                </a:solidFill>
                <a:latin typeface="ＭＳ Ｐゴシック"/>
                <a:ea typeface="ＭＳ Ｐゴシック"/>
              </a:rPr>
              <a:t>平成</a:t>
            </a:r>
            <a:r>
              <a:rPr lang="en-US" altLang="zh-TW" sz="1400" dirty="0">
                <a:solidFill>
                  <a:srgbClr val="000000"/>
                </a:solidFill>
                <a:latin typeface="ＭＳ Ｐゴシック"/>
                <a:ea typeface="ＭＳ Ｐゴシック"/>
              </a:rPr>
              <a:t>26</a:t>
            </a:r>
            <a:r>
              <a:rPr lang="zh-TW" altLang="en-US" sz="1400" dirty="0">
                <a:solidFill>
                  <a:srgbClr val="000000"/>
                </a:solidFill>
                <a:latin typeface="ＭＳ Ｐゴシック"/>
                <a:ea typeface="ＭＳ Ｐゴシック"/>
              </a:rPr>
              <a:t>年</a:t>
            </a:r>
            <a:r>
              <a:rPr lang="en-US" altLang="zh-TW" sz="1400" dirty="0">
                <a:solidFill>
                  <a:srgbClr val="000000"/>
                </a:solidFill>
                <a:latin typeface="ＭＳ Ｐゴシック"/>
                <a:ea typeface="ＭＳ Ｐゴシック"/>
              </a:rPr>
              <a:t>12</a:t>
            </a:r>
            <a:r>
              <a:rPr lang="zh-TW" altLang="en-US" sz="1400" dirty="0">
                <a:solidFill>
                  <a:srgbClr val="000000"/>
                </a:solidFill>
                <a:latin typeface="ＭＳ Ｐゴシック"/>
                <a:ea typeface="ＭＳ Ｐゴシック"/>
              </a:rPr>
              <a:t>月</a:t>
            </a:r>
            <a:r>
              <a:rPr lang="en-US" altLang="zh-TW" sz="1400" dirty="0">
                <a:solidFill>
                  <a:srgbClr val="000000"/>
                </a:solidFill>
                <a:latin typeface="ＭＳ Ｐゴシック"/>
                <a:ea typeface="ＭＳ Ｐゴシック"/>
              </a:rPr>
              <a:t>27</a:t>
            </a:r>
            <a:r>
              <a:rPr lang="zh-TW" altLang="en-US" sz="1400" dirty="0">
                <a:solidFill>
                  <a:srgbClr val="000000"/>
                </a:solidFill>
                <a:latin typeface="ＭＳ Ｐゴシック"/>
                <a:ea typeface="ＭＳ Ｐゴシック"/>
              </a:rPr>
              <a:t>日閣議決定</a:t>
            </a:r>
            <a:r>
              <a:rPr lang="ja-JP" altLang="en-US" sz="1400" dirty="0">
                <a:solidFill>
                  <a:srgbClr val="000000"/>
                </a:solidFill>
                <a:latin typeface="ＭＳ Ｐゴシック"/>
                <a:ea typeface="ＭＳ Ｐゴシック"/>
              </a:rPr>
              <a:t>）</a:t>
            </a:r>
            <a:endParaRPr lang="en-US" altLang="ja-JP" sz="1400" dirty="0">
              <a:solidFill>
                <a:srgbClr val="000000"/>
              </a:solidFill>
              <a:latin typeface="ＭＳ Ｐゴシック"/>
              <a:ea typeface="ＭＳ Ｐゴシック"/>
            </a:endParaRPr>
          </a:p>
          <a:p>
            <a:r>
              <a:rPr lang="ja-JP" altLang="en-US" sz="1300" b="1" dirty="0">
                <a:solidFill>
                  <a:srgbClr val="C00000"/>
                </a:solidFill>
                <a:latin typeface="ＭＳ Ｐゴシック"/>
                <a:ea typeface="ＭＳ Ｐゴシック"/>
              </a:rPr>
              <a:t>中山間地域等における「小さな拠点」（多世代交流・多機能型）の形成</a:t>
            </a:r>
          </a:p>
        </p:txBody>
      </p:sp>
      <p:sp>
        <p:nvSpPr>
          <p:cNvPr id="18" name="テキスト ボックス 17"/>
          <p:cNvSpPr txBox="1"/>
          <p:nvPr/>
        </p:nvSpPr>
        <p:spPr>
          <a:xfrm>
            <a:off x="3079998" y="3087762"/>
            <a:ext cx="6513322" cy="641976"/>
          </a:xfrm>
          <a:prstGeom prst="rect">
            <a:avLst/>
          </a:prstGeom>
          <a:solidFill>
            <a:schemeClr val="bg1"/>
          </a:solidFill>
        </p:spPr>
        <p:txBody>
          <a:bodyPr wrap="none" tIns="0" bIns="38994" rtlCol="0">
            <a:spAutoFit/>
          </a:bodyPr>
          <a:lstStyle/>
          <a:p>
            <a:r>
              <a:rPr lang="ja-JP" altLang="en-US" sz="2400" dirty="0">
                <a:solidFill>
                  <a:srgbClr val="000000"/>
                </a:solidFill>
                <a:latin typeface="ＭＳ Ｐゴシック"/>
                <a:ea typeface="ＭＳ Ｐゴシック"/>
              </a:rPr>
              <a:t>○まち・ひと・しごと創生基本方針</a:t>
            </a:r>
            <a:r>
              <a:rPr lang="en-US" altLang="ja-JP" sz="2400" dirty="0">
                <a:solidFill>
                  <a:srgbClr val="000000"/>
                </a:solidFill>
                <a:latin typeface="ＭＳ Ｐゴシック"/>
                <a:ea typeface="ＭＳ Ｐゴシック"/>
              </a:rPr>
              <a:t>2015</a:t>
            </a:r>
            <a:br>
              <a:rPr lang="en-US" altLang="ja-JP" sz="2600" dirty="0">
                <a:solidFill>
                  <a:srgbClr val="000000"/>
                </a:solidFill>
                <a:latin typeface="ＭＳ Ｐゴシック"/>
                <a:ea typeface="ＭＳ Ｐゴシック"/>
              </a:rPr>
            </a:br>
            <a:r>
              <a:rPr lang="ja-JP" altLang="en-US" sz="1516" dirty="0">
                <a:solidFill>
                  <a:srgbClr val="000000"/>
                </a:solidFill>
                <a:latin typeface="ＭＳ Ｐゴシック"/>
                <a:ea typeface="ＭＳ Ｐゴシック"/>
              </a:rPr>
              <a:t>　　（平成</a:t>
            </a:r>
            <a:r>
              <a:rPr lang="en-US" altLang="ja-JP" sz="1516" dirty="0">
                <a:solidFill>
                  <a:srgbClr val="000000"/>
                </a:solidFill>
                <a:latin typeface="ＭＳ Ｐゴシック"/>
                <a:ea typeface="ＭＳ Ｐゴシック"/>
              </a:rPr>
              <a:t>27</a:t>
            </a:r>
            <a:r>
              <a:rPr lang="ja-JP" altLang="en-US" sz="1516" dirty="0">
                <a:solidFill>
                  <a:srgbClr val="000000"/>
                </a:solidFill>
                <a:latin typeface="ＭＳ Ｐゴシック"/>
                <a:ea typeface="ＭＳ Ｐゴシック"/>
              </a:rPr>
              <a:t>年</a:t>
            </a:r>
            <a:r>
              <a:rPr lang="en-US" altLang="ja-JP" sz="1516" dirty="0">
                <a:solidFill>
                  <a:srgbClr val="000000"/>
                </a:solidFill>
                <a:latin typeface="ＭＳ Ｐゴシック"/>
                <a:ea typeface="ＭＳ Ｐゴシック"/>
              </a:rPr>
              <a:t>6</a:t>
            </a:r>
            <a:r>
              <a:rPr lang="ja-JP" altLang="en-US" sz="1516" dirty="0">
                <a:solidFill>
                  <a:srgbClr val="000000"/>
                </a:solidFill>
                <a:latin typeface="ＭＳ Ｐゴシック"/>
                <a:ea typeface="ＭＳ Ｐゴシック"/>
              </a:rPr>
              <a:t>月</a:t>
            </a:r>
            <a:r>
              <a:rPr lang="en-US" altLang="ja-JP" sz="1516" dirty="0">
                <a:solidFill>
                  <a:srgbClr val="000000"/>
                </a:solidFill>
                <a:latin typeface="ＭＳ Ｐゴシック"/>
                <a:ea typeface="ＭＳ Ｐゴシック"/>
              </a:rPr>
              <a:t>30</a:t>
            </a:r>
            <a:r>
              <a:rPr lang="ja-JP" altLang="en-US" sz="1516" dirty="0">
                <a:solidFill>
                  <a:srgbClr val="000000"/>
                </a:solidFill>
                <a:latin typeface="ＭＳ Ｐゴシック"/>
                <a:ea typeface="ＭＳ Ｐゴシック"/>
              </a:rPr>
              <a:t>日閣議決定）</a:t>
            </a:r>
            <a:r>
              <a:rPr lang="ja-JP" altLang="en-US" sz="1516" b="1" dirty="0">
                <a:solidFill>
                  <a:srgbClr val="C00000"/>
                </a:solidFill>
                <a:latin typeface="ＭＳ Ｐゴシック"/>
                <a:ea typeface="ＭＳ Ｐゴシック"/>
              </a:rPr>
              <a:t>　</a:t>
            </a:r>
            <a:r>
              <a:rPr lang="ja-JP" altLang="en-US" sz="1516" b="1" dirty="0">
                <a:solidFill>
                  <a:srgbClr val="C00000"/>
                </a:solidFill>
              </a:rPr>
              <a:t>「小さな拠点」の形成（集落生活圏の維持） </a:t>
            </a:r>
            <a:endParaRPr lang="ja-JP" altLang="en-US" sz="1516" b="1" dirty="0">
              <a:solidFill>
                <a:srgbClr val="C00000"/>
              </a:solidFill>
              <a:latin typeface="ＭＳ Ｐゴシック"/>
              <a:ea typeface="ＭＳ Ｐゴシック"/>
            </a:endParaRPr>
          </a:p>
        </p:txBody>
      </p:sp>
      <p:sp>
        <p:nvSpPr>
          <p:cNvPr id="19" name="テキスト ボックス 18"/>
          <p:cNvSpPr txBox="1"/>
          <p:nvPr/>
        </p:nvSpPr>
        <p:spPr>
          <a:xfrm>
            <a:off x="3079998" y="4599930"/>
            <a:ext cx="6718954" cy="641976"/>
          </a:xfrm>
          <a:prstGeom prst="rect">
            <a:avLst/>
          </a:prstGeom>
          <a:solidFill>
            <a:schemeClr val="bg1"/>
          </a:solidFill>
        </p:spPr>
        <p:txBody>
          <a:bodyPr wrap="square" tIns="0" bIns="38994" rtlCol="0">
            <a:spAutoFit/>
          </a:bodyPr>
          <a:lstStyle/>
          <a:p>
            <a:r>
              <a:rPr lang="ja-JP" altLang="en-US" sz="2400" dirty="0">
                <a:solidFill>
                  <a:srgbClr val="000000"/>
                </a:solidFill>
                <a:latin typeface="ＭＳ Ｐゴシック"/>
                <a:ea typeface="ＭＳ Ｐゴシック"/>
              </a:rPr>
              <a:t>○まち・ひと・しごと創生総合戦略（</a:t>
            </a:r>
            <a:r>
              <a:rPr lang="en-US" altLang="ja-JP" sz="2400" dirty="0">
                <a:solidFill>
                  <a:srgbClr val="000000"/>
                </a:solidFill>
                <a:latin typeface="ＭＳ Ｐゴシック"/>
                <a:ea typeface="ＭＳ Ｐゴシック"/>
              </a:rPr>
              <a:t>2015</a:t>
            </a:r>
            <a:r>
              <a:rPr lang="ja-JP" altLang="en-US" sz="2400" dirty="0">
                <a:solidFill>
                  <a:srgbClr val="000000"/>
                </a:solidFill>
                <a:latin typeface="ＭＳ Ｐゴシック"/>
                <a:ea typeface="ＭＳ Ｐゴシック"/>
              </a:rPr>
              <a:t>改訂版）</a:t>
            </a:r>
            <a:r>
              <a:rPr lang="ja-JP" altLang="en-US" dirty="0">
                <a:solidFill>
                  <a:srgbClr val="000000"/>
                </a:solidFill>
                <a:latin typeface="ＭＳ Ｐゴシック"/>
                <a:ea typeface="ＭＳ Ｐゴシック"/>
              </a:rPr>
              <a:t>　　</a:t>
            </a:r>
            <a:endParaRPr lang="en-US" altLang="ja-JP" dirty="0">
              <a:solidFill>
                <a:srgbClr val="000000"/>
              </a:solidFill>
              <a:latin typeface="ＭＳ Ｐゴシック"/>
              <a:ea typeface="ＭＳ Ｐゴシック"/>
            </a:endParaRPr>
          </a:p>
          <a:p>
            <a:r>
              <a:rPr lang="ja-JP" altLang="en-US" sz="1516" dirty="0">
                <a:solidFill>
                  <a:srgbClr val="000000"/>
                </a:solidFill>
                <a:latin typeface="ＭＳ Ｐゴシック"/>
                <a:ea typeface="ＭＳ Ｐゴシック"/>
              </a:rPr>
              <a:t>　　（平成</a:t>
            </a:r>
            <a:r>
              <a:rPr lang="en-US" altLang="ja-JP" sz="1516" dirty="0">
                <a:solidFill>
                  <a:srgbClr val="000000"/>
                </a:solidFill>
                <a:latin typeface="ＭＳ Ｐゴシック"/>
                <a:ea typeface="ＭＳ Ｐゴシック"/>
              </a:rPr>
              <a:t>27</a:t>
            </a:r>
            <a:r>
              <a:rPr lang="ja-JP" altLang="en-US" sz="1516" dirty="0">
                <a:solidFill>
                  <a:srgbClr val="000000"/>
                </a:solidFill>
                <a:latin typeface="ＭＳ Ｐゴシック"/>
                <a:ea typeface="ＭＳ Ｐゴシック"/>
              </a:rPr>
              <a:t>年</a:t>
            </a:r>
            <a:r>
              <a:rPr lang="en-US" altLang="ja-JP" sz="1516" dirty="0">
                <a:solidFill>
                  <a:srgbClr val="000000"/>
                </a:solidFill>
                <a:latin typeface="ＭＳ Ｐゴシック"/>
                <a:ea typeface="ＭＳ Ｐゴシック"/>
              </a:rPr>
              <a:t>12</a:t>
            </a:r>
            <a:r>
              <a:rPr lang="ja-JP" altLang="en-US" sz="1516" dirty="0">
                <a:solidFill>
                  <a:srgbClr val="000000"/>
                </a:solidFill>
                <a:latin typeface="ＭＳ Ｐゴシック"/>
                <a:ea typeface="ＭＳ Ｐゴシック"/>
              </a:rPr>
              <a:t>月</a:t>
            </a:r>
            <a:r>
              <a:rPr lang="en-US" altLang="ja-JP" sz="1516" dirty="0">
                <a:solidFill>
                  <a:srgbClr val="000000"/>
                </a:solidFill>
                <a:latin typeface="ＭＳ Ｐゴシック"/>
                <a:ea typeface="ＭＳ Ｐゴシック"/>
              </a:rPr>
              <a:t>24</a:t>
            </a:r>
            <a:r>
              <a:rPr lang="ja-JP" altLang="en-US" sz="1516" dirty="0">
                <a:solidFill>
                  <a:srgbClr val="000000"/>
                </a:solidFill>
                <a:latin typeface="ＭＳ Ｐゴシック"/>
                <a:ea typeface="ＭＳ Ｐゴシック"/>
              </a:rPr>
              <a:t>日閣議決定）</a:t>
            </a:r>
            <a:r>
              <a:rPr lang="ja-JP" altLang="en-US" sz="1516" b="1" dirty="0">
                <a:solidFill>
                  <a:srgbClr val="C00000"/>
                </a:solidFill>
                <a:latin typeface="ＭＳ Ｐゴシック"/>
                <a:ea typeface="ＭＳ Ｐゴシック"/>
              </a:rPr>
              <a:t>　</a:t>
            </a:r>
            <a:r>
              <a:rPr lang="ja-JP" altLang="en-US" sz="1516" b="1" dirty="0">
                <a:solidFill>
                  <a:srgbClr val="C00000"/>
                </a:solidFill>
              </a:rPr>
              <a:t>「小さな拠点」の形成（集落生活圏の維持） </a:t>
            </a:r>
            <a:endParaRPr lang="ja-JP" altLang="en-US" sz="1516" dirty="0">
              <a:solidFill>
                <a:srgbClr val="000000"/>
              </a:solidFill>
              <a:latin typeface="ＭＳ Ｐゴシック"/>
              <a:ea typeface="ＭＳ Ｐゴシック"/>
            </a:endParaRPr>
          </a:p>
        </p:txBody>
      </p:sp>
      <p:sp>
        <p:nvSpPr>
          <p:cNvPr id="29" name="テキスト ボックス 28"/>
          <p:cNvSpPr txBox="1"/>
          <p:nvPr/>
        </p:nvSpPr>
        <p:spPr>
          <a:xfrm>
            <a:off x="7044469" y="3951858"/>
            <a:ext cx="2859944" cy="408707"/>
          </a:xfrm>
          <a:prstGeom prst="rect">
            <a:avLst/>
          </a:prstGeom>
          <a:solidFill>
            <a:schemeClr val="bg1"/>
          </a:solidFill>
        </p:spPr>
        <p:txBody>
          <a:bodyPr wrap="square" tIns="0" bIns="38994" rtlCol="0">
            <a:spAutoFit/>
          </a:bodyPr>
          <a:lstStyle/>
          <a:p>
            <a:r>
              <a:rPr lang="en-US" altLang="ja-JP" sz="2400" dirty="0">
                <a:solidFill>
                  <a:srgbClr val="000000"/>
                </a:solidFill>
                <a:latin typeface="ＭＳ Ｐゴシック"/>
                <a:ea typeface="ＭＳ Ｐゴシック"/>
              </a:rPr>
              <a:t>&lt;</a:t>
            </a:r>
            <a:r>
              <a:rPr lang="ja-JP" altLang="en-US" sz="2400" dirty="0">
                <a:solidFill>
                  <a:srgbClr val="000000"/>
                </a:solidFill>
                <a:latin typeface="ＭＳ Ｐゴシック"/>
                <a:ea typeface="ＭＳ Ｐゴシック"/>
              </a:rPr>
              <a:t>地方版総合戦略</a:t>
            </a:r>
            <a:r>
              <a:rPr lang="en-US" altLang="ja-JP" sz="2400" dirty="0">
                <a:solidFill>
                  <a:srgbClr val="000000"/>
                </a:solidFill>
                <a:latin typeface="ＭＳ Ｐゴシック"/>
                <a:ea typeface="ＭＳ Ｐゴシック"/>
              </a:rPr>
              <a:t>&gt;</a:t>
            </a:r>
          </a:p>
        </p:txBody>
      </p:sp>
      <p:sp>
        <p:nvSpPr>
          <p:cNvPr id="20" name="テキスト ボックス 19"/>
          <p:cNvSpPr txBox="1"/>
          <p:nvPr/>
        </p:nvSpPr>
        <p:spPr>
          <a:xfrm>
            <a:off x="3152006" y="5392018"/>
            <a:ext cx="6093335" cy="808816"/>
          </a:xfrm>
          <a:prstGeom prst="rect">
            <a:avLst/>
          </a:prstGeom>
          <a:solidFill>
            <a:schemeClr val="bg1"/>
          </a:solidFill>
        </p:spPr>
        <p:txBody>
          <a:bodyPr wrap="none" tIns="0" bIns="38994" rtlCol="0">
            <a:spAutoFit/>
          </a:bodyPr>
          <a:lstStyle/>
          <a:p>
            <a:r>
              <a:rPr lang="ja-JP" altLang="en-US" sz="2600" dirty="0">
                <a:solidFill>
                  <a:srgbClr val="000000"/>
                </a:solidFill>
                <a:latin typeface="ＭＳ Ｐゴシック"/>
                <a:ea typeface="ＭＳ Ｐゴシック"/>
              </a:rPr>
              <a:t>　</a:t>
            </a:r>
            <a:r>
              <a:rPr lang="en-US" altLang="ja-JP" sz="2400" dirty="0">
                <a:solidFill>
                  <a:srgbClr val="000000"/>
                </a:solidFill>
                <a:latin typeface="ＭＳ Ｐゴシック"/>
                <a:ea typeface="ＭＳ Ｐゴシック"/>
              </a:rPr>
              <a:t>2016</a:t>
            </a:r>
            <a:r>
              <a:rPr lang="ja-JP" altLang="en-US" sz="2400" dirty="0">
                <a:solidFill>
                  <a:srgbClr val="000000"/>
                </a:solidFill>
                <a:latin typeface="ＭＳ Ｐゴシック"/>
                <a:ea typeface="ＭＳ Ｐゴシック"/>
              </a:rPr>
              <a:t>年度以降</a:t>
            </a:r>
            <a:endParaRPr lang="en-US" altLang="ja-JP" sz="2400" dirty="0">
              <a:solidFill>
                <a:srgbClr val="000000"/>
              </a:solidFill>
              <a:latin typeface="ＭＳ Ｐゴシック"/>
              <a:ea typeface="ＭＳ Ｐゴシック"/>
            </a:endParaRPr>
          </a:p>
          <a:p>
            <a:r>
              <a:rPr lang="ja-JP" altLang="en-US" sz="2400" dirty="0">
                <a:solidFill>
                  <a:srgbClr val="000000"/>
                </a:solidFill>
                <a:latin typeface="ＭＳ Ｐゴシック"/>
                <a:ea typeface="ＭＳ Ｐゴシック"/>
              </a:rPr>
              <a:t>　　 ：継続して基本方針・総合戦略に位置付け</a:t>
            </a:r>
            <a:endParaRPr lang="ja-JP" altLang="en-US" sz="2400" b="1" dirty="0">
              <a:solidFill>
                <a:srgbClr val="C00000"/>
              </a:solidFill>
              <a:latin typeface="ＭＳ Ｐゴシック"/>
              <a:ea typeface="ＭＳ Ｐゴシック"/>
            </a:endParaRPr>
          </a:p>
        </p:txBody>
      </p:sp>
      <p:sp>
        <p:nvSpPr>
          <p:cNvPr id="21" name="テキスト ボックス 20"/>
          <p:cNvSpPr txBox="1"/>
          <p:nvPr/>
        </p:nvSpPr>
        <p:spPr>
          <a:xfrm>
            <a:off x="1999878" y="6328122"/>
            <a:ext cx="7698903" cy="913845"/>
          </a:xfrm>
          <a:prstGeom prst="rect">
            <a:avLst/>
          </a:prstGeom>
          <a:solidFill>
            <a:schemeClr val="bg1"/>
          </a:solidFill>
        </p:spPr>
        <p:txBody>
          <a:bodyPr wrap="square" tIns="0" bIns="38994" rtlCol="0">
            <a:spAutoFit/>
          </a:bodyPr>
          <a:lstStyle/>
          <a:p>
            <a:pPr>
              <a:lnSpc>
                <a:spcPts val="2500"/>
              </a:lnSpc>
            </a:pPr>
            <a:r>
              <a:rPr lang="ja-JP" altLang="en-US" sz="2400" dirty="0">
                <a:solidFill>
                  <a:srgbClr val="000000"/>
                </a:solidFill>
                <a:latin typeface="ＭＳ Ｐゴシック"/>
                <a:ea typeface="ＭＳ Ｐゴシック"/>
              </a:rPr>
              <a:t>○デジタル田園都市国家構想基本方針</a:t>
            </a:r>
            <a:r>
              <a:rPr lang="ja-JP" altLang="en-US" sz="1516" dirty="0">
                <a:solidFill>
                  <a:srgbClr val="000000"/>
                </a:solidFill>
                <a:latin typeface="ＭＳ Ｐゴシック"/>
                <a:ea typeface="ＭＳ Ｐゴシック"/>
              </a:rPr>
              <a:t>（令和</a:t>
            </a:r>
            <a:r>
              <a:rPr lang="en-US" altLang="ja-JP" sz="1516" dirty="0">
                <a:solidFill>
                  <a:srgbClr val="000000"/>
                </a:solidFill>
                <a:latin typeface="ＭＳ Ｐゴシック"/>
                <a:ea typeface="ＭＳ Ｐゴシック"/>
              </a:rPr>
              <a:t>4</a:t>
            </a:r>
            <a:r>
              <a:rPr lang="ja-JP" altLang="en-US" sz="1516" dirty="0">
                <a:solidFill>
                  <a:srgbClr val="000000"/>
                </a:solidFill>
                <a:latin typeface="ＭＳ Ｐゴシック"/>
                <a:ea typeface="ＭＳ Ｐゴシック"/>
              </a:rPr>
              <a:t>年</a:t>
            </a:r>
            <a:r>
              <a:rPr lang="en-US" altLang="ja-JP" sz="1516" dirty="0">
                <a:solidFill>
                  <a:srgbClr val="000000"/>
                </a:solidFill>
                <a:latin typeface="ＭＳ Ｐゴシック"/>
                <a:ea typeface="ＭＳ Ｐゴシック"/>
              </a:rPr>
              <a:t>6</a:t>
            </a:r>
            <a:r>
              <a:rPr lang="ja-JP" altLang="en-US" sz="1516" dirty="0">
                <a:solidFill>
                  <a:srgbClr val="000000"/>
                </a:solidFill>
                <a:latin typeface="ＭＳ Ｐゴシック"/>
                <a:ea typeface="ＭＳ Ｐゴシック"/>
              </a:rPr>
              <a:t>月</a:t>
            </a:r>
            <a:r>
              <a:rPr lang="en-US" altLang="ja-JP" sz="1516" dirty="0">
                <a:solidFill>
                  <a:srgbClr val="000000"/>
                </a:solidFill>
                <a:latin typeface="ＭＳ Ｐゴシック"/>
                <a:ea typeface="ＭＳ Ｐゴシック"/>
              </a:rPr>
              <a:t>7</a:t>
            </a:r>
            <a:r>
              <a:rPr lang="ja-JP" altLang="en-US" sz="1516" dirty="0">
                <a:solidFill>
                  <a:srgbClr val="000000"/>
                </a:solidFill>
                <a:latin typeface="ＭＳ Ｐゴシック"/>
                <a:ea typeface="ＭＳ Ｐゴシック"/>
              </a:rPr>
              <a:t>日閣議決定）</a:t>
            </a:r>
            <a:endParaRPr lang="en-US" altLang="ja-JP" sz="1516" b="1" dirty="0">
              <a:solidFill>
                <a:srgbClr val="C00000"/>
              </a:solidFill>
            </a:endParaRPr>
          </a:p>
          <a:p>
            <a:pPr>
              <a:lnSpc>
                <a:spcPts val="2500"/>
              </a:lnSpc>
            </a:pPr>
            <a:r>
              <a:rPr lang="ja-JP" altLang="en-US" sz="2400" dirty="0">
                <a:solidFill>
                  <a:srgbClr val="000000"/>
                </a:solidFill>
                <a:latin typeface="ＭＳ Ｐゴシック"/>
                <a:ea typeface="ＭＳ Ｐゴシック"/>
              </a:rPr>
              <a:t>　 デジタル田園都市国家構想総合戦略</a:t>
            </a:r>
            <a:r>
              <a:rPr lang="ja-JP" altLang="en-US" sz="1516" dirty="0">
                <a:solidFill>
                  <a:srgbClr val="000000"/>
                </a:solidFill>
                <a:latin typeface="ＭＳ Ｐゴシック"/>
                <a:ea typeface="ＭＳ Ｐゴシック"/>
              </a:rPr>
              <a:t>（令和</a:t>
            </a:r>
            <a:r>
              <a:rPr lang="en-US" altLang="ja-JP" sz="1516" dirty="0">
                <a:solidFill>
                  <a:srgbClr val="000000"/>
                </a:solidFill>
                <a:latin typeface="ＭＳ Ｐゴシック"/>
                <a:ea typeface="ＭＳ Ｐゴシック"/>
              </a:rPr>
              <a:t>4</a:t>
            </a:r>
            <a:r>
              <a:rPr lang="ja-JP" altLang="en-US" sz="1516" dirty="0">
                <a:solidFill>
                  <a:srgbClr val="000000"/>
                </a:solidFill>
                <a:latin typeface="ＭＳ Ｐゴシック"/>
                <a:ea typeface="ＭＳ Ｐゴシック"/>
              </a:rPr>
              <a:t>年</a:t>
            </a:r>
            <a:r>
              <a:rPr lang="en-US" altLang="ja-JP" sz="1516" dirty="0">
                <a:solidFill>
                  <a:srgbClr val="000000"/>
                </a:solidFill>
                <a:latin typeface="ＭＳ Ｐゴシック"/>
                <a:ea typeface="ＭＳ Ｐゴシック"/>
              </a:rPr>
              <a:t>12</a:t>
            </a:r>
            <a:r>
              <a:rPr lang="ja-JP" altLang="en-US" sz="1516" dirty="0">
                <a:solidFill>
                  <a:srgbClr val="000000"/>
                </a:solidFill>
                <a:latin typeface="ＭＳ Ｐゴシック"/>
                <a:ea typeface="ＭＳ Ｐゴシック"/>
              </a:rPr>
              <a:t>月</a:t>
            </a:r>
            <a:r>
              <a:rPr lang="en-US" altLang="ja-JP" sz="1516" dirty="0">
                <a:solidFill>
                  <a:srgbClr val="000000"/>
                </a:solidFill>
                <a:latin typeface="ＭＳ Ｐゴシック"/>
                <a:ea typeface="ＭＳ Ｐゴシック"/>
              </a:rPr>
              <a:t>23</a:t>
            </a:r>
            <a:r>
              <a:rPr lang="ja-JP" altLang="en-US" sz="1516" dirty="0">
                <a:solidFill>
                  <a:srgbClr val="000000"/>
                </a:solidFill>
                <a:latin typeface="ＭＳ Ｐゴシック"/>
                <a:ea typeface="ＭＳ Ｐゴシック"/>
              </a:rPr>
              <a:t>日閣議決定）</a:t>
            </a:r>
            <a:endParaRPr lang="en-US" altLang="ja-JP" sz="1516" dirty="0">
              <a:solidFill>
                <a:srgbClr val="000000"/>
              </a:solidFill>
              <a:latin typeface="ＭＳ Ｐゴシック"/>
              <a:ea typeface="ＭＳ Ｐゴシック"/>
            </a:endParaRPr>
          </a:p>
          <a:p>
            <a:r>
              <a:rPr lang="ja-JP" altLang="en-US" sz="1516" b="1" dirty="0">
                <a:solidFill>
                  <a:srgbClr val="C00000"/>
                </a:solidFill>
                <a:latin typeface="ＭＳ Ｐゴシック"/>
                <a:ea typeface="ＭＳ Ｐゴシック"/>
              </a:rPr>
              <a:t>　　</a:t>
            </a:r>
            <a:r>
              <a:rPr lang="ja-JP" altLang="en-US" sz="1516" b="1" dirty="0">
                <a:solidFill>
                  <a:srgbClr val="C00000"/>
                </a:solidFill>
              </a:rPr>
              <a:t>「魅力的な集落生活圏の形成（「小さな拠点」の形成等）） </a:t>
            </a:r>
            <a:endParaRPr lang="ja-JP" altLang="en-US" sz="1516" dirty="0">
              <a:solidFill>
                <a:srgbClr val="000000"/>
              </a:solidFill>
              <a:latin typeface="ＭＳ Ｐゴシック"/>
              <a:ea typeface="ＭＳ Ｐゴシック"/>
            </a:endParaRPr>
          </a:p>
        </p:txBody>
      </p:sp>
      <p:sp>
        <p:nvSpPr>
          <p:cNvPr id="2" name="フッター プレースホルダー 1">
            <a:extLst>
              <a:ext uri="{FF2B5EF4-FFF2-40B4-BE49-F238E27FC236}">
                <a16:creationId xmlns:a16="http://schemas.microsoft.com/office/drawing/2014/main" id="{8CD4C725-F2CF-9782-6CD1-205F47357BBA}"/>
              </a:ext>
            </a:extLst>
          </p:cNvPr>
          <p:cNvSpPr>
            <a:spLocks noGrp="1"/>
          </p:cNvSpPr>
          <p:nvPr>
            <p:ph type="ftr" sz="quarter" idx="11"/>
          </p:nvPr>
        </p:nvSpPr>
        <p:spPr/>
        <p:txBody>
          <a:bodyPr/>
          <a:lstStyle/>
          <a:p>
            <a:endParaRPr lang="en-US" altLang="ja-JP">
              <a:solidFill>
                <a:srgbClr val="000000"/>
              </a:solidFill>
            </a:endParaRPr>
          </a:p>
        </p:txBody>
      </p:sp>
      <p:sp>
        <p:nvSpPr>
          <p:cNvPr id="5" name="スライド番号プレースホルダー 4">
            <a:extLst>
              <a:ext uri="{FF2B5EF4-FFF2-40B4-BE49-F238E27FC236}">
                <a16:creationId xmlns:a16="http://schemas.microsoft.com/office/drawing/2014/main" id="{EF3C8A3C-91A3-2BB6-FE04-E5BFA4072599}"/>
              </a:ext>
            </a:extLst>
          </p:cNvPr>
          <p:cNvSpPr>
            <a:spLocks noGrp="1"/>
          </p:cNvSpPr>
          <p:nvPr>
            <p:ph type="sldNum" sz="quarter" idx="12"/>
          </p:nvPr>
        </p:nvSpPr>
        <p:spPr/>
        <p:txBody>
          <a:bodyPr/>
          <a:lstStyle/>
          <a:p>
            <a:fld id="{0E455E4F-1C3C-4418-94C1-62F004438B6B}" type="slidenum">
              <a:rPr lang="en-US" altLang="ja-JP" smtClean="0">
                <a:solidFill>
                  <a:srgbClr val="000000"/>
                </a:solidFill>
              </a:rPr>
              <a:pPr/>
              <a:t>28</a:t>
            </a:fld>
            <a:endParaRPr lang="en-US" altLang="ja-JP">
              <a:solidFill>
                <a:srgbClr val="000000"/>
              </a:solidFill>
            </a:endParaRPr>
          </a:p>
        </p:txBody>
      </p:sp>
    </p:spTree>
    <p:extLst>
      <p:ext uri="{BB962C8B-B14F-4D97-AF65-F5344CB8AC3E}">
        <p14:creationId xmlns:p14="http://schemas.microsoft.com/office/powerpoint/2010/main" val="33222455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lang="ja-JP" altLang="en-US" sz="3000" dirty="0">
                <a:solidFill>
                  <a:schemeClr val="accent6"/>
                </a:solidFill>
                <a:latin typeface="ＤＦ特太ゴシック体" panose="020B0509000000000000" pitchFamily="49" charset="-128"/>
                <a:ea typeface="ＤＦ特太ゴシック体" panose="020B0509000000000000" pitchFamily="49" charset="-128"/>
              </a:rPr>
              <a:t>１．国土交通省における山村振興関係予算</a:t>
            </a:r>
            <a:endParaRPr kumimoji="1" lang="ja-JP" altLang="en-US" sz="3000" dirty="0">
              <a:solidFill>
                <a:schemeClr val="accent6"/>
              </a:solidFill>
              <a:latin typeface="ＤＦ特太ゴシック体" panose="020B0509000000000000" pitchFamily="49" charset="-128"/>
              <a:ea typeface="ＤＦ特太ゴシック体" panose="020B0509000000000000" pitchFamily="49" charset="-128"/>
            </a:endParaRPr>
          </a:p>
        </p:txBody>
      </p:sp>
    </p:spTree>
    <p:extLst>
      <p:ext uri="{BB962C8B-B14F-4D97-AF65-F5344CB8AC3E}">
        <p14:creationId xmlns:p14="http://schemas.microsoft.com/office/powerpoint/2010/main" val="26013151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69497" y="711498"/>
            <a:ext cx="9707245" cy="6589924"/>
          </a:xfrm>
          <a:prstGeom prst="roundRect">
            <a:avLst>
              <a:gd name="adj" fmla="val 1876"/>
            </a:avLst>
          </a:prstGeom>
          <a:solidFill>
            <a:schemeClr val="bg1"/>
          </a:solidFill>
          <a:ln w="254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7988" tIns="46800" rIns="0" rtlCol="0" anchor="ctr"/>
          <a:lstStyle/>
          <a:p>
            <a:pPr fontAlgn="auto">
              <a:spcBef>
                <a:spcPts val="0"/>
              </a:spcBef>
              <a:spcAft>
                <a:spcPts val="650"/>
              </a:spcAft>
            </a:pPr>
            <a:r>
              <a:rPr lang="ja-JP" altLang="en-US" sz="2200" b="1" dirty="0">
                <a:solidFill>
                  <a:prstClr val="black"/>
                </a:solidFill>
                <a:latin typeface="ＭＳ ゴシック" panose="020B0609070205080204" pitchFamily="49" charset="-128"/>
                <a:ea typeface="ＭＳ ゴシック" panose="020B0609070205080204" pitchFamily="49" charset="-128"/>
              </a:rPr>
              <a:t>第４章　各分野の政策の推進</a:t>
            </a:r>
            <a:r>
              <a:rPr lang="ja-JP" altLang="ja-JP" sz="2600" b="1" dirty="0">
                <a:solidFill>
                  <a:prstClr val="black"/>
                </a:solidFill>
                <a:latin typeface="ＭＳ ゴシック" panose="020B0609070205080204" pitchFamily="49" charset="-128"/>
                <a:ea typeface="ＭＳ ゴシック" panose="020B0609070205080204" pitchFamily="49" charset="-128"/>
              </a:rPr>
              <a:t>　</a:t>
            </a:r>
            <a:endParaRPr lang="ja-JP" altLang="ja-JP" sz="2600" dirty="0">
              <a:solidFill>
                <a:prstClr val="black"/>
              </a:solidFill>
              <a:latin typeface="ＭＳ ゴシック" panose="020B0609070205080204" pitchFamily="49" charset="-128"/>
              <a:ea typeface="ＭＳ ゴシック" panose="020B0609070205080204" pitchFamily="49" charset="-128"/>
            </a:endParaRPr>
          </a:p>
          <a:p>
            <a:pPr fontAlgn="auto">
              <a:spcBef>
                <a:spcPts val="0"/>
              </a:spcBef>
              <a:spcAft>
                <a:spcPts val="650"/>
              </a:spcAft>
            </a:pPr>
            <a:r>
              <a:rPr lang="ja-JP" altLang="en-US" b="1" u="sng" dirty="0">
                <a:solidFill>
                  <a:prstClr val="black"/>
                </a:solidFill>
                <a:latin typeface="ＭＳ ゴシック" panose="020B0609070205080204" pitchFamily="49" charset="-128"/>
                <a:ea typeface="ＭＳ ゴシック" panose="020B0609070205080204" pitchFamily="49" charset="-128"/>
              </a:rPr>
              <a:t>２</a:t>
            </a:r>
            <a:r>
              <a:rPr lang="en-US" altLang="ja-JP" b="1" u="sng" dirty="0">
                <a:solidFill>
                  <a:prstClr val="black"/>
                </a:solidFill>
                <a:latin typeface="ＭＳ ゴシック" panose="020B0609070205080204" pitchFamily="49" charset="-128"/>
                <a:ea typeface="ＭＳ ゴシック" panose="020B0609070205080204" pitchFamily="49" charset="-128"/>
              </a:rPr>
              <a:t>.</a:t>
            </a:r>
            <a:r>
              <a:rPr lang="ja-JP" altLang="en-US" b="1" u="sng" dirty="0">
                <a:solidFill>
                  <a:prstClr val="black"/>
                </a:solidFill>
                <a:latin typeface="ＭＳ ゴシック" panose="020B0609070205080204" pitchFamily="49" charset="-128"/>
                <a:ea typeface="ＭＳ ゴシック" panose="020B0609070205080204" pitchFamily="49" charset="-128"/>
              </a:rPr>
              <a:t>分野別の施策の推進 </a:t>
            </a:r>
            <a:endParaRPr lang="en-US" altLang="ja-JP" b="1" u="sng" dirty="0">
              <a:solidFill>
                <a:prstClr val="black"/>
              </a:solidFill>
              <a:latin typeface="ＭＳ ゴシック" panose="020B0609070205080204" pitchFamily="49" charset="-128"/>
              <a:ea typeface="ＭＳ ゴシック" panose="020B0609070205080204" pitchFamily="49" charset="-128"/>
            </a:endParaRPr>
          </a:p>
          <a:p>
            <a:pPr fontAlgn="auto">
              <a:spcBef>
                <a:spcPts val="0"/>
              </a:spcBef>
              <a:spcAft>
                <a:spcPts val="650"/>
              </a:spcAft>
            </a:pPr>
            <a:r>
              <a:rPr lang="ja-JP" altLang="en-US" b="1" dirty="0">
                <a:solidFill>
                  <a:prstClr val="black"/>
                </a:solidFill>
                <a:latin typeface="ＭＳ ゴシック" panose="020B0609070205080204" pitchFamily="49" charset="-128"/>
                <a:ea typeface="ＭＳ ゴシック" panose="020B0609070205080204" pitchFamily="49" charset="-128"/>
              </a:rPr>
              <a:t>（１）デジタルの力を活用した地方の社会課題解決・魅力向上</a:t>
            </a:r>
            <a:endParaRPr lang="en-US" altLang="ja-JP" b="1" dirty="0">
              <a:solidFill>
                <a:prstClr val="black"/>
              </a:solidFill>
              <a:latin typeface="ＭＳ ゴシック" panose="020B0609070205080204" pitchFamily="49" charset="-128"/>
              <a:ea typeface="ＭＳ ゴシック" panose="020B0609070205080204" pitchFamily="49" charset="-128"/>
            </a:endParaRPr>
          </a:p>
          <a:p>
            <a:pPr fontAlgn="auto">
              <a:spcBef>
                <a:spcPts val="0"/>
              </a:spcBef>
              <a:spcAft>
                <a:spcPts val="650"/>
              </a:spcAft>
            </a:pPr>
            <a:r>
              <a:rPr lang="ja-JP" altLang="en-US" b="1" dirty="0">
                <a:solidFill>
                  <a:prstClr val="black"/>
                </a:solidFill>
                <a:latin typeface="ＭＳ ゴシック" panose="020B0609070205080204" pitchFamily="49" charset="-128"/>
                <a:ea typeface="ＭＳ ゴシック" panose="020B0609070205080204" pitchFamily="49" charset="-128"/>
              </a:rPr>
              <a:t>　④魅力的な地域をつくる</a:t>
            </a:r>
            <a:endParaRPr lang="en-US" altLang="ja-JP" b="1" dirty="0">
              <a:solidFill>
                <a:prstClr val="black"/>
              </a:solidFill>
              <a:latin typeface="ＭＳ ゴシック" panose="020B0609070205080204" pitchFamily="49" charset="-128"/>
              <a:ea typeface="ＭＳ ゴシック" panose="020B0609070205080204" pitchFamily="49" charset="-128"/>
            </a:endParaRPr>
          </a:p>
          <a:p>
            <a:pPr fontAlgn="auto">
              <a:spcBef>
                <a:spcPts val="0"/>
              </a:spcBef>
              <a:spcAft>
                <a:spcPts val="650"/>
              </a:spcAft>
            </a:pPr>
            <a:r>
              <a:rPr lang="ja-JP" altLang="en-US" sz="1733" b="1" dirty="0">
                <a:solidFill>
                  <a:prstClr val="black"/>
                </a:solidFill>
                <a:latin typeface="ＭＳ ゴシック" panose="020B0609070205080204" pitchFamily="49" charset="-128"/>
                <a:ea typeface="ＭＳ ゴシック" panose="020B0609070205080204" pitchFamily="49" charset="-128"/>
              </a:rPr>
              <a:t>　</a:t>
            </a:r>
            <a:r>
              <a:rPr lang="en-US" altLang="ja-JP" sz="1733" b="1" dirty="0">
                <a:solidFill>
                  <a:prstClr val="black"/>
                </a:solidFill>
                <a:latin typeface="ＭＳ ゴシック" panose="020B0609070205080204" pitchFamily="49" charset="-128"/>
                <a:ea typeface="ＭＳ ゴシック" panose="020B0609070205080204" pitchFamily="49" charset="-128"/>
              </a:rPr>
              <a:t>ⅱ</a:t>
            </a:r>
            <a:r>
              <a:rPr lang="ja-JP" altLang="en-US" sz="1733" b="1" dirty="0">
                <a:solidFill>
                  <a:prstClr val="black"/>
                </a:solidFill>
                <a:latin typeface="ＭＳ ゴシック" panose="020B0609070205080204" pitchFamily="49" charset="-128"/>
                <a:ea typeface="ＭＳ ゴシック" panose="020B0609070205080204" pitchFamily="49" charset="-128"/>
              </a:rPr>
              <a:t>魅力的な集落生活圏の形成（「小さな拠点」の形成等）</a:t>
            </a:r>
            <a:endParaRPr lang="en-US" altLang="ja-JP" sz="1733" b="1" dirty="0">
              <a:solidFill>
                <a:prstClr val="black"/>
              </a:solidFill>
              <a:latin typeface="ＭＳ ゴシック" panose="020B0609070205080204" pitchFamily="49" charset="-128"/>
              <a:ea typeface="ＭＳ ゴシック" panose="020B0609070205080204" pitchFamily="49" charset="-128"/>
            </a:endParaRPr>
          </a:p>
          <a:p>
            <a:pPr fontAlgn="auto">
              <a:spcBef>
                <a:spcPts val="650"/>
              </a:spcBef>
              <a:spcAft>
                <a:spcPts val="0"/>
              </a:spcAft>
            </a:pPr>
            <a:r>
              <a:rPr lang="ja-JP" altLang="en-US" sz="1733" b="1" dirty="0">
                <a:solidFill>
                  <a:prstClr val="black"/>
                </a:solidFill>
                <a:latin typeface="ＭＳ ゴシック" panose="020B0609070205080204" pitchFamily="49" charset="-128"/>
                <a:ea typeface="ＭＳ ゴシック" panose="020B0609070205080204" pitchFamily="49" charset="-128"/>
              </a:rPr>
              <a:t>　</a:t>
            </a:r>
            <a:r>
              <a:rPr lang="en-US" altLang="ja-JP" sz="1733" b="1" dirty="0">
                <a:solidFill>
                  <a:prstClr val="black"/>
                </a:solidFill>
                <a:latin typeface="ＭＳ ゴシック" panose="020B0609070205080204" pitchFamily="49" charset="-128"/>
                <a:ea typeface="ＭＳ ゴシック" panose="020B0609070205080204" pitchFamily="49" charset="-128"/>
              </a:rPr>
              <a:t>【</a:t>
            </a:r>
            <a:r>
              <a:rPr lang="ja-JP" altLang="en-US" sz="1733" b="1" dirty="0">
                <a:solidFill>
                  <a:prstClr val="black"/>
                </a:solidFill>
                <a:latin typeface="ＭＳ ゴシック" panose="020B0609070205080204" pitchFamily="49" charset="-128"/>
                <a:ea typeface="ＭＳ ゴシック" panose="020B0609070205080204" pitchFamily="49" charset="-128"/>
              </a:rPr>
              <a:t>具体的取組</a:t>
            </a:r>
            <a:r>
              <a:rPr lang="en-US" altLang="ja-JP" sz="1733" b="1" dirty="0">
                <a:solidFill>
                  <a:prstClr val="black"/>
                </a:solidFill>
                <a:latin typeface="ＭＳ ゴシック" panose="020B0609070205080204" pitchFamily="49" charset="-128"/>
                <a:ea typeface="ＭＳ ゴシック" panose="020B0609070205080204" pitchFamily="49" charset="-128"/>
              </a:rPr>
              <a:t>】</a:t>
            </a:r>
          </a:p>
          <a:p>
            <a:pPr fontAlgn="auto">
              <a:spcBef>
                <a:spcPts val="650"/>
              </a:spcBef>
              <a:spcAft>
                <a:spcPts val="0"/>
              </a:spcAft>
            </a:pPr>
            <a:r>
              <a:rPr lang="ja-JP" altLang="en-US" sz="1733" b="1" dirty="0">
                <a:solidFill>
                  <a:prstClr val="black"/>
                </a:solidFill>
                <a:latin typeface="ＭＳ ゴシック" panose="020B0609070205080204" pitchFamily="49" charset="-128"/>
                <a:ea typeface="ＭＳ ゴシック" panose="020B0609070205080204" pitchFamily="49" charset="-128"/>
              </a:rPr>
              <a:t>　  </a:t>
            </a:r>
            <a:r>
              <a:rPr lang="en-US" altLang="ja-JP" sz="1733" b="1" dirty="0">
                <a:solidFill>
                  <a:prstClr val="black"/>
                </a:solidFill>
                <a:latin typeface="ＭＳ ゴシック" panose="020B0609070205080204" pitchFamily="49" charset="-128"/>
                <a:ea typeface="ＭＳ ゴシック" panose="020B0609070205080204" pitchFamily="49" charset="-128"/>
              </a:rPr>
              <a:t>(a)</a:t>
            </a:r>
            <a:r>
              <a:rPr lang="ja-JP" altLang="en-US" sz="1733" b="1" dirty="0">
                <a:solidFill>
                  <a:prstClr val="black"/>
                </a:solidFill>
                <a:latin typeface="ＭＳ ゴシック" panose="020B0609070205080204" pitchFamily="49" charset="-128"/>
                <a:ea typeface="ＭＳ ゴシック" panose="020B0609070205080204" pitchFamily="49" charset="-128"/>
              </a:rPr>
              <a:t>「小さな拠点」の形成の推進　</a:t>
            </a:r>
            <a:endParaRPr lang="en-US" altLang="ja-JP" sz="1733" b="1" dirty="0">
              <a:solidFill>
                <a:prstClr val="black"/>
              </a:solidFill>
              <a:latin typeface="ＭＳ ゴシック" panose="020B0609070205080204" pitchFamily="49" charset="-128"/>
              <a:ea typeface="ＭＳ ゴシック" panose="020B0609070205080204" pitchFamily="49" charset="-128"/>
            </a:endParaRPr>
          </a:p>
          <a:p>
            <a:pPr fontAlgn="auto">
              <a:spcBef>
                <a:spcPts val="650"/>
              </a:spcBef>
              <a:spcAft>
                <a:spcPts val="0"/>
              </a:spcAft>
            </a:pPr>
            <a:r>
              <a:rPr lang="ja-JP" altLang="en-US" sz="1733" b="1" dirty="0">
                <a:solidFill>
                  <a:prstClr val="black"/>
                </a:solidFill>
                <a:latin typeface="ＭＳ ゴシック" panose="020B0609070205080204" pitchFamily="49" charset="-128"/>
                <a:ea typeface="ＭＳ ゴシック" panose="020B0609070205080204" pitchFamily="49" charset="-128"/>
              </a:rPr>
              <a:t>　　</a:t>
            </a:r>
            <a:r>
              <a:rPr lang="en-US" altLang="ja-JP" sz="1733" b="1" dirty="0">
                <a:solidFill>
                  <a:prstClr val="black"/>
                </a:solidFill>
                <a:latin typeface="ＭＳ ゴシック" panose="020B0609070205080204" pitchFamily="49" charset="-128"/>
                <a:ea typeface="ＭＳ ゴシック" panose="020B0609070205080204" pitchFamily="49" charset="-128"/>
              </a:rPr>
              <a:t>(b) </a:t>
            </a:r>
            <a:r>
              <a:rPr lang="ja-JP" altLang="en-US" sz="1733" b="1" dirty="0">
                <a:solidFill>
                  <a:prstClr val="black"/>
                </a:solidFill>
                <a:latin typeface="ＭＳ ゴシック" panose="020B0609070205080204" pitchFamily="49" charset="-128"/>
                <a:ea typeface="ＭＳ ゴシック" panose="020B0609070205080204" pitchFamily="49" charset="-128"/>
              </a:rPr>
              <a:t>安定的・持続的な運営と多機能性を高めるための取組の推進</a:t>
            </a:r>
            <a:endParaRPr lang="en-US" altLang="ja-JP" sz="1733" b="1" dirty="0">
              <a:solidFill>
                <a:prstClr val="black"/>
              </a:solidFill>
              <a:latin typeface="ＭＳ ゴシック" panose="020B0609070205080204" pitchFamily="49" charset="-128"/>
              <a:ea typeface="ＭＳ ゴシック" panose="020B0609070205080204" pitchFamily="49" charset="-128"/>
            </a:endParaRPr>
          </a:p>
          <a:p>
            <a:pPr fontAlgn="auto">
              <a:spcBef>
                <a:spcPts val="650"/>
              </a:spcBef>
              <a:spcAft>
                <a:spcPts val="0"/>
              </a:spcAft>
            </a:pPr>
            <a:r>
              <a:rPr lang="ja-JP" altLang="en-US" sz="1733" b="1" dirty="0">
                <a:solidFill>
                  <a:prstClr val="black"/>
                </a:solidFill>
                <a:latin typeface="ＭＳ ゴシック" panose="020B0609070205080204" pitchFamily="49" charset="-128"/>
                <a:ea typeface="ＭＳ ゴシック" panose="020B0609070205080204" pitchFamily="49" charset="-128"/>
              </a:rPr>
              <a:t>    </a:t>
            </a:r>
            <a:r>
              <a:rPr lang="en-US" altLang="ja-JP" sz="1733" b="1" dirty="0">
                <a:solidFill>
                  <a:prstClr val="black"/>
                </a:solidFill>
                <a:latin typeface="ＭＳ ゴシック" panose="020B0609070205080204" pitchFamily="49" charset="-128"/>
                <a:ea typeface="ＭＳ ゴシック" panose="020B0609070205080204" pitchFamily="49" charset="-128"/>
              </a:rPr>
              <a:t>(c) </a:t>
            </a:r>
            <a:r>
              <a:rPr lang="ja-JP" altLang="en-US" sz="1733" b="1" dirty="0">
                <a:solidFill>
                  <a:prstClr val="black"/>
                </a:solidFill>
                <a:latin typeface="ＭＳ ゴシック" panose="020B0609070205080204" pitchFamily="49" charset="-128"/>
                <a:ea typeface="ＭＳ ゴシック" panose="020B0609070205080204" pitchFamily="49" charset="-128"/>
              </a:rPr>
              <a:t>過疎対策の推進</a:t>
            </a:r>
            <a:endParaRPr lang="en-US" altLang="ja-JP" sz="1733" b="1" dirty="0">
              <a:solidFill>
                <a:prstClr val="black"/>
              </a:solidFill>
              <a:latin typeface="ＭＳ ゴシック" panose="020B0609070205080204" pitchFamily="49" charset="-128"/>
              <a:ea typeface="ＭＳ ゴシック" panose="020B0609070205080204" pitchFamily="49" charset="-128"/>
            </a:endParaRPr>
          </a:p>
          <a:p>
            <a:pPr fontAlgn="auto">
              <a:spcBef>
                <a:spcPts val="650"/>
              </a:spcBef>
              <a:spcAft>
                <a:spcPts val="0"/>
              </a:spcAft>
            </a:pPr>
            <a:endParaRPr lang="en-US" altLang="ja-JP" sz="1733" b="1" dirty="0">
              <a:solidFill>
                <a:prstClr val="black"/>
              </a:solidFill>
              <a:latin typeface="ＭＳ ゴシック" panose="020B0609070205080204" pitchFamily="49" charset="-128"/>
              <a:ea typeface="ＭＳ ゴシック" panose="020B0609070205080204" pitchFamily="49" charset="-128"/>
            </a:endParaRPr>
          </a:p>
          <a:p>
            <a:pPr fontAlgn="auto">
              <a:spcBef>
                <a:spcPts val="650"/>
              </a:spcBef>
              <a:spcAft>
                <a:spcPts val="0"/>
              </a:spcAft>
            </a:pPr>
            <a:endParaRPr lang="en-US" altLang="ja-JP" sz="1733" b="1" dirty="0">
              <a:solidFill>
                <a:prstClr val="black"/>
              </a:solidFill>
              <a:latin typeface="ＭＳ ゴシック" panose="020B0609070205080204" pitchFamily="49" charset="-128"/>
              <a:ea typeface="ＭＳ ゴシック" panose="020B0609070205080204" pitchFamily="49" charset="-128"/>
            </a:endParaRPr>
          </a:p>
          <a:p>
            <a:pPr fontAlgn="auto">
              <a:spcBef>
                <a:spcPts val="650"/>
              </a:spcBef>
              <a:spcAft>
                <a:spcPts val="0"/>
              </a:spcAft>
            </a:pPr>
            <a:endParaRPr lang="en-US" altLang="ja-JP" sz="1733" b="1" dirty="0">
              <a:solidFill>
                <a:prstClr val="black"/>
              </a:solidFill>
              <a:latin typeface="ＭＳ ゴシック" panose="020B0609070205080204" pitchFamily="49" charset="-128"/>
              <a:ea typeface="ＭＳ ゴシック" panose="020B0609070205080204" pitchFamily="49" charset="-128"/>
            </a:endParaRPr>
          </a:p>
          <a:p>
            <a:pPr fontAlgn="auto">
              <a:spcBef>
                <a:spcPts val="650"/>
              </a:spcBef>
              <a:spcAft>
                <a:spcPts val="0"/>
              </a:spcAft>
            </a:pPr>
            <a:endParaRPr lang="en-US" altLang="ja-JP" sz="1733" b="1" dirty="0">
              <a:solidFill>
                <a:prstClr val="black"/>
              </a:solidFill>
              <a:latin typeface="ＭＳ ゴシック" panose="020B0609070205080204" pitchFamily="49" charset="-128"/>
              <a:ea typeface="ＭＳ ゴシック" panose="020B0609070205080204" pitchFamily="49" charset="-128"/>
            </a:endParaRPr>
          </a:p>
          <a:p>
            <a:pPr fontAlgn="auto">
              <a:spcBef>
                <a:spcPts val="650"/>
              </a:spcBef>
              <a:spcAft>
                <a:spcPts val="0"/>
              </a:spcAft>
            </a:pPr>
            <a:endParaRPr lang="en-US" altLang="ja-JP" sz="1733" b="1" dirty="0">
              <a:solidFill>
                <a:prstClr val="black"/>
              </a:solidFill>
              <a:latin typeface="ＭＳ ゴシック" panose="020B0609070205080204" pitchFamily="49" charset="-128"/>
              <a:ea typeface="ＭＳ ゴシック" panose="020B0609070205080204" pitchFamily="49" charset="-128"/>
            </a:endParaRPr>
          </a:p>
          <a:p>
            <a:pPr fontAlgn="auto">
              <a:spcBef>
                <a:spcPts val="650"/>
              </a:spcBef>
              <a:spcAft>
                <a:spcPts val="0"/>
              </a:spcAft>
            </a:pPr>
            <a:endParaRPr lang="en-US" altLang="ja-JP" sz="1733" b="1" dirty="0">
              <a:solidFill>
                <a:prstClr val="black"/>
              </a:solidFill>
              <a:latin typeface="ＭＳ ゴシック" panose="020B0609070205080204" pitchFamily="49" charset="-128"/>
              <a:ea typeface="ＭＳ ゴシック" panose="020B0609070205080204" pitchFamily="49" charset="-128"/>
            </a:endParaRPr>
          </a:p>
        </p:txBody>
      </p:sp>
      <p:sp>
        <p:nvSpPr>
          <p:cNvPr id="4" name="正方形/長方形 3"/>
          <p:cNvSpPr/>
          <p:nvPr/>
        </p:nvSpPr>
        <p:spPr>
          <a:xfrm>
            <a:off x="281393" y="5276024"/>
            <a:ext cx="9279325" cy="1052098"/>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r>
              <a:rPr lang="ja-JP" altLang="en-US" sz="1600" b="1" dirty="0">
                <a:solidFill>
                  <a:prstClr val="black"/>
                </a:solidFill>
                <a:latin typeface="ＭＳ Ｐゴシック" panose="020B0600070205080204" pitchFamily="50" charset="-128"/>
                <a:ea typeface="ＭＳ Ｐゴシック" panose="020B0600070205080204" pitchFamily="50" charset="-128"/>
              </a:rPr>
              <a:t>デジタル田園都市国家構想総合戦略（</a:t>
            </a:r>
            <a:r>
              <a:rPr lang="en-US" altLang="ja-JP" sz="1600" b="1" dirty="0">
                <a:solidFill>
                  <a:prstClr val="black"/>
                </a:solidFill>
                <a:latin typeface="ＭＳ Ｐゴシック" panose="020B0600070205080204" pitchFamily="50" charset="-128"/>
                <a:ea typeface="ＭＳ Ｐゴシック" panose="020B0600070205080204" pitchFamily="50" charset="-128"/>
              </a:rPr>
              <a:t>R</a:t>
            </a:r>
            <a:r>
              <a:rPr lang="ja-JP" altLang="en-US" sz="1600" b="1" dirty="0">
                <a:solidFill>
                  <a:prstClr val="black"/>
                </a:solidFill>
                <a:latin typeface="ＭＳ Ｐゴシック" panose="020B0600070205080204" pitchFamily="50" charset="-128"/>
                <a:ea typeface="ＭＳ Ｐゴシック" panose="020B0600070205080204" pitchFamily="50" charset="-128"/>
              </a:rPr>
              <a:t>４年</a:t>
            </a:r>
            <a:r>
              <a:rPr lang="en-US" altLang="ja-JP" sz="1600" b="1" dirty="0">
                <a:solidFill>
                  <a:prstClr val="black"/>
                </a:solidFill>
                <a:latin typeface="ＭＳ Ｐゴシック" panose="020B0600070205080204" pitchFamily="50" charset="-128"/>
                <a:ea typeface="ＭＳ Ｐゴシック" panose="020B0600070205080204" pitchFamily="50" charset="-128"/>
              </a:rPr>
              <a:t>12</a:t>
            </a:r>
            <a:r>
              <a:rPr lang="ja-JP" altLang="en-US" sz="1600" b="1" dirty="0">
                <a:solidFill>
                  <a:prstClr val="black"/>
                </a:solidFill>
                <a:latin typeface="ＭＳ Ｐゴシック" panose="020B0600070205080204" pitchFamily="50" charset="-128"/>
                <a:ea typeface="ＭＳ Ｐゴシック" panose="020B0600070205080204" pitchFamily="50" charset="-128"/>
              </a:rPr>
              <a:t>月閣議決定）（抜粋）</a:t>
            </a:r>
            <a:endParaRPr lang="en-US" altLang="ja-JP" sz="1600" dirty="0">
              <a:solidFill>
                <a:prstClr val="black"/>
              </a:solidFill>
              <a:latin typeface="ＭＳ Ｐゴシック" panose="020B0600070205080204" pitchFamily="50" charset="-128"/>
              <a:ea typeface="ＭＳ Ｐゴシック" panose="020B0600070205080204" pitchFamily="50" charset="-128"/>
            </a:endParaRPr>
          </a:p>
          <a:p>
            <a:pPr fontAlgn="auto">
              <a:spcBef>
                <a:spcPts val="0"/>
              </a:spcBef>
              <a:spcAft>
                <a:spcPts val="0"/>
              </a:spcAft>
            </a:pPr>
            <a:r>
              <a:rPr lang="en-US" altLang="ja-JP" sz="1600" dirty="0">
                <a:solidFill>
                  <a:prstClr val="black"/>
                </a:solidFill>
                <a:latin typeface="ＭＳ Ｐゴシック" panose="020B0600070205080204" pitchFamily="50" charset="-128"/>
                <a:ea typeface="ＭＳ Ｐゴシック" panose="020B0600070205080204" pitchFamily="50" charset="-128"/>
              </a:rPr>
              <a:t>【</a:t>
            </a:r>
            <a:r>
              <a:rPr lang="ja-JP" altLang="en-US" sz="1600" dirty="0">
                <a:solidFill>
                  <a:prstClr val="black"/>
                </a:solidFill>
                <a:latin typeface="ＭＳ Ｐゴシック" panose="020B0600070205080204" pitchFamily="50" charset="-128"/>
                <a:ea typeface="ＭＳ Ｐゴシック" panose="020B0600070205080204" pitchFamily="50" charset="-128"/>
              </a:rPr>
              <a:t>重要業績評価指標</a:t>
            </a:r>
            <a:r>
              <a:rPr lang="en-US" altLang="ja-JP" sz="1600" dirty="0">
                <a:solidFill>
                  <a:prstClr val="black"/>
                </a:solidFill>
                <a:latin typeface="ＭＳ Ｐゴシック" panose="020B0600070205080204" pitchFamily="50" charset="-128"/>
                <a:ea typeface="ＭＳ Ｐゴシック" panose="020B0600070205080204" pitchFamily="50" charset="-128"/>
              </a:rPr>
              <a:t>】</a:t>
            </a:r>
          </a:p>
          <a:p>
            <a:pPr marL="173038" indent="-173038" fontAlgn="auto">
              <a:spcBef>
                <a:spcPts val="0"/>
              </a:spcBef>
              <a:spcAft>
                <a:spcPts val="0"/>
              </a:spcAft>
            </a:pPr>
            <a:r>
              <a:rPr lang="ja-JP" altLang="en-US" sz="1600" dirty="0">
                <a:solidFill>
                  <a:prstClr val="black"/>
                </a:solidFill>
                <a:latin typeface="ＭＳ Ｐゴシック" panose="020B0600070205080204" pitchFamily="50" charset="-128"/>
                <a:ea typeface="ＭＳ Ｐゴシック" panose="020B0600070205080204" pitchFamily="50" charset="-128"/>
              </a:rPr>
              <a:t>■地域運営組織が運営する「小さな拠点」の形成数</a:t>
            </a:r>
            <a:endParaRPr lang="en-US" altLang="ja-JP" sz="1600" dirty="0">
              <a:solidFill>
                <a:prstClr val="black"/>
              </a:solidFill>
              <a:latin typeface="ＭＳ Ｐゴシック" panose="020B0600070205080204" pitchFamily="50" charset="-128"/>
              <a:ea typeface="ＭＳ Ｐゴシック" panose="020B0600070205080204" pitchFamily="50" charset="-128"/>
            </a:endParaRPr>
          </a:p>
          <a:p>
            <a:pPr marL="173038" indent="-173038" fontAlgn="auto">
              <a:spcBef>
                <a:spcPts val="0"/>
              </a:spcBef>
              <a:spcAft>
                <a:spcPts val="0"/>
              </a:spcAft>
            </a:pPr>
            <a:r>
              <a:rPr lang="ja-JP" altLang="en-US" sz="1600" dirty="0">
                <a:solidFill>
                  <a:prstClr val="black"/>
                </a:solidFill>
                <a:latin typeface="ＭＳ Ｐゴシック" panose="020B0600070205080204" pitchFamily="50" charset="-128"/>
                <a:ea typeface="ＭＳ Ｐゴシック" panose="020B0600070205080204" pitchFamily="50" charset="-128"/>
              </a:rPr>
              <a:t>　</a:t>
            </a:r>
            <a:r>
              <a:rPr lang="en-US" altLang="ja-JP" sz="1600" dirty="0">
                <a:solidFill>
                  <a:prstClr val="black"/>
                </a:solidFill>
                <a:latin typeface="ＭＳ Ｐゴシック" panose="020B0600070205080204" pitchFamily="50" charset="-128"/>
                <a:ea typeface="ＭＳ Ｐゴシック" panose="020B0600070205080204" pitchFamily="50" charset="-128"/>
              </a:rPr>
              <a:t>1,800 </a:t>
            </a:r>
            <a:r>
              <a:rPr lang="ja-JP" altLang="en-US" sz="1600" dirty="0">
                <a:solidFill>
                  <a:prstClr val="black"/>
                </a:solidFill>
                <a:latin typeface="ＭＳ Ｐゴシック" panose="020B0600070205080204" pitchFamily="50" charset="-128"/>
                <a:ea typeface="ＭＳ Ｐゴシック" panose="020B0600070205080204" pitchFamily="50" charset="-128"/>
              </a:rPr>
              <a:t>箇所（</a:t>
            </a:r>
            <a:r>
              <a:rPr lang="en-US" altLang="ja-JP" sz="1600" dirty="0">
                <a:solidFill>
                  <a:prstClr val="black"/>
                </a:solidFill>
                <a:latin typeface="ＭＳ Ｐゴシック" panose="020B0600070205080204" pitchFamily="50" charset="-128"/>
                <a:ea typeface="ＭＳ Ｐゴシック" panose="020B0600070205080204" pitchFamily="50" charset="-128"/>
              </a:rPr>
              <a:t>2027 </a:t>
            </a:r>
            <a:r>
              <a:rPr lang="ja-JP" altLang="en-US" sz="1600" dirty="0">
                <a:solidFill>
                  <a:prstClr val="black"/>
                </a:solidFill>
                <a:latin typeface="ＭＳ Ｐゴシック" panose="020B0600070205080204" pitchFamily="50" charset="-128"/>
                <a:ea typeface="ＭＳ Ｐゴシック" panose="020B0600070205080204" pitchFamily="50" charset="-128"/>
              </a:rPr>
              <a:t>年度まで）</a:t>
            </a:r>
            <a:endParaRPr lang="en-US" altLang="ja-JP" sz="1600" dirty="0">
              <a:solidFill>
                <a:srgbClr val="FF0000"/>
              </a:solidFill>
              <a:latin typeface="ＭＳ Ｐゴシック" panose="020B0600070205080204" pitchFamily="50" charset="-128"/>
              <a:ea typeface="ＭＳ Ｐゴシック" panose="020B0600070205080204" pitchFamily="50" charset="-128"/>
            </a:endParaRPr>
          </a:p>
        </p:txBody>
      </p:sp>
      <p:sp>
        <p:nvSpPr>
          <p:cNvPr id="3" name="テキスト ボックス 2"/>
          <p:cNvSpPr txBox="1"/>
          <p:nvPr/>
        </p:nvSpPr>
        <p:spPr>
          <a:xfrm>
            <a:off x="-2" y="-1"/>
            <a:ext cx="8336584" cy="425629"/>
          </a:xfrm>
          <a:prstGeom prst="rect">
            <a:avLst/>
          </a:prstGeom>
          <a:noFill/>
        </p:spPr>
        <p:txBody>
          <a:bodyPr wrap="square" rtlCol="0">
            <a:spAutoFit/>
          </a:bodyPr>
          <a:lstStyle/>
          <a:p>
            <a:pPr fontAlgn="auto">
              <a:spcBef>
                <a:spcPts val="0"/>
              </a:spcBef>
              <a:spcAft>
                <a:spcPts val="0"/>
              </a:spcAft>
            </a:pPr>
            <a:r>
              <a:rPr lang="ja-JP" altLang="en-US" sz="2166" dirty="0">
                <a:solidFill>
                  <a:srgbClr val="0070C0"/>
                </a:solidFill>
                <a:latin typeface="+mj-ea"/>
                <a:ea typeface="+mj-ea"/>
              </a:rPr>
              <a:t>　デジタル田園都市国家構想総合戦略（Ｒ４年</a:t>
            </a:r>
            <a:r>
              <a:rPr lang="en-US" altLang="ja-JP" sz="2166" dirty="0">
                <a:solidFill>
                  <a:srgbClr val="0070C0"/>
                </a:solidFill>
                <a:latin typeface="+mj-ea"/>
                <a:ea typeface="+mj-ea"/>
              </a:rPr>
              <a:t>12</a:t>
            </a:r>
            <a:r>
              <a:rPr lang="ja-JP" altLang="en-US" sz="2166" dirty="0">
                <a:solidFill>
                  <a:srgbClr val="0070C0"/>
                </a:solidFill>
                <a:latin typeface="+mj-ea"/>
                <a:ea typeface="+mj-ea"/>
              </a:rPr>
              <a:t>月閣議決定）</a:t>
            </a:r>
            <a:r>
              <a:rPr lang="ja-JP" altLang="ja-JP" sz="2166" dirty="0">
                <a:solidFill>
                  <a:srgbClr val="0070C0"/>
                </a:solidFill>
                <a:latin typeface="+mj-ea"/>
                <a:ea typeface="+mj-ea"/>
              </a:rPr>
              <a:t>（抜粋）</a:t>
            </a:r>
            <a:endParaRPr lang="ja-JP" altLang="en-US" sz="2166" dirty="0">
              <a:solidFill>
                <a:srgbClr val="0070C0"/>
              </a:solidFill>
              <a:latin typeface="+mj-ea"/>
              <a:ea typeface="+mj-ea"/>
            </a:endParaRPr>
          </a:p>
        </p:txBody>
      </p:sp>
      <p:sp>
        <p:nvSpPr>
          <p:cNvPr id="5" name="フッター プレースホルダー 4">
            <a:extLst>
              <a:ext uri="{FF2B5EF4-FFF2-40B4-BE49-F238E27FC236}">
                <a16:creationId xmlns:a16="http://schemas.microsoft.com/office/drawing/2014/main" id="{B94F3F72-FC71-75E3-C099-A15B14BE2E39}"/>
              </a:ext>
            </a:extLst>
          </p:cNvPr>
          <p:cNvSpPr>
            <a:spLocks noGrp="1"/>
          </p:cNvSpPr>
          <p:nvPr>
            <p:ph type="ftr" sz="quarter" idx="11"/>
          </p:nvPr>
        </p:nvSpPr>
        <p:spPr/>
        <p:txBody>
          <a:bodyPr/>
          <a:lstStyle/>
          <a:p>
            <a:endParaRPr lang="en-US" altLang="ja-JP">
              <a:solidFill>
                <a:srgbClr val="000000"/>
              </a:solidFill>
            </a:endParaRPr>
          </a:p>
        </p:txBody>
      </p:sp>
      <p:sp>
        <p:nvSpPr>
          <p:cNvPr id="6" name="スライド番号プレースホルダー 5">
            <a:extLst>
              <a:ext uri="{FF2B5EF4-FFF2-40B4-BE49-F238E27FC236}">
                <a16:creationId xmlns:a16="http://schemas.microsoft.com/office/drawing/2014/main" id="{0C34D3D5-CAD2-2A4E-A8AF-E9F01EDE38C6}"/>
              </a:ext>
            </a:extLst>
          </p:cNvPr>
          <p:cNvSpPr>
            <a:spLocks noGrp="1"/>
          </p:cNvSpPr>
          <p:nvPr>
            <p:ph type="sldNum" sz="quarter" idx="12"/>
          </p:nvPr>
        </p:nvSpPr>
        <p:spPr/>
        <p:txBody>
          <a:bodyPr/>
          <a:lstStyle/>
          <a:p>
            <a:fld id="{0E455E4F-1C3C-4418-94C1-62F004438B6B}" type="slidenum">
              <a:rPr lang="en-US" altLang="ja-JP" smtClean="0">
                <a:solidFill>
                  <a:srgbClr val="000000"/>
                </a:solidFill>
              </a:rPr>
              <a:pPr/>
              <a:t>29</a:t>
            </a:fld>
            <a:endParaRPr lang="en-US" altLang="ja-JP">
              <a:solidFill>
                <a:srgbClr val="000000"/>
              </a:solidFill>
            </a:endParaRPr>
          </a:p>
        </p:txBody>
      </p:sp>
    </p:spTree>
    <p:extLst>
      <p:ext uri="{BB962C8B-B14F-4D97-AF65-F5344CB8AC3E}">
        <p14:creationId xmlns:p14="http://schemas.microsoft.com/office/powerpoint/2010/main" val="37809317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2" y="0"/>
            <a:ext cx="7560000" cy="538868"/>
          </a:xfrm>
        </p:spPr>
        <p:txBody>
          <a:bodyPr/>
          <a:lstStyle/>
          <a:p>
            <a:r>
              <a:rPr kumimoji="1" lang="ja-JP" altLang="en-US" sz="2400" dirty="0"/>
              <a:t>小さな拠点づくりに関する実態調査</a:t>
            </a:r>
          </a:p>
        </p:txBody>
      </p:sp>
      <p:sp>
        <p:nvSpPr>
          <p:cNvPr id="20" name="テキスト ボックス 19"/>
          <p:cNvSpPr txBox="1"/>
          <p:nvPr/>
        </p:nvSpPr>
        <p:spPr>
          <a:xfrm>
            <a:off x="5760000" y="72000"/>
            <a:ext cx="1800000" cy="379591"/>
          </a:xfrm>
          <a:prstGeom prst="rect">
            <a:avLst/>
          </a:prstGeom>
          <a:noFill/>
          <a:ln w="6350">
            <a:solidFill>
              <a:schemeClr val="tx1"/>
            </a:solidFill>
          </a:ln>
        </p:spPr>
        <p:txBody>
          <a:bodyPr wrap="square" bIns="0" rtlCol="0" anchor="ctr" anchorCtr="0">
            <a:spAutoFit/>
          </a:bodyPr>
          <a:lstStyle/>
          <a:p>
            <a:pPr algn="ctr">
              <a:lnSpc>
                <a:spcPts val="1300"/>
              </a:lnSpc>
            </a:pPr>
            <a:r>
              <a:rPr lang="ja-JP" altLang="en-US" sz="1100" dirty="0">
                <a:solidFill>
                  <a:srgbClr val="000000"/>
                </a:solidFill>
              </a:rPr>
              <a:t>内閣府地方創生推進</a:t>
            </a:r>
            <a:endParaRPr lang="en-US" altLang="ja-JP" sz="1100" dirty="0">
              <a:solidFill>
                <a:srgbClr val="000000"/>
              </a:solidFill>
            </a:endParaRPr>
          </a:p>
          <a:p>
            <a:pPr algn="ctr">
              <a:lnSpc>
                <a:spcPts val="1300"/>
              </a:lnSpc>
            </a:pPr>
            <a:r>
              <a:rPr lang="ja-JP" altLang="en-US" sz="1100" dirty="0">
                <a:solidFill>
                  <a:srgbClr val="000000"/>
                </a:solidFill>
              </a:rPr>
              <a:t>事務局資料から抜粋</a:t>
            </a:r>
          </a:p>
        </p:txBody>
      </p:sp>
      <p:sp>
        <p:nvSpPr>
          <p:cNvPr id="13" name="テキスト ボックス 12"/>
          <p:cNvSpPr txBox="1"/>
          <p:nvPr/>
        </p:nvSpPr>
        <p:spPr>
          <a:xfrm>
            <a:off x="487711" y="7273113"/>
            <a:ext cx="9145016" cy="196208"/>
          </a:xfrm>
          <a:prstGeom prst="rect">
            <a:avLst/>
          </a:prstGeom>
          <a:noFill/>
          <a:ln w="6350">
            <a:noFill/>
          </a:ln>
        </p:spPr>
        <p:txBody>
          <a:bodyPr wrap="square" bIns="0" rtlCol="0" anchor="ctr" anchorCtr="0">
            <a:spAutoFit/>
          </a:bodyPr>
          <a:lstStyle/>
          <a:p>
            <a:pPr>
              <a:lnSpc>
                <a:spcPts val="1300"/>
              </a:lnSpc>
            </a:pPr>
            <a:r>
              <a:rPr lang="ja-JP" altLang="en-US" sz="900" dirty="0">
                <a:solidFill>
                  <a:srgbClr val="000000"/>
                </a:solidFill>
              </a:rPr>
              <a:t>出典：「令和５年度小さな拠点の形成に関する実態調査」（令和５年</a:t>
            </a:r>
            <a:r>
              <a:rPr lang="en-US" altLang="ja-JP" sz="900" dirty="0">
                <a:solidFill>
                  <a:srgbClr val="000000"/>
                </a:solidFill>
              </a:rPr>
              <a:t>12</a:t>
            </a:r>
            <a:r>
              <a:rPr lang="ja-JP" altLang="en-US" sz="900" dirty="0">
                <a:solidFill>
                  <a:srgbClr val="000000"/>
                </a:solidFill>
              </a:rPr>
              <a:t>月内閣府地方創生推進事務局）</a:t>
            </a:r>
            <a:r>
              <a:rPr lang="en-US" altLang="ja-JP" sz="900" dirty="0">
                <a:solidFill>
                  <a:srgbClr val="000000"/>
                </a:solidFill>
              </a:rPr>
              <a:t>https://www.chisou.go.jp/sousei/about/chiisanakyoten/chousa/saishin/index.html</a:t>
            </a:r>
            <a:endParaRPr lang="ja-JP" altLang="en-US" sz="900" dirty="0">
              <a:solidFill>
                <a:srgbClr val="000000"/>
              </a:solidFill>
            </a:endParaRPr>
          </a:p>
        </p:txBody>
      </p:sp>
      <p:pic>
        <p:nvPicPr>
          <p:cNvPr id="8" name="図 7">
            <a:extLst>
              <a:ext uri="{FF2B5EF4-FFF2-40B4-BE49-F238E27FC236}">
                <a16:creationId xmlns:a16="http://schemas.microsoft.com/office/drawing/2014/main" id="{5303C953-7C6A-1887-6235-6D60E13F5CF6}"/>
              </a:ext>
            </a:extLst>
          </p:cNvPr>
          <p:cNvPicPr>
            <a:picLocks noChangeAspect="1"/>
          </p:cNvPicPr>
          <p:nvPr/>
        </p:nvPicPr>
        <p:blipFill>
          <a:blip r:embed="rId3"/>
          <a:stretch>
            <a:fillRect/>
          </a:stretch>
        </p:blipFill>
        <p:spPr>
          <a:xfrm>
            <a:off x="160536" y="610868"/>
            <a:ext cx="9760222" cy="6509341"/>
          </a:xfrm>
          <a:prstGeom prst="rect">
            <a:avLst/>
          </a:prstGeom>
        </p:spPr>
      </p:pic>
      <p:sp>
        <p:nvSpPr>
          <p:cNvPr id="2" name="フッター プレースホルダー 1">
            <a:extLst>
              <a:ext uri="{FF2B5EF4-FFF2-40B4-BE49-F238E27FC236}">
                <a16:creationId xmlns:a16="http://schemas.microsoft.com/office/drawing/2014/main" id="{9F45C199-1E29-C784-66B5-C06D8DD954C1}"/>
              </a:ext>
            </a:extLst>
          </p:cNvPr>
          <p:cNvSpPr>
            <a:spLocks noGrp="1"/>
          </p:cNvSpPr>
          <p:nvPr>
            <p:ph type="ftr" sz="quarter" idx="11"/>
          </p:nvPr>
        </p:nvSpPr>
        <p:spPr/>
        <p:txBody>
          <a:bodyPr/>
          <a:lstStyle/>
          <a:p>
            <a:endParaRPr lang="en-US" altLang="ja-JP">
              <a:solidFill>
                <a:srgbClr val="000000"/>
              </a:solidFill>
            </a:endParaRPr>
          </a:p>
        </p:txBody>
      </p:sp>
      <p:sp>
        <p:nvSpPr>
          <p:cNvPr id="4" name="スライド番号プレースホルダー 3">
            <a:extLst>
              <a:ext uri="{FF2B5EF4-FFF2-40B4-BE49-F238E27FC236}">
                <a16:creationId xmlns:a16="http://schemas.microsoft.com/office/drawing/2014/main" id="{35CBE156-475D-69D5-3C28-F507A8AABD3A}"/>
              </a:ext>
            </a:extLst>
          </p:cNvPr>
          <p:cNvSpPr>
            <a:spLocks noGrp="1"/>
          </p:cNvSpPr>
          <p:nvPr>
            <p:ph type="sldNum" sz="quarter" idx="12"/>
          </p:nvPr>
        </p:nvSpPr>
        <p:spPr/>
        <p:txBody>
          <a:bodyPr/>
          <a:lstStyle/>
          <a:p>
            <a:fld id="{546713ED-0D50-42B9-98DE-04CFF2F73FDD}" type="slidenum">
              <a:rPr lang="en-US" altLang="ja-JP" smtClean="0">
                <a:solidFill>
                  <a:srgbClr val="000000"/>
                </a:solidFill>
              </a:rPr>
              <a:pPr/>
              <a:t>30</a:t>
            </a:fld>
            <a:endParaRPr lang="en-US" altLang="ja-JP">
              <a:solidFill>
                <a:srgbClr val="000000"/>
              </a:solidFill>
            </a:endParaRPr>
          </a:p>
        </p:txBody>
      </p:sp>
    </p:spTree>
    <p:extLst>
      <p:ext uri="{BB962C8B-B14F-4D97-AF65-F5344CB8AC3E}">
        <p14:creationId xmlns:p14="http://schemas.microsoft.com/office/powerpoint/2010/main" val="11979938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 y="0"/>
            <a:ext cx="8384033" cy="515855"/>
          </a:xfrm>
        </p:spPr>
        <p:txBody>
          <a:bodyPr/>
          <a:lstStyle/>
          <a:p>
            <a:r>
              <a:rPr lang="ja-JP" altLang="en-US" sz="2400" dirty="0"/>
              <a:t>「小さな拠点」に関するこれまでの取組（その１）</a:t>
            </a:r>
          </a:p>
        </p:txBody>
      </p:sp>
      <p:sp>
        <p:nvSpPr>
          <p:cNvPr id="3" name="Rectangle 5"/>
          <p:cNvSpPr txBox="1">
            <a:spLocks noChangeArrowheads="1"/>
          </p:cNvSpPr>
          <p:nvPr/>
        </p:nvSpPr>
        <p:spPr>
          <a:xfrm>
            <a:off x="72000" y="720000"/>
            <a:ext cx="9827517" cy="3480166"/>
          </a:xfrm>
          <a:prstGeom prst="rect">
            <a:avLst/>
          </a:prstGeom>
        </p:spPr>
        <p:txBody>
          <a:bodyP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1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029"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04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058"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eaLnBrk="1" hangingPunct="1">
              <a:lnSpc>
                <a:spcPts val="4116"/>
              </a:lnSpc>
            </a:pPr>
            <a:r>
              <a:rPr lang="ja-JP" altLang="en-US" sz="2400" u="sng" kern="0" dirty="0"/>
              <a:t>（１）ガイドブックの作成、普及</a:t>
            </a:r>
            <a:endParaRPr lang="en-US" altLang="ja-JP" sz="2400" u="sng" kern="0" dirty="0"/>
          </a:p>
          <a:p>
            <a:pPr eaLnBrk="1" hangingPunct="1">
              <a:lnSpc>
                <a:spcPts val="3033"/>
              </a:lnSpc>
            </a:pPr>
            <a:r>
              <a:rPr lang="ja-JP" altLang="en-US" sz="2200" kern="0" dirty="0">
                <a:solidFill>
                  <a:srgbClr val="000000"/>
                </a:solidFill>
                <a:latin typeface="ＭＳ Ｐゴシック"/>
              </a:rPr>
              <a:t> 　</a:t>
            </a:r>
            <a:r>
              <a:rPr lang="ja-JP" altLang="en-US" sz="2200" kern="0" dirty="0">
                <a:solidFill>
                  <a:srgbClr val="000000"/>
                </a:solidFill>
                <a:latin typeface="ＭＳ Ｐゴシック"/>
                <a:ea typeface="ＭＳ Ｐゴシック"/>
              </a:rPr>
              <a:t>・「小さな拠点」</a:t>
            </a:r>
            <a:r>
              <a:rPr lang="ja-JP" altLang="en-US" sz="2200" kern="0" dirty="0" err="1">
                <a:solidFill>
                  <a:srgbClr val="000000"/>
                </a:solidFill>
                <a:latin typeface="ＭＳ Ｐゴシック"/>
                <a:ea typeface="ＭＳ Ｐゴシック"/>
              </a:rPr>
              <a:t>づ</a:t>
            </a:r>
            <a:r>
              <a:rPr lang="ja-JP" altLang="en-US" sz="2200" kern="0" dirty="0">
                <a:solidFill>
                  <a:srgbClr val="000000"/>
                </a:solidFill>
                <a:latin typeface="ＭＳ Ｐゴシック"/>
                <a:ea typeface="ＭＳ Ｐゴシック"/>
              </a:rPr>
              <a:t>くりガイドブック</a:t>
            </a:r>
            <a:endParaRPr lang="en-US" altLang="ja-JP" sz="2200" kern="0" dirty="0">
              <a:solidFill>
                <a:srgbClr val="000000"/>
              </a:solidFill>
              <a:latin typeface="ＭＳ Ｐゴシック"/>
              <a:ea typeface="ＭＳ Ｐゴシック"/>
            </a:endParaRPr>
          </a:p>
          <a:p>
            <a:pPr eaLnBrk="1" hangingPunct="1">
              <a:lnSpc>
                <a:spcPts val="3033"/>
              </a:lnSpc>
            </a:pPr>
            <a:r>
              <a:rPr lang="ja-JP" altLang="en-US" sz="2200" kern="0" dirty="0">
                <a:solidFill>
                  <a:srgbClr val="000000"/>
                </a:solidFill>
                <a:latin typeface="ＭＳ Ｐゴシック"/>
                <a:ea typeface="ＭＳ Ｐゴシック"/>
              </a:rPr>
              <a:t>　　　</a:t>
            </a:r>
            <a:r>
              <a:rPr lang="en-US" altLang="ja-JP" sz="2200" kern="0" dirty="0">
                <a:solidFill>
                  <a:srgbClr val="000000"/>
                </a:solidFill>
                <a:latin typeface="ＭＳ Ｐゴシック"/>
                <a:ea typeface="ＭＳ Ｐゴシック"/>
              </a:rPr>
              <a:t>(H24</a:t>
            </a:r>
            <a:r>
              <a:rPr lang="ja-JP" altLang="en-US" sz="2200" kern="0" dirty="0">
                <a:solidFill>
                  <a:srgbClr val="000000"/>
                </a:solidFill>
                <a:latin typeface="ＭＳ Ｐゴシック"/>
                <a:ea typeface="ＭＳ Ｐゴシック"/>
              </a:rPr>
              <a:t>年度</a:t>
            </a:r>
            <a:r>
              <a:rPr lang="en-US" altLang="ja-JP" sz="2200" kern="0" dirty="0">
                <a:solidFill>
                  <a:srgbClr val="000000"/>
                </a:solidFill>
                <a:latin typeface="ＭＳ Ｐゴシック"/>
                <a:ea typeface="ＭＳ Ｐゴシック"/>
              </a:rPr>
              <a:t>)</a:t>
            </a:r>
            <a:r>
              <a:rPr lang="ja-JP" altLang="en-US" sz="2200" kern="0" dirty="0">
                <a:solidFill>
                  <a:srgbClr val="000000"/>
                </a:solidFill>
                <a:latin typeface="ＭＳ Ｐゴシック"/>
                <a:ea typeface="ＭＳ Ｐゴシック"/>
              </a:rPr>
              <a:t>・・・事例から学ぶ</a:t>
            </a:r>
            <a:endParaRPr lang="en-US" altLang="ja-JP" sz="2200" kern="0" dirty="0">
              <a:solidFill>
                <a:srgbClr val="000000"/>
              </a:solidFill>
              <a:latin typeface="ＭＳ Ｐゴシック"/>
              <a:ea typeface="ＭＳ Ｐゴシック"/>
            </a:endParaRPr>
          </a:p>
          <a:p>
            <a:pPr eaLnBrk="1" hangingPunct="1">
              <a:lnSpc>
                <a:spcPts val="2166"/>
              </a:lnSpc>
            </a:pPr>
            <a:endParaRPr lang="en-US" altLang="ja-JP" sz="2200" kern="0" dirty="0">
              <a:solidFill>
                <a:srgbClr val="000000"/>
              </a:solidFill>
              <a:latin typeface="ＭＳ Ｐゴシック"/>
            </a:endParaRPr>
          </a:p>
          <a:p>
            <a:pPr eaLnBrk="1" hangingPunct="1">
              <a:lnSpc>
                <a:spcPts val="3033"/>
              </a:lnSpc>
            </a:pPr>
            <a:r>
              <a:rPr lang="ja-JP" altLang="en-US" sz="2200" kern="0" dirty="0">
                <a:solidFill>
                  <a:srgbClr val="000000"/>
                </a:solidFill>
                <a:latin typeface="ＭＳ Ｐゴシック"/>
              </a:rPr>
              <a:t> 　</a:t>
            </a:r>
            <a:r>
              <a:rPr lang="ja-JP" altLang="en-US" sz="2200" kern="0" dirty="0">
                <a:solidFill>
                  <a:srgbClr val="000000"/>
                </a:solidFill>
                <a:latin typeface="ＭＳ Ｐゴシック"/>
                <a:ea typeface="ＭＳ Ｐゴシック"/>
              </a:rPr>
              <a:t>・</a:t>
            </a:r>
            <a:r>
              <a:rPr lang="en-US" altLang="ja-JP" sz="2200" kern="0" dirty="0">
                <a:solidFill>
                  <a:srgbClr val="000000"/>
                </a:solidFill>
                <a:latin typeface="ＭＳ Ｐゴシック"/>
                <a:ea typeface="ＭＳ Ｐゴシック"/>
              </a:rPr>
              <a:t>【</a:t>
            </a:r>
            <a:r>
              <a:rPr lang="ja-JP" altLang="en-US" sz="2200" kern="0" dirty="0">
                <a:solidFill>
                  <a:srgbClr val="000000"/>
                </a:solidFill>
                <a:latin typeface="ＭＳ Ｐゴシック"/>
                <a:ea typeface="ＭＳ Ｐゴシック"/>
              </a:rPr>
              <a:t>実践編</a:t>
            </a:r>
            <a:r>
              <a:rPr lang="en-US" altLang="ja-JP" sz="2200" kern="0" dirty="0">
                <a:solidFill>
                  <a:srgbClr val="000000"/>
                </a:solidFill>
                <a:latin typeface="ＭＳ Ｐゴシック"/>
                <a:ea typeface="ＭＳ Ｐゴシック"/>
              </a:rPr>
              <a:t>】</a:t>
            </a:r>
            <a:r>
              <a:rPr lang="ja-JP" altLang="en-US" sz="2200" kern="0" dirty="0">
                <a:solidFill>
                  <a:srgbClr val="000000"/>
                </a:solidFill>
                <a:latin typeface="ＭＳ Ｐゴシック"/>
                <a:ea typeface="ＭＳ Ｐゴシック"/>
              </a:rPr>
              <a:t>「小さな拠点」</a:t>
            </a:r>
            <a:r>
              <a:rPr lang="ja-JP" altLang="en-US" sz="2200" kern="0" dirty="0" err="1">
                <a:solidFill>
                  <a:srgbClr val="000000"/>
                </a:solidFill>
                <a:latin typeface="ＭＳ Ｐゴシック"/>
                <a:ea typeface="ＭＳ Ｐゴシック"/>
              </a:rPr>
              <a:t>づ</a:t>
            </a:r>
            <a:r>
              <a:rPr lang="ja-JP" altLang="en-US" sz="2200" kern="0" dirty="0">
                <a:solidFill>
                  <a:srgbClr val="000000"/>
                </a:solidFill>
                <a:latin typeface="ＭＳ Ｐゴシック"/>
                <a:ea typeface="ＭＳ Ｐゴシック"/>
              </a:rPr>
              <a:t>くりガイドブック</a:t>
            </a:r>
            <a:endParaRPr lang="en-US" altLang="ja-JP" sz="2200" kern="0" dirty="0">
              <a:solidFill>
                <a:srgbClr val="000000"/>
              </a:solidFill>
              <a:latin typeface="ＭＳ Ｐゴシック"/>
              <a:ea typeface="ＭＳ Ｐゴシック"/>
            </a:endParaRPr>
          </a:p>
          <a:p>
            <a:pPr eaLnBrk="1" hangingPunct="1">
              <a:lnSpc>
                <a:spcPts val="3033"/>
              </a:lnSpc>
            </a:pPr>
            <a:r>
              <a:rPr lang="ja-JP" altLang="en-US" sz="2200" kern="0" dirty="0">
                <a:solidFill>
                  <a:srgbClr val="000000"/>
                </a:solidFill>
                <a:latin typeface="ＭＳ Ｐゴシック"/>
                <a:ea typeface="ＭＳ Ｐゴシック"/>
              </a:rPr>
              <a:t>　　　</a:t>
            </a:r>
            <a:r>
              <a:rPr lang="en-US" altLang="ja-JP" sz="2200" kern="0" dirty="0">
                <a:solidFill>
                  <a:srgbClr val="000000"/>
                </a:solidFill>
                <a:latin typeface="ＭＳ Ｐゴシック"/>
                <a:ea typeface="ＭＳ Ｐゴシック"/>
              </a:rPr>
              <a:t>(H26</a:t>
            </a:r>
            <a:r>
              <a:rPr lang="ja-JP" altLang="en-US" sz="2200" kern="0" dirty="0">
                <a:solidFill>
                  <a:srgbClr val="000000"/>
                </a:solidFill>
                <a:latin typeface="ＭＳ Ｐゴシック"/>
                <a:ea typeface="ＭＳ Ｐゴシック"/>
              </a:rPr>
              <a:t>年度</a:t>
            </a:r>
            <a:r>
              <a:rPr lang="en-US" altLang="ja-JP" sz="2200" kern="0" dirty="0">
                <a:solidFill>
                  <a:srgbClr val="000000"/>
                </a:solidFill>
                <a:latin typeface="ＭＳ Ｐゴシック"/>
                <a:ea typeface="ＭＳ Ｐゴシック"/>
              </a:rPr>
              <a:t>)</a:t>
            </a:r>
            <a:r>
              <a:rPr lang="ja-JP" altLang="en-US" sz="2200" kern="0" dirty="0">
                <a:solidFill>
                  <a:srgbClr val="000000"/>
                </a:solidFill>
                <a:latin typeface="ＭＳ Ｐゴシック"/>
                <a:ea typeface="ＭＳ Ｐゴシック"/>
              </a:rPr>
              <a:t>・・・取組ガイド</a:t>
            </a:r>
          </a:p>
          <a:p>
            <a:pPr eaLnBrk="1" hangingPunct="1">
              <a:lnSpc>
                <a:spcPts val="2166"/>
              </a:lnSpc>
            </a:pPr>
            <a:endParaRPr lang="en-US" altLang="ja-JP" sz="3033" kern="0" dirty="0">
              <a:solidFill>
                <a:srgbClr val="000000"/>
              </a:solidFill>
              <a:latin typeface="ＭＳ Ｐゴシック"/>
              <a:ea typeface="ＭＳ Ｐゴシック"/>
            </a:endParaRPr>
          </a:p>
          <a:p>
            <a:pPr eaLnBrk="1" hangingPunct="1">
              <a:lnSpc>
                <a:spcPts val="2166"/>
              </a:lnSpc>
            </a:pPr>
            <a:endParaRPr lang="en-US" altLang="ja-JP" sz="3033" kern="0" dirty="0">
              <a:solidFill>
                <a:srgbClr val="000000"/>
              </a:solidFill>
              <a:latin typeface="ＭＳ Ｐゴシック"/>
              <a:ea typeface="ＭＳ Ｐゴシック"/>
            </a:endParaRPr>
          </a:p>
          <a:p>
            <a:pPr eaLnBrk="1" hangingPunct="1">
              <a:lnSpc>
                <a:spcPts val="2166"/>
              </a:lnSpc>
            </a:pPr>
            <a:endParaRPr lang="en-US" altLang="ja-JP" sz="3033" kern="0" dirty="0">
              <a:solidFill>
                <a:srgbClr val="000000"/>
              </a:solidFill>
              <a:latin typeface="ＭＳ Ｐゴシック"/>
              <a:ea typeface="ＭＳ Ｐゴシック"/>
            </a:endParaRPr>
          </a:p>
          <a:p>
            <a:pPr eaLnBrk="1" hangingPunct="1"/>
            <a:endParaRPr lang="ja-JP" altLang="en-US" sz="3900" kern="0" dirty="0"/>
          </a:p>
        </p:txBody>
      </p:sp>
      <p:pic>
        <p:nvPicPr>
          <p:cNvPr id="4" name="図 3"/>
          <p:cNvPicPr>
            <a:picLocks noChangeAspect="1"/>
          </p:cNvPicPr>
          <p:nvPr/>
        </p:nvPicPr>
        <p:blipFill>
          <a:blip r:embed="rId3"/>
          <a:stretch>
            <a:fillRect/>
          </a:stretch>
        </p:blipFill>
        <p:spPr>
          <a:xfrm>
            <a:off x="5940000" y="900000"/>
            <a:ext cx="1563167" cy="2213991"/>
          </a:xfrm>
          <a:prstGeom prst="rect">
            <a:avLst/>
          </a:prstGeom>
        </p:spPr>
      </p:pic>
      <p:pic>
        <p:nvPicPr>
          <p:cNvPr id="5" name="図 4"/>
          <p:cNvPicPr>
            <a:picLocks noChangeAspect="1"/>
          </p:cNvPicPr>
          <p:nvPr/>
        </p:nvPicPr>
        <p:blipFill>
          <a:blip r:embed="rId4"/>
          <a:stretch>
            <a:fillRect/>
          </a:stretch>
        </p:blipFill>
        <p:spPr>
          <a:xfrm>
            <a:off x="7848000" y="900000"/>
            <a:ext cx="1563624" cy="2186178"/>
          </a:xfrm>
          <a:prstGeom prst="rect">
            <a:avLst/>
          </a:prstGeom>
        </p:spPr>
      </p:pic>
      <p:sp>
        <p:nvSpPr>
          <p:cNvPr id="7" name="正方形/長方形 6"/>
          <p:cNvSpPr/>
          <p:nvPr/>
        </p:nvSpPr>
        <p:spPr>
          <a:xfrm>
            <a:off x="0" y="3420000"/>
            <a:ext cx="9709968" cy="6302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733" b="1" dirty="0">
                <a:solidFill>
                  <a:srgbClr val="000000"/>
                </a:solidFill>
              </a:rPr>
              <a:t>「小さな拠点」</a:t>
            </a:r>
            <a:r>
              <a:rPr lang="ja-JP" altLang="en-US" sz="1733" b="1" dirty="0" err="1">
                <a:solidFill>
                  <a:srgbClr val="000000"/>
                </a:solidFill>
              </a:rPr>
              <a:t>づ</a:t>
            </a:r>
            <a:r>
              <a:rPr lang="ja-JP" altLang="en-US" sz="1733" b="1" dirty="0">
                <a:solidFill>
                  <a:srgbClr val="000000"/>
                </a:solidFill>
              </a:rPr>
              <a:t>くりガイドブック掲載ホームページＵＲＬ</a:t>
            </a:r>
            <a:endParaRPr lang="en-US" altLang="ja-JP" sz="1733" b="1" dirty="0">
              <a:solidFill>
                <a:srgbClr val="000000"/>
              </a:solidFill>
            </a:endParaRPr>
          </a:p>
          <a:p>
            <a:pPr algn="ctr"/>
            <a:r>
              <a:rPr lang="en-US" altLang="ja-JP" dirty="0">
                <a:solidFill>
                  <a:srgbClr val="FF0000"/>
                </a:solidFill>
              </a:rPr>
              <a:t>http://www.mlit.go.jp/kokudoseisaku/kokudoseisaku_tk3_guidebook.html</a:t>
            </a:r>
            <a:endParaRPr lang="ja-JP" altLang="en-US" dirty="0">
              <a:solidFill>
                <a:srgbClr val="FF0000"/>
              </a:solidFill>
            </a:endParaRPr>
          </a:p>
        </p:txBody>
      </p:sp>
      <p:sp>
        <p:nvSpPr>
          <p:cNvPr id="12" name="角丸四角形 11"/>
          <p:cNvSpPr>
            <a:spLocks noChangeArrowheads="1"/>
          </p:cNvSpPr>
          <p:nvPr/>
        </p:nvSpPr>
        <p:spPr bwMode="auto">
          <a:xfrm>
            <a:off x="576000" y="4752000"/>
            <a:ext cx="8873595" cy="2436898"/>
          </a:xfrm>
          <a:prstGeom prst="roundRect">
            <a:avLst>
              <a:gd name="adj" fmla="val 9472"/>
            </a:avLst>
          </a:prstGeom>
          <a:noFill/>
          <a:ln w="12700">
            <a:solidFill>
              <a:schemeClr val="tx1">
                <a:lumMod val="100000"/>
                <a:lumOff val="0"/>
              </a:schemeClr>
            </a:solidFill>
            <a:round/>
            <a:headEnd/>
            <a:tailEnd/>
          </a:ln>
          <a:extLst>
            <a:ext uri="{909E8E84-426E-40DD-AFC4-6F175D3DCCD1}">
              <a14:hiddenFill xmlns:a14="http://schemas.microsoft.com/office/drawing/2010/main">
                <a:solidFill>
                  <a:srgbClr val="FFFFFF"/>
                </a:solidFill>
              </a14:hiddenFill>
            </a:ext>
          </a:extLst>
        </p:spPr>
        <p:txBody>
          <a:bodyPr rot="0" vert="horz" wrap="square" lIns="99044" tIns="0" rIns="99044" bIns="0" anchor="ctr" anchorCtr="0" upright="1">
            <a:noAutofit/>
          </a:bodyPr>
          <a:lstStyle/>
          <a:p>
            <a:pPr algn="just">
              <a:spcAft>
                <a:spcPts val="0"/>
              </a:spcAft>
            </a:pPr>
            <a:r>
              <a:rPr lang="ja-JP" altLang="en-US" sz="1516" kern="100" dirty="0">
                <a:solidFill>
                  <a:srgbClr val="000000"/>
                </a:solidFill>
                <a:latin typeface="+mn-ea"/>
                <a:ea typeface="+mn-ea"/>
                <a:cs typeface="Times New Roman" panose="02020603050405020304" pitchFamily="18" charset="0"/>
              </a:rPr>
              <a:t>このガイドブックは、国土交通省国土政策局において、平成</a:t>
            </a:r>
            <a:r>
              <a:rPr lang="en-US" sz="1516" kern="100" dirty="0">
                <a:solidFill>
                  <a:srgbClr val="000000"/>
                </a:solidFill>
                <a:latin typeface="+mn-ea"/>
                <a:ea typeface="+mn-ea"/>
                <a:cs typeface="Times New Roman" panose="02020603050405020304" pitchFamily="18" charset="0"/>
              </a:rPr>
              <a:t>25</a:t>
            </a:r>
            <a:r>
              <a:rPr lang="ja-JP" altLang="en-US" sz="1516" kern="100" dirty="0">
                <a:solidFill>
                  <a:srgbClr val="000000"/>
                </a:solidFill>
                <a:latin typeface="+mn-ea"/>
                <a:ea typeface="+mn-ea"/>
                <a:cs typeface="Times New Roman" panose="02020603050405020304" pitchFamily="18" charset="0"/>
              </a:rPr>
              <a:t>年度・</a:t>
            </a:r>
            <a:r>
              <a:rPr lang="en-US" sz="1516" kern="100" dirty="0">
                <a:solidFill>
                  <a:srgbClr val="000000"/>
                </a:solidFill>
                <a:latin typeface="+mn-ea"/>
                <a:ea typeface="+mn-ea"/>
                <a:cs typeface="Times New Roman" panose="02020603050405020304" pitchFamily="18" charset="0"/>
              </a:rPr>
              <a:t>26</a:t>
            </a:r>
            <a:r>
              <a:rPr lang="ja-JP" altLang="en-US" sz="1516" kern="100" dirty="0">
                <a:solidFill>
                  <a:srgbClr val="000000"/>
                </a:solidFill>
                <a:latin typeface="+mn-ea"/>
                <a:ea typeface="+mn-ea"/>
                <a:cs typeface="Times New Roman" panose="02020603050405020304" pitchFamily="18" charset="0"/>
              </a:rPr>
              <a:t>年度に有識者からなる「集落地域における「小さな拠点」形成推進に関する検討会」を設置し、検討を行った成果をとりまとめたものです。</a:t>
            </a:r>
            <a:endParaRPr lang="ja-JP" altLang="en-US" sz="1516" kern="100" dirty="0">
              <a:latin typeface="+mn-ea"/>
              <a:ea typeface="+mn-ea"/>
              <a:cs typeface="Times New Roman" panose="02020603050405020304" pitchFamily="18" charset="0"/>
            </a:endParaRPr>
          </a:p>
          <a:p>
            <a:pPr indent="123810" algn="just">
              <a:spcBef>
                <a:spcPts val="260"/>
              </a:spcBef>
              <a:spcAft>
                <a:spcPts val="0"/>
              </a:spcAft>
            </a:pPr>
            <a:r>
              <a:rPr lang="en-US" altLang="ja-JP" sz="1516" kern="100" dirty="0">
                <a:solidFill>
                  <a:srgbClr val="000000"/>
                </a:solidFill>
                <a:latin typeface="+mn-ea"/>
                <a:ea typeface="+mn-ea"/>
                <a:cs typeface="Times New Roman" panose="02020603050405020304" pitchFamily="18" charset="0"/>
              </a:rPr>
              <a:t>〔</a:t>
            </a:r>
            <a:r>
              <a:rPr lang="ja-JP" altLang="en-US" sz="1516" kern="100" dirty="0">
                <a:solidFill>
                  <a:srgbClr val="000000"/>
                </a:solidFill>
                <a:latin typeface="+mn-ea"/>
                <a:ea typeface="+mn-ea"/>
                <a:cs typeface="Times New Roman" panose="02020603050405020304" pitchFamily="18" charset="0"/>
              </a:rPr>
              <a:t>検討会委員</a:t>
            </a:r>
            <a:r>
              <a:rPr lang="en-US" altLang="ja-JP" sz="1516" kern="100" dirty="0">
                <a:solidFill>
                  <a:srgbClr val="000000"/>
                </a:solidFill>
                <a:latin typeface="+mn-ea"/>
                <a:ea typeface="+mn-ea"/>
                <a:cs typeface="Times New Roman" panose="02020603050405020304" pitchFamily="18" charset="0"/>
              </a:rPr>
              <a:t>〕</a:t>
            </a:r>
            <a:endParaRPr lang="ja-JP" altLang="en-US" sz="1516" kern="100" dirty="0">
              <a:latin typeface="+mn-ea"/>
              <a:ea typeface="+mn-ea"/>
              <a:cs typeface="Times New Roman" panose="02020603050405020304" pitchFamily="18" charset="0"/>
            </a:endParaRPr>
          </a:p>
          <a:p>
            <a:pPr indent="247620" algn="just">
              <a:spcAft>
                <a:spcPts val="0"/>
              </a:spcAft>
            </a:pPr>
            <a:r>
              <a:rPr lang="ja-JP" altLang="en-US" sz="1516" kern="100" dirty="0">
                <a:solidFill>
                  <a:srgbClr val="000000"/>
                </a:solidFill>
                <a:latin typeface="+mn-ea"/>
                <a:ea typeface="+mn-ea"/>
                <a:cs typeface="Times New Roman" panose="02020603050405020304" pitchFamily="18" charset="0"/>
              </a:rPr>
              <a:t>○小田切　徳美</a:t>
            </a:r>
            <a:r>
              <a:rPr lang="en-US" sz="1516" kern="100" dirty="0">
                <a:solidFill>
                  <a:srgbClr val="000000"/>
                </a:solidFill>
                <a:latin typeface="+mn-ea"/>
                <a:ea typeface="+mn-ea"/>
                <a:cs typeface="Times New Roman" panose="02020603050405020304" pitchFamily="18" charset="0"/>
              </a:rPr>
              <a:t>	</a:t>
            </a:r>
            <a:r>
              <a:rPr lang="ja-JP" altLang="en-US" sz="1516" kern="100" dirty="0">
                <a:solidFill>
                  <a:srgbClr val="000000"/>
                </a:solidFill>
                <a:latin typeface="+mn-ea"/>
                <a:ea typeface="+mn-ea"/>
                <a:cs typeface="Times New Roman" panose="02020603050405020304" pitchFamily="18" charset="0"/>
              </a:rPr>
              <a:t>　　明治大学農学部　教授</a:t>
            </a:r>
            <a:endParaRPr lang="ja-JP" altLang="en-US" sz="1516" kern="100" dirty="0">
              <a:latin typeface="+mn-ea"/>
              <a:ea typeface="+mn-ea"/>
              <a:cs typeface="Times New Roman" panose="02020603050405020304" pitchFamily="18" charset="0"/>
            </a:endParaRPr>
          </a:p>
          <a:p>
            <a:pPr marL="447675" algn="just">
              <a:spcAft>
                <a:spcPts val="0"/>
              </a:spcAft>
            </a:pPr>
            <a:r>
              <a:rPr lang="ja-JP" altLang="en-US" sz="1516" kern="100" dirty="0">
                <a:solidFill>
                  <a:srgbClr val="000000"/>
                </a:solidFill>
                <a:latin typeface="+mn-ea"/>
                <a:ea typeface="+mn-ea"/>
                <a:cs typeface="Times New Roman" panose="02020603050405020304" pitchFamily="18" charset="0"/>
              </a:rPr>
              <a:t>中塚　雅也</a:t>
            </a:r>
            <a:r>
              <a:rPr lang="en-US" sz="1516" kern="100" dirty="0">
                <a:solidFill>
                  <a:srgbClr val="000000"/>
                </a:solidFill>
                <a:latin typeface="+mn-ea"/>
                <a:ea typeface="+mn-ea"/>
                <a:cs typeface="Times New Roman" panose="02020603050405020304" pitchFamily="18" charset="0"/>
              </a:rPr>
              <a:t>	</a:t>
            </a:r>
            <a:r>
              <a:rPr lang="ja-JP" altLang="en-US" sz="1516" kern="100" dirty="0">
                <a:solidFill>
                  <a:srgbClr val="000000"/>
                </a:solidFill>
                <a:latin typeface="+mn-ea"/>
                <a:ea typeface="+mn-ea"/>
                <a:cs typeface="Times New Roman" panose="02020603050405020304" pitchFamily="18" charset="0"/>
              </a:rPr>
              <a:t>　　神戸大学大学院農学研究科　准教授</a:t>
            </a:r>
            <a:endParaRPr lang="ja-JP" altLang="en-US" sz="1516" kern="100" dirty="0">
              <a:latin typeface="+mn-ea"/>
              <a:ea typeface="+mn-ea"/>
              <a:cs typeface="Times New Roman" panose="02020603050405020304" pitchFamily="18" charset="0"/>
            </a:endParaRPr>
          </a:p>
          <a:p>
            <a:pPr marL="142875" indent="304800" algn="just">
              <a:spcAft>
                <a:spcPts val="0"/>
              </a:spcAft>
            </a:pPr>
            <a:r>
              <a:rPr lang="ja-JP" altLang="en-US" sz="1516" kern="100" dirty="0">
                <a:solidFill>
                  <a:srgbClr val="000000"/>
                </a:solidFill>
                <a:latin typeface="+mn-ea"/>
                <a:ea typeface="+mn-ea"/>
                <a:cs typeface="Times New Roman" panose="02020603050405020304" pitchFamily="18" charset="0"/>
              </a:rPr>
              <a:t>沼尾　波子</a:t>
            </a:r>
            <a:r>
              <a:rPr lang="en-US" sz="1516" kern="100" dirty="0">
                <a:solidFill>
                  <a:srgbClr val="000000"/>
                </a:solidFill>
                <a:latin typeface="+mn-ea"/>
                <a:ea typeface="+mn-ea"/>
                <a:cs typeface="Times New Roman" panose="02020603050405020304" pitchFamily="18" charset="0"/>
              </a:rPr>
              <a:t>	</a:t>
            </a:r>
            <a:r>
              <a:rPr lang="ja-JP" altLang="en-US" sz="1516" kern="100" dirty="0">
                <a:solidFill>
                  <a:srgbClr val="000000"/>
                </a:solidFill>
                <a:latin typeface="+mn-ea"/>
                <a:ea typeface="+mn-ea"/>
                <a:cs typeface="Times New Roman" panose="02020603050405020304" pitchFamily="18" charset="0"/>
              </a:rPr>
              <a:t>　　日本大学経済学部　教授</a:t>
            </a:r>
            <a:endParaRPr lang="ja-JP" altLang="en-US" sz="1516" kern="100" dirty="0">
              <a:latin typeface="+mn-ea"/>
              <a:ea typeface="+mn-ea"/>
              <a:cs typeface="Times New Roman" panose="02020603050405020304" pitchFamily="18" charset="0"/>
            </a:endParaRPr>
          </a:p>
          <a:p>
            <a:pPr marL="142875" indent="304800" algn="just">
              <a:spcAft>
                <a:spcPts val="0"/>
              </a:spcAft>
            </a:pPr>
            <a:r>
              <a:rPr lang="ja-JP" altLang="en-US" sz="1516" kern="100" dirty="0">
                <a:solidFill>
                  <a:srgbClr val="000000"/>
                </a:solidFill>
                <a:latin typeface="+mn-ea"/>
                <a:ea typeface="+mn-ea"/>
                <a:cs typeface="Times New Roman" panose="02020603050405020304" pitchFamily="18" charset="0"/>
              </a:rPr>
              <a:t>平井　太郎</a:t>
            </a:r>
            <a:r>
              <a:rPr lang="en-US" sz="1516" kern="100" dirty="0">
                <a:solidFill>
                  <a:srgbClr val="000000"/>
                </a:solidFill>
                <a:latin typeface="+mn-ea"/>
                <a:ea typeface="+mn-ea"/>
                <a:cs typeface="Times New Roman" panose="02020603050405020304" pitchFamily="18" charset="0"/>
              </a:rPr>
              <a:t>	</a:t>
            </a:r>
            <a:r>
              <a:rPr lang="ja-JP" altLang="en-US" sz="1516" kern="100" dirty="0">
                <a:solidFill>
                  <a:srgbClr val="000000"/>
                </a:solidFill>
                <a:latin typeface="+mn-ea"/>
                <a:ea typeface="+mn-ea"/>
                <a:cs typeface="Times New Roman" panose="02020603050405020304" pitchFamily="18" charset="0"/>
              </a:rPr>
              <a:t>　　弘前大学大学院地域社会研究科　准教授</a:t>
            </a:r>
            <a:endParaRPr lang="ja-JP" altLang="en-US" sz="1516" kern="100" dirty="0">
              <a:latin typeface="+mn-ea"/>
              <a:ea typeface="+mn-ea"/>
              <a:cs typeface="Times New Roman" panose="02020603050405020304" pitchFamily="18" charset="0"/>
            </a:endParaRPr>
          </a:p>
          <a:p>
            <a:pPr marL="142875" indent="304800" algn="just">
              <a:spcAft>
                <a:spcPts val="0"/>
              </a:spcAft>
            </a:pPr>
            <a:r>
              <a:rPr lang="ja-JP" altLang="en-US" sz="1516" kern="100" dirty="0">
                <a:solidFill>
                  <a:srgbClr val="000000"/>
                </a:solidFill>
                <a:latin typeface="+mn-ea"/>
                <a:ea typeface="+mn-ea"/>
                <a:cs typeface="Times New Roman" panose="02020603050405020304" pitchFamily="18" charset="0"/>
              </a:rPr>
              <a:t>藤山　浩</a:t>
            </a:r>
            <a:r>
              <a:rPr lang="en-US" sz="1516" kern="100" dirty="0">
                <a:solidFill>
                  <a:srgbClr val="000000"/>
                </a:solidFill>
                <a:latin typeface="+mn-ea"/>
                <a:ea typeface="+mn-ea"/>
                <a:cs typeface="Times New Roman" panose="02020603050405020304" pitchFamily="18" charset="0"/>
              </a:rPr>
              <a:t>	</a:t>
            </a:r>
            <a:r>
              <a:rPr lang="ja-JP" altLang="en-US" sz="1516" kern="100" dirty="0">
                <a:solidFill>
                  <a:srgbClr val="000000"/>
                </a:solidFill>
                <a:latin typeface="+mn-ea"/>
                <a:ea typeface="+mn-ea"/>
                <a:cs typeface="Times New Roman" panose="02020603050405020304" pitchFamily="18" charset="0"/>
              </a:rPr>
              <a:t>　　島根県中山間地域研究センター　研究統括監</a:t>
            </a:r>
            <a:endParaRPr lang="ja-JP" altLang="en-US" sz="1516" kern="100" dirty="0">
              <a:latin typeface="+mn-ea"/>
              <a:ea typeface="+mn-ea"/>
              <a:cs typeface="Times New Roman" panose="02020603050405020304" pitchFamily="18" charset="0"/>
            </a:endParaRPr>
          </a:p>
          <a:p>
            <a:pPr marL="142875" indent="304800" algn="just">
              <a:spcAft>
                <a:spcPts val="0"/>
              </a:spcAft>
            </a:pPr>
            <a:r>
              <a:rPr lang="ja-JP" altLang="en-US" sz="1516" kern="100" dirty="0">
                <a:solidFill>
                  <a:srgbClr val="000000"/>
                </a:solidFill>
                <a:latin typeface="+mn-ea"/>
                <a:ea typeface="+mn-ea"/>
                <a:cs typeface="Times New Roman" panose="02020603050405020304" pitchFamily="18" charset="0"/>
              </a:rPr>
              <a:t>前田　和彦</a:t>
            </a:r>
            <a:r>
              <a:rPr lang="en-US" sz="1516" kern="100" dirty="0">
                <a:solidFill>
                  <a:srgbClr val="000000"/>
                </a:solidFill>
                <a:latin typeface="+mn-ea"/>
                <a:ea typeface="+mn-ea"/>
                <a:cs typeface="Times New Roman" panose="02020603050405020304" pitchFamily="18" charset="0"/>
              </a:rPr>
              <a:t>	</a:t>
            </a:r>
            <a:r>
              <a:rPr lang="ja-JP" altLang="en-US" sz="1516" kern="100" dirty="0">
                <a:solidFill>
                  <a:srgbClr val="000000"/>
                </a:solidFill>
                <a:latin typeface="+mn-ea"/>
                <a:ea typeface="+mn-ea"/>
                <a:cs typeface="Times New Roman" panose="02020603050405020304" pitchFamily="18" charset="0"/>
              </a:rPr>
              <a:t>　　高知県産業振興推進部中山間地域対策課　課長</a:t>
            </a:r>
            <a:endParaRPr lang="ja-JP" altLang="en-US" sz="1516" kern="100" dirty="0">
              <a:latin typeface="+mn-ea"/>
              <a:ea typeface="+mn-ea"/>
              <a:cs typeface="Times New Roman" panose="02020603050405020304" pitchFamily="18" charset="0"/>
            </a:endParaRPr>
          </a:p>
          <a:p>
            <a:pPr marL="142875" indent="304800" algn="just">
              <a:spcAft>
                <a:spcPts val="0"/>
              </a:spcAft>
            </a:pPr>
            <a:r>
              <a:rPr lang="ja-JP" altLang="en-US" sz="1516" kern="100" dirty="0">
                <a:solidFill>
                  <a:srgbClr val="000000"/>
                </a:solidFill>
                <a:latin typeface="+mn-ea"/>
                <a:ea typeface="+mn-ea"/>
                <a:cs typeface="Times New Roman" panose="02020603050405020304" pitchFamily="18" charset="0"/>
              </a:rPr>
              <a:t>山口　政幸</a:t>
            </a:r>
            <a:r>
              <a:rPr lang="en-US" sz="1516" kern="100" dirty="0">
                <a:solidFill>
                  <a:srgbClr val="000000"/>
                </a:solidFill>
                <a:latin typeface="+mn-ea"/>
                <a:ea typeface="+mn-ea"/>
                <a:cs typeface="Times New Roman" panose="02020603050405020304" pitchFamily="18" charset="0"/>
              </a:rPr>
              <a:t>	</a:t>
            </a:r>
            <a:r>
              <a:rPr lang="ja-JP" altLang="en-US" sz="1516" kern="100" dirty="0">
                <a:solidFill>
                  <a:srgbClr val="000000"/>
                </a:solidFill>
                <a:latin typeface="+mn-ea"/>
                <a:ea typeface="+mn-ea"/>
                <a:cs typeface="Times New Roman" panose="02020603050405020304" pitchFamily="18" charset="0"/>
              </a:rPr>
              <a:t>　　山形県小国町　副町長　　　　　　　</a:t>
            </a:r>
          </a:p>
        </p:txBody>
      </p:sp>
      <p:sp>
        <p:nvSpPr>
          <p:cNvPr id="13" name="テキスト ボックス 310"/>
          <p:cNvSpPr txBox="1"/>
          <p:nvPr/>
        </p:nvSpPr>
        <p:spPr>
          <a:xfrm>
            <a:off x="6770394" y="5611295"/>
            <a:ext cx="2594311" cy="446386"/>
          </a:xfrm>
          <a:prstGeom prst="bracketPair">
            <a:avLst>
              <a:gd name="adj" fmla="val 30173"/>
            </a:avLst>
          </a:prstGeom>
          <a:solidFill>
            <a:schemeClr val="lt1"/>
          </a:solid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9044" tIns="49522" rIns="99044" bIns="49522" numCol="1" spcCol="0" rtlCol="0" fromWordArt="0" anchor="t" anchorCtr="0" forceAA="0" compatLnSpc="1">
            <a:prstTxWarp prst="textNoShape">
              <a:avLst/>
            </a:prstTxWarp>
            <a:noAutofit/>
          </a:bodyPr>
          <a:lstStyle/>
          <a:p>
            <a:pPr algn="just">
              <a:spcAft>
                <a:spcPts val="0"/>
              </a:spcAft>
            </a:pPr>
            <a:r>
              <a:rPr lang="ja-JP" altLang="en-US" sz="1083" kern="100" dirty="0">
                <a:solidFill>
                  <a:srgbClr val="000000"/>
                </a:solidFill>
                <a:latin typeface="+mn-ea"/>
                <a:cs typeface="Times New Roman" panose="02020603050405020304" pitchFamily="18" charset="0"/>
              </a:rPr>
              <a:t>委員は五十音順、敬称略、○印は座長、</a:t>
            </a:r>
            <a:endParaRPr lang="ja-JP" altLang="en-US" sz="1083" kern="100" dirty="0">
              <a:latin typeface="+mn-ea"/>
              <a:cs typeface="Times New Roman" panose="02020603050405020304" pitchFamily="18" charset="0"/>
            </a:endParaRPr>
          </a:p>
          <a:p>
            <a:pPr algn="just">
              <a:spcAft>
                <a:spcPts val="0"/>
              </a:spcAft>
            </a:pPr>
            <a:r>
              <a:rPr lang="ja-JP" altLang="en-US" sz="1083" kern="100" dirty="0">
                <a:solidFill>
                  <a:srgbClr val="000000"/>
                </a:solidFill>
                <a:latin typeface="+mn-ea"/>
                <a:cs typeface="Times New Roman" panose="02020603050405020304" pitchFamily="18" charset="0"/>
              </a:rPr>
              <a:t>所属・役職等は平成</a:t>
            </a:r>
            <a:r>
              <a:rPr lang="en-US" sz="1083" kern="100" dirty="0">
                <a:solidFill>
                  <a:srgbClr val="000000"/>
                </a:solidFill>
                <a:latin typeface="+mn-ea"/>
                <a:cs typeface="Times New Roman" panose="02020603050405020304" pitchFamily="18" charset="0"/>
              </a:rPr>
              <a:t>27</a:t>
            </a:r>
            <a:r>
              <a:rPr lang="ja-JP" altLang="en-US" sz="1083" kern="100" dirty="0">
                <a:solidFill>
                  <a:srgbClr val="000000"/>
                </a:solidFill>
                <a:latin typeface="+mn-ea"/>
                <a:cs typeface="Times New Roman" panose="02020603050405020304" pitchFamily="18" charset="0"/>
              </a:rPr>
              <a:t>年</a:t>
            </a:r>
            <a:r>
              <a:rPr lang="en-US" sz="1083" kern="100" dirty="0">
                <a:solidFill>
                  <a:srgbClr val="000000"/>
                </a:solidFill>
                <a:latin typeface="+mn-ea"/>
                <a:cs typeface="Times New Roman" panose="02020603050405020304" pitchFamily="18" charset="0"/>
              </a:rPr>
              <a:t>3</a:t>
            </a:r>
            <a:r>
              <a:rPr lang="ja-JP" altLang="en-US" sz="1083" kern="100" dirty="0">
                <a:solidFill>
                  <a:srgbClr val="000000"/>
                </a:solidFill>
                <a:latin typeface="+mn-ea"/>
                <a:cs typeface="Times New Roman" panose="02020603050405020304" pitchFamily="18" charset="0"/>
              </a:rPr>
              <a:t>月末時点</a:t>
            </a:r>
            <a:endParaRPr lang="ja-JP" altLang="en-US" sz="1083" kern="100" dirty="0">
              <a:latin typeface="+mn-ea"/>
              <a:cs typeface="Times New Roman" panose="02020603050405020304" pitchFamily="18" charset="0"/>
            </a:endParaRPr>
          </a:p>
        </p:txBody>
      </p:sp>
      <p:sp>
        <p:nvSpPr>
          <p:cNvPr id="14" name="Rectangle 5"/>
          <p:cNvSpPr txBox="1">
            <a:spLocks noChangeArrowheads="1"/>
          </p:cNvSpPr>
          <p:nvPr/>
        </p:nvSpPr>
        <p:spPr>
          <a:xfrm>
            <a:off x="432000" y="4140000"/>
            <a:ext cx="6205529" cy="675371"/>
          </a:xfrm>
          <a:prstGeom prst="rect">
            <a:avLst/>
          </a:prstGeom>
        </p:spPr>
        <p:txBody>
          <a:bodyP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1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029"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04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058"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eaLnBrk="1" hangingPunct="1">
              <a:lnSpc>
                <a:spcPts val="4116"/>
              </a:lnSpc>
            </a:pPr>
            <a:r>
              <a:rPr lang="ja-JP" altLang="en-US" sz="1733" kern="0" dirty="0">
                <a:solidFill>
                  <a:srgbClr val="000000"/>
                </a:solidFill>
                <a:latin typeface="ＭＳ Ｐゴシック"/>
                <a:ea typeface="ＭＳ Ｐゴシック"/>
              </a:rPr>
              <a:t>（参考）</a:t>
            </a:r>
            <a:r>
              <a:rPr lang="en-US" altLang="ja-JP" sz="1733" kern="0" dirty="0">
                <a:solidFill>
                  <a:srgbClr val="000000"/>
                </a:solidFill>
                <a:latin typeface="ＭＳ Ｐゴシック"/>
                <a:ea typeface="ＭＳ Ｐゴシック"/>
              </a:rPr>
              <a:t>『【</a:t>
            </a:r>
            <a:r>
              <a:rPr lang="ja-JP" altLang="en-US" sz="1733" kern="0" dirty="0">
                <a:solidFill>
                  <a:srgbClr val="000000"/>
                </a:solidFill>
                <a:latin typeface="ＭＳ Ｐゴシック"/>
                <a:ea typeface="ＭＳ Ｐゴシック"/>
              </a:rPr>
              <a:t>実践編</a:t>
            </a:r>
            <a:r>
              <a:rPr lang="en-US" altLang="ja-JP" sz="1733" kern="0" dirty="0">
                <a:solidFill>
                  <a:srgbClr val="000000"/>
                </a:solidFill>
                <a:latin typeface="ＭＳ Ｐゴシック"/>
                <a:ea typeface="ＭＳ Ｐゴシック"/>
              </a:rPr>
              <a:t>】</a:t>
            </a:r>
            <a:r>
              <a:rPr lang="ja-JP" altLang="en-US" sz="1733" kern="0" dirty="0">
                <a:solidFill>
                  <a:srgbClr val="000000"/>
                </a:solidFill>
                <a:latin typeface="ＭＳ Ｐゴシック"/>
                <a:ea typeface="ＭＳ Ｐゴシック"/>
              </a:rPr>
              <a:t>「小さな拠点」</a:t>
            </a:r>
            <a:r>
              <a:rPr lang="ja-JP" altLang="en-US" sz="1733" kern="0" dirty="0" err="1">
                <a:solidFill>
                  <a:srgbClr val="000000"/>
                </a:solidFill>
                <a:latin typeface="ＭＳ Ｐゴシック"/>
                <a:ea typeface="ＭＳ Ｐゴシック"/>
              </a:rPr>
              <a:t>づ</a:t>
            </a:r>
            <a:r>
              <a:rPr lang="ja-JP" altLang="en-US" sz="1733" kern="0" dirty="0">
                <a:solidFill>
                  <a:srgbClr val="000000"/>
                </a:solidFill>
                <a:latin typeface="ＭＳ Ｐゴシック"/>
                <a:ea typeface="ＭＳ Ｐゴシック"/>
              </a:rPr>
              <a:t>くりガイドブック</a:t>
            </a:r>
            <a:r>
              <a:rPr lang="en-US" altLang="ja-JP" sz="1733" kern="0" dirty="0">
                <a:solidFill>
                  <a:srgbClr val="000000"/>
                </a:solidFill>
                <a:latin typeface="ＭＳ Ｐゴシック"/>
                <a:ea typeface="ＭＳ Ｐゴシック"/>
              </a:rPr>
              <a:t>』</a:t>
            </a:r>
            <a:r>
              <a:rPr lang="ja-JP" altLang="en-US" sz="1733" kern="0" dirty="0">
                <a:solidFill>
                  <a:srgbClr val="000000"/>
                </a:solidFill>
                <a:latin typeface="ＭＳ Ｐゴシック"/>
                <a:ea typeface="ＭＳ Ｐゴシック"/>
              </a:rPr>
              <a:t>について</a:t>
            </a:r>
            <a:endParaRPr lang="en-US" altLang="ja-JP" sz="1733" kern="0" dirty="0">
              <a:solidFill>
                <a:srgbClr val="000000"/>
              </a:solidFill>
              <a:latin typeface="ＭＳ Ｐゴシック"/>
              <a:ea typeface="ＭＳ Ｐゴシック"/>
            </a:endParaRPr>
          </a:p>
          <a:p>
            <a:pPr eaLnBrk="1" hangingPunct="1">
              <a:lnSpc>
                <a:spcPts val="2166"/>
              </a:lnSpc>
            </a:pPr>
            <a:endParaRPr lang="en-US" altLang="ja-JP" sz="3033" kern="0" dirty="0">
              <a:solidFill>
                <a:srgbClr val="000000"/>
              </a:solidFill>
              <a:latin typeface="ＭＳ Ｐゴシック"/>
              <a:ea typeface="ＭＳ Ｐゴシック"/>
            </a:endParaRPr>
          </a:p>
          <a:p>
            <a:pPr eaLnBrk="1" hangingPunct="1">
              <a:lnSpc>
                <a:spcPts val="2166"/>
              </a:lnSpc>
            </a:pPr>
            <a:endParaRPr lang="en-US" altLang="ja-JP" sz="3033" kern="0" dirty="0">
              <a:solidFill>
                <a:srgbClr val="000000"/>
              </a:solidFill>
              <a:latin typeface="ＭＳ Ｐゴシック"/>
              <a:ea typeface="ＭＳ Ｐゴシック"/>
            </a:endParaRPr>
          </a:p>
          <a:p>
            <a:pPr eaLnBrk="1" hangingPunct="1"/>
            <a:endParaRPr lang="ja-JP" altLang="en-US" sz="3900" kern="0" dirty="0"/>
          </a:p>
        </p:txBody>
      </p:sp>
      <p:sp>
        <p:nvSpPr>
          <p:cNvPr id="6" name="フッター プレースホルダー 5">
            <a:extLst>
              <a:ext uri="{FF2B5EF4-FFF2-40B4-BE49-F238E27FC236}">
                <a16:creationId xmlns:a16="http://schemas.microsoft.com/office/drawing/2014/main" id="{0F0BB6C9-8FC8-E8AA-A29A-D4B187C3D350}"/>
              </a:ext>
            </a:extLst>
          </p:cNvPr>
          <p:cNvSpPr>
            <a:spLocks noGrp="1"/>
          </p:cNvSpPr>
          <p:nvPr>
            <p:ph type="ftr" sz="quarter" idx="11"/>
          </p:nvPr>
        </p:nvSpPr>
        <p:spPr/>
        <p:txBody>
          <a:bodyPr/>
          <a:lstStyle/>
          <a:p>
            <a:endParaRPr lang="en-US" altLang="ja-JP">
              <a:solidFill>
                <a:srgbClr val="000000"/>
              </a:solidFill>
            </a:endParaRPr>
          </a:p>
        </p:txBody>
      </p:sp>
      <p:sp>
        <p:nvSpPr>
          <p:cNvPr id="8" name="スライド番号プレースホルダー 7">
            <a:extLst>
              <a:ext uri="{FF2B5EF4-FFF2-40B4-BE49-F238E27FC236}">
                <a16:creationId xmlns:a16="http://schemas.microsoft.com/office/drawing/2014/main" id="{BC6A8CBC-1021-6ACD-C353-E5CDCAEC2CB5}"/>
              </a:ext>
            </a:extLst>
          </p:cNvPr>
          <p:cNvSpPr>
            <a:spLocks noGrp="1"/>
          </p:cNvSpPr>
          <p:nvPr>
            <p:ph type="sldNum" sz="quarter" idx="12"/>
          </p:nvPr>
        </p:nvSpPr>
        <p:spPr/>
        <p:txBody>
          <a:bodyPr/>
          <a:lstStyle/>
          <a:p>
            <a:fld id="{58668CC2-41FA-4E06-ADFC-EC4A0D39D016}" type="slidenum">
              <a:rPr lang="en-US" altLang="ja-JP" smtClean="0">
                <a:solidFill>
                  <a:srgbClr val="000000"/>
                </a:solidFill>
              </a:rPr>
              <a:pPr/>
              <a:t>31</a:t>
            </a:fld>
            <a:endParaRPr lang="en-US" altLang="ja-JP">
              <a:solidFill>
                <a:srgbClr val="000000"/>
              </a:solidFill>
            </a:endParaRPr>
          </a:p>
        </p:txBody>
      </p:sp>
    </p:spTree>
    <p:extLst>
      <p:ext uri="{BB962C8B-B14F-4D97-AF65-F5344CB8AC3E}">
        <p14:creationId xmlns:p14="http://schemas.microsoft.com/office/powerpoint/2010/main" val="38739700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8740" y="0"/>
            <a:ext cx="8384033" cy="515855"/>
          </a:xfrm>
        </p:spPr>
        <p:txBody>
          <a:bodyPr/>
          <a:lstStyle/>
          <a:p>
            <a:r>
              <a:rPr lang="ja-JP" altLang="en-US" sz="2400" dirty="0"/>
              <a:t>「小さな拠点」に関するこれまでの取組（その２）</a:t>
            </a:r>
          </a:p>
        </p:txBody>
      </p:sp>
      <p:sp>
        <p:nvSpPr>
          <p:cNvPr id="3" name="Rectangle 5"/>
          <p:cNvSpPr txBox="1">
            <a:spLocks noChangeArrowheads="1"/>
          </p:cNvSpPr>
          <p:nvPr/>
        </p:nvSpPr>
        <p:spPr>
          <a:xfrm>
            <a:off x="72000" y="726239"/>
            <a:ext cx="9827517" cy="6970035"/>
          </a:xfrm>
          <a:prstGeom prst="rect">
            <a:avLst/>
          </a:prstGeom>
        </p:spPr>
        <p:txBody>
          <a:bodyP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1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029"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04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058"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eaLnBrk="1" hangingPunct="1">
              <a:lnSpc>
                <a:spcPts val="3033"/>
              </a:lnSpc>
            </a:pPr>
            <a:r>
              <a:rPr lang="ja-JP" altLang="en-US" sz="2400" u="sng" kern="0" dirty="0"/>
              <a:t>（２）フォーラム等の開催</a:t>
            </a:r>
            <a:endParaRPr lang="en-US" altLang="ja-JP" sz="2400" u="sng" kern="0" dirty="0"/>
          </a:p>
          <a:p>
            <a:pPr indent="85725" eaLnBrk="1" hangingPunct="1">
              <a:lnSpc>
                <a:spcPts val="3033"/>
              </a:lnSpc>
            </a:pPr>
            <a:r>
              <a:rPr lang="ja-JP" altLang="en-US" sz="2400" kern="0" dirty="0"/>
              <a:t>①　</a:t>
            </a:r>
            <a:r>
              <a:rPr lang="ja-JP" altLang="en-US" sz="2400" u="sng" kern="0" dirty="0"/>
              <a:t>「小さな拠点」フォーラムの開催</a:t>
            </a:r>
            <a:endParaRPr lang="en-US" altLang="ja-JP" sz="2400" u="sng" kern="0" dirty="0"/>
          </a:p>
          <a:p>
            <a:pPr indent="361950" eaLnBrk="1" hangingPunct="1">
              <a:lnSpc>
                <a:spcPts val="3033"/>
              </a:lnSpc>
            </a:pPr>
            <a:r>
              <a:rPr lang="ja-JP" altLang="en-US" sz="2000" kern="0" dirty="0">
                <a:solidFill>
                  <a:srgbClr val="000000"/>
                </a:solidFill>
                <a:latin typeface="ＭＳ Ｐゴシック"/>
                <a:ea typeface="ＭＳ Ｐゴシック"/>
              </a:rPr>
              <a:t>・国土交通省主催</a:t>
            </a:r>
            <a:endParaRPr lang="en-US" altLang="ja-JP" sz="2000" kern="0" dirty="0">
              <a:solidFill>
                <a:srgbClr val="000000"/>
              </a:solidFill>
              <a:latin typeface="ＭＳ Ｐゴシック"/>
              <a:ea typeface="ＭＳ Ｐゴシック"/>
            </a:endParaRPr>
          </a:p>
          <a:p>
            <a:pPr indent="542925" eaLnBrk="1" hangingPunct="1">
              <a:lnSpc>
                <a:spcPts val="2000"/>
              </a:lnSpc>
            </a:pPr>
            <a:r>
              <a:rPr lang="en-US" altLang="ja-JP" sz="1400" kern="0" dirty="0">
                <a:solidFill>
                  <a:srgbClr val="000000"/>
                </a:solidFill>
                <a:latin typeface="ＭＳ Ｐゴシック"/>
                <a:ea typeface="ＭＳ Ｐゴシック"/>
              </a:rPr>
              <a:t>H26. 2</a:t>
            </a:r>
            <a:r>
              <a:rPr lang="ja-JP" altLang="en-US" sz="1400" kern="0" dirty="0">
                <a:solidFill>
                  <a:srgbClr val="000000"/>
                </a:solidFill>
                <a:latin typeface="ＭＳ Ｐゴシック"/>
                <a:ea typeface="ＭＳ Ｐゴシック"/>
              </a:rPr>
              <a:t>　「小さな拠点」</a:t>
            </a:r>
            <a:r>
              <a:rPr lang="ja-JP" altLang="en-US" sz="1400" kern="0" dirty="0" err="1">
                <a:solidFill>
                  <a:srgbClr val="000000"/>
                </a:solidFill>
                <a:latin typeface="ＭＳ Ｐゴシック"/>
                <a:ea typeface="ＭＳ Ｐゴシック"/>
              </a:rPr>
              <a:t>づ</a:t>
            </a:r>
            <a:r>
              <a:rPr lang="ja-JP" altLang="en-US" sz="1400" kern="0" dirty="0">
                <a:solidFill>
                  <a:srgbClr val="000000"/>
                </a:solidFill>
                <a:latin typeface="ＭＳ Ｐゴシック"/>
                <a:ea typeface="ＭＳ Ｐゴシック"/>
              </a:rPr>
              <a:t>くりフォーラム</a:t>
            </a:r>
            <a:r>
              <a:rPr lang="en-US" altLang="ja-JP" sz="1400" kern="0" dirty="0">
                <a:solidFill>
                  <a:srgbClr val="000000"/>
                </a:solidFill>
                <a:latin typeface="ＭＳ Ｐゴシック"/>
                <a:ea typeface="ＭＳ Ｐゴシック"/>
              </a:rPr>
              <a:t>in</a:t>
            </a:r>
            <a:r>
              <a:rPr lang="ja-JP" altLang="en-US" sz="1400" kern="0" dirty="0">
                <a:solidFill>
                  <a:srgbClr val="000000"/>
                </a:solidFill>
                <a:latin typeface="ＭＳ Ｐゴシック"/>
                <a:ea typeface="ＭＳ Ｐゴシック"/>
              </a:rPr>
              <a:t>高知</a:t>
            </a:r>
            <a:endParaRPr lang="en-US" altLang="ja-JP" sz="1400" kern="0" dirty="0">
              <a:solidFill>
                <a:srgbClr val="000000"/>
              </a:solidFill>
              <a:latin typeface="ＭＳ Ｐゴシック"/>
              <a:ea typeface="ＭＳ Ｐゴシック"/>
            </a:endParaRPr>
          </a:p>
          <a:p>
            <a:pPr indent="542925" eaLnBrk="1" hangingPunct="1">
              <a:lnSpc>
                <a:spcPts val="2000"/>
              </a:lnSpc>
            </a:pPr>
            <a:r>
              <a:rPr lang="en-US" altLang="ja-JP" sz="1400" kern="0" dirty="0">
                <a:solidFill>
                  <a:srgbClr val="000000"/>
                </a:solidFill>
                <a:latin typeface="ＭＳ Ｐゴシック"/>
                <a:ea typeface="ＭＳ Ｐゴシック"/>
              </a:rPr>
              <a:t>H26.11</a:t>
            </a:r>
            <a:r>
              <a:rPr lang="ja-JP" altLang="en-US" sz="1400" kern="0" dirty="0">
                <a:solidFill>
                  <a:srgbClr val="000000"/>
                </a:solidFill>
                <a:latin typeface="ＭＳ Ｐゴシック"/>
                <a:ea typeface="ＭＳ Ｐゴシック"/>
              </a:rPr>
              <a:t>　「小さな拠点」づくりフォーラム</a:t>
            </a:r>
            <a:r>
              <a:rPr lang="en-US" altLang="ja-JP" sz="1400" kern="0" dirty="0">
                <a:solidFill>
                  <a:srgbClr val="000000"/>
                </a:solidFill>
                <a:latin typeface="ＭＳ Ｐゴシック"/>
                <a:ea typeface="ＭＳ Ｐゴシック"/>
              </a:rPr>
              <a:t>in</a:t>
            </a:r>
            <a:r>
              <a:rPr lang="ja-JP" altLang="en-US" sz="1400" kern="0" dirty="0">
                <a:solidFill>
                  <a:srgbClr val="000000"/>
                </a:solidFill>
                <a:latin typeface="ＭＳ Ｐゴシック"/>
                <a:ea typeface="ＭＳ Ｐゴシック"/>
              </a:rPr>
              <a:t>東京</a:t>
            </a:r>
            <a:endParaRPr lang="en-US" altLang="ja-JP" sz="1400" kern="0" dirty="0">
              <a:solidFill>
                <a:srgbClr val="000000"/>
              </a:solidFill>
              <a:latin typeface="ＭＳ Ｐゴシック"/>
              <a:ea typeface="ＭＳ Ｐゴシック"/>
            </a:endParaRPr>
          </a:p>
          <a:p>
            <a:pPr indent="542925" eaLnBrk="1" hangingPunct="1">
              <a:lnSpc>
                <a:spcPts val="2000"/>
              </a:lnSpc>
            </a:pPr>
            <a:r>
              <a:rPr lang="en-US" altLang="ja-JP" sz="1400" kern="0" dirty="0">
                <a:solidFill>
                  <a:srgbClr val="000000"/>
                </a:solidFill>
                <a:latin typeface="ＭＳ Ｐゴシック"/>
                <a:ea typeface="ＭＳ Ｐゴシック"/>
              </a:rPr>
              <a:t>H27. 2</a:t>
            </a:r>
            <a:r>
              <a:rPr lang="ja-JP" altLang="en-US" sz="1400" kern="0" dirty="0">
                <a:solidFill>
                  <a:srgbClr val="000000"/>
                </a:solidFill>
                <a:latin typeface="ＭＳ Ｐゴシック"/>
                <a:ea typeface="ＭＳ Ｐゴシック"/>
              </a:rPr>
              <a:t>　「小さな拠点」</a:t>
            </a:r>
            <a:r>
              <a:rPr lang="ja-JP" altLang="en-US" sz="1400" kern="0" dirty="0" err="1">
                <a:solidFill>
                  <a:srgbClr val="000000"/>
                </a:solidFill>
                <a:latin typeface="ＭＳ Ｐゴシック"/>
                <a:ea typeface="ＭＳ Ｐゴシック"/>
              </a:rPr>
              <a:t>づ</a:t>
            </a:r>
            <a:r>
              <a:rPr lang="ja-JP" altLang="en-US" sz="1400" kern="0" dirty="0">
                <a:solidFill>
                  <a:srgbClr val="000000"/>
                </a:solidFill>
                <a:latin typeface="ＭＳ Ｐゴシック"/>
                <a:ea typeface="ＭＳ Ｐゴシック"/>
              </a:rPr>
              <a:t>くりフォーラム</a:t>
            </a:r>
            <a:r>
              <a:rPr lang="en-US" altLang="ja-JP" sz="1400" kern="0" dirty="0">
                <a:solidFill>
                  <a:srgbClr val="000000"/>
                </a:solidFill>
                <a:latin typeface="ＭＳ Ｐゴシック"/>
                <a:ea typeface="ＭＳ Ｐゴシック"/>
              </a:rPr>
              <a:t>in</a:t>
            </a:r>
            <a:r>
              <a:rPr lang="ja-JP" altLang="en-US" sz="1400" kern="0" dirty="0">
                <a:solidFill>
                  <a:srgbClr val="000000"/>
                </a:solidFill>
                <a:latin typeface="ＭＳ Ｐゴシック"/>
                <a:ea typeface="ＭＳ Ｐゴシック"/>
              </a:rPr>
              <a:t>島根</a:t>
            </a:r>
            <a:endParaRPr lang="en-US" altLang="ja-JP" sz="1400" kern="0" dirty="0">
              <a:solidFill>
                <a:srgbClr val="000000"/>
              </a:solidFill>
              <a:latin typeface="ＭＳ Ｐゴシック"/>
              <a:ea typeface="ＭＳ Ｐゴシック"/>
            </a:endParaRPr>
          </a:p>
          <a:p>
            <a:pPr indent="542925" eaLnBrk="1" hangingPunct="1">
              <a:lnSpc>
                <a:spcPts val="2000"/>
              </a:lnSpc>
            </a:pPr>
            <a:r>
              <a:rPr lang="en-US" altLang="ja-JP" sz="1400" kern="0" dirty="0">
                <a:solidFill>
                  <a:srgbClr val="000000"/>
                </a:solidFill>
                <a:latin typeface="ＭＳ Ｐゴシック"/>
                <a:ea typeface="ＭＳ Ｐゴシック"/>
              </a:rPr>
              <a:t>H29. 2</a:t>
            </a:r>
            <a:r>
              <a:rPr lang="ja-JP" altLang="en-US" sz="1400" kern="0" dirty="0">
                <a:solidFill>
                  <a:srgbClr val="000000"/>
                </a:solidFill>
                <a:latin typeface="ＭＳ Ｐゴシック"/>
                <a:ea typeface="ＭＳ Ｐゴシック"/>
              </a:rPr>
              <a:t>　「小さな拠点」フォーラム</a:t>
            </a:r>
            <a:r>
              <a:rPr lang="en-US" altLang="ja-JP" sz="1400" kern="0" dirty="0">
                <a:solidFill>
                  <a:srgbClr val="000000"/>
                </a:solidFill>
                <a:latin typeface="ＭＳ Ｐゴシック"/>
                <a:ea typeface="ＭＳ Ｐゴシック"/>
              </a:rPr>
              <a:t>in</a:t>
            </a:r>
            <a:r>
              <a:rPr lang="ja-JP" altLang="en-US" sz="1400" kern="0" dirty="0">
                <a:solidFill>
                  <a:srgbClr val="000000"/>
                </a:solidFill>
                <a:latin typeface="ＭＳ Ｐゴシック"/>
                <a:ea typeface="ＭＳ Ｐゴシック"/>
              </a:rPr>
              <a:t>山口</a:t>
            </a:r>
            <a:endParaRPr lang="en-US" altLang="ja-JP" sz="1400" kern="0" dirty="0">
              <a:solidFill>
                <a:srgbClr val="000000"/>
              </a:solidFill>
              <a:latin typeface="ＭＳ Ｐゴシック"/>
              <a:ea typeface="ＭＳ Ｐゴシック"/>
            </a:endParaRPr>
          </a:p>
          <a:p>
            <a:pPr indent="542925" eaLnBrk="1" hangingPunct="1">
              <a:lnSpc>
                <a:spcPts val="2000"/>
              </a:lnSpc>
            </a:pPr>
            <a:r>
              <a:rPr lang="en-US" altLang="ja-JP" sz="1400" kern="0" dirty="0">
                <a:solidFill>
                  <a:srgbClr val="000000"/>
                </a:solidFill>
                <a:latin typeface="ＭＳ Ｐゴシック"/>
                <a:ea typeface="ＭＳ Ｐゴシック"/>
              </a:rPr>
              <a:t>H30. 2</a:t>
            </a:r>
            <a:r>
              <a:rPr lang="ja-JP" altLang="en-US" sz="1400" kern="0" dirty="0">
                <a:solidFill>
                  <a:srgbClr val="000000"/>
                </a:solidFill>
                <a:latin typeface="ＭＳ Ｐゴシック"/>
                <a:ea typeface="ＭＳ Ｐゴシック"/>
              </a:rPr>
              <a:t>　「小さな拠点」からはじまる持続可能な地域構造フォーラム</a:t>
            </a:r>
            <a:endParaRPr lang="en-US" altLang="ja-JP" sz="1400" kern="0" dirty="0">
              <a:solidFill>
                <a:srgbClr val="000000"/>
              </a:solidFill>
              <a:latin typeface="ＭＳ Ｐゴシック"/>
              <a:ea typeface="ＭＳ Ｐゴシック"/>
            </a:endParaRPr>
          </a:p>
          <a:p>
            <a:pPr eaLnBrk="1" hangingPunct="1">
              <a:lnSpc>
                <a:spcPts val="1516"/>
              </a:lnSpc>
            </a:pPr>
            <a:endParaRPr lang="en-US" altLang="ja-JP" sz="2816" kern="0" dirty="0"/>
          </a:p>
          <a:p>
            <a:pPr indent="85725" eaLnBrk="1" hangingPunct="1">
              <a:lnSpc>
                <a:spcPts val="3033"/>
              </a:lnSpc>
            </a:pPr>
            <a:r>
              <a:rPr lang="ja-JP" altLang="en-US" sz="2400" kern="0" dirty="0"/>
              <a:t>②　</a:t>
            </a:r>
            <a:r>
              <a:rPr lang="ja-JP" altLang="en-US" sz="2400" u="sng" kern="0" dirty="0"/>
              <a:t>地方創生・「小さな拠点・地域運営組織」フォーラム</a:t>
            </a:r>
            <a:endParaRPr lang="en-US" altLang="ja-JP" sz="2400" u="sng" kern="0" dirty="0"/>
          </a:p>
          <a:p>
            <a:pPr indent="361950" eaLnBrk="1" hangingPunct="1">
              <a:lnSpc>
                <a:spcPts val="3033"/>
              </a:lnSpc>
            </a:pPr>
            <a:r>
              <a:rPr lang="ja-JP" altLang="en-US" sz="2000" kern="0" dirty="0">
                <a:solidFill>
                  <a:srgbClr val="000000"/>
                </a:solidFill>
                <a:latin typeface="ＭＳ Ｐゴシック"/>
                <a:ea typeface="ＭＳ Ｐゴシック"/>
              </a:rPr>
              <a:t>・内閣府主催（国土交通省等共催）</a:t>
            </a:r>
            <a:endParaRPr lang="en-US" altLang="ja-JP" sz="2000" kern="0" dirty="0">
              <a:solidFill>
                <a:srgbClr val="000000"/>
              </a:solidFill>
              <a:latin typeface="ＭＳ Ｐゴシック"/>
              <a:ea typeface="ＭＳ Ｐゴシック"/>
            </a:endParaRPr>
          </a:p>
          <a:p>
            <a:pPr marL="542925" eaLnBrk="1" hangingPunct="1">
              <a:lnSpc>
                <a:spcPts val="2400"/>
              </a:lnSpc>
            </a:pPr>
            <a:r>
              <a:rPr lang="en-US" altLang="ja-JP" sz="1400" kern="0" dirty="0">
                <a:solidFill>
                  <a:srgbClr val="000000"/>
                </a:solidFill>
                <a:latin typeface="ＭＳ Ｐゴシック"/>
                <a:ea typeface="ＭＳ Ｐゴシック"/>
              </a:rPr>
              <a:t>H28. 1</a:t>
            </a:r>
            <a:r>
              <a:rPr lang="ja-JP" altLang="en-US" sz="1400" kern="0" dirty="0">
                <a:solidFill>
                  <a:srgbClr val="000000"/>
                </a:solidFill>
                <a:latin typeface="ＭＳ Ｐゴシック"/>
                <a:ea typeface="ＭＳ Ｐゴシック"/>
              </a:rPr>
              <a:t>　地方創生☆「小さな拠点」づくりフォーラム</a:t>
            </a:r>
            <a:endParaRPr lang="en-US" altLang="ja-JP" sz="1400" kern="0" dirty="0">
              <a:solidFill>
                <a:srgbClr val="000000"/>
              </a:solidFill>
              <a:latin typeface="ＭＳ Ｐゴシック"/>
              <a:ea typeface="ＭＳ Ｐゴシック"/>
            </a:endParaRPr>
          </a:p>
          <a:p>
            <a:pPr marL="542925" eaLnBrk="1" hangingPunct="1">
              <a:lnSpc>
                <a:spcPts val="2400"/>
              </a:lnSpc>
            </a:pPr>
            <a:r>
              <a:rPr lang="en-US" altLang="ja-JP" sz="1400" kern="0" dirty="0">
                <a:solidFill>
                  <a:srgbClr val="000000"/>
                </a:solidFill>
                <a:latin typeface="ＭＳ Ｐゴシック"/>
                <a:ea typeface="ＭＳ Ｐゴシック"/>
              </a:rPr>
              <a:t>H29. 3</a:t>
            </a:r>
            <a:r>
              <a:rPr lang="ja-JP" altLang="en-US" sz="1400" kern="0" dirty="0">
                <a:solidFill>
                  <a:srgbClr val="000000"/>
                </a:solidFill>
                <a:latin typeface="ＭＳ Ｐゴシック"/>
                <a:ea typeface="ＭＳ Ｐゴシック"/>
              </a:rPr>
              <a:t>　「地域運営組織・小さな拠点」フォーラム</a:t>
            </a:r>
            <a:endParaRPr lang="en-US" altLang="ja-JP" sz="1400" kern="0" dirty="0">
              <a:solidFill>
                <a:srgbClr val="000000"/>
              </a:solidFill>
              <a:latin typeface="ＭＳ Ｐゴシック"/>
              <a:ea typeface="ＭＳ Ｐゴシック"/>
            </a:endParaRPr>
          </a:p>
          <a:p>
            <a:pPr marL="542925" eaLnBrk="1" hangingPunct="1">
              <a:lnSpc>
                <a:spcPts val="2400"/>
              </a:lnSpc>
            </a:pPr>
            <a:r>
              <a:rPr lang="en-US" altLang="ja-JP" sz="1400" kern="0" dirty="0">
                <a:solidFill>
                  <a:srgbClr val="000000"/>
                </a:solidFill>
                <a:latin typeface="ＭＳ Ｐゴシック"/>
                <a:ea typeface="ＭＳ Ｐゴシック"/>
              </a:rPr>
              <a:t>H30. 1</a:t>
            </a:r>
            <a:r>
              <a:rPr lang="ja-JP" altLang="en-US" sz="1400" kern="0" dirty="0">
                <a:solidFill>
                  <a:srgbClr val="000000"/>
                </a:solidFill>
                <a:latin typeface="ＭＳ Ｐゴシック"/>
                <a:ea typeface="ＭＳ Ｐゴシック"/>
              </a:rPr>
              <a:t>　「地方創生・小さな拠点学校～地域を守り、地域を創る～」</a:t>
            </a:r>
            <a:endParaRPr lang="en-US" altLang="ja-JP" sz="1400" kern="0" dirty="0">
              <a:solidFill>
                <a:srgbClr val="000000"/>
              </a:solidFill>
              <a:latin typeface="ＭＳ Ｐゴシック"/>
              <a:ea typeface="ＭＳ Ｐゴシック"/>
            </a:endParaRPr>
          </a:p>
          <a:p>
            <a:pPr marL="1076325" eaLnBrk="1" hangingPunct="1">
              <a:lnSpc>
                <a:spcPts val="2400"/>
              </a:lnSpc>
            </a:pPr>
            <a:r>
              <a:rPr lang="ja-JP" altLang="en-US" sz="1400" kern="0" dirty="0">
                <a:solidFill>
                  <a:srgbClr val="000000"/>
                </a:solidFill>
                <a:latin typeface="ＭＳ Ｐゴシック"/>
                <a:ea typeface="ＭＳ Ｐゴシック"/>
              </a:rPr>
              <a:t>（小さな拠点・地域運営組織フォーラム）</a:t>
            </a:r>
            <a:endParaRPr lang="en-US" altLang="ja-JP" sz="1400" kern="0" dirty="0">
              <a:solidFill>
                <a:srgbClr val="000000"/>
              </a:solidFill>
              <a:latin typeface="ＭＳ Ｐゴシック"/>
              <a:ea typeface="ＭＳ Ｐゴシック"/>
            </a:endParaRPr>
          </a:p>
          <a:p>
            <a:pPr marL="542925" eaLnBrk="1" hangingPunct="1">
              <a:lnSpc>
                <a:spcPts val="2400"/>
              </a:lnSpc>
            </a:pPr>
            <a:r>
              <a:rPr lang="en-US" altLang="ja-JP" sz="1400" kern="0" dirty="0">
                <a:solidFill>
                  <a:srgbClr val="000000"/>
                </a:solidFill>
                <a:latin typeface="ＭＳ Ｐゴシック"/>
                <a:ea typeface="ＭＳ Ｐゴシック"/>
              </a:rPr>
              <a:t>H31. 1</a:t>
            </a:r>
            <a:r>
              <a:rPr lang="ja-JP" altLang="en-US" sz="1400" kern="0" dirty="0">
                <a:solidFill>
                  <a:srgbClr val="000000"/>
                </a:solidFill>
                <a:latin typeface="ＭＳ Ｐゴシック"/>
                <a:ea typeface="ＭＳ Ｐゴシック"/>
              </a:rPr>
              <a:t>　「地方創生・小さな拠点学校」（「小さな拠点」づくり全国フォーラム）</a:t>
            </a:r>
            <a:endParaRPr lang="en-US" altLang="ja-JP" sz="1400" kern="0" dirty="0">
              <a:solidFill>
                <a:srgbClr val="000000"/>
              </a:solidFill>
              <a:latin typeface="ＭＳ Ｐゴシック"/>
              <a:ea typeface="ＭＳ Ｐゴシック"/>
            </a:endParaRPr>
          </a:p>
          <a:p>
            <a:pPr marL="542925" eaLnBrk="1" hangingPunct="1">
              <a:lnSpc>
                <a:spcPts val="2400"/>
              </a:lnSpc>
            </a:pPr>
            <a:r>
              <a:rPr lang="en-US" altLang="ja-JP" sz="1400" kern="0" dirty="0">
                <a:solidFill>
                  <a:srgbClr val="000000"/>
                </a:solidFill>
                <a:latin typeface="ＭＳ Ｐゴシック"/>
                <a:ea typeface="ＭＳ Ｐゴシック"/>
              </a:rPr>
              <a:t>H31. 3</a:t>
            </a:r>
            <a:r>
              <a:rPr lang="ja-JP" altLang="en-US" sz="1400" kern="0" dirty="0">
                <a:solidFill>
                  <a:srgbClr val="000000"/>
                </a:solidFill>
                <a:latin typeface="ＭＳ Ｐゴシック"/>
                <a:ea typeface="ＭＳ Ｐゴシック"/>
              </a:rPr>
              <a:t>　「地方創生・小さな拠点学校～文化祭～」（「小さな拠点」づくり連携推進フォーラム）</a:t>
            </a:r>
            <a:endParaRPr lang="en-US" altLang="ja-JP" sz="1400" kern="0" dirty="0">
              <a:solidFill>
                <a:srgbClr val="000000"/>
              </a:solidFill>
              <a:latin typeface="ＭＳ Ｐゴシック"/>
              <a:ea typeface="ＭＳ Ｐゴシック"/>
            </a:endParaRPr>
          </a:p>
          <a:p>
            <a:pPr marL="542925" eaLnBrk="1" hangingPunct="1">
              <a:lnSpc>
                <a:spcPts val="2400"/>
              </a:lnSpc>
            </a:pPr>
            <a:r>
              <a:rPr lang="en-US" altLang="ja-JP" sz="1400" kern="0" dirty="0">
                <a:solidFill>
                  <a:srgbClr val="000000"/>
                </a:solidFill>
                <a:latin typeface="ＭＳ Ｐゴシック"/>
                <a:ea typeface="ＭＳ Ｐゴシック"/>
              </a:rPr>
              <a:t>R </a:t>
            </a:r>
            <a:r>
              <a:rPr lang="ja-JP" altLang="en-US" sz="1400" kern="0" dirty="0">
                <a:solidFill>
                  <a:srgbClr val="000000"/>
                </a:solidFill>
                <a:latin typeface="ＭＳ Ｐゴシック"/>
                <a:ea typeface="ＭＳ Ｐゴシック"/>
              </a:rPr>
              <a:t>１</a:t>
            </a:r>
            <a:r>
              <a:rPr lang="en-US" altLang="ja-JP" sz="1400" kern="0" dirty="0">
                <a:solidFill>
                  <a:srgbClr val="000000"/>
                </a:solidFill>
                <a:latin typeface="ＭＳ Ｐゴシック"/>
                <a:ea typeface="ＭＳ Ｐゴシック"/>
              </a:rPr>
              <a:t>. 3</a:t>
            </a:r>
            <a:r>
              <a:rPr lang="ja-JP" altLang="en-US" sz="1400" kern="0" dirty="0">
                <a:solidFill>
                  <a:srgbClr val="000000"/>
                </a:solidFill>
                <a:latin typeface="ＭＳ Ｐゴシック"/>
                <a:ea typeface="ＭＳ Ｐゴシック"/>
              </a:rPr>
              <a:t>　「地方創生・小さな拠点学校」（「小さな拠点」づくり全国フォーラム）</a:t>
            </a:r>
            <a:endParaRPr lang="en-US" altLang="ja-JP" sz="1400" kern="0" dirty="0">
              <a:solidFill>
                <a:srgbClr val="000000"/>
              </a:solidFill>
              <a:latin typeface="ＭＳ Ｐゴシック"/>
              <a:ea typeface="ＭＳ Ｐゴシック"/>
            </a:endParaRPr>
          </a:p>
          <a:p>
            <a:pPr marL="542925" eaLnBrk="1" hangingPunct="1">
              <a:lnSpc>
                <a:spcPts val="2400"/>
              </a:lnSpc>
            </a:pPr>
            <a:r>
              <a:rPr lang="en-US" altLang="ja-JP" sz="1400" kern="0" dirty="0">
                <a:solidFill>
                  <a:srgbClr val="000000"/>
                </a:solidFill>
                <a:latin typeface="ＭＳ Ｐゴシック"/>
                <a:ea typeface="ＭＳ Ｐゴシック"/>
              </a:rPr>
              <a:t>R</a:t>
            </a:r>
            <a:r>
              <a:rPr lang="ja-JP" altLang="en-US" sz="1400" kern="0" dirty="0">
                <a:solidFill>
                  <a:srgbClr val="000000"/>
                </a:solidFill>
                <a:latin typeface="ＭＳ Ｐゴシック"/>
                <a:ea typeface="ＭＳ Ｐゴシック"/>
              </a:rPr>
              <a:t> </a:t>
            </a:r>
            <a:r>
              <a:rPr lang="en-US" altLang="ja-JP" sz="1400" kern="0" dirty="0">
                <a:solidFill>
                  <a:srgbClr val="000000"/>
                </a:solidFill>
                <a:latin typeface="ＭＳ Ｐゴシック"/>
                <a:ea typeface="ＭＳ Ｐゴシック"/>
              </a:rPr>
              <a:t>3.. 3</a:t>
            </a:r>
            <a:r>
              <a:rPr lang="ja-JP" altLang="en-US" sz="1400" kern="0" dirty="0">
                <a:solidFill>
                  <a:srgbClr val="000000"/>
                </a:solidFill>
                <a:latin typeface="ＭＳ Ｐゴシック"/>
                <a:ea typeface="ＭＳ Ｐゴシック"/>
              </a:rPr>
              <a:t>　「小さな拠点」づくり全国フォーラム</a:t>
            </a:r>
            <a:endParaRPr lang="en-US" altLang="ja-JP" sz="1400" kern="0" dirty="0">
              <a:solidFill>
                <a:srgbClr val="000000"/>
              </a:solidFill>
              <a:latin typeface="ＭＳ Ｐゴシック"/>
              <a:ea typeface="ＭＳ Ｐゴシック"/>
            </a:endParaRPr>
          </a:p>
          <a:p>
            <a:pPr marL="542925" eaLnBrk="1" hangingPunct="1">
              <a:lnSpc>
                <a:spcPts val="2400"/>
              </a:lnSpc>
            </a:pPr>
            <a:r>
              <a:rPr lang="en-US" altLang="ja-JP" sz="1400" kern="0" dirty="0">
                <a:solidFill>
                  <a:srgbClr val="000000"/>
                </a:solidFill>
                <a:latin typeface="ＭＳ Ｐゴシック"/>
                <a:ea typeface="ＭＳ Ｐゴシック"/>
              </a:rPr>
              <a:t>R 4.</a:t>
            </a:r>
            <a:r>
              <a:rPr lang="ja-JP" altLang="en-US" sz="1400" kern="0" dirty="0">
                <a:solidFill>
                  <a:srgbClr val="000000"/>
                </a:solidFill>
                <a:latin typeface="ＭＳ Ｐゴシック"/>
                <a:ea typeface="ＭＳ Ｐゴシック"/>
              </a:rPr>
              <a:t>　</a:t>
            </a:r>
            <a:r>
              <a:rPr lang="en-US" altLang="ja-JP" sz="1400" kern="0" dirty="0">
                <a:solidFill>
                  <a:srgbClr val="000000"/>
                </a:solidFill>
                <a:latin typeface="ＭＳ Ｐゴシック"/>
                <a:ea typeface="ＭＳ Ｐゴシック"/>
              </a:rPr>
              <a:t>1</a:t>
            </a:r>
            <a:r>
              <a:rPr lang="ja-JP" altLang="en-US" sz="1400" kern="0" dirty="0">
                <a:solidFill>
                  <a:srgbClr val="000000"/>
                </a:solidFill>
                <a:latin typeface="ＭＳ Ｐゴシック"/>
                <a:ea typeface="ＭＳ Ｐゴシック"/>
              </a:rPr>
              <a:t>　「小さな拠点」づくり全国フォーラム</a:t>
            </a:r>
            <a:endParaRPr lang="en-US" altLang="ja-JP" sz="1400" kern="0" dirty="0">
              <a:solidFill>
                <a:srgbClr val="000000"/>
              </a:solidFill>
              <a:latin typeface="ＭＳ Ｐゴシック"/>
              <a:ea typeface="ＭＳ Ｐゴシック"/>
            </a:endParaRPr>
          </a:p>
          <a:p>
            <a:pPr marL="542925" eaLnBrk="1" hangingPunct="1">
              <a:lnSpc>
                <a:spcPts val="2400"/>
              </a:lnSpc>
            </a:pPr>
            <a:r>
              <a:rPr lang="en-US" altLang="ja-JP" sz="1400" kern="0" dirty="0">
                <a:solidFill>
                  <a:srgbClr val="000000"/>
                </a:solidFill>
                <a:latin typeface="ＭＳ Ｐゴシック"/>
                <a:ea typeface="ＭＳ Ｐゴシック"/>
              </a:rPr>
              <a:t>R 5</a:t>
            </a:r>
            <a:r>
              <a:rPr lang="ja-JP" altLang="en-US" sz="1400" kern="0" dirty="0">
                <a:solidFill>
                  <a:srgbClr val="000000"/>
                </a:solidFill>
                <a:latin typeface="ＭＳ Ｐゴシック"/>
                <a:ea typeface="ＭＳ Ｐゴシック"/>
              </a:rPr>
              <a:t>　</a:t>
            </a:r>
            <a:r>
              <a:rPr lang="en-US" altLang="ja-JP" sz="1400" kern="0" dirty="0">
                <a:solidFill>
                  <a:srgbClr val="000000"/>
                </a:solidFill>
                <a:latin typeface="ＭＳ Ｐゴシック"/>
                <a:ea typeface="ＭＳ Ｐゴシック"/>
              </a:rPr>
              <a:t>3</a:t>
            </a:r>
            <a:r>
              <a:rPr lang="ja-JP" altLang="en-US" sz="1400" kern="0" dirty="0">
                <a:solidFill>
                  <a:srgbClr val="000000"/>
                </a:solidFill>
                <a:latin typeface="ＭＳ Ｐゴシック"/>
                <a:ea typeface="ＭＳ Ｐゴシック"/>
              </a:rPr>
              <a:t>　「小さな拠点」づくり全国フォーラム</a:t>
            </a:r>
            <a:endParaRPr lang="en-US" altLang="ja-JP" sz="1400" kern="0" dirty="0">
              <a:solidFill>
                <a:srgbClr val="000000"/>
              </a:solidFill>
              <a:latin typeface="ＭＳ Ｐゴシック"/>
              <a:ea typeface="ＭＳ Ｐゴシック"/>
            </a:endParaRPr>
          </a:p>
          <a:p>
            <a:pPr eaLnBrk="1" hangingPunct="1">
              <a:lnSpc>
                <a:spcPts val="2400"/>
              </a:lnSpc>
            </a:pPr>
            <a:endParaRPr lang="ja-JP" altLang="en-US" sz="1400" kern="0" dirty="0">
              <a:solidFill>
                <a:srgbClr val="000000"/>
              </a:solidFill>
              <a:latin typeface="ＭＳ Ｐゴシック"/>
              <a:ea typeface="ＭＳ Ｐゴシック"/>
            </a:endParaRPr>
          </a:p>
        </p:txBody>
      </p:sp>
      <p:pic>
        <p:nvPicPr>
          <p:cNvPr id="5" name="図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760000" y="783506"/>
            <a:ext cx="1782549" cy="2520000"/>
          </a:xfrm>
          <a:prstGeom prst="rect">
            <a:avLst/>
          </a:prstGeom>
          <a:ln w="6350">
            <a:solidFill>
              <a:schemeClr val="tx1">
                <a:lumMod val="100000"/>
                <a:lumOff val="0"/>
              </a:schemeClr>
            </a:solidFill>
          </a:ln>
        </p:spPr>
      </p:pic>
      <p:pic>
        <p:nvPicPr>
          <p:cNvPr id="6" name="図 5"/>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920000" y="783506"/>
            <a:ext cx="1759059" cy="2520000"/>
          </a:xfrm>
          <a:prstGeom prst="rect">
            <a:avLst/>
          </a:prstGeom>
          <a:ln w="6350">
            <a:solidFill>
              <a:schemeClr val="tx1">
                <a:lumMod val="100000"/>
                <a:lumOff val="0"/>
              </a:schemeClr>
            </a:solidFill>
          </a:ln>
        </p:spPr>
      </p:pic>
      <p:pic>
        <p:nvPicPr>
          <p:cNvPr id="7" name="図 6"/>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150399" y="3879850"/>
            <a:ext cx="2564130" cy="1691640"/>
          </a:xfrm>
          <a:prstGeom prst="rect">
            <a:avLst/>
          </a:prstGeom>
        </p:spPr>
      </p:pic>
      <p:sp>
        <p:nvSpPr>
          <p:cNvPr id="4" name="フッター プレースホルダー 3">
            <a:extLst>
              <a:ext uri="{FF2B5EF4-FFF2-40B4-BE49-F238E27FC236}">
                <a16:creationId xmlns:a16="http://schemas.microsoft.com/office/drawing/2014/main" id="{0E6A8A4D-050F-4E70-1D39-B117A0BAA30D}"/>
              </a:ext>
            </a:extLst>
          </p:cNvPr>
          <p:cNvSpPr>
            <a:spLocks noGrp="1"/>
          </p:cNvSpPr>
          <p:nvPr>
            <p:ph type="ftr" sz="quarter" idx="11"/>
          </p:nvPr>
        </p:nvSpPr>
        <p:spPr/>
        <p:txBody>
          <a:bodyPr/>
          <a:lstStyle/>
          <a:p>
            <a:endParaRPr lang="en-US" altLang="ja-JP">
              <a:solidFill>
                <a:srgbClr val="000000"/>
              </a:solidFill>
            </a:endParaRPr>
          </a:p>
        </p:txBody>
      </p:sp>
      <p:sp>
        <p:nvSpPr>
          <p:cNvPr id="8" name="スライド番号プレースホルダー 7">
            <a:extLst>
              <a:ext uri="{FF2B5EF4-FFF2-40B4-BE49-F238E27FC236}">
                <a16:creationId xmlns:a16="http://schemas.microsoft.com/office/drawing/2014/main" id="{C4A1CE99-EDA1-6371-9513-FECC3D95BB92}"/>
              </a:ext>
            </a:extLst>
          </p:cNvPr>
          <p:cNvSpPr>
            <a:spLocks noGrp="1"/>
          </p:cNvSpPr>
          <p:nvPr>
            <p:ph type="sldNum" sz="quarter" idx="12"/>
          </p:nvPr>
        </p:nvSpPr>
        <p:spPr/>
        <p:txBody>
          <a:bodyPr/>
          <a:lstStyle/>
          <a:p>
            <a:fld id="{58668CC2-41FA-4E06-ADFC-EC4A0D39D016}" type="slidenum">
              <a:rPr lang="en-US" altLang="ja-JP" smtClean="0">
                <a:solidFill>
                  <a:srgbClr val="000000"/>
                </a:solidFill>
              </a:rPr>
              <a:pPr/>
              <a:t>32</a:t>
            </a:fld>
            <a:endParaRPr lang="en-US" altLang="ja-JP">
              <a:solidFill>
                <a:srgbClr val="000000"/>
              </a:solidFill>
            </a:endParaRPr>
          </a:p>
        </p:txBody>
      </p:sp>
    </p:spTree>
    <p:extLst>
      <p:ext uri="{BB962C8B-B14F-4D97-AF65-F5344CB8AC3E}">
        <p14:creationId xmlns:p14="http://schemas.microsoft.com/office/powerpoint/2010/main" val="15699051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57201" y="0"/>
            <a:ext cx="8025980" cy="493824"/>
          </a:xfrm>
        </p:spPr>
        <p:txBody>
          <a:bodyPr/>
          <a:lstStyle/>
          <a:p>
            <a:r>
              <a:rPr lang="ja-JP" altLang="en-US" sz="2297" dirty="0"/>
              <a:t>「小さな拠点」に関するこれまでの取組（その３）</a:t>
            </a:r>
          </a:p>
        </p:txBody>
      </p:sp>
      <p:sp>
        <p:nvSpPr>
          <p:cNvPr id="3" name="Rectangle 5"/>
          <p:cNvSpPr txBox="1">
            <a:spLocks noChangeArrowheads="1"/>
          </p:cNvSpPr>
          <p:nvPr/>
        </p:nvSpPr>
        <p:spPr>
          <a:xfrm>
            <a:off x="280419" y="682635"/>
            <a:ext cx="9407817" cy="6243483"/>
          </a:xfrm>
          <a:prstGeom prst="rect">
            <a:avLst/>
          </a:prstGeom>
        </p:spPr>
        <p:txBody>
          <a:bodyP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1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029"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04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058"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875385" eaLnBrk="1" hangingPunct="1">
              <a:lnSpc>
                <a:spcPts val="3941"/>
              </a:lnSpc>
            </a:pPr>
            <a:r>
              <a:rPr lang="ja-JP" altLang="en-US" sz="2297" u="sng" kern="0" dirty="0">
                <a:latin typeface="HGP創英角ｺﾞｼｯｸUB"/>
                <a:ea typeface="HGP創英角ｺﾞｼｯｸUB"/>
              </a:rPr>
              <a:t>（３）補助事業による地域の取組の支援</a:t>
            </a:r>
            <a:endParaRPr lang="en-US" altLang="ja-JP" sz="2106" kern="0" dirty="0">
              <a:solidFill>
                <a:srgbClr val="000000"/>
              </a:solidFill>
              <a:latin typeface="ＭＳ Ｐゴシック"/>
              <a:ea typeface="ＭＳ Ｐゴシック"/>
            </a:endParaRPr>
          </a:p>
          <a:p>
            <a:pPr defTabSz="875385" eaLnBrk="1" hangingPunct="1">
              <a:lnSpc>
                <a:spcPts val="1915"/>
              </a:lnSpc>
            </a:pPr>
            <a:r>
              <a:rPr lang="ja-JP" altLang="en-US" sz="2489" kern="0" dirty="0">
                <a:solidFill>
                  <a:srgbClr val="000000"/>
                </a:solidFill>
                <a:latin typeface="ＭＳ Ｐゴシック"/>
                <a:ea typeface="HGP創英角ｺﾞｼｯｸUB"/>
              </a:rPr>
              <a:t> </a:t>
            </a:r>
            <a:r>
              <a:rPr lang="ja-JP" altLang="en-US" sz="2106" kern="0" dirty="0">
                <a:solidFill>
                  <a:srgbClr val="000000"/>
                </a:solidFill>
                <a:latin typeface="ＭＳ Ｐゴシック"/>
                <a:ea typeface="HGP創英角ｺﾞｼｯｸUB"/>
              </a:rPr>
              <a:t>　</a:t>
            </a:r>
            <a:r>
              <a:rPr lang="ja-JP" altLang="en-US" sz="2106" kern="0" dirty="0">
                <a:solidFill>
                  <a:srgbClr val="000000"/>
                </a:solidFill>
                <a:latin typeface="ＭＳ Ｐゴシック"/>
                <a:ea typeface="ＭＳ Ｐゴシック"/>
              </a:rPr>
              <a:t>・</a:t>
            </a:r>
            <a:r>
              <a:rPr lang="ja-JP" altLang="en-US" sz="2106" kern="0" spc="-155" dirty="0">
                <a:solidFill>
                  <a:srgbClr val="000000"/>
                </a:solidFill>
                <a:latin typeface="ＭＳ Ｐゴシック"/>
                <a:ea typeface="ＭＳ Ｐゴシック"/>
              </a:rPr>
              <a:t>「小さな拠点」を核とした「ふるさと集落生活圏」形成推進事業（</a:t>
            </a:r>
            <a:r>
              <a:rPr lang="en-US" altLang="ja-JP" sz="2106" kern="0" spc="-155" dirty="0">
                <a:solidFill>
                  <a:srgbClr val="000000"/>
                </a:solidFill>
                <a:latin typeface="ＭＳ Ｐゴシック"/>
                <a:ea typeface="ＭＳ Ｐゴシック"/>
              </a:rPr>
              <a:t>H27</a:t>
            </a:r>
            <a:r>
              <a:rPr lang="ja-JP" altLang="en-US" sz="2106" kern="0" spc="-155" dirty="0">
                <a:solidFill>
                  <a:srgbClr val="000000"/>
                </a:solidFill>
                <a:latin typeface="ＭＳ Ｐゴシック"/>
                <a:ea typeface="ＭＳ Ｐゴシック"/>
              </a:rPr>
              <a:t>～</a:t>
            </a:r>
            <a:r>
              <a:rPr lang="en-US" altLang="ja-JP" sz="2106" kern="0" spc="-155" dirty="0">
                <a:solidFill>
                  <a:srgbClr val="000000"/>
                </a:solidFill>
                <a:latin typeface="ＭＳ Ｐゴシック"/>
                <a:ea typeface="ＭＳ Ｐゴシック"/>
              </a:rPr>
              <a:t>R4</a:t>
            </a:r>
            <a:r>
              <a:rPr lang="ja-JP" altLang="en-US" sz="2106" kern="0" spc="-155" dirty="0">
                <a:solidFill>
                  <a:srgbClr val="000000"/>
                </a:solidFill>
                <a:latin typeface="ＭＳ Ｐゴシック"/>
                <a:ea typeface="ＭＳ Ｐゴシック"/>
              </a:rPr>
              <a:t>終了）</a:t>
            </a:r>
            <a:endParaRPr lang="en-US" altLang="ja-JP" sz="2106" kern="0" spc="-155" dirty="0">
              <a:solidFill>
                <a:srgbClr val="000000"/>
              </a:solidFill>
              <a:latin typeface="ＭＳ Ｐゴシック"/>
              <a:ea typeface="ＭＳ Ｐゴシック"/>
            </a:endParaRPr>
          </a:p>
          <a:p>
            <a:pPr defTabSz="875385" eaLnBrk="1" hangingPunct="1">
              <a:lnSpc>
                <a:spcPts val="1915"/>
              </a:lnSpc>
            </a:pPr>
            <a:r>
              <a:rPr lang="ja-JP" altLang="en-US" sz="2297" kern="0" spc="-155" dirty="0">
                <a:solidFill>
                  <a:srgbClr val="000000"/>
                </a:solidFill>
                <a:latin typeface="ＭＳ Ｐゴシック"/>
                <a:ea typeface="ＭＳ Ｐゴシック"/>
              </a:rPr>
              <a:t>　</a:t>
            </a:r>
            <a:r>
              <a:rPr lang="ja-JP" altLang="en-US" sz="1723" kern="0" spc="-155" dirty="0">
                <a:solidFill>
                  <a:srgbClr val="000000"/>
                </a:solidFill>
                <a:latin typeface="ＭＳ Ｐゴシック"/>
                <a:ea typeface="ＭＳ Ｐゴシック"/>
              </a:rPr>
              <a:t>　　</a:t>
            </a:r>
            <a:r>
              <a:rPr lang="ja-JP" altLang="en-US" sz="1532" kern="0" spc="-155" dirty="0">
                <a:solidFill>
                  <a:srgbClr val="000000"/>
                </a:solidFill>
                <a:latin typeface="ＭＳ Ｐゴシック"/>
                <a:ea typeface="ＭＳ Ｐゴシック"/>
              </a:rPr>
              <a:t>既存施設を活用した施設の再編・集約に係る改修費等に対して支援　</a:t>
            </a:r>
            <a:r>
              <a:rPr lang="en-US" altLang="ja-JP" sz="1532" kern="0" dirty="0">
                <a:solidFill>
                  <a:srgbClr val="000000"/>
                </a:solidFill>
                <a:latin typeface="ＭＳ Ｐゴシック"/>
                <a:ea typeface="ＭＳ Ｐゴシック"/>
              </a:rPr>
              <a:t>【</a:t>
            </a:r>
            <a:r>
              <a:rPr lang="ja-JP" altLang="en-US" sz="1532" kern="0" dirty="0">
                <a:solidFill>
                  <a:srgbClr val="000000"/>
                </a:solidFill>
                <a:latin typeface="ＭＳ Ｐゴシック"/>
                <a:ea typeface="ＭＳ Ｐゴシック"/>
              </a:rPr>
              <a:t>国土交通省地方振興課</a:t>
            </a:r>
            <a:r>
              <a:rPr lang="en-US" altLang="ja-JP" sz="1532" kern="0" dirty="0">
                <a:solidFill>
                  <a:srgbClr val="000000"/>
                </a:solidFill>
                <a:latin typeface="ＭＳ Ｐゴシック"/>
                <a:ea typeface="ＭＳ Ｐゴシック"/>
              </a:rPr>
              <a:t>】</a:t>
            </a:r>
          </a:p>
          <a:p>
            <a:pPr defTabSz="875385" eaLnBrk="1" hangingPunct="1">
              <a:lnSpc>
                <a:spcPts val="2073"/>
              </a:lnSpc>
            </a:pPr>
            <a:r>
              <a:rPr lang="ja-JP" altLang="en-US" sz="2489" kern="0" spc="-155" dirty="0">
                <a:solidFill>
                  <a:srgbClr val="000000"/>
                </a:solidFill>
                <a:latin typeface="ＭＳ Ｐゴシック"/>
                <a:ea typeface="ＭＳ Ｐゴシック"/>
              </a:rPr>
              <a:t>　</a:t>
            </a:r>
            <a:r>
              <a:rPr lang="en-US" altLang="ja-JP" sz="1723" kern="0" spc="-155" dirty="0">
                <a:solidFill>
                  <a:srgbClr val="000000"/>
                </a:solidFill>
                <a:latin typeface="ＭＳ Ｐゴシック"/>
                <a:ea typeface="ＭＳ Ｐゴシック"/>
              </a:rPr>
              <a:t>※</a:t>
            </a:r>
            <a:r>
              <a:rPr lang="ja-JP" altLang="en-US" sz="1723" kern="0" spc="-155" dirty="0">
                <a:solidFill>
                  <a:srgbClr val="000000"/>
                </a:solidFill>
                <a:latin typeface="ＭＳ Ｐゴシック"/>
                <a:ea typeface="ＭＳ Ｐゴシック"/>
              </a:rPr>
              <a:t>小さな拠点・地域運営組織の形成に関する事業・制度（令和５年度） 内閣府地方創生総合サイト掲載</a:t>
            </a:r>
            <a:endParaRPr lang="en-US" altLang="ja-JP" sz="1723" kern="0" spc="-155" dirty="0">
              <a:solidFill>
                <a:srgbClr val="000000"/>
              </a:solidFill>
              <a:latin typeface="ＭＳ Ｐゴシック"/>
              <a:ea typeface="ＭＳ Ｐゴシック"/>
            </a:endParaRPr>
          </a:p>
          <a:p>
            <a:pPr defTabSz="875385" eaLnBrk="1" hangingPunct="1">
              <a:lnSpc>
                <a:spcPts val="2073"/>
              </a:lnSpc>
            </a:pPr>
            <a:r>
              <a:rPr lang="ja-JP" altLang="en-US" sz="1723" kern="0" spc="-155" dirty="0">
                <a:solidFill>
                  <a:srgbClr val="000000"/>
                </a:solidFill>
                <a:latin typeface="ＭＳ Ｐゴシック"/>
                <a:ea typeface="ＭＳ Ｐゴシック"/>
              </a:rPr>
              <a:t>　　　</a:t>
            </a:r>
            <a:r>
              <a:rPr lang="en-US" altLang="ja-JP" sz="1723" kern="0" spc="-155" dirty="0">
                <a:solidFill>
                  <a:srgbClr val="000000"/>
                </a:solidFill>
                <a:latin typeface="ＭＳ Ｐゴシック"/>
                <a:ea typeface="ＭＳ Ｐゴシック"/>
              </a:rPr>
              <a:t>https://www.chisou.go.jp/sousei/about/chiisanakyoten/meeting/pdf/r05-0512_seidoannaisiryou.pdf</a:t>
            </a:r>
          </a:p>
          <a:p>
            <a:pPr defTabSz="875385" eaLnBrk="1" hangingPunct="1">
              <a:lnSpc>
                <a:spcPts val="3941"/>
              </a:lnSpc>
            </a:pPr>
            <a:r>
              <a:rPr lang="ja-JP" altLang="en-US" sz="2297" u="sng" kern="0" dirty="0">
                <a:latin typeface="HGP創英角ｺﾞｼｯｸUB"/>
                <a:ea typeface="HGP創英角ｺﾞｼｯｸUB"/>
              </a:rPr>
              <a:t>（４）相談体制の整備</a:t>
            </a:r>
            <a:r>
              <a:rPr lang="ja-JP" altLang="en-US" sz="2297" kern="0" dirty="0">
                <a:latin typeface="HGP創英角ｺﾞｼｯｸUB"/>
                <a:ea typeface="HGP創英角ｺﾞｼｯｸUB"/>
              </a:rPr>
              <a:t>　　　　　　　　　　　　　　　　　</a:t>
            </a:r>
            <a:r>
              <a:rPr lang="ja-JP" altLang="en-US" sz="2297" u="sng" kern="0" dirty="0">
                <a:latin typeface="HGP創英角ｺﾞｼｯｸUB"/>
                <a:ea typeface="HGP創英角ｺﾞｼｯｸUB"/>
              </a:rPr>
              <a:t>（５）地方創生総合サイト</a:t>
            </a:r>
            <a:endParaRPr lang="en-US" altLang="ja-JP" sz="2297" kern="0" dirty="0">
              <a:solidFill>
                <a:srgbClr val="000000"/>
              </a:solidFill>
              <a:latin typeface="ＭＳ Ｐゴシック"/>
              <a:ea typeface="ＭＳ Ｐゴシック"/>
            </a:endParaRPr>
          </a:p>
          <a:p>
            <a:pPr defTabSz="875385" eaLnBrk="1" hangingPunct="1">
              <a:lnSpc>
                <a:spcPts val="3941"/>
              </a:lnSpc>
            </a:pPr>
            <a:r>
              <a:rPr lang="ja-JP" altLang="en-US" sz="2106" kern="0" spc="-155" dirty="0">
                <a:solidFill>
                  <a:srgbClr val="000000"/>
                </a:solidFill>
                <a:latin typeface="ＭＳ Ｐゴシック"/>
                <a:ea typeface="ＭＳ Ｐゴシック"/>
              </a:rPr>
              <a:t>　・</a:t>
            </a:r>
            <a:r>
              <a:rPr lang="zh-TW" altLang="en-US" sz="2106" kern="0" spc="-155" dirty="0">
                <a:solidFill>
                  <a:srgbClr val="000000"/>
                </a:solidFill>
                <a:latin typeface="ＭＳ Ｐゴシック"/>
                <a:ea typeface="ＭＳ Ｐゴシック"/>
              </a:rPr>
              <a:t>地方創生萬</a:t>
            </a:r>
            <a:r>
              <a:rPr lang="en-US" altLang="ja-JP" sz="2106" kern="0" spc="-155" dirty="0">
                <a:solidFill>
                  <a:srgbClr val="000000"/>
                </a:solidFill>
                <a:latin typeface="ＭＳ Ｐゴシック"/>
                <a:ea typeface="ＭＳ Ｐゴシック"/>
              </a:rPr>
              <a:t>(</a:t>
            </a:r>
            <a:r>
              <a:rPr lang="ja-JP" altLang="en-US" sz="2106" kern="0" spc="-155" dirty="0">
                <a:solidFill>
                  <a:srgbClr val="000000"/>
                </a:solidFill>
                <a:latin typeface="ＭＳ Ｐゴシック"/>
                <a:ea typeface="ＭＳ Ｐゴシック"/>
              </a:rPr>
              <a:t>よろず</a:t>
            </a:r>
            <a:r>
              <a:rPr lang="en-US" altLang="ja-JP" sz="2106" kern="0" spc="-155" dirty="0">
                <a:solidFill>
                  <a:srgbClr val="000000"/>
                </a:solidFill>
                <a:latin typeface="ＭＳ Ｐゴシック"/>
                <a:ea typeface="ＭＳ Ｐゴシック"/>
              </a:rPr>
              <a:t>)</a:t>
            </a:r>
            <a:r>
              <a:rPr lang="zh-TW" altLang="en-US" sz="2106" kern="0" spc="-155" dirty="0">
                <a:solidFill>
                  <a:srgbClr val="000000"/>
                </a:solidFill>
                <a:latin typeface="ＭＳ Ｐゴシック"/>
                <a:ea typeface="ＭＳ Ｐゴシック"/>
              </a:rPr>
              <a:t>相談窓口</a:t>
            </a:r>
            <a:r>
              <a:rPr lang="ja-JP" altLang="en-US" sz="2106" kern="0" spc="-155" dirty="0">
                <a:solidFill>
                  <a:srgbClr val="000000"/>
                </a:solidFill>
                <a:latin typeface="ＭＳ Ｐゴシック"/>
                <a:ea typeface="ＭＳ Ｐゴシック"/>
              </a:rPr>
              <a:t>　　　　　　　　　　　　　　　　　・内閣府ホームページ</a:t>
            </a:r>
            <a:endParaRPr lang="ja-JP" altLang="en-US" sz="2106" kern="0" dirty="0">
              <a:latin typeface="HGP創英角ｺﾞｼｯｸUB"/>
              <a:ea typeface="HGP創英角ｺﾞｼｯｸUB"/>
            </a:endParaRPr>
          </a:p>
          <a:p>
            <a:pPr defTabSz="875385" eaLnBrk="1" hangingPunct="1"/>
            <a:endParaRPr lang="ja-JP" altLang="en-US" sz="3734" kern="0" dirty="0">
              <a:latin typeface="HGP創英角ｺﾞｼｯｸUB"/>
              <a:ea typeface="HGP創英角ｺﾞｼｯｸUB"/>
            </a:endParaRPr>
          </a:p>
        </p:txBody>
      </p:sp>
      <p:pic>
        <p:nvPicPr>
          <p:cNvPr id="4" name="図 3"/>
          <p:cNvPicPr>
            <a:picLocks noChangeAspect="1"/>
          </p:cNvPicPr>
          <p:nvPr/>
        </p:nvPicPr>
        <p:blipFill>
          <a:blip r:embed="rId3"/>
          <a:stretch>
            <a:fillRect/>
          </a:stretch>
        </p:blipFill>
        <p:spPr>
          <a:xfrm>
            <a:off x="383806" y="3474102"/>
            <a:ext cx="5927221" cy="4048841"/>
          </a:xfrm>
          <a:prstGeom prst="rect">
            <a:avLst/>
          </a:prstGeom>
        </p:spPr>
      </p:pic>
      <p:pic>
        <p:nvPicPr>
          <p:cNvPr id="7" name="図 6"/>
          <p:cNvPicPr>
            <a:picLocks noChangeAspect="1"/>
          </p:cNvPicPr>
          <p:nvPr/>
        </p:nvPicPr>
        <p:blipFill>
          <a:blip r:embed="rId4"/>
          <a:stretch>
            <a:fillRect/>
          </a:stretch>
        </p:blipFill>
        <p:spPr>
          <a:xfrm>
            <a:off x="6414414" y="3329953"/>
            <a:ext cx="2926949" cy="4194381"/>
          </a:xfrm>
          <a:prstGeom prst="rect">
            <a:avLst/>
          </a:prstGeom>
        </p:spPr>
      </p:pic>
      <p:sp>
        <p:nvSpPr>
          <p:cNvPr id="5" name="フッター プレースホルダー 4">
            <a:extLst>
              <a:ext uri="{FF2B5EF4-FFF2-40B4-BE49-F238E27FC236}">
                <a16:creationId xmlns:a16="http://schemas.microsoft.com/office/drawing/2014/main" id="{2217F929-06A9-1AC0-4429-1851A9DA429E}"/>
              </a:ext>
            </a:extLst>
          </p:cNvPr>
          <p:cNvSpPr>
            <a:spLocks noGrp="1"/>
          </p:cNvSpPr>
          <p:nvPr>
            <p:ph type="ftr" sz="quarter" idx="11"/>
          </p:nvPr>
        </p:nvSpPr>
        <p:spPr/>
        <p:txBody>
          <a:bodyPr/>
          <a:lstStyle/>
          <a:p>
            <a:endParaRPr lang="en-US" altLang="ja-JP">
              <a:solidFill>
                <a:srgbClr val="000000"/>
              </a:solidFill>
            </a:endParaRPr>
          </a:p>
        </p:txBody>
      </p:sp>
      <p:sp>
        <p:nvSpPr>
          <p:cNvPr id="6" name="スライド番号プレースホルダー 5">
            <a:extLst>
              <a:ext uri="{FF2B5EF4-FFF2-40B4-BE49-F238E27FC236}">
                <a16:creationId xmlns:a16="http://schemas.microsoft.com/office/drawing/2014/main" id="{BC343153-DAE9-4051-A25F-4C478596AEEB}"/>
              </a:ext>
            </a:extLst>
          </p:cNvPr>
          <p:cNvSpPr>
            <a:spLocks noGrp="1"/>
          </p:cNvSpPr>
          <p:nvPr>
            <p:ph type="sldNum" sz="quarter" idx="12"/>
          </p:nvPr>
        </p:nvSpPr>
        <p:spPr/>
        <p:txBody>
          <a:bodyPr/>
          <a:lstStyle/>
          <a:p>
            <a:fld id="{58668CC2-41FA-4E06-ADFC-EC4A0D39D016}" type="slidenum">
              <a:rPr lang="en-US" altLang="ja-JP" smtClean="0">
                <a:solidFill>
                  <a:srgbClr val="000000"/>
                </a:solidFill>
              </a:rPr>
              <a:pPr/>
              <a:t>33</a:t>
            </a:fld>
            <a:endParaRPr lang="en-US" altLang="ja-JP">
              <a:solidFill>
                <a:srgbClr val="000000"/>
              </a:solidFill>
            </a:endParaRPr>
          </a:p>
        </p:txBody>
      </p:sp>
    </p:spTree>
    <p:extLst>
      <p:ext uri="{BB962C8B-B14F-4D97-AF65-F5344CB8AC3E}">
        <p14:creationId xmlns:p14="http://schemas.microsoft.com/office/powerpoint/2010/main" val="17099333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3"/>
          <a:stretch>
            <a:fillRect/>
          </a:stretch>
        </p:blipFill>
        <p:spPr>
          <a:xfrm>
            <a:off x="7211041" y="3192831"/>
            <a:ext cx="2492610" cy="2046912"/>
          </a:xfrm>
          <a:prstGeom prst="rect">
            <a:avLst/>
          </a:prstGeom>
        </p:spPr>
      </p:pic>
      <p:pic>
        <p:nvPicPr>
          <p:cNvPr id="2" name="図 1"/>
          <p:cNvPicPr>
            <a:picLocks noChangeAspect="1"/>
          </p:cNvPicPr>
          <p:nvPr/>
        </p:nvPicPr>
        <p:blipFill>
          <a:blip r:embed="rId4"/>
          <a:stretch>
            <a:fillRect/>
          </a:stretch>
        </p:blipFill>
        <p:spPr>
          <a:xfrm>
            <a:off x="7212124" y="5353071"/>
            <a:ext cx="2492610" cy="2005644"/>
          </a:xfrm>
          <a:prstGeom prst="rect">
            <a:avLst/>
          </a:prstGeom>
        </p:spPr>
      </p:pic>
      <p:sp>
        <p:nvSpPr>
          <p:cNvPr id="29" name="正方形/長方形 28"/>
          <p:cNvSpPr/>
          <p:nvPr/>
        </p:nvSpPr>
        <p:spPr>
          <a:xfrm>
            <a:off x="1359737" y="6761984"/>
            <a:ext cx="1288213" cy="28621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7" name="正方形/長方形 26"/>
          <p:cNvSpPr/>
          <p:nvPr/>
        </p:nvSpPr>
        <p:spPr>
          <a:xfrm>
            <a:off x="547892" y="4113839"/>
            <a:ext cx="1307970" cy="26123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6" name="正方形/長方形 25"/>
          <p:cNvSpPr/>
          <p:nvPr/>
        </p:nvSpPr>
        <p:spPr>
          <a:xfrm>
            <a:off x="4850257" y="3843122"/>
            <a:ext cx="389981" cy="27071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5" name="正方形/長方形 24"/>
          <p:cNvSpPr/>
          <p:nvPr/>
        </p:nvSpPr>
        <p:spPr>
          <a:xfrm>
            <a:off x="3877956" y="5214194"/>
            <a:ext cx="858226" cy="26230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4" name="正方形/長方形 23"/>
          <p:cNvSpPr/>
          <p:nvPr/>
        </p:nvSpPr>
        <p:spPr>
          <a:xfrm>
            <a:off x="5353109" y="3303786"/>
            <a:ext cx="1687329" cy="2613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3" name="正方形/長方形 22"/>
          <p:cNvSpPr/>
          <p:nvPr/>
        </p:nvSpPr>
        <p:spPr>
          <a:xfrm>
            <a:off x="1237867" y="2402757"/>
            <a:ext cx="1410083" cy="25295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144" name="Rectangle 2"/>
          <p:cNvSpPr>
            <a:spLocks noGrp="1" noChangeArrowheads="1"/>
          </p:cNvSpPr>
          <p:nvPr>
            <p:ph type="title"/>
          </p:nvPr>
        </p:nvSpPr>
        <p:spPr>
          <a:xfrm>
            <a:off x="3" y="36000"/>
            <a:ext cx="8984006" cy="516312"/>
          </a:xfrm>
        </p:spPr>
        <p:txBody>
          <a:bodyPr/>
          <a:lstStyle/>
          <a:p>
            <a:r>
              <a:rPr lang="ja-JP" altLang="en-US" sz="2166" dirty="0"/>
              <a:t>「小さな拠点」の取組事例①　（高知県 四万十市 西土佐地域 大宮地区）</a:t>
            </a:r>
          </a:p>
        </p:txBody>
      </p:sp>
      <p:sp>
        <p:nvSpPr>
          <p:cNvPr id="59" name="角丸四角形 58"/>
          <p:cNvSpPr/>
          <p:nvPr/>
        </p:nvSpPr>
        <p:spPr>
          <a:xfrm>
            <a:off x="208139" y="1719610"/>
            <a:ext cx="1719731" cy="354759"/>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b="1" dirty="0">
              <a:solidFill>
                <a:srgbClr val="FFFFFF"/>
              </a:solidFill>
            </a:endParaRPr>
          </a:p>
        </p:txBody>
      </p:sp>
      <p:sp>
        <p:nvSpPr>
          <p:cNvPr id="60" name="テキスト ボックス 59"/>
          <p:cNvSpPr txBox="1"/>
          <p:nvPr/>
        </p:nvSpPr>
        <p:spPr>
          <a:xfrm>
            <a:off x="352155" y="1719610"/>
            <a:ext cx="1503707" cy="325602"/>
          </a:xfrm>
          <a:prstGeom prst="rect">
            <a:avLst/>
          </a:prstGeom>
          <a:noFill/>
        </p:spPr>
        <p:txBody>
          <a:bodyPr wrap="square" rtlCol="0">
            <a:spAutoFit/>
          </a:bodyPr>
          <a:lstStyle/>
          <a:p>
            <a:r>
              <a:rPr lang="ja-JP" altLang="en-US" sz="1516" b="1" dirty="0">
                <a:solidFill>
                  <a:srgbClr val="000000"/>
                </a:solidFill>
              </a:rPr>
              <a:t>地域概要・背景</a:t>
            </a:r>
          </a:p>
        </p:txBody>
      </p:sp>
      <p:sp>
        <p:nvSpPr>
          <p:cNvPr id="61" name="テキスト ボックス 60"/>
          <p:cNvSpPr txBox="1"/>
          <p:nvPr/>
        </p:nvSpPr>
        <p:spPr>
          <a:xfrm>
            <a:off x="487710" y="2079650"/>
            <a:ext cx="5832647" cy="628249"/>
          </a:xfrm>
          <a:prstGeom prst="rect">
            <a:avLst/>
          </a:prstGeom>
          <a:noFill/>
        </p:spPr>
        <p:txBody>
          <a:bodyPr wrap="square" rtlCol="0">
            <a:spAutoFit/>
          </a:bodyPr>
          <a:lstStyle/>
          <a:p>
            <a:pPr>
              <a:lnSpc>
                <a:spcPts val="2166"/>
              </a:lnSpc>
            </a:pPr>
            <a:r>
              <a:rPr lang="ja-JP" altLang="en-US" sz="1516" dirty="0">
                <a:solidFill>
                  <a:srgbClr val="000000"/>
                </a:solidFill>
              </a:rPr>
              <a:t>・ 地区人口： </a:t>
            </a:r>
            <a:r>
              <a:rPr lang="en-US" altLang="ja-JP" sz="1516" dirty="0">
                <a:solidFill>
                  <a:srgbClr val="000000"/>
                </a:solidFill>
              </a:rPr>
              <a:t>292 </a:t>
            </a:r>
            <a:r>
              <a:rPr lang="ja-JP" altLang="en-US" sz="1516" dirty="0">
                <a:solidFill>
                  <a:srgbClr val="000000"/>
                </a:solidFill>
              </a:rPr>
              <a:t>人  （</a:t>
            </a:r>
            <a:r>
              <a:rPr lang="en-US" altLang="ja-JP" sz="1516" dirty="0">
                <a:solidFill>
                  <a:srgbClr val="000000"/>
                </a:solidFill>
              </a:rPr>
              <a:t>134</a:t>
            </a:r>
            <a:r>
              <a:rPr lang="ja-JP" altLang="en-US" sz="1516" dirty="0">
                <a:solidFill>
                  <a:srgbClr val="000000"/>
                </a:solidFill>
              </a:rPr>
              <a:t>世帯）　</a:t>
            </a:r>
            <a:r>
              <a:rPr lang="en-US" altLang="ja-JP" sz="1516" dirty="0">
                <a:solidFill>
                  <a:srgbClr val="000000"/>
                </a:solidFill>
              </a:rPr>
              <a:t>【H24.7.1 </a:t>
            </a:r>
            <a:r>
              <a:rPr lang="ja-JP" altLang="en-US" sz="1516" dirty="0">
                <a:solidFill>
                  <a:srgbClr val="000000"/>
                </a:solidFill>
              </a:rPr>
              <a:t>現在</a:t>
            </a:r>
            <a:r>
              <a:rPr lang="en-US" altLang="ja-JP" sz="1516" dirty="0">
                <a:solidFill>
                  <a:srgbClr val="000000"/>
                </a:solidFill>
              </a:rPr>
              <a:t>】</a:t>
            </a:r>
          </a:p>
          <a:p>
            <a:pPr>
              <a:lnSpc>
                <a:spcPts val="2166"/>
              </a:lnSpc>
            </a:pPr>
            <a:r>
              <a:rPr lang="ja-JP" altLang="en-US" sz="1516" dirty="0">
                <a:solidFill>
                  <a:srgbClr val="000000"/>
                </a:solidFill>
              </a:rPr>
              <a:t>・ </a:t>
            </a:r>
            <a:r>
              <a:rPr lang="en-US" altLang="ja-JP" sz="1516" dirty="0">
                <a:solidFill>
                  <a:srgbClr val="000000"/>
                </a:solidFill>
              </a:rPr>
              <a:t>H17</a:t>
            </a:r>
            <a:r>
              <a:rPr lang="ja-JP" altLang="en-US" sz="1516" dirty="0">
                <a:solidFill>
                  <a:srgbClr val="000000"/>
                </a:solidFill>
              </a:rPr>
              <a:t>にＪＡ出張所が廃止決定</a:t>
            </a:r>
            <a:endParaRPr lang="en-US" altLang="ja-JP" sz="1516" dirty="0">
              <a:solidFill>
                <a:srgbClr val="000000"/>
              </a:solidFill>
              <a:uFill>
                <a:solidFill>
                  <a:srgbClr val="000000"/>
                </a:solidFill>
              </a:uFill>
            </a:endParaRPr>
          </a:p>
        </p:txBody>
      </p:sp>
      <p:sp>
        <p:nvSpPr>
          <p:cNvPr id="62" name="正方形/長方形 61"/>
          <p:cNvSpPr/>
          <p:nvPr/>
        </p:nvSpPr>
        <p:spPr>
          <a:xfrm>
            <a:off x="178126" y="837999"/>
            <a:ext cx="9598616" cy="857958"/>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63" name="テキスト ボックス 62"/>
          <p:cNvSpPr txBox="1"/>
          <p:nvPr/>
        </p:nvSpPr>
        <p:spPr>
          <a:xfrm>
            <a:off x="208139" y="838000"/>
            <a:ext cx="9598616" cy="861774"/>
          </a:xfrm>
          <a:prstGeom prst="rect">
            <a:avLst/>
          </a:prstGeom>
          <a:noFill/>
        </p:spPr>
        <p:txBody>
          <a:bodyPr wrap="square" rtlCol="0">
            <a:spAutoFit/>
          </a:bodyPr>
          <a:lstStyle/>
          <a:p>
            <a:pPr>
              <a:lnSpc>
                <a:spcPts val="1950"/>
              </a:lnSpc>
              <a:buFont typeface="Arial" pitchFamily="34" charset="0"/>
              <a:buChar char="•"/>
            </a:pPr>
            <a:r>
              <a:rPr lang="ja-JP" altLang="en-US" sz="1516" b="1" dirty="0">
                <a:solidFill>
                  <a:srgbClr val="000000"/>
                </a:solidFill>
              </a:rPr>
              <a:t> 集落からＪＡ出張所（小売店＋ガソリンスタンド）が撤退したことにより、集落の存続が危惧</a:t>
            </a:r>
            <a:endParaRPr lang="en-US" altLang="ja-JP" sz="1516" b="1" dirty="0">
              <a:solidFill>
                <a:srgbClr val="000000"/>
              </a:solidFill>
            </a:endParaRPr>
          </a:p>
          <a:p>
            <a:pPr>
              <a:lnSpc>
                <a:spcPts val="1950"/>
              </a:lnSpc>
              <a:buFont typeface="Arial" pitchFamily="34" charset="0"/>
              <a:buChar char="•"/>
            </a:pPr>
            <a:r>
              <a:rPr lang="ja-JP" altLang="en-US" sz="1516" b="1" dirty="0">
                <a:solidFill>
                  <a:srgbClr val="000000"/>
                </a:solidFill>
              </a:rPr>
              <a:t> このため地域の約８割の地区住民が出資して、株式会社大宮産業を設立</a:t>
            </a:r>
            <a:endParaRPr lang="en-US" altLang="ja-JP" sz="1516" b="1" dirty="0">
              <a:solidFill>
                <a:srgbClr val="000000"/>
              </a:solidFill>
            </a:endParaRPr>
          </a:p>
          <a:p>
            <a:pPr>
              <a:lnSpc>
                <a:spcPts val="1950"/>
              </a:lnSpc>
              <a:buFont typeface="Arial" pitchFamily="34" charset="0"/>
              <a:buChar char="•"/>
            </a:pPr>
            <a:r>
              <a:rPr lang="ja-JP" altLang="en-US" sz="1516" b="1" dirty="0">
                <a:solidFill>
                  <a:srgbClr val="000000"/>
                </a:solidFill>
              </a:rPr>
              <a:t> 小売店とガソリンスタンド、宅配サービス等の機能を持つ集落の「小さな拠点」を形成することで日々の生活を維持</a:t>
            </a:r>
          </a:p>
        </p:txBody>
      </p:sp>
      <p:sp>
        <p:nvSpPr>
          <p:cNvPr id="86" name="正方形/長方形 85"/>
          <p:cNvSpPr/>
          <p:nvPr/>
        </p:nvSpPr>
        <p:spPr>
          <a:xfrm>
            <a:off x="7602555" y="1762379"/>
            <a:ext cx="2088232" cy="1382546"/>
          </a:xfrm>
          <a:prstGeom prst="rect">
            <a:avLst/>
          </a:prstGeom>
          <a:solidFill>
            <a:schemeClr val="tx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pic>
        <p:nvPicPr>
          <p:cNvPr id="87" name="図 86"/>
          <p:cNvPicPr/>
          <p:nvPr/>
        </p:nvPicPr>
        <p:blipFill>
          <a:blip r:embed="rId5" cstate="email">
            <a:extLst>
              <a:ext uri="{28A0092B-C50C-407E-A947-70E740481C1C}">
                <a14:useLocalDpi xmlns:a14="http://schemas.microsoft.com/office/drawing/2010/main" val="0"/>
              </a:ext>
            </a:extLst>
          </a:blip>
          <a:stretch>
            <a:fillRect/>
          </a:stretch>
        </p:blipFill>
        <p:spPr>
          <a:xfrm>
            <a:off x="7726821" y="1719610"/>
            <a:ext cx="1675935" cy="1425316"/>
          </a:xfrm>
          <a:prstGeom prst="rect">
            <a:avLst/>
          </a:prstGeom>
        </p:spPr>
      </p:pic>
      <p:sp>
        <p:nvSpPr>
          <p:cNvPr id="89" name="正方形/長方形 88"/>
          <p:cNvSpPr/>
          <p:nvPr/>
        </p:nvSpPr>
        <p:spPr>
          <a:xfrm>
            <a:off x="8466651" y="2598952"/>
            <a:ext cx="1205779" cy="442301"/>
          </a:xfrm>
          <a:prstGeom prst="rect">
            <a:avLst/>
          </a:prstGeom>
        </p:spPr>
        <p:txBody>
          <a:bodyPr wrap="none">
            <a:spAutoFit/>
          </a:bodyPr>
          <a:lstStyle/>
          <a:p>
            <a:r>
              <a:rPr lang="ja-JP" altLang="ja-JP" sz="1137" b="1" dirty="0">
                <a:solidFill>
                  <a:srgbClr val="000000"/>
                </a:solidFill>
              </a:rPr>
              <a:t>高知県</a:t>
            </a:r>
            <a:endParaRPr lang="en-US" altLang="ja-JP" sz="1137" b="1" dirty="0">
              <a:solidFill>
                <a:srgbClr val="000000"/>
              </a:solidFill>
            </a:endParaRPr>
          </a:p>
          <a:p>
            <a:r>
              <a:rPr lang="ja-JP" altLang="ja-JP" sz="1137" b="1" dirty="0">
                <a:solidFill>
                  <a:srgbClr val="000000"/>
                </a:solidFill>
              </a:rPr>
              <a:t>四万十市の位置</a:t>
            </a:r>
            <a:endParaRPr lang="ja-JP" altLang="en-US" sz="1137" dirty="0">
              <a:solidFill>
                <a:srgbClr val="000000"/>
              </a:solidFill>
            </a:endParaRPr>
          </a:p>
        </p:txBody>
      </p:sp>
      <p:sp>
        <p:nvSpPr>
          <p:cNvPr id="93" name="テキスト ボックス 92"/>
          <p:cNvSpPr txBox="1"/>
          <p:nvPr/>
        </p:nvSpPr>
        <p:spPr>
          <a:xfrm>
            <a:off x="8626200" y="3300919"/>
            <a:ext cx="1059906" cy="267317"/>
          </a:xfrm>
          <a:prstGeom prst="rect">
            <a:avLst/>
          </a:prstGeom>
          <a:solidFill>
            <a:schemeClr val="bg1"/>
          </a:solidFill>
          <a:ln>
            <a:solidFill>
              <a:schemeClr val="tx1"/>
            </a:solidFill>
          </a:ln>
        </p:spPr>
        <p:txBody>
          <a:bodyPr wrap="none" rtlCol="0">
            <a:spAutoFit/>
          </a:bodyPr>
          <a:lstStyle/>
          <a:p>
            <a:r>
              <a:rPr lang="ja-JP" altLang="en-US" sz="1137" b="1" dirty="0">
                <a:solidFill>
                  <a:srgbClr val="000000"/>
                </a:solidFill>
              </a:rPr>
              <a:t>大宮産業店舗</a:t>
            </a:r>
          </a:p>
        </p:txBody>
      </p:sp>
      <p:sp>
        <p:nvSpPr>
          <p:cNvPr id="94" name="テキスト ボックス 93"/>
          <p:cNvSpPr txBox="1"/>
          <p:nvPr/>
        </p:nvSpPr>
        <p:spPr>
          <a:xfrm>
            <a:off x="8538660" y="5484811"/>
            <a:ext cx="1148071" cy="267317"/>
          </a:xfrm>
          <a:prstGeom prst="rect">
            <a:avLst/>
          </a:prstGeom>
          <a:solidFill>
            <a:schemeClr val="bg1"/>
          </a:solidFill>
          <a:ln>
            <a:solidFill>
              <a:schemeClr val="tx1"/>
            </a:solidFill>
          </a:ln>
        </p:spPr>
        <p:txBody>
          <a:bodyPr wrap="none" rtlCol="0">
            <a:spAutoFit/>
          </a:bodyPr>
          <a:lstStyle/>
          <a:p>
            <a:r>
              <a:rPr lang="ja-JP" altLang="en-US" sz="1137" b="1" dirty="0">
                <a:solidFill>
                  <a:srgbClr val="000000"/>
                </a:solidFill>
              </a:rPr>
              <a:t>ガソリンスタンド</a:t>
            </a:r>
          </a:p>
        </p:txBody>
      </p:sp>
      <p:sp>
        <p:nvSpPr>
          <p:cNvPr id="30" name="円/楕円 29"/>
          <p:cNvSpPr/>
          <p:nvPr/>
        </p:nvSpPr>
        <p:spPr bwMode="auto">
          <a:xfrm>
            <a:off x="7962595" y="2520955"/>
            <a:ext cx="72008" cy="77996"/>
          </a:xfrm>
          <a:prstGeom prst="ellipse">
            <a:avLst/>
          </a:prstGeom>
          <a:solidFill>
            <a:srgbClr val="FF0000"/>
          </a:solidFill>
          <a:ln w="12700" cap="flat" cmpd="sng" algn="ctr">
            <a:noFill/>
            <a:prstDash val="solid"/>
            <a:round/>
            <a:headEnd type="none" w="sm" len="sm"/>
            <a:tailEnd type="none" w="sm" len="sm"/>
          </a:ln>
          <a:effectLst/>
        </p:spPr>
        <p:txBody>
          <a:bodyPr vert="horz" wrap="none" lIns="99044" tIns="49522" rIns="99044" bIns="49522" numCol="1" rtlCol="0" anchor="t" anchorCtr="0" compatLnSpc="1">
            <a:prstTxWarp prst="textNoShape">
              <a:avLst/>
            </a:prstTxWarp>
          </a:bodyPr>
          <a:lstStyle/>
          <a:p>
            <a:endParaRPr lang="ja-JP" altLang="en-US">
              <a:solidFill>
                <a:srgbClr val="000000"/>
              </a:solidFill>
              <a:ea typeface="ＭＳ Ｐゴシック" charset="-128"/>
            </a:endParaRPr>
          </a:p>
        </p:txBody>
      </p:sp>
      <p:sp>
        <p:nvSpPr>
          <p:cNvPr id="33" name="テキスト ボックス 32"/>
          <p:cNvSpPr txBox="1"/>
          <p:nvPr/>
        </p:nvSpPr>
        <p:spPr>
          <a:xfrm>
            <a:off x="304979" y="3231778"/>
            <a:ext cx="7013498" cy="3167406"/>
          </a:xfrm>
          <a:prstGeom prst="rect">
            <a:avLst/>
          </a:prstGeom>
          <a:noFill/>
          <a:ln>
            <a:noFill/>
          </a:ln>
        </p:spPr>
        <p:txBody>
          <a:bodyPr wrap="square" rtlCol="0">
            <a:spAutoFit/>
          </a:bodyPr>
          <a:lstStyle/>
          <a:p>
            <a:pPr marL="177800" indent="-177800">
              <a:lnSpc>
                <a:spcPts val="2166"/>
              </a:lnSpc>
            </a:pPr>
            <a:r>
              <a:rPr lang="ja-JP" altLang="en-US" sz="1516" dirty="0">
                <a:solidFill>
                  <a:srgbClr val="000000"/>
                </a:solidFill>
              </a:rPr>
              <a:t>○地区の約８割の世帯が出資して、</a:t>
            </a:r>
            <a:r>
              <a:rPr lang="en-US" altLang="ja-JP" sz="1516" dirty="0">
                <a:solidFill>
                  <a:srgbClr val="000000"/>
                </a:solidFill>
              </a:rPr>
              <a:t>JA</a:t>
            </a:r>
            <a:r>
              <a:rPr lang="ja-JP" altLang="en-US" sz="1516" dirty="0">
                <a:solidFill>
                  <a:srgbClr val="000000"/>
                </a:solidFill>
              </a:rPr>
              <a:t>店舗の機能を引き継ぐ「株式会社大宮産業」設立</a:t>
            </a:r>
            <a:endParaRPr lang="en-US" altLang="ja-JP" sz="1516" dirty="0">
              <a:solidFill>
                <a:srgbClr val="000000"/>
              </a:solidFill>
            </a:endParaRPr>
          </a:p>
          <a:p>
            <a:pPr marL="177800" indent="-177800">
              <a:lnSpc>
                <a:spcPts val="2166"/>
              </a:lnSpc>
            </a:pPr>
            <a:r>
              <a:rPr lang="ja-JP" altLang="en-US" sz="1516" dirty="0">
                <a:solidFill>
                  <a:srgbClr val="000000"/>
                </a:solidFill>
              </a:rPr>
              <a:t>○「大宮産業」は</a:t>
            </a:r>
            <a:r>
              <a:rPr lang="en-US" altLang="ja-JP" sz="1516" dirty="0">
                <a:solidFill>
                  <a:srgbClr val="000000"/>
                </a:solidFill>
              </a:rPr>
              <a:t>JA</a:t>
            </a:r>
            <a:r>
              <a:rPr lang="ja-JP" altLang="en-US" sz="1516" dirty="0">
                <a:solidFill>
                  <a:srgbClr val="000000"/>
                </a:solidFill>
              </a:rPr>
              <a:t>の施設を購入し、事業を引き継いで商店（食料品・日用雑貨等）とガソリンスタンドを経営。その他、以下の事業も展開</a:t>
            </a:r>
            <a:endParaRPr lang="en-US" altLang="ja-JP" sz="1516" dirty="0">
              <a:solidFill>
                <a:srgbClr val="000000"/>
              </a:solidFill>
            </a:endParaRPr>
          </a:p>
          <a:p>
            <a:pPr marL="355600" indent="-177800">
              <a:lnSpc>
                <a:spcPts val="2166"/>
              </a:lnSpc>
            </a:pPr>
            <a:r>
              <a:rPr lang="ja-JP" altLang="en-US" sz="1516" dirty="0">
                <a:solidFill>
                  <a:srgbClr val="000000"/>
                </a:solidFill>
              </a:rPr>
              <a:t>・ </a:t>
            </a:r>
            <a:r>
              <a:rPr lang="ja-JP" altLang="ja-JP" sz="1516" dirty="0">
                <a:solidFill>
                  <a:srgbClr val="000000"/>
                </a:solidFill>
              </a:rPr>
              <a:t>高齢者の見守りも兼ねた週２回の宅配サービスを開始</a:t>
            </a:r>
            <a:endParaRPr lang="en-US" altLang="ja-JP" sz="1516" dirty="0">
              <a:solidFill>
                <a:srgbClr val="000000"/>
              </a:solidFill>
            </a:endParaRPr>
          </a:p>
          <a:p>
            <a:pPr marL="355600" indent="-177800">
              <a:lnSpc>
                <a:spcPts val="2166"/>
              </a:lnSpc>
            </a:pPr>
            <a:r>
              <a:rPr lang="ja-JP" altLang="en-US" sz="1516" dirty="0">
                <a:solidFill>
                  <a:srgbClr val="000000"/>
                </a:solidFill>
              </a:rPr>
              <a:t>・ </a:t>
            </a:r>
            <a:r>
              <a:rPr lang="ja-JP" altLang="ja-JP" sz="1516" dirty="0">
                <a:solidFill>
                  <a:srgbClr val="000000"/>
                </a:solidFill>
              </a:rPr>
              <a:t>土曜夜市や感謝祭などの</a:t>
            </a:r>
            <a:r>
              <a:rPr lang="ja-JP" altLang="ja-JP" sz="1516" dirty="0">
                <a:solidFill>
                  <a:srgbClr val="000000"/>
                </a:solidFill>
                <a:uFill>
                  <a:solidFill>
                    <a:srgbClr val="000000"/>
                  </a:solidFill>
                </a:uFill>
              </a:rPr>
              <a:t>イベント</a:t>
            </a:r>
            <a:r>
              <a:rPr lang="ja-JP" altLang="ja-JP" sz="1516" dirty="0">
                <a:solidFill>
                  <a:srgbClr val="000000"/>
                </a:solidFill>
                <a:uFill>
                  <a:solidFill>
                    <a:srgbClr val="FF0000"/>
                  </a:solidFill>
                </a:uFill>
              </a:rPr>
              <a:t>を開催</a:t>
            </a:r>
            <a:endParaRPr lang="en-US" altLang="ja-JP" sz="1516" dirty="0">
              <a:solidFill>
                <a:srgbClr val="000000"/>
              </a:solidFill>
              <a:uFill>
                <a:solidFill>
                  <a:srgbClr val="FF0000"/>
                </a:solidFill>
              </a:uFill>
            </a:endParaRPr>
          </a:p>
          <a:p>
            <a:pPr marL="355600" indent="-177800">
              <a:lnSpc>
                <a:spcPts val="2166"/>
              </a:lnSpc>
            </a:pPr>
            <a:r>
              <a:rPr lang="ja-JP" altLang="en-US" sz="1516" dirty="0">
                <a:solidFill>
                  <a:srgbClr val="000000"/>
                </a:solidFill>
              </a:rPr>
              <a:t>・ </a:t>
            </a:r>
            <a:r>
              <a:rPr lang="ja-JP" altLang="ja-JP" sz="1516" dirty="0">
                <a:solidFill>
                  <a:srgbClr val="000000"/>
                </a:solidFill>
              </a:rPr>
              <a:t>燃料宅配用のミニローリー車の整備</a:t>
            </a:r>
            <a:endParaRPr lang="ja-JP" altLang="en-US" sz="1516" dirty="0">
              <a:solidFill>
                <a:srgbClr val="000000"/>
              </a:solidFill>
            </a:endParaRPr>
          </a:p>
          <a:p>
            <a:pPr marL="355600" indent="-177800">
              <a:lnSpc>
                <a:spcPts val="2166"/>
              </a:lnSpc>
            </a:pPr>
            <a:r>
              <a:rPr lang="ja-JP" altLang="en-US" sz="1516" dirty="0">
                <a:solidFill>
                  <a:srgbClr val="000000"/>
                </a:solidFill>
              </a:rPr>
              <a:t>・ 地域資源「大宮米」のブランド化による「地産外商」を推進。県内の 学校・福祉施設で利用される他、ネットショップ等を通じても販売</a:t>
            </a:r>
            <a:endParaRPr lang="en-US" altLang="ja-JP" sz="1516" dirty="0">
              <a:solidFill>
                <a:srgbClr val="000000"/>
              </a:solidFill>
            </a:endParaRPr>
          </a:p>
          <a:p>
            <a:pPr marL="177800" indent="-177800">
              <a:lnSpc>
                <a:spcPts val="2166"/>
              </a:lnSpc>
            </a:pPr>
            <a:r>
              <a:rPr lang="ja-JP" altLang="en-US" sz="1516" dirty="0">
                <a:solidFill>
                  <a:srgbClr val="000000"/>
                </a:solidFill>
              </a:rPr>
              <a:t>○公共交通として、市のデマンドバスが１日８便、大宮地区を経由して、市の総合支所のある西土佐地域の中心部まで運行</a:t>
            </a:r>
            <a:endParaRPr lang="en-US" altLang="ja-JP" sz="1516" dirty="0">
              <a:solidFill>
                <a:srgbClr val="000000"/>
              </a:solidFill>
            </a:endParaRPr>
          </a:p>
        </p:txBody>
      </p:sp>
      <p:sp>
        <p:nvSpPr>
          <p:cNvPr id="31" name="角丸四角形 30"/>
          <p:cNvSpPr/>
          <p:nvPr/>
        </p:nvSpPr>
        <p:spPr>
          <a:xfrm>
            <a:off x="251123" y="2943746"/>
            <a:ext cx="1460723" cy="311985"/>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516" b="1" dirty="0">
              <a:solidFill>
                <a:srgbClr val="FFFFFF"/>
              </a:solidFill>
            </a:endParaRPr>
          </a:p>
        </p:txBody>
      </p:sp>
      <p:sp>
        <p:nvSpPr>
          <p:cNvPr id="32" name="テキスト ボックス 31"/>
          <p:cNvSpPr txBox="1"/>
          <p:nvPr/>
        </p:nvSpPr>
        <p:spPr>
          <a:xfrm>
            <a:off x="521470" y="2943747"/>
            <a:ext cx="966931" cy="325602"/>
          </a:xfrm>
          <a:prstGeom prst="rect">
            <a:avLst/>
          </a:prstGeom>
          <a:noFill/>
        </p:spPr>
        <p:txBody>
          <a:bodyPr wrap="none" rtlCol="0">
            <a:spAutoFit/>
          </a:bodyPr>
          <a:lstStyle/>
          <a:p>
            <a:r>
              <a:rPr lang="ja-JP" altLang="en-US" sz="1516" b="1" dirty="0">
                <a:solidFill>
                  <a:srgbClr val="000000"/>
                </a:solidFill>
              </a:rPr>
              <a:t>取組概要</a:t>
            </a:r>
          </a:p>
        </p:txBody>
      </p:sp>
      <p:sp>
        <p:nvSpPr>
          <p:cNvPr id="34" name="角丸四角形 33"/>
          <p:cNvSpPr/>
          <p:nvPr/>
        </p:nvSpPr>
        <p:spPr>
          <a:xfrm>
            <a:off x="271687" y="6400130"/>
            <a:ext cx="1440159" cy="311985"/>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ja-JP" altLang="en-US" b="1" dirty="0">
              <a:solidFill>
                <a:srgbClr val="FFFFFF"/>
              </a:solidFill>
            </a:endParaRPr>
          </a:p>
        </p:txBody>
      </p:sp>
      <p:sp>
        <p:nvSpPr>
          <p:cNvPr id="35" name="テキスト ボックス 34"/>
          <p:cNvSpPr txBox="1"/>
          <p:nvPr/>
        </p:nvSpPr>
        <p:spPr>
          <a:xfrm>
            <a:off x="289571" y="6688162"/>
            <a:ext cx="5310707" cy="656590"/>
          </a:xfrm>
          <a:prstGeom prst="rect">
            <a:avLst/>
          </a:prstGeom>
          <a:noFill/>
        </p:spPr>
        <p:txBody>
          <a:bodyPr wrap="square" rtlCol="0">
            <a:spAutoFit/>
          </a:bodyPr>
          <a:lstStyle/>
          <a:p>
            <a:pPr>
              <a:lnSpc>
                <a:spcPts val="2166"/>
              </a:lnSpc>
            </a:pPr>
            <a:r>
              <a:rPr lang="ja-JP" altLang="en-US" sz="1516" dirty="0">
                <a:solidFill>
                  <a:srgbClr val="000000"/>
                </a:solidFill>
              </a:rPr>
              <a:t>○</a:t>
            </a:r>
            <a:r>
              <a:rPr lang="ja-JP" altLang="ja-JP" sz="1516" dirty="0">
                <a:solidFill>
                  <a:srgbClr val="000000"/>
                </a:solidFill>
              </a:rPr>
              <a:t>設立</a:t>
            </a:r>
            <a:r>
              <a:rPr lang="ja-JP" altLang="en-US" sz="1516" dirty="0">
                <a:solidFill>
                  <a:srgbClr val="000000"/>
                </a:solidFill>
              </a:rPr>
              <a:t>以</a:t>
            </a:r>
            <a:r>
              <a:rPr lang="ja-JP" altLang="ja-JP" sz="1516" dirty="0">
                <a:solidFill>
                  <a:srgbClr val="000000"/>
                </a:solidFill>
              </a:rPr>
              <a:t>来６期連続で黒字を達成</a:t>
            </a:r>
            <a:endParaRPr lang="en-US" altLang="ja-JP" sz="1516" dirty="0">
              <a:solidFill>
                <a:srgbClr val="000000"/>
              </a:solidFill>
            </a:endParaRPr>
          </a:p>
          <a:p>
            <a:pPr>
              <a:lnSpc>
                <a:spcPts val="2166"/>
              </a:lnSpc>
            </a:pPr>
            <a:r>
              <a:rPr lang="ja-JP" altLang="en-US" sz="1516" dirty="0">
                <a:solidFill>
                  <a:srgbClr val="000000"/>
                </a:solidFill>
              </a:rPr>
              <a:t>○</a:t>
            </a:r>
            <a:r>
              <a:rPr lang="ja-JP" altLang="ja-JP" sz="1516" dirty="0">
                <a:solidFill>
                  <a:srgbClr val="000000"/>
                </a:solidFill>
              </a:rPr>
              <a:t>地区住民</a:t>
            </a:r>
            <a:r>
              <a:rPr lang="ja-JP" altLang="en-US" sz="1516" dirty="0">
                <a:solidFill>
                  <a:srgbClr val="000000"/>
                </a:solidFill>
              </a:rPr>
              <a:t>の</a:t>
            </a:r>
            <a:r>
              <a:rPr lang="ja-JP" altLang="ja-JP" sz="1516" dirty="0">
                <a:solidFill>
                  <a:srgbClr val="000000"/>
                </a:solidFill>
              </a:rPr>
              <a:t>９割超が利用</a:t>
            </a:r>
            <a:r>
              <a:rPr lang="ja-JP" altLang="en-US" sz="1516" dirty="0">
                <a:solidFill>
                  <a:srgbClr val="000000"/>
                </a:solidFill>
              </a:rPr>
              <a:t>（最低でも月１回）</a:t>
            </a:r>
            <a:endParaRPr lang="en-US" altLang="ja-JP" sz="1516" dirty="0">
              <a:solidFill>
                <a:srgbClr val="000000"/>
              </a:solidFill>
            </a:endParaRPr>
          </a:p>
        </p:txBody>
      </p:sp>
      <p:sp>
        <p:nvSpPr>
          <p:cNvPr id="36" name="テキスト ボックス 35"/>
          <p:cNvSpPr txBox="1"/>
          <p:nvPr/>
        </p:nvSpPr>
        <p:spPr>
          <a:xfrm>
            <a:off x="275503" y="6400132"/>
            <a:ext cx="1300335" cy="325602"/>
          </a:xfrm>
          <a:prstGeom prst="rect">
            <a:avLst/>
          </a:prstGeom>
          <a:noFill/>
        </p:spPr>
        <p:txBody>
          <a:bodyPr wrap="square" rtlCol="0">
            <a:spAutoFit/>
          </a:bodyPr>
          <a:lstStyle/>
          <a:p>
            <a:r>
              <a:rPr lang="ja-JP" altLang="en-US" sz="1516" b="1" dirty="0">
                <a:solidFill>
                  <a:srgbClr val="000000"/>
                </a:solidFill>
              </a:rPr>
              <a:t>　　取組効果</a:t>
            </a:r>
          </a:p>
        </p:txBody>
      </p:sp>
      <p:sp>
        <p:nvSpPr>
          <p:cNvPr id="38" name="Rectangle 2"/>
          <p:cNvSpPr txBox="1">
            <a:spLocks noChangeArrowheads="1"/>
          </p:cNvSpPr>
          <p:nvPr/>
        </p:nvSpPr>
        <p:spPr bwMode="auto">
          <a:xfrm>
            <a:off x="6104334" y="482774"/>
            <a:ext cx="3887113" cy="392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4" tIns="49522" rIns="99044" bIns="49522"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ja-JP" altLang="en-US" sz="1600" kern="0" dirty="0"/>
              <a:t>　</a:t>
            </a:r>
            <a:r>
              <a:rPr lang="en-US" altLang="ja-JP" sz="1200" kern="0" dirty="0"/>
              <a:t>《</a:t>
            </a:r>
            <a:r>
              <a:rPr lang="ja-JP" altLang="en-US" sz="1200" kern="0" dirty="0"/>
              <a:t>「小さな拠点」</a:t>
            </a:r>
            <a:r>
              <a:rPr lang="ja-JP" altLang="en-US" sz="1200" kern="0" dirty="0" err="1"/>
              <a:t>づ</a:t>
            </a:r>
            <a:r>
              <a:rPr lang="ja-JP" altLang="en-US" sz="1200" kern="0" dirty="0"/>
              <a:t>くりガイドブック（Ｈ</a:t>
            </a:r>
            <a:r>
              <a:rPr lang="en-US" altLang="ja-JP" sz="1200" kern="0" dirty="0"/>
              <a:t>24</a:t>
            </a:r>
            <a:r>
              <a:rPr lang="ja-JP" altLang="en-US" sz="1200" kern="0" dirty="0"/>
              <a:t>年度）掲載事例</a:t>
            </a:r>
            <a:r>
              <a:rPr lang="en-US" altLang="ja-JP" sz="1200" kern="0" dirty="0"/>
              <a:t>》</a:t>
            </a:r>
            <a:endParaRPr lang="ja-JP" altLang="en-US" sz="1200" kern="0" dirty="0"/>
          </a:p>
        </p:txBody>
      </p:sp>
      <p:sp>
        <p:nvSpPr>
          <p:cNvPr id="4" name="フッター プレースホルダー 3">
            <a:extLst>
              <a:ext uri="{FF2B5EF4-FFF2-40B4-BE49-F238E27FC236}">
                <a16:creationId xmlns:a16="http://schemas.microsoft.com/office/drawing/2014/main" id="{CC539797-1428-35A9-99F8-181C6A124F79}"/>
              </a:ext>
            </a:extLst>
          </p:cNvPr>
          <p:cNvSpPr>
            <a:spLocks noGrp="1"/>
          </p:cNvSpPr>
          <p:nvPr>
            <p:ph type="ftr" sz="quarter" idx="11"/>
          </p:nvPr>
        </p:nvSpPr>
        <p:spPr/>
        <p:txBody>
          <a:bodyPr/>
          <a:lstStyle/>
          <a:p>
            <a:pPr>
              <a:defRPr/>
            </a:pPr>
            <a:endParaRPr lang="en-US" altLang="ja-JP" dirty="0"/>
          </a:p>
        </p:txBody>
      </p:sp>
      <p:sp>
        <p:nvSpPr>
          <p:cNvPr id="5" name="スライド番号プレースホルダー 4">
            <a:extLst>
              <a:ext uri="{FF2B5EF4-FFF2-40B4-BE49-F238E27FC236}">
                <a16:creationId xmlns:a16="http://schemas.microsoft.com/office/drawing/2014/main" id="{CE5EA801-A4E1-72DB-ECB8-80ED51A90DAC}"/>
              </a:ext>
            </a:extLst>
          </p:cNvPr>
          <p:cNvSpPr>
            <a:spLocks noGrp="1"/>
          </p:cNvSpPr>
          <p:nvPr>
            <p:ph type="sldNum" sz="quarter" idx="12"/>
          </p:nvPr>
        </p:nvSpPr>
        <p:spPr/>
        <p:txBody>
          <a:bodyPr/>
          <a:lstStyle/>
          <a:p>
            <a:pPr>
              <a:defRPr/>
            </a:pPr>
            <a:fld id="{651FC12D-27C1-4F31-90C9-A93D49E44687}" type="slidenum">
              <a:rPr lang="en-US" altLang="ja-JP" smtClean="0"/>
              <a:pPr>
                <a:defRPr/>
              </a:pPr>
              <a:t>34</a:t>
            </a:fld>
            <a:endParaRPr lang="en-US" altLang="ja-JP" dirty="0"/>
          </a:p>
        </p:txBody>
      </p:sp>
    </p:spTree>
    <p:extLst>
      <p:ext uri="{BB962C8B-B14F-4D97-AF65-F5344CB8AC3E}">
        <p14:creationId xmlns:p14="http://schemas.microsoft.com/office/powerpoint/2010/main" val="27029090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正方形/長方形 100"/>
          <p:cNvSpPr/>
          <p:nvPr/>
        </p:nvSpPr>
        <p:spPr>
          <a:xfrm>
            <a:off x="2506272" y="3591818"/>
            <a:ext cx="3886094" cy="20469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94" name="正方形/長方形 93"/>
          <p:cNvSpPr/>
          <p:nvPr/>
        </p:nvSpPr>
        <p:spPr>
          <a:xfrm>
            <a:off x="4950380" y="3303786"/>
            <a:ext cx="2083515" cy="24295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91" name="正方形/長方形 90"/>
          <p:cNvSpPr/>
          <p:nvPr/>
        </p:nvSpPr>
        <p:spPr>
          <a:xfrm>
            <a:off x="2143894" y="4437951"/>
            <a:ext cx="4835761" cy="233987"/>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55" name="正方形/長方形 54"/>
          <p:cNvSpPr/>
          <p:nvPr/>
        </p:nvSpPr>
        <p:spPr>
          <a:xfrm>
            <a:off x="1086936" y="2439690"/>
            <a:ext cx="3145190" cy="25087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59" name="角丸四角形 58"/>
          <p:cNvSpPr/>
          <p:nvPr/>
        </p:nvSpPr>
        <p:spPr>
          <a:xfrm>
            <a:off x="242235" y="1790834"/>
            <a:ext cx="1719731" cy="347207"/>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b="1" dirty="0">
              <a:solidFill>
                <a:srgbClr val="FFFFFF"/>
              </a:solidFill>
            </a:endParaRPr>
          </a:p>
        </p:txBody>
      </p:sp>
      <p:sp>
        <p:nvSpPr>
          <p:cNvPr id="60" name="テキスト ボックス 59"/>
          <p:cNvSpPr txBox="1"/>
          <p:nvPr/>
        </p:nvSpPr>
        <p:spPr>
          <a:xfrm>
            <a:off x="314242" y="1826056"/>
            <a:ext cx="1569727" cy="325602"/>
          </a:xfrm>
          <a:prstGeom prst="rect">
            <a:avLst/>
          </a:prstGeom>
          <a:noFill/>
        </p:spPr>
        <p:txBody>
          <a:bodyPr wrap="square" rtlCol="0">
            <a:spAutoFit/>
          </a:bodyPr>
          <a:lstStyle/>
          <a:p>
            <a:r>
              <a:rPr lang="ja-JP" altLang="en-US" sz="1516" b="1" dirty="0">
                <a:solidFill>
                  <a:srgbClr val="000000"/>
                </a:solidFill>
              </a:rPr>
              <a:t>地域概要・背景</a:t>
            </a:r>
          </a:p>
        </p:txBody>
      </p:sp>
      <p:sp>
        <p:nvSpPr>
          <p:cNvPr id="62" name="正方形/長方形 61"/>
          <p:cNvSpPr/>
          <p:nvPr/>
        </p:nvSpPr>
        <p:spPr>
          <a:xfrm>
            <a:off x="193654" y="837999"/>
            <a:ext cx="9565484" cy="857958"/>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63" name="テキスト ボックス 62"/>
          <p:cNvSpPr txBox="1"/>
          <p:nvPr/>
        </p:nvSpPr>
        <p:spPr>
          <a:xfrm>
            <a:off x="193654" y="838000"/>
            <a:ext cx="9613101" cy="861774"/>
          </a:xfrm>
          <a:prstGeom prst="rect">
            <a:avLst/>
          </a:prstGeom>
          <a:noFill/>
        </p:spPr>
        <p:txBody>
          <a:bodyPr wrap="square" rtlCol="0">
            <a:spAutoFit/>
          </a:bodyPr>
          <a:lstStyle/>
          <a:p>
            <a:pPr>
              <a:lnSpc>
                <a:spcPts val="1950"/>
              </a:lnSpc>
              <a:buFont typeface="Arial" pitchFamily="34" charset="0"/>
              <a:buChar char="•"/>
            </a:pPr>
            <a:r>
              <a:rPr lang="ja-JP" altLang="en-US" sz="1516" b="1" dirty="0">
                <a:solidFill>
                  <a:srgbClr val="000000"/>
                </a:solidFill>
              </a:rPr>
              <a:t> ＪＡ店舗（日用品等販売）の撤退を受け、その機能を引き継ぐ商店「ふらっと美山」をオープン</a:t>
            </a:r>
            <a:endParaRPr lang="en-US" altLang="ja-JP" sz="1516" b="1" dirty="0">
              <a:solidFill>
                <a:srgbClr val="000000"/>
              </a:solidFill>
            </a:endParaRPr>
          </a:p>
          <a:p>
            <a:pPr>
              <a:lnSpc>
                <a:spcPts val="1950"/>
              </a:lnSpc>
            </a:pPr>
            <a:r>
              <a:rPr lang="ja-JP" altLang="en-US" sz="1516" b="1" dirty="0">
                <a:solidFill>
                  <a:srgbClr val="000000"/>
                </a:solidFill>
              </a:rPr>
              <a:t>・「ふらっと美山」及び周辺の施設を含めた一帯を、既存施設を活かした道の駅「美山ふれあい広場」として登録</a:t>
            </a:r>
            <a:endParaRPr lang="en-US" altLang="ja-JP" sz="1516" b="1" dirty="0">
              <a:solidFill>
                <a:srgbClr val="000000"/>
              </a:solidFill>
            </a:endParaRPr>
          </a:p>
          <a:p>
            <a:pPr>
              <a:lnSpc>
                <a:spcPts val="1950"/>
              </a:lnSpc>
            </a:pPr>
            <a:r>
              <a:rPr lang="ja-JP" altLang="en-US" sz="1516" b="1" dirty="0">
                <a:solidFill>
                  <a:srgbClr val="000000"/>
                </a:solidFill>
              </a:rPr>
              <a:t>・道の駅の隣接地には、診療所、保健福祉センター、行政窓口などがあり、地域内外の交流拠点ともなっている</a:t>
            </a:r>
            <a:endParaRPr lang="en-US" altLang="ja-JP" sz="1516" b="1" dirty="0">
              <a:solidFill>
                <a:srgbClr val="000000"/>
              </a:solidFill>
            </a:endParaRPr>
          </a:p>
        </p:txBody>
      </p:sp>
      <p:sp>
        <p:nvSpPr>
          <p:cNvPr id="31" name="角丸四角形 30"/>
          <p:cNvSpPr/>
          <p:nvPr/>
        </p:nvSpPr>
        <p:spPr>
          <a:xfrm>
            <a:off x="242234" y="2978183"/>
            <a:ext cx="1460723" cy="311985"/>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516" b="1" dirty="0">
              <a:solidFill>
                <a:srgbClr val="FFFFFF"/>
              </a:solidFill>
            </a:endParaRPr>
          </a:p>
        </p:txBody>
      </p:sp>
      <p:sp>
        <p:nvSpPr>
          <p:cNvPr id="33" name="テキスト ボックス 32"/>
          <p:cNvSpPr txBox="1"/>
          <p:nvPr/>
        </p:nvSpPr>
        <p:spPr>
          <a:xfrm>
            <a:off x="271686" y="3231778"/>
            <a:ext cx="7283845" cy="2913618"/>
          </a:xfrm>
          <a:prstGeom prst="rect">
            <a:avLst/>
          </a:prstGeom>
          <a:noFill/>
          <a:ln>
            <a:noFill/>
          </a:ln>
        </p:spPr>
        <p:txBody>
          <a:bodyPr wrap="square" rtlCol="0">
            <a:spAutoFit/>
          </a:bodyPr>
          <a:lstStyle/>
          <a:p>
            <a:pPr>
              <a:lnSpc>
                <a:spcPts val="2166"/>
              </a:lnSpc>
            </a:pPr>
            <a:r>
              <a:rPr lang="ja-JP" altLang="en-US" sz="1516" dirty="0">
                <a:solidFill>
                  <a:srgbClr val="000000"/>
                </a:solidFill>
              </a:rPr>
              <a:t>○住民有志</a:t>
            </a:r>
            <a:r>
              <a:rPr lang="en-US" altLang="ja-JP" sz="1516" dirty="0">
                <a:solidFill>
                  <a:srgbClr val="000000"/>
                </a:solidFill>
              </a:rPr>
              <a:t>87</a:t>
            </a:r>
            <a:r>
              <a:rPr lang="ja-JP" altLang="en-US" sz="1516" dirty="0">
                <a:solidFill>
                  <a:srgbClr val="000000"/>
                </a:solidFill>
              </a:rPr>
              <a:t>人の出資により、</a:t>
            </a:r>
            <a:r>
              <a:rPr lang="en-US" altLang="ja-JP" sz="1516" dirty="0">
                <a:solidFill>
                  <a:srgbClr val="000000"/>
                </a:solidFill>
              </a:rPr>
              <a:t>JA</a:t>
            </a:r>
            <a:r>
              <a:rPr lang="ja-JP" altLang="en-US" sz="1516" dirty="0">
                <a:solidFill>
                  <a:srgbClr val="000000"/>
                </a:solidFill>
              </a:rPr>
              <a:t>店舗の業務を引き継ぐ（有）ﾈｯﾄﾜｰｸ平屋を設立</a:t>
            </a:r>
            <a:endParaRPr lang="en-US" altLang="ja-JP" sz="1516" dirty="0">
              <a:solidFill>
                <a:srgbClr val="000000"/>
              </a:solidFill>
            </a:endParaRPr>
          </a:p>
          <a:p>
            <a:pPr>
              <a:lnSpc>
                <a:spcPts val="2166"/>
              </a:lnSpc>
            </a:pPr>
            <a:r>
              <a:rPr lang="ja-JP" altLang="en-US" sz="1516" dirty="0">
                <a:solidFill>
                  <a:srgbClr val="000000"/>
                </a:solidFill>
              </a:rPr>
              <a:t>○美山町（当時）は</a:t>
            </a:r>
            <a:r>
              <a:rPr lang="en-US" altLang="ja-JP" sz="1516" dirty="0">
                <a:solidFill>
                  <a:srgbClr val="000000"/>
                </a:solidFill>
              </a:rPr>
              <a:t>JA</a:t>
            </a:r>
            <a:r>
              <a:rPr lang="ja-JP" altLang="en-US" sz="1516" dirty="0">
                <a:solidFill>
                  <a:srgbClr val="000000"/>
                </a:solidFill>
              </a:rPr>
              <a:t>から店舗を買収、修繕の上で、上記会社に無償貸与</a:t>
            </a:r>
            <a:endParaRPr lang="en-US" altLang="ja-JP" sz="1516" u="heavy" dirty="0">
              <a:solidFill>
                <a:srgbClr val="000000"/>
              </a:solidFill>
            </a:endParaRPr>
          </a:p>
          <a:p>
            <a:pPr>
              <a:lnSpc>
                <a:spcPts val="2166"/>
              </a:lnSpc>
            </a:pPr>
            <a:r>
              <a:rPr lang="ja-JP" altLang="en-US" sz="1516" dirty="0">
                <a:solidFill>
                  <a:srgbClr val="000000"/>
                </a:solidFill>
              </a:rPr>
              <a:t>○「ふらっと美山」には</a:t>
            </a:r>
            <a:r>
              <a:rPr lang="en-US" altLang="ja-JP" sz="1516" dirty="0">
                <a:solidFill>
                  <a:srgbClr val="000000"/>
                </a:solidFill>
              </a:rPr>
              <a:t>ATM</a:t>
            </a:r>
            <a:r>
              <a:rPr lang="ja-JP" altLang="en-US" sz="1516" dirty="0">
                <a:solidFill>
                  <a:srgbClr val="000000"/>
                </a:solidFill>
              </a:rPr>
              <a:t>が、また向かいには、「農業振興総合ｾﾝﾀｰ」（中に観光</a:t>
            </a:r>
            <a:endParaRPr lang="en-US" altLang="ja-JP" sz="1516" dirty="0">
              <a:solidFill>
                <a:srgbClr val="000000"/>
              </a:solidFill>
            </a:endParaRPr>
          </a:p>
          <a:p>
            <a:pPr>
              <a:lnSpc>
                <a:spcPts val="2166"/>
              </a:lnSpc>
            </a:pPr>
            <a:r>
              <a:rPr lang="ja-JP" altLang="en-US" sz="1516" dirty="0">
                <a:solidFill>
                  <a:srgbClr val="000000"/>
                </a:solidFill>
              </a:rPr>
              <a:t>　　協会案内所が在中）及び「高齢者ｺﾐｭﾆﾃｨｾﾝﾀｰ」等があり、これらを含めた一帯</a:t>
            </a:r>
            <a:endParaRPr lang="en-US" altLang="ja-JP" sz="1516" dirty="0">
              <a:solidFill>
                <a:srgbClr val="000000"/>
              </a:solidFill>
            </a:endParaRPr>
          </a:p>
          <a:p>
            <a:pPr>
              <a:lnSpc>
                <a:spcPts val="2166"/>
              </a:lnSpc>
            </a:pPr>
            <a:r>
              <a:rPr lang="ja-JP" altLang="en-US" sz="1516" dirty="0">
                <a:solidFill>
                  <a:srgbClr val="000000"/>
                </a:solidFill>
              </a:rPr>
              <a:t>　　を、全国でも珍しい既存施設を活かした道の駅「美山ふれあい広場」として登録</a:t>
            </a:r>
            <a:endParaRPr lang="en-US" altLang="ja-JP" sz="1516" dirty="0">
              <a:solidFill>
                <a:srgbClr val="000000"/>
              </a:solidFill>
            </a:endParaRPr>
          </a:p>
          <a:p>
            <a:pPr>
              <a:lnSpc>
                <a:spcPts val="2166"/>
              </a:lnSpc>
            </a:pPr>
            <a:r>
              <a:rPr lang="ja-JP" altLang="en-US" sz="1516" dirty="0">
                <a:solidFill>
                  <a:srgbClr val="000000"/>
                </a:solidFill>
              </a:rPr>
              <a:t>○更に、道の駅の隣地には、診療所、保健福祉センターなどが元々設置</a:t>
            </a:r>
            <a:endParaRPr lang="en-US" altLang="ja-JP" sz="1516" dirty="0">
              <a:solidFill>
                <a:srgbClr val="000000"/>
              </a:solidFill>
            </a:endParaRPr>
          </a:p>
          <a:p>
            <a:pPr>
              <a:lnSpc>
                <a:spcPts val="2166"/>
              </a:lnSpc>
            </a:pPr>
            <a:r>
              <a:rPr lang="ja-JP" altLang="en-US" sz="1516" dirty="0">
                <a:solidFill>
                  <a:srgbClr val="000000"/>
                </a:solidFill>
              </a:rPr>
              <a:t>○ふらっと美山は、住民向けの食料・日用品だけでなく、観光客向けの商品も取り</a:t>
            </a:r>
            <a:endParaRPr lang="en-US" altLang="ja-JP" sz="1516" dirty="0">
              <a:solidFill>
                <a:srgbClr val="000000"/>
              </a:solidFill>
            </a:endParaRPr>
          </a:p>
          <a:p>
            <a:pPr>
              <a:lnSpc>
                <a:spcPts val="2166"/>
              </a:lnSpc>
            </a:pPr>
            <a:r>
              <a:rPr lang="ja-JP" altLang="en-US" sz="1516" dirty="0">
                <a:solidFill>
                  <a:srgbClr val="000000"/>
                </a:solidFill>
              </a:rPr>
              <a:t>　  扱う店として再生。餅や味噌など、特産品の開発にも力を入れている。</a:t>
            </a:r>
            <a:endParaRPr lang="en-US" altLang="ja-JP" sz="1516" dirty="0">
              <a:solidFill>
                <a:srgbClr val="000000"/>
              </a:solidFill>
            </a:endParaRPr>
          </a:p>
          <a:p>
            <a:pPr>
              <a:lnSpc>
                <a:spcPts val="2166"/>
              </a:lnSpc>
            </a:pPr>
            <a:r>
              <a:rPr lang="ja-JP" altLang="en-US" sz="1516" dirty="0">
                <a:solidFill>
                  <a:srgbClr val="000000"/>
                </a:solidFill>
              </a:rPr>
              <a:t>○民間周遊バス・コミュニティバスの停留所が隣接するほか、デマンドタクシーの</a:t>
            </a:r>
            <a:endParaRPr lang="en-US" altLang="ja-JP" sz="1516" dirty="0">
              <a:solidFill>
                <a:srgbClr val="000000"/>
              </a:solidFill>
            </a:endParaRPr>
          </a:p>
          <a:p>
            <a:pPr>
              <a:lnSpc>
                <a:spcPts val="2166"/>
              </a:lnSpc>
            </a:pPr>
            <a:r>
              <a:rPr lang="en-US" altLang="ja-JP" sz="1516" dirty="0">
                <a:solidFill>
                  <a:srgbClr val="000000"/>
                </a:solidFill>
              </a:rPr>
              <a:t>    </a:t>
            </a:r>
            <a:r>
              <a:rPr lang="ja-JP" altLang="en-US" sz="1516" dirty="0"/>
              <a:t>運行（</a:t>
            </a:r>
            <a:r>
              <a:rPr lang="en-US" altLang="ja-JP" sz="1516" dirty="0"/>
              <a:t>H23.4</a:t>
            </a:r>
            <a:r>
              <a:rPr lang="ja-JP" altLang="en-US" sz="1516" dirty="0"/>
              <a:t>～）も</a:t>
            </a:r>
            <a:r>
              <a:rPr lang="ja-JP" altLang="en-US" sz="1516" dirty="0">
                <a:solidFill>
                  <a:srgbClr val="000000"/>
                </a:solidFill>
              </a:rPr>
              <a:t>実施し、拠点と各集落との交通手段を確保している</a:t>
            </a:r>
            <a:endParaRPr lang="en-US" altLang="ja-JP" sz="1516" dirty="0">
              <a:solidFill>
                <a:srgbClr val="000000"/>
              </a:solidFill>
            </a:endParaRPr>
          </a:p>
        </p:txBody>
      </p:sp>
      <p:sp>
        <p:nvSpPr>
          <p:cNvPr id="32" name="テキスト ボックス 31"/>
          <p:cNvSpPr txBox="1"/>
          <p:nvPr/>
        </p:nvSpPr>
        <p:spPr>
          <a:xfrm>
            <a:off x="512582" y="2978184"/>
            <a:ext cx="966931" cy="325602"/>
          </a:xfrm>
          <a:prstGeom prst="rect">
            <a:avLst/>
          </a:prstGeom>
          <a:noFill/>
        </p:spPr>
        <p:txBody>
          <a:bodyPr wrap="none" rtlCol="0">
            <a:spAutoFit/>
          </a:bodyPr>
          <a:lstStyle/>
          <a:p>
            <a:r>
              <a:rPr lang="ja-JP" altLang="en-US" sz="1516" b="1" dirty="0">
                <a:solidFill>
                  <a:srgbClr val="000000"/>
                </a:solidFill>
              </a:rPr>
              <a:t>取組概要</a:t>
            </a:r>
          </a:p>
        </p:txBody>
      </p:sp>
      <p:sp>
        <p:nvSpPr>
          <p:cNvPr id="34" name="角丸四角形 33"/>
          <p:cNvSpPr/>
          <p:nvPr/>
        </p:nvSpPr>
        <p:spPr>
          <a:xfrm>
            <a:off x="242235" y="6256114"/>
            <a:ext cx="1440159" cy="311985"/>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ja-JP" altLang="en-US" b="1" dirty="0">
              <a:solidFill>
                <a:srgbClr val="FFFFFF"/>
              </a:solidFill>
            </a:endParaRPr>
          </a:p>
        </p:txBody>
      </p:sp>
      <p:sp>
        <p:nvSpPr>
          <p:cNvPr id="35" name="テキスト ボックス 34"/>
          <p:cNvSpPr txBox="1"/>
          <p:nvPr/>
        </p:nvSpPr>
        <p:spPr>
          <a:xfrm>
            <a:off x="251759" y="6616154"/>
            <a:ext cx="6564233" cy="656590"/>
          </a:xfrm>
          <a:prstGeom prst="rect">
            <a:avLst/>
          </a:prstGeom>
          <a:noFill/>
        </p:spPr>
        <p:txBody>
          <a:bodyPr wrap="square" rtlCol="0">
            <a:spAutoFit/>
          </a:bodyPr>
          <a:lstStyle/>
          <a:p>
            <a:pPr>
              <a:lnSpc>
                <a:spcPts val="2166"/>
              </a:lnSpc>
            </a:pPr>
            <a:r>
              <a:rPr lang="ja-JP" altLang="en-US" sz="1516" dirty="0">
                <a:solidFill>
                  <a:srgbClr val="000000"/>
                </a:solidFill>
              </a:rPr>
              <a:t>○行政から補助や助成を受けずに黒字を達成。</a:t>
            </a:r>
            <a:endParaRPr lang="en-US" altLang="ja-JP" sz="1516" dirty="0">
              <a:solidFill>
                <a:srgbClr val="000000"/>
              </a:solidFill>
            </a:endParaRPr>
          </a:p>
          <a:p>
            <a:pPr>
              <a:lnSpc>
                <a:spcPts val="2166"/>
              </a:lnSpc>
            </a:pPr>
            <a:r>
              <a:rPr lang="ja-JP" altLang="en-US" sz="1516" dirty="0"/>
              <a:t>○年間売上約</a:t>
            </a:r>
            <a:r>
              <a:rPr lang="en-US" altLang="ja-JP" sz="1516" dirty="0"/>
              <a:t>1.4</a:t>
            </a:r>
            <a:r>
              <a:rPr lang="ja-JP" altLang="en-US" sz="1516" dirty="0"/>
              <a:t>億円、年間利用者数約</a:t>
            </a:r>
            <a:r>
              <a:rPr lang="en-US" altLang="ja-JP" sz="1516" dirty="0"/>
              <a:t>13</a:t>
            </a:r>
            <a:r>
              <a:rPr lang="ja-JP" altLang="en-US" sz="1516" dirty="0"/>
              <a:t>万人（どちらも</a:t>
            </a:r>
            <a:r>
              <a:rPr lang="en-US" altLang="ja-JP" sz="1516" dirty="0"/>
              <a:t>H27</a:t>
            </a:r>
            <a:r>
              <a:rPr lang="ja-JP" altLang="en-US" sz="1516" dirty="0"/>
              <a:t>）</a:t>
            </a:r>
            <a:endParaRPr lang="en-US" altLang="ja-JP" sz="1516" dirty="0"/>
          </a:p>
        </p:txBody>
      </p:sp>
      <p:sp>
        <p:nvSpPr>
          <p:cNvPr id="36" name="テキスト ボックス 35"/>
          <p:cNvSpPr txBox="1"/>
          <p:nvPr/>
        </p:nvSpPr>
        <p:spPr>
          <a:xfrm>
            <a:off x="193654" y="6256116"/>
            <a:ext cx="1300335" cy="325602"/>
          </a:xfrm>
          <a:prstGeom prst="rect">
            <a:avLst/>
          </a:prstGeom>
          <a:noFill/>
        </p:spPr>
        <p:txBody>
          <a:bodyPr wrap="square" rtlCol="0">
            <a:spAutoFit/>
          </a:bodyPr>
          <a:lstStyle/>
          <a:p>
            <a:r>
              <a:rPr lang="ja-JP" altLang="en-US" sz="1516" b="1" dirty="0">
                <a:solidFill>
                  <a:srgbClr val="000000"/>
                </a:solidFill>
              </a:rPr>
              <a:t>　　取組効果</a:t>
            </a:r>
          </a:p>
        </p:txBody>
      </p:sp>
      <p:sp>
        <p:nvSpPr>
          <p:cNvPr id="22" name="正方形/長方形 21"/>
          <p:cNvSpPr/>
          <p:nvPr/>
        </p:nvSpPr>
        <p:spPr>
          <a:xfrm>
            <a:off x="4871776" y="1851950"/>
            <a:ext cx="1944215" cy="1403931"/>
          </a:xfrm>
          <a:prstGeom prst="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pic>
        <p:nvPicPr>
          <p:cNvPr id="25" name="図 24"/>
          <p:cNvPicPr/>
          <p:nvPr/>
        </p:nvPicPr>
        <p:blipFill>
          <a:blip r:embed="rId3" cstate="email">
            <a:extLst>
              <a:ext uri="{28A0092B-C50C-407E-A947-70E740481C1C}">
                <a14:useLocalDpi xmlns:a14="http://schemas.microsoft.com/office/drawing/2010/main" val="0"/>
              </a:ext>
            </a:extLst>
          </a:blip>
          <a:stretch>
            <a:fillRect/>
          </a:stretch>
        </p:blipFill>
        <p:spPr>
          <a:xfrm>
            <a:off x="5539642" y="1929943"/>
            <a:ext cx="1276350" cy="1279758"/>
          </a:xfrm>
          <a:prstGeom prst="rect">
            <a:avLst/>
          </a:prstGeom>
        </p:spPr>
      </p:pic>
      <p:sp>
        <p:nvSpPr>
          <p:cNvPr id="89" name="正方形/長方形 88"/>
          <p:cNvSpPr/>
          <p:nvPr/>
        </p:nvSpPr>
        <p:spPr>
          <a:xfrm>
            <a:off x="5031326" y="2709908"/>
            <a:ext cx="1059906" cy="442301"/>
          </a:xfrm>
          <a:prstGeom prst="rect">
            <a:avLst/>
          </a:prstGeom>
        </p:spPr>
        <p:txBody>
          <a:bodyPr wrap="none">
            <a:spAutoFit/>
          </a:bodyPr>
          <a:lstStyle/>
          <a:p>
            <a:r>
              <a:rPr lang="ja-JP" altLang="en-US" sz="1137" b="1">
                <a:solidFill>
                  <a:srgbClr val="000000"/>
                </a:solidFill>
              </a:rPr>
              <a:t>京都</a:t>
            </a:r>
            <a:r>
              <a:rPr lang="ja-JP" altLang="en-US" sz="1137" b="1" dirty="0">
                <a:solidFill>
                  <a:srgbClr val="000000"/>
                </a:solidFill>
              </a:rPr>
              <a:t>府</a:t>
            </a:r>
            <a:endParaRPr lang="en-US" altLang="ja-JP" sz="1137" b="1" dirty="0">
              <a:solidFill>
                <a:srgbClr val="000000"/>
              </a:solidFill>
            </a:endParaRPr>
          </a:p>
          <a:p>
            <a:r>
              <a:rPr lang="ja-JP" altLang="en-US" sz="1137" b="1" dirty="0">
                <a:solidFill>
                  <a:srgbClr val="000000"/>
                </a:solidFill>
              </a:rPr>
              <a:t>南丹</a:t>
            </a:r>
            <a:r>
              <a:rPr lang="ja-JP" altLang="ja-JP" sz="1137" b="1" dirty="0">
                <a:solidFill>
                  <a:srgbClr val="000000"/>
                </a:solidFill>
              </a:rPr>
              <a:t>市の位置</a:t>
            </a:r>
            <a:endParaRPr lang="ja-JP" altLang="en-US" sz="1137" dirty="0">
              <a:solidFill>
                <a:srgbClr val="000000"/>
              </a:solidFill>
            </a:endParaRPr>
          </a:p>
        </p:txBody>
      </p:sp>
      <p:grpSp>
        <p:nvGrpSpPr>
          <p:cNvPr id="2" name="グループ化 52"/>
          <p:cNvGrpSpPr/>
          <p:nvPr/>
        </p:nvGrpSpPr>
        <p:grpSpPr>
          <a:xfrm>
            <a:off x="6752406" y="4239890"/>
            <a:ext cx="3089274" cy="2868153"/>
            <a:chOff x="3368030" y="2105025"/>
            <a:chExt cx="3089275" cy="2647950"/>
          </a:xfrm>
        </p:grpSpPr>
        <p:pic>
          <p:nvPicPr>
            <p:cNvPr id="54" name="図 53"/>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3547269" y="2105025"/>
              <a:ext cx="2809875" cy="2647950"/>
            </a:xfrm>
            <a:prstGeom prst="rect">
              <a:avLst/>
            </a:prstGeom>
            <a:noFill/>
            <a:ln>
              <a:noFill/>
            </a:ln>
          </p:spPr>
        </p:pic>
        <p:grpSp>
          <p:nvGrpSpPr>
            <p:cNvPr id="3" name="Group 60"/>
            <p:cNvGrpSpPr>
              <a:grpSpLocks/>
            </p:cNvGrpSpPr>
            <p:nvPr/>
          </p:nvGrpSpPr>
          <p:grpSpPr bwMode="auto">
            <a:xfrm>
              <a:off x="3368030" y="2204864"/>
              <a:ext cx="3089275" cy="2543175"/>
              <a:chOff x="6255" y="1646"/>
              <a:chExt cx="4864" cy="4005"/>
            </a:xfrm>
          </p:grpSpPr>
          <p:sp>
            <p:nvSpPr>
              <p:cNvPr id="57" name="Text Box 61"/>
              <p:cNvSpPr txBox="1">
                <a:spLocks/>
              </p:cNvSpPr>
              <p:nvPr/>
            </p:nvSpPr>
            <p:spPr bwMode="auto">
              <a:xfrm>
                <a:off x="8189" y="2143"/>
                <a:ext cx="2639" cy="598"/>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r>
                  <a:rPr lang="ja-JP" altLang="en-US" sz="867" b="1" dirty="0">
                    <a:solidFill>
                      <a:srgbClr val="000000"/>
                    </a:solidFill>
                    <a:latin typeface="ＭＳ Ｐゴシック" pitchFamily="50" charset="-128"/>
                    <a:cs typeface="ＭＳ Ｐゴシック" pitchFamily="50" charset="-128"/>
                  </a:rPr>
                  <a:t>ふらっと美山（店舗、</a:t>
                </a:r>
                <a:r>
                  <a:rPr lang="en-US" altLang="ja-JP" sz="867" b="1" dirty="0">
                    <a:solidFill>
                      <a:srgbClr val="000000"/>
                    </a:solidFill>
                    <a:latin typeface="ＭＳ Ｐゴシック" pitchFamily="50" charset="-128"/>
                    <a:cs typeface="ＭＳ Ｐゴシック" pitchFamily="50" charset="-128"/>
                  </a:rPr>
                  <a:t>JA</a:t>
                </a:r>
                <a:r>
                  <a:rPr lang="ja-JP" altLang="en-US" sz="867" b="1" dirty="0">
                    <a:solidFill>
                      <a:srgbClr val="000000"/>
                    </a:solidFill>
                    <a:latin typeface="ＭＳ Ｐゴシック" pitchFamily="50" charset="-128"/>
                    <a:cs typeface="ＭＳ Ｐゴシック" pitchFamily="50" charset="-128"/>
                  </a:rPr>
                  <a:t>の</a:t>
                </a:r>
                <a:r>
                  <a:rPr lang="en-US" altLang="ja-JP" sz="867" b="1" dirty="0">
                    <a:solidFill>
                      <a:srgbClr val="000000"/>
                    </a:solidFill>
                    <a:latin typeface="ＭＳ Ｐゴシック" pitchFamily="50" charset="-128"/>
                    <a:cs typeface="ＭＳ Ｐゴシック" pitchFamily="50" charset="-128"/>
                  </a:rPr>
                  <a:t>ATM</a:t>
                </a:r>
                <a:r>
                  <a:rPr lang="ja-JP" altLang="en-US" sz="867" b="1" dirty="0" err="1">
                    <a:solidFill>
                      <a:srgbClr val="000000"/>
                    </a:solidFill>
                    <a:latin typeface="ＭＳ Ｐゴシック" pitchFamily="50" charset="-128"/>
                    <a:cs typeface="ＭＳ Ｐゴシック" pitchFamily="50" charset="-128"/>
                  </a:rPr>
                  <a:t>、</a:t>
                </a:r>
                <a:endParaRPr lang="en-US" altLang="ja-JP" sz="867" b="1" dirty="0">
                  <a:solidFill>
                    <a:srgbClr val="000000"/>
                  </a:solidFill>
                  <a:latin typeface="ＭＳ Ｐゴシック" pitchFamily="50" charset="-128"/>
                  <a:cs typeface="ＭＳ Ｐゴシック" pitchFamily="50" charset="-128"/>
                </a:endParaRPr>
              </a:p>
              <a:p>
                <a:r>
                  <a:rPr lang="ja-JP" altLang="en-US" sz="867" b="1" dirty="0">
                    <a:solidFill>
                      <a:srgbClr val="000000"/>
                    </a:solidFill>
                    <a:latin typeface="ＭＳ Ｐゴシック" pitchFamily="50" charset="-128"/>
                    <a:cs typeface="ＭＳ Ｐゴシック" pitchFamily="50" charset="-128"/>
                  </a:rPr>
                  <a:t>平屋振興会事務局）</a:t>
                </a:r>
                <a:endParaRPr lang="en-US" altLang="ja-JP" sz="867" b="1" dirty="0">
                  <a:solidFill>
                    <a:srgbClr val="000000"/>
                  </a:solidFill>
                  <a:latin typeface="ＭＳ Ｐゴシック" pitchFamily="50" charset="-128"/>
                  <a:cs typeface="ＭＳ Ｐゴシック" pitchFamily="50" charset="-128"/>
                </a:endParaRPr>
              </a:p>
            </p:txBody>
          </p:sp>
          <p:grpSp>
            <p:nvGrpSpPr>
              <p:cNvPr id="4" name="Group 62"/>
              <p:cNvGrpSpPr>
                <a:grpSpLocks/>
              </p:cNvGrpSpPr>
              <p:nvPr/>
            </p:nvGrpSpPr>
            <p:grpSpPr bwMode="auto">
              <a:xfrm>
                <a:off x="6255" y="1646"/>
                <a:ext cx="4864" cy="4005"/>
                <a:chOff x="6255" y="1646"/>
                <a:chExt cx="4864" cy="4005"/>
              </a:xfrm>
            </p:grpSpPr>
            <p:sp>
              <p:nvSpPr>
                <p:cNvPr id="64" name="AutoShape 63"/>
                <p:cNvSpPr>
                  <a:spLocks noChangeAspect="1"/>
                </p:cNvSpPr>
                <p:nvPr/>
              </p:nvSpPr>
              <p:spPr bwMode="auto">
                <a:xfrm rot="-899616">
                  <a:off x="9859" y="3511"/>
                  <a:ext cx="302" cy="366"/>
                </a:xfrm>
                <a:prstGeom prst="roundRect">
                  <a:avLst>
                    <a:gd name="adj" fmla="val 24407"/>
                  </a:avLst>
                </a:prstGeom>
                <a:noFill/>
                <a:ln w="12700">
                  <a:solidFill>
                    <a:srgbClr val="00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65" name="Text Box 64"/>
                <p:cNvSpPr txBox="1">
                  <a:spLocks/>
                </p:cNvSpPr>
                <p:nvPr/>
              </p:nvSpPr>
              <p:spPr bwMode="auto">
                <a:xfrm>
                  <a:off x="9288" y="1654"/>
                  <a:ext cx="1629" cy="411"/>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pPr algn="just"/>
                  <a:r>
                    <a:rPr lang="en-US" altLang="ja-JP" sz="867" b="1">
                      <a:solidFill>
                        <a:srgbClr val="000000"/>
                      </a:solidFill>
                      <a:latin typeface="ＭＳ Ｐゴシック" pitchFamily="50" charset="-128"/>
                      <a:cs typeface="ＭＳ Ｐゴシック" pitchFamily="50" charset="-128"/>
                    </a:rPr>
                    <a:t>※goo</a:t>
                  </a:r>
                  <a:r>
                    <a:rPr lang="ja-JP" altLang="en-US" sz="867" b="1">
                      <a:solidFill>
                        <a:srgbClr val="000000"/>
                      </a:solidFill>
                      <a:latin typeface="ＭＳ Ｐゴシック" pitchFamily="50" charset="-128"/>
                      <a:cs typeface="ＭＳ Ｐゴシック" pitchFamily="50" charset="-128"/>
                    </a:rPr>
                    <a:t>地図より作成</a:t>
                  </a:r>
                  <a:endParaRPr lang="ja-JP" altLang="en-US">
                    <a:solidFill>
                      <a:srgbClr val="000000"/>
                    </a:solidFill>
                    <a:latin typeface="Arial" pitchFamily="34" charset="0"/>
                    <a:cs typeface="ＭＳ Ｐゴシック" pitchFamily="50" charset="-128"/>
                  </a:endParaRPr>
                </a:p>
              </p:txBody>
            </p:sp>
            <p:sp>
              <p:nvSpPr>
                <p:cNvPr id="66" name="AutoShape 65"/>
                <p:cNvSpPr>
                  <a:spLocks noChangeAspect="1"/>
                </p:cNvSpPr>
                <p:nvPr/>
              </p:nvSpPr>
              <p:spPr bwMode="auto">
                <a:xfrm rot="-899616">
                  <a:off x="9198" y="2747"/>
                  <a:ext cx="498" cy="551"/>
                </a:xfrm>
                <a:prstGeom prst="roundRect">
                  <a:avLst>
                    <a:gd name="adj" fmla="val 24407"/>
                  </a:avLst>
                </a:prstGeom>
                <a:noFill/>
                <a:ln w="12700">
                  <a:solidFill>
                    <a:srgbClr val="00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67" name="AutoShape 66"/>
                <p:cNvSpPr>
                  <a:spLocks noChangeAspect="1"/>
                </p:cNvSpPr>
                <p:nvPr/>
              </p:nvSpPr>
              <p:spPr bwMode="auto">
                <a:xfrm rot="-899616">
                  <a:off x="9460" y="3497"/>
                  <a:ext cx="443" cy="366"/>
                </a:xfrm>
                <a:prstGeom prst="roundRect">
                  <a:avLst>
                    <a:gd name="adj" fmla="val 24407"/>
                  </a:avLst>
                </a:prstGeom>
                <a:noFill/>
                <a:ln w="12700">
                  <a:solidFill>
                    <a:srgbClr val="00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69" name="フリーフォーム 677"/>
                <p:cNvSpPr>
                  <a:spLocks/>
                </p:cNvSpPr>
                <p:nvPr/>
              </p:nvSpPr>
              <p:spPr bwMode="auto">
                <a:xfrm>
                  <a:off x="8043" y="2653"/>
                  <a:ext cx="2324" cy="2235"/>
                </a:xfrm>
                <a:custGeom>
                  <a:avLst/>
                  <a:gdLst>
                    <a:gd name="T0" fmla="*/ 0 w 1496291"/>
                    <a:gd name="T1" fmla="*/ 207751 h 1246909"/>
                    <a:gd name="T2" fmla="*/ 71241 w 1496291"/>
                    <a:gd name="T3" fmla="*/ 522345 h 1246909"/>
                    <a:gd name="T4" fmla="*/ 403699 w 1496291"/>
                    <a:gd name="T5" fmla="*/ 451116 h 1246909"/>
                    <a:gd name="T6" fmla="*/ 676789 w 1496291"/>
                    <a:gd name="T7" fmla="*/ 1246505 h 1246909"/>
                    <a:gd name="T8" fmla="*/ 1056741 w 1496291"/>
                    <a:gd name="T9" fmla="*/ 1074369 h 1246909"/>
                    <a:gd name="T10" fmla="*/ 1122045 w 1496291"/>
                    <a:gd name="T11" fmla="*/ 991269 h 1246909"/>
                    <a:gd name="T12" fmla="*/ 1122045 w 1496291"/>
                    <a:gd name="T13" fmla="*/ 890360 h 1246909"/>
                    <a:gd name="T14" fmla="*/ 1300147 w 1496291"/>
                    <a:gd name="T15" fmla="*/ 795389 h 1246909"/>
                    <a:gd name="T16" fmla="*/ 1478250 w 1496291"/>
                    <a:gd name="T17" fmla="*/ 759775 h 1246909"/>
                    <a:gd name="T18" fmla="*/ 1496060 w 1496291"/>
                    <a:gd name="T19" fmla="*/ 712288 h 1246909"/>
                    <a:gd name="T20" fmla="*/ 1294210 w 1496291"/>
                    <a:gd name="T21" fmla="*/ 391759 h 1246909"/>
                    <a:gd name="T22" fmla="*/ 1027056 w 1496291"/>
                    <a:gd name="T23" fmla="*/ 41551 h 1246909"/>
                    <a:gd name="T24" fmla="*/ 979563 w 1496291"/>
                    <a:gd name="T25" fmla="*/ 0 h 1246909"/>
                    <a:gd name="T26" fmla="*/ 540244 w 1496291"/>
                    <a:gd name="T27" fmla="*/ 118715 h 1246909"/>
                    <a:gd name="T28" fmla="*/ 492750 w 1496291"/>
                    <a:gd name="T29" fmla="*/ 94972 h 1246909"/>
                    <a:gd name="T30" fmla="*/ 0 w 1496291"/>
                    <a:gd name="T31" fmla="*/ 207751 h 124690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connsiteX0" fmla="*/ 0 w 1496291"/>
                    <a:gd name="connsiteY0" fmla="*/ 207818 h 1246909"/>
                    <a:gd name="connsiteX1" fmla="*/ 71252 w 1496291"/>
                    <a:gd name="connsiteY1" fmla="*/ 522514 h 1246909"/>
                    <a:gd name="connsiteX2" fmla="*/ 174031 w 1496291"/>
                    <a:gd name="connsiteY2" fmla="*/ 814312 h 1246909"/>
                    <a:gd name="connsiteX3" fmla="*/ 676893 w 1496291"/>
                    <a:gd name="connsiteY3" fmla="*/ 1246909 h 1246909"/>
                    <a:gd name="connsiteX4" fmla="*/ 1056904 w 1496291"/>
                    <a:gd name="connsiteY4" fmla="*/ 1074717 h 1246909"/>
                    <a:gd name="connsiteX5" fmla="*/ 1122218 w 1496291"/>
                    <a:gd name="connsiteY5" fmla="*/ 991590 h 1246909"/>
                    <a:gd name="connsiteX6" fmla="*/ 1122218 w 1496291"/>
                    <a:gd name="connsiteY6" fmla="*/ 890649 h 1246909"/>
                    <a:gd name="connsiteX7" fmla="*/ 1300348 w 1496291"/>
                    <a:gd name="connsiteY7" fmla="*/ 795647 h 1246909"/>
                    <a:gd name="connsiteX8" fmla="*/ 1478478 w 1496291"/>
                    <a:gd name="connsiteY8" fmla="*/ 760021 h 1246909"/>
                    <a:gd name="connsiteX9" fmla="*/ 1496291 w 1496291"/>
                    <a:gd name="connsiteY9" fmla="*/ 712519 h 1246909"/>
                    <a:gd name="connsiteX10" fmla="*/ 1294410 w 1496291"/>
                    <a:gd name="connsiteY10" fmla="*/ 391886 h 1246909"/>
                    <a:gd name="connsiteX11" fmla="*/ 1027215 w 1496291"/>
                    <a:gd name="connsiteY11" fmla="*/ 41564 h 1246909"/>
                    <a:gd name="connsiteX12" fmla="*/ 979714 w 1496291"/>
                    <a:gd name="connsiteY12" fmla="*/ 0 h 1246909"/>
                    <a:gd name="connsiteX13" fmla="*/ 540327 w 1496291"/>
                    <a:gd name="connsiteY13" fmla="*/ 118753 h 1246909"/>
                    <a:gd name="connsiteX14" fmla="*/ 492826 w 1496291"/>
                    <a:gd name="connsiteY14" fmla="*/ 95003 h 1246909"/>
                    <a:gd name="connsiteX15" fmla="*/ 0 w 1496291"/>
                    <a:gd name="connsiteY15" fmla="*/ 207818 h 1246909"/>
                    <a:gd name="connsiteX0" fmla="*/ 0 w 1496291"/>
                    <a:gd name="connsiteY0" fmla="*/ 207818 h 1246909"/>
                    <a:gd name="connsiteX1" fmla="*/ 71252 w 1496291"/>
                    <a:gd name="connsiteY1" fmla="*/ 522514 h 1246909"/>
                    <a:gd name="connsiteX2" fmla="*/ 174031 w 1496291"/>
                    <a:gd name="connsiteY2" fmla="*/ 814312 h 1246909"/>
                    <a:gd name="connsiteX3" fmla="*/ 676893 w 1496291"/>
                    <a:gd name="connsiteY3" fmla="*/ 1246909 h 1246909"/>
                    <a:gd name="connsiteX4" fmla="*/ 1056904 w 1496291"/>
                    <a:gd name="connsiteY4" fmla="*/ 1074717 h 1246909"/>
                    <a:gd name="connsiteX5" fmla="*/ 1122218 w 1496291"/>
                    <a:gd name="connsiteY5" fmla="*/ 991590 h 1246909"/>
                    <a:gd name="connsiteX6" fmla="*/ 1122218 w 1496291"/>
                    <a:gd name="connsiteY6" fmla="*/ 890649 h 1246909"/>
                    <a:gd name="connsiteX7" fmla="*/ 1300348 w 1496291"/>
                    <a:gd name="connsiteY7" fmla="*/ 795647 h 1246909"/>
                    <a:gd name="connsiteX8" fmla="*/ 1478478 w 1496291"/>
                    <a:gd name="connsiteY8" fmla="*/ 760021 h 1246909"/>
                    <a:gd name="connsiteX9" fmla="*/ 1496291 w 1496291"/>
                    <a:gd name="connsiteY9" fmla="*/ 712519 h 1246909"/>
                    <a:gd name="connsiteX10" fmla="*/ 1294410 w 1496291"/>
                    <a:gd name="connsiteY10" fmla="*/ 391886 h 1246909"/>
                    <a:gd name="connsiteX11" fmla="*/ 1027215 w 1496291"/>
                    <a:gd name="connsiteY11" fmla="*/ 41564 h 1246909"/>
                    <a:gd name="connsiteX12" fmla="*/ 979714 w 1496291"/>
                    <a:gd name="connsiteY12" fmla="*/ 0 h 1246909"/>
                    <a:gd name="connsiteX13" fmla="*/ 540327 w 1496291"/>
                    <a:gd name="connsiteY13" fmla="*/ 118753 h 1246909"/>
                    <a:gd name="connsiteX14" fmla="*/ 492826 w 1496291"/>
                    <a:gd name="connsiteY14" fmla="*/ 95003 h 1246909"/>
                    <a:gd name="connsiteX15" fmla="*/ 0 w 1496291"/>
                    <a:gd name="connsiteY15" fmla="*/ 207818 h 1246909"/>
                    <a:gd name="connsiteX0" fmla="*/ 0 w 1496291"/>
                    <a:gd name="connsiteY0" fmla="*/ 207818 h 1402502"/>
                    <a:gd name="connsiteX1" fmla="*/ 71252 w 1496291"/>
                    <a:gd name="connsiteY1" fmla="*/ 522514 h 1402502"/>
                    <a:gd name="connsiteX2" fmla="*/ 174031 w 1496291"/>
                    <a:gd name="connsiteY2" fmla="*/ 814312 h 1402502"/>
                    <a:gd name="connsiteX3" fmla="*/ 401219 w 1496291"/>
                    <a:gd name="connsiteY3" fmla="*/ 1402502 h 1402502"/>
                    <a:gd name="connsiteX4" fmla="*/ 1056904 w 1496291"/>
                    <a:gd name="connsiteY4" fmla="*/ 1074717 h 1402502"/>
                    <a:gd name="connsiteX5" fmla="*/ 1122218 w 1496291"/>
                    <a:gd name="connsiteY5" fmla="*/ 991590 h 1402502"/>
                    <a:gd name="connsiteX6" fmla="*/ 1122218 w 1496291"/>
                    <a:gd name="connsiteY6" fmla="*/ 890649 h 1402502"/>
                    <a:gd name="connsiteX7" fmla="*/ 1300348 w 1496291"/>
                    <a:gd name="connsiteY7" fmla="*/ 795647 h 1402502"/>
                    <a:gd name="connsiteX8" fmla="*/ 1478478 w 1496291"/>
                    <a:gd name="connsiteY8" fmla="*/ 760021 h 1402502"/>
                    <a:gd name="connsiteX9" fmla="*/ 1496291 w 1496291"/>
                    <a:gd name="connsiteY9" fmla="*/ 712519 h 1402502"/>
                    <a:gd name="connsiteX10" fmla="*/ 1294410 w 1496291"/>
                    <a:gd name="connsiteY10" fmla="*/ 391886 h 1402502"/>
                    <a:gd name="connsiteX11" fmla="*/ 1027215 w 1496291"/>
                    <a:gd name="connsiteY11" fmla="*/ 41564 h 1402502"/>
                    <a:gd name="connsiteX12" fmla="*/ 979714 w 1496291"/>
                    <a:gd name="connsiteY12" fmla="*/ 0 h 1402502"/>
                    <a:gd name="connsiteX13" fmla="*/ 540327 w 1496291"/>
                    <a:gd name="connsiteY13" fmla="*/ 118753 h 1402502"/>
                    <a:gd name="connsiteX14" fmla="*/ 492826 w 1496291"/>
                    <a:gd name="connsiteY14" fmla="*/ 95003 h 1402502"/>
                    <a:gd name="connsiteX15" fmla="*/ 0 w 1496291"/>
                    <a:gd name="connsiteY15" fmla="*/ 207818 h 1402502"/>
                    <a:gd name="connsiteX0" fmla="*/ 0 w 1496291"/>
                    <a:gd name="connsiteY0" fmla="*/ 207818 h 1409569"/>
                    <a:gd name="connsiteX1" fmla="*/ 71252 w 1496291"/>
                    <a:gd name="connsiteY1" fmla="*/ 522514 h 1409569"/>
                    <a:gd name="connsiteX2" fmla="*/ 174031 w 1496291"/>
                    <a:gd name="connsiteY2" fmla="*/ 814312 h 1409569"/>
                    <a:gd name="connsiteX3" fmla="*/ 307988 w 1496291"/>
                    <a:gd name="connsiteY3" fmla="*/ 1203601 h 1409569"/>
                    <a:gd name="connsiteX4" fmla="*/ 401219 w 1496291"/>
                    <a:gd name="connsiteY4" fmla="*/ 1402502 h 1409569"/>
                    <a:gd name="connsiteX5" fmla="*/ 1056904 w 1496291"/>
                    <a:gd name="connsiteY5" fmla="*/ 1074717 h 1409569"/>
                    <a:gd name="connsiteX6" fmla="*/ 1122218 w 1496291"/>
                    <a:gd name="connsiteY6" fmla="*/ 991590 h 1409569"/>
                    <a:gd name="connsiteX7" fmla="*/ 1122218 w 1496291"/>
                    <a:gd name="connsiteY7" fmla="*/ 890649 h 1409569"/>
                    <a:gd name="connsiteX8" fmla="*/ 1300348 w 1496291"/>
                    <a:gd name="connsiteY8" fmla="*/ 795647 h 1409569"/>
                    <a:gd name="connsiteX9" fmla="*/ 1478478 w 1496291"/>
                    <a:gd name="connsiteY9" fmla="*/ 760021 h 1409569"/>
                    <a:gd name="connsiteX10" fmla="*/ 1496291 w 1496291"/>
                    <a:gd name="connsiteY10" fmla="*/ 712519 h 1409569"/>
                    <a:gd name="connsiteX11" fmla="*/ 1294410 w 1496291"/>
                    <a:gd name="connsiteY11" fmla="*/ 391886 h 1409569"/>
                    <a:gd name="connsiteX12" fmla="*/ 1027215 w 1496291"/>
                    <a:gd name="connsiteY12" fmla="*/ 41564 h 1409569"/>
                    <a:gd name="connsiteX13" fmla="*/ 979714 w 1496291"/>
                    <a:gd name="connsiteY13" fmla="*/ 0 h 1409569"/>
                    <a:gd name="connsiteX14" fmla="*/ 540327 w 1496291"/>
                    <a:gd name="connsiteY14" fmla="*/ 118753 h 1409569"/>
                    <a:gd name="connsiteX15" fmla="*/ 492826 w 1496291"/>
                    <a:gd name="connsiteY15" fmla="*/ 95003 h 1409569"/>
                    <a:gd name="connsiteX16" fmla="*/ 0 w 1496291"/>
                    <a:gd name="connsiteY16" fmla="*/ 207818 h 1409569"/>
                    <a:gd name="connsiteX0" fmla="*/ 0 w 1496291"/>
                    <a:gd name="connsiteY0" fmla="*/ 207818 h 1402502"/>
                    <a:gd name="connsiteX1" fmla="*/ 71252 w 1496291"/>
                    <a:gd name="connsiteY1" fmla="*/ 522514 h 1402502"/>
                    <a:gd name="connsiteX2" fmla="*/ 174031 w 1496291"/>
                    <a:gd name="connsiteY2" fmla="*/ 814312 h 1402502"/>
                    <a:gd name="connsiteX3" fmla="*/ 401219 w 1496291"/>
                    <a:gd name="connsiteY3" fmla="*/ 1402502 h 1402502"/>
                    <a:gd name="connsiteX4" fmla="*/ 1056904 w 1496291"/>
                    <a:gd name="connsiteY4" fmla="*/ 1074717 h 1402502"/>
                    <a:gd name="connsiteX5" fmla="*/ 1122218 w 1496291"/>
                    <a:gd name="connsiteY5" fmla="*/ 991590 h 1402502"/>
                    <a:gd name="connsiteX6" fmla="*/ 1122218 w 1496291"/>
                    <a:gd name="connsiteY6" fmla="*/ 890649 h 1402502"/>
                    <a:gd name="connsiteX7" fmla="*/ 1300348 w 1496291"/>
                    <a:gd name="connsiteY7" fmla="*/ 795647 h 1402502"/>
                    <a:gd name="connsiteX8" fmla="*/ 1478478 w 1496291"/>
                    <a:gd name="connsiteY8" fmla="*/ 760021 h 1402502"/>
                    <a:gd name="connsiteX9" fmla="*/ 1496291 w 1496291"/>
                    <a:gd name="connsiteY9" fmla="*/ 712519 h 1402502"/>
                    <a:gd name="connsiteX10" fmla="*/ 1294410 w 1496291"/>
                    <a:gd name="connsiteY10" fmla="*/ 391886 h 1402502"/>
                    <a:gd name="connsiteX11" fmla="*/ 1027215 w 1496291"/>
                    <a:gd name="connsiteY11" fmla="*/ 41564 h 1402502"/>
                    <a:gd name="connsiteX12" fmla="*/ 979714 w 1496291"/>
                    <a:gd name="connsiteY12" fmla="*/ 0 h 1402502"/>
                    <a:gd name="connsiteX13" fmla="*/ 540327 w 1496291"/>
                    <a:gd name="connsiteY13" fmla="*/ 118753 h 1402502"/>
                    <a:gd name="connsiteX14" fmla="*/ 492826 w 1496291"/>
                    <a:gd name="connsiteY14" fmla="*/ 95003 h 1402502"/>
                    <a:gd name="connsiteX15" fmla="*/ 0 w 1496291"/>
                    <a:gd name="connsiteY15" fmla="*/ 207818 h 1402502"/>
                    <a:gd name="connsiteX0" fmla="*/ 0 w 1496291"/>
                    <a:gd name="connsiteY0" fmla="*/ 207818 h 1411932"/>
                    <a:gd name="connsiteX1" fmla="*/ 71252 w 1496291"/>
                    <a:gd name="connsiteY1" fmla="*/ 522514 h 1411932"/>
                    <a:gd name="connsiteX2" fmla="*/ 174031 w 1496291"/>
                    <a:gd name="connsiteY2" fmla="*/ 814312 h 1411932"/>
                    <a:gd name="connsiteX3" fmla="*/ 385903 w 1496291"/>
                    <a:gd name="connsiteY3" fmla="*/ 1411932 h 1411932"/>
                    <a:gd name="connsiteX4" fmla="*/ 1056904 w 1496291"/>
                    <a:gd name="connsiteY4" fmla="*/ 1074717 h 1411932"/>
                    <a:gd name="connsiteX5" fmla="*/ 1122218 w 1496291"/>
                    <a:gd name="connsiteY5" fmla="*/ 991590 h 1411932"/>
                    <a:gd name="connsiteX6" fmla="*/ 1122218 w 1496291"/>
                    <a:gd name="connsiteY6" fmla="*/ 890649 h 1411932"/>
                    <a:gd name="connsiteX7" fmla="*/ 1300348 w 1496291"/>
                    <a:gd name="connsiteY7" fmla="*/ 795647 h 1411932"/>
                    <a:gd name="connsiteX8" fmla="*/ 1478478 w 1496291"/>
                    <a:gd name="connsiteY8" fmla="*/ 760021 h 1411932"/>
                    <a:gd name="connsiteX9" fmla="*/ 1496291 w 1496291"/>
                    <a:gd name="connsiteY9" fmla="*/ 712519 h 1411932"/>
                    <a:gd name="connsiteX10" fmla="*/ 1294410 w 1496291"/>
                    <a:gd name="connsiteY10" fmla="*/ 391886 h 1411932"/>
                    <a:gd name="connsiteX11" fmla="*/ 1027215 w 1496291"/>
                    <a:gd name="connsiteY11" fmla="*/ 41564 h 1411932"/>
                    <a:gd name="connsiteX12" fmla="*/ 979714 w 1496291"/>
                    <a:gd name="connsiteY12" fmla="*/ 0 h 1411932"/>
                    <a:gd name="connsiteX13" fmla="*/ 540327 w 1496291"/>
                    <a:gd name="connsiteY13" fmla="*/ 118753 h 1411932"/>
                    <a:gd name="connsiteX14" fmla="*/ 492826 w 1496291"/>
                    <a:gd name="connsiteY14" fmla="*/ 95003 h 1411932"/>
                    <a:gd name="connsiteX15" fmla="*/ 0 w 1496291"/>
                    <a:gd name="connsiteY15" fmla="*/ 207818 h 1411932"/>
                    <a:gd name="connsiteX0" fmla="*/ 0 w 1496291"/>
                    <a:gd name="connsiteY0" fmla="*/ 207818 h 1411932"/>
                    <a:gd name="connsiteX1" fmla="*/ 71252 w 1496291"/>
                    <a:gd name="connsiteY1" fmla="*/ 522514 h 1411932"/>
                    <a:gd name="connsiteX2" fmla="*/ 174031 w 1496291"/>
                    <a:gd name="connsiteY2" fmla="*/ 814312 h 1411932"/>
                    <a:gd name="connsiteX3" fmla="*/ 385903 w 1496291"/>
                    <a:gd name="connsiteY3" fmla="*/ 1411932 h 1411932"/>
                    <a:gd name="connsiteX4" fmla="*/ 1056904 w 1496291"/>
                    <a:gd name="connsiteY4" fmla="*/ 1074717 h 1411932"/>
                    <a:gd name="connsiteX5" fmla="*/ 1122218 w 1496291"/>
                    <a:gd name="connsiteY5" fmla="*/ 991590 h 1411932"/>
                    <a:gd name="connsiteX6" fmla="*/ 1122218 w 1496291"/>
                    <a:gd name="connsiteY6" fmla="*/ 890649 h 1411932"/>
                    <a:gd name="connsiteX7" fmla="*/ 1300348 w 1496291"/>
                    <a:gd name="connsiteY7" fmla="*/ 795647 h 1411932"/>
                    <a:gd name="connsiteX8" fmla="*/ 1478478 w 1496291"/>
                    <a:gd name="connsiteY8" fmla="*/ 760021 h 1411932"/>
                    <a:gd name="connsiteX9" fmla="*/ 1496291 w 1496291"/>
                    <a:gd name="connsiteY9" fmla="*/ 712519 h 1411932"/>
                    <a:gd name="connsiteX10" fmla="*/ 1294410 w 1496291"/>
                    <a:gd name="connsiteY10" fmla="*/ 391886 h 1411932"/>
                    <a:gd name="connsiteX11" fmla="*/ 1027215 w 1496291"/>
                    <a:gd name="connsiteY11" fmla="*/ 41564 h 1411932"/>
                    <a:gd name="connsiteX12" fmla="*/ 979714 w 1496291"/>
                    <a:gd name="connsiteY12" fmla="*/ 0 h 1411932"/>
                    <a:gd name="connsiteX13" fmla="*/ 540327 w 1496291"/>
                    <a:gd name="connsiteY13" fmla="*/ 118753 h 1411932"/>
                    <a:gd name="connsiteX14" fmla="*/ 492826 w 1496291"/>
                    <a:gd name="connsiteY14" fmla="*/ 95003 h 1411932"/>
                    <a:gd name="connsiteX15" fmla="*/ 0 w 1496291"/>
                    <a:gd name="connsiteY15" fmla="*/ 207818 h 1411932"/>
                    <a:gd name="connsiteX0" fmla="*/ 0 w 1496291"/>
                    <a:gd name="connsiteY0" fmla="*/ 207818 h 1426075"/>
                    <a:gd name="connsiteX1" fmla="*/ 71252 w 1496291"/>
                    <a:gd name="connsiteY1" fmla="*/ 522514 h 1426075"/>
                    <a:gd name="connsiteX2" fmla="*/ 174031 w 1496291"/>
                    <a:gd name="connsiteY2" fmla="*/ 814312 h 1426075"/>
                    <a:gd name="connsiteX3" fmla="*/ 355273 w 1496291"/>
                    <a:gd name="connsiteY3" fmla="*/ 1426075 h 1426075"/>
                    <a:gd name="connsiteX4" fmla="*/ 1056904 w 1496291"/>
                    <a:gd name="connsiteY4" fmla="*/ 1074717 h 1426075"/>
                    <a:gd name="connsiteX5" fmla="*/ 1122218 w 1496291"/>
                    <a:gd name="connsiteY5" fmla="*/ 991590 h 1426075"/>
                    <a:gd name="connsiteX6" fmla="*/ 1122218 w 1496291"/>
                    <a:gd name="connsiteY6" fmla="*/ 890649 h 1426075"/>
                    <a:gd name="connsiteX7" fmla="*/ 1300348 w 1496291"/>
                    <a:gd name="connsiteY7" fmla="*/ 795647 h 1426075"/>
                    <a:gd name="connsiteX8" fmla="*/ 1478478 w 1496291"/>
                    <a:gd name="connsiteY8" fmla="*/ 760021 h 1426075"/>
                    <a:gd name="connsiteX9" fmla="*/ 1496291 w 1496291"/>
                    <a:gd name="connsiteY9" fmla="*/ 712519 h 1426075"/>
                    <a:gd name="connsiteX10" fmla="*/ 1294410 w 1496291"/>
                    <a:gd name="connsiteY10" fmla="*/ 391886 h 1426075"/>
                    <a:gd name="connsiteX11" fmla="*/ 1027215 w 1496291"/>
                    <a:gd name="connsiteY11" fmla="*/ 41564 h 1426075"/>
                    <a:gd name="connsiteX12" fmla="*/ 979714 w 1496291"/>
                    <a:gd name="connsiteY12" fmla="*/ 0 h 1426075"/>
                    <a:gd name="connsiteX13" fmla="*/ 540327 w 1496291"/>
                    <a:gd name="connsiteY13" fmla="*/ 118753 h 1426075"/>
                    <a:gd name="connsiteX14" fmla="*/ 492826 w 1496291"/>
                    <a:gd name="connsiteY14" fmla="*/ 95003 h 1426075"/>
                    <a:gd name="connsiteX15" fmla="*/ 0 w 1496291"/>
                    <a:gd name="connsiteY15" fmla="*/ 207818 h 1426075"/>
                    <a:gd name="connsiteX0" fmla="*/ 0 w 1496291"/>
                    <a:gd name="connsiteY0" fmla="*/ 207818 h 1426075"/>
                    <a:gd name="connsiteX1" fmla="*/ 71252 w 1496291"/>
                    <a:gd name="connsiteY1" fmla="*/ 522514 h 1426075"/>
                    <a:gd name="connsiteX2" fmla="*/ 174031 w 1496291"/>
                    <a:gd name="connsiteY2" fmla="*/ 814312 h 1426075"/>
                    <a:gd name="connsiteX3" fmla="*/ 355273 w 1496291"/>
                    <a:gd name="connsiteY3" fmla="*/ 1426075 h 1426075"/>
                    <a:gd name="connsiteX4" fmla="*/ 1056904 w 1496291"/>
                    <a:gd name="connsiteY4" fmla="*/ 1074717 h 1426075"/>
                    <a:gd name="connsiteX5" fmla="*/ 1122218 w 1496291"/>
                    <a:gd name="connsiteY5" fmla="*/ 991590 h 1426075"/>
                    <a:gd name="connsiteX6" fmla="*/ 1122218 w 1496291"/>
                    <a:gd name="connsiteY6" fmla="*/ 890649 h 1426075"/>
                    <a:gd name="connsiteX7" fmla="*/ 1300348 w 1496291"/>
                    <a:gd name="connsiteY7" fmla="*/ 795647 h 1426075"/>
                    <a:gd name="connsiteX8" fmla="*/ 1478478 w 1496291"/>
                    <a:gd name="connsiteY8" fmla="*/ 760021 h 1426075"/>
                    <a:gd name="connsiteX9" fmla="*/ 1496291 w 1496291"/>
                    <a:gd name="connsiteY9" fmla="*/ 712519 h 1426075"/>
                    <a:gd name="connsiteX10" fmla="*/ 1294410 w 1496291"/>
                    <a:gd name="connsiteY10" fmla="*/ 391886 h 1426075"/>
                    <a:gd name="connsiteX11" fmla="*/ 1027215 w 1496291"/>
                    <a:gd name="connsiteY11" fmla="*/ 41564 h 1426075"/>
                    <a:gd name="connsiteX12" fmla="*/ 979714 w 1496291"/>
                    <a:gd name="connsiteY12" fmla="*/ 0 h 1426075"/>
                    <a:gd name="connsiteX13" fmla="*/ 540327 w 1496291"/>
                    <a:gd name="connsiteY13" fmla="*/ 118753 h 1426075"/>
                    <a:gd name="connsiteX14" fmla="*/ 492826 w 1496291"/>
                    <a:gd name="connsiteY14" fmla="*/ 95003 h 1426075"/>
                    <a:gd name="connsiteX15" fmla="*/ 0 w 1496291"/>
                    <a:gd name="connsiteY15" fmla="*/ 207818 h 1426075"/>
                    <a:gd name="connsiteX0" fmla="*/ 0 w 1496291"/>
                    <a:gd name="connsiteY0" fmla="*/ 207818 h 1426075"/>
                    <a:gd name="connsiteX1" fmla="*/ 91673 w 1496291"/>
                    <a:gd name="connsiteY1" fmla="*/ 498939 h 1426075"/>
                    <a:gd name="connsiteX2" fmla="*/ 174031 w 1496291"/>
                    <a:gd name="connsiteY2" fmla="*/ 814312 h 1426075"/>
                    <a:gd name="connsiteX3" fmla="*/ 355273 w 1496291"/>
                    <a:gd name="connsiteY3" fmla="*/ 1426075 h 1426075"/>
                    <a:gd name="connsiteX4" fmla="*/ 1056904 w 1496291"/>
                    <a:gd name="connsiteY4" fmla="*/ 1074717 h 1426075"/>
                    <a:gd name="connsiteX5" fmla="*/ 1122218 w 1496291"/>
                    <a:gd name="connsiteY5" fmla="*/ 991590 h 1426075"/>
                    <a:gd name="connsiteX6" fmla="*/ 1122218 w 1496291"/>
                    <a:gd name="connsiteY6" fmla="*/ 890649 h 1426075"/>
                    <a:gd name="connsiteX7" fmla="*/ 1300348 w 1496291"/>
                    <a:gd name="connsiteY7" fmla="*/ 795647 h 1426075"/>
                    <a:gd name="connsiteX8" fmla="*/ 1478478 w 1496291"/>
                    <a:gd name="connsiteY8" fmla="*/ 760021 h 1426075"/>
                    <a:gd name="connsiteX9" fmla="*/ 1496291 w 1496291"/>
                    <a:gd name="connsiteY9" fmla="*/ 712519 h 1426075"/>
                    <a:gd name="connsiteX10" fmla="*/ 1294410 w 1496291"/>
                    <a:gd name="connsiteY10" fmla="*/ 391886 h 1426075"/>
                    <a:gd name="connsiteX11" fmla="*/ 1027215 w 1496291"/>
                    <a:gd name="connsiteY11" fmla="*/ 41564 h 1426075"/>
                    <a:gd name="connsiteX12" fmla="*/ 979714 w 1496291"/>
                    <a:gd name="connsiteY12" fmla="*/ 0 h 1426075"/>
                    <a:gd name="connsiteX13" fmla="*/ 540327 w 1496291"/>
                    <a:gd name="connsiteY13" fmla="*/ 118753 h 1426075"/>
                    <a:gd name="connsiteX14" fmla="*/ 492826 w 1496291"/>
                    <a:gd name="connsiteY14" fmla="*/ 95003 h 1426075"/>
                    <a:gd name="connsiteX15" fmla="*/ 0 w 1496291"/>
                    <a:gd name="connsiteY15" fmla="*/ 207818 h 1426075"/>
                    <a:gd name="connsiteX0" fmla="*/ 0 w 1496291"/>
                    <a:gd name="connsiteY0" fmla="*/ 207818 h 1426075"/>
                    <a:gd name="connsiteX1" fmla="*/ 86568 w 1496291"/>
                    <a:gd name="connsiteY1" fmla="*/ 503654 h 1426075"/>
                    <a:gd name="connsiteX2" fmla="*/ 174031 w 1496291"/>
                    <a:gd name="connsiteY2" fmla="*/ 814312 h 1426075"/>
                    <a:gd name="connsiteX3" fmla="*/ 355273 w 1496291"/>
                    <a:gd name="connsiteY3" fmla="*/ 1426075 h 1426075"/>
                    <a:gd name="connsiteX4" fmla="*/ 1056904 w 1496291"/>
                    <a:gd name="connsiteY4" fmla="*/ 1074717 h 1426075"/>
                    <a:gd name="connsiteX5" fmla="*/ 1122218 w 1496291"/>
                    <a:gd name="connsiteY5" fmla="*/ 991590 h 1426075"/>
                    <a:gd name="connsiteX6" fmla="*/ 1122218 w 1496291"/>
                    <a:gd name="connsiteY6" fmla="*/ 890649 h 1426075"/>
                    <a:gd name="connsiteX7" fmla="*/ 1300348 w 1496291"/>
                    <a:gd name="connsiteY7" fmla="*/ 795647 h 1426075"/>
                    <a:gd name="connsiteX8" fmla="*/ 1478478 w 1496291"/>
                    <a:gd name="connsiteY8" fmla="*/ 760021 h 1426075"/>
                    <a:gd name="connsiteX9" fmla="*/ 1496291 w 1496291"/>
                    <a:gd name="connsiteY9" fmla="*/ 712519 h 1426075"/>
                    <a:gd name="connsiteX10" fmla="*/ 1294410 w 1496291"/>
                    <a:gd name="connsiteY10" fmla="*/ 391886 h 1426075"/>
                    <a:gd name="connsiteX11" fmla="*/ 1027215 w 1496291"/>
                    <a:gd name="connsiteY11" fmla="*/ 41564 h 1426075"/>
                    <a:gd name="connsiteX12" fmla="*/ 979714 w 1496291"/>
                    <a:gd name="connsiteY12" fmla="*/ 0 h 1426075"/>
                    <a:gd name="connsiteX13" fmla="*/ 540327 w 1496291"/>
                    <a:gd name="connsiteY13" fmla="*/ 118753 h 1426075"/>
                    <a:gd name="connsiteX14" fmla="*/ 492826 w 1496291"/>
                    <a:gd name="connsiteY14" fmla="*/ 95003 h 1426075"/>
                    <a:gd name="connsiteX15" fmla="*/ 0 w 1496291"/>
                    <a:gd name="connsiteY15" fmla="*/ 207818 h 1426075"/>
                    <a:gd name="connsiteX0" fmla="*/ 0 w 1496291"/>
                    <a:gd name="connsiteY0" fmla="*/ 207818 h 1426075"/>
                    <a:gd name="connsiteX1" fmla="*/ 86568 w 1496291"/>
                    <a:gd name="connsiteY1" fmla="*/ 503654 h 1426075"/>
                    <a:gd name="connsiteX2" fmla="*/ 174031 w 1496291"/>
                    <a:gd name="connsiteY2" fmla="*/ 814312 h 1426075"/>
                    <a:gd name="connsiteX3" fmla="*/ 355273 w 1496291"/>
                    <a:gd name="connsiteY3" fmla="*/ 1426075 h 1426075"/>
                    <a:gd name="connsiteX4" fmla="*/ 1056904 w 1496291"/>
                    <a:gd name="connsiteY4" fmla="*/ 1074717 h 1426075"/>
                    <a:gd name="connsiteX5" fmla="*/ 1122218 w 1496291"/>
                    <a:gd name="connsiteY5" fmla="*/ 991590 h 1426075"/>
                    <a:gd name="connsiteX6" fmla="*/ 1198795 w 1496291"/>
                    <a:gd name="connsiteY6" fmla="*/ 951945 h 1426075"/>
                    <a:gd name="connsiteX7" fmla="*/ 1300348 w 1496291"/>
                    <a:gd name="connsiteY7" fmla="*/ 795647 h 1426075"/>
                    <a:gd name="connsiteX8" fmla="*/ 1478478 w 1496291"/>
                    <a:gd name="connsiteY8" fmla="*/ 760021 h 1426075"/>
                    <a:gd name="connsiteX9" fmla="*/ 1496291 w 1496291"/>
                    <a:gd name="connsiteY9" fmla="*/ 712519 h 1426075"/>
                    <a:gd name="connsiteX10" fmla="*/ 1294410 w 1496291"/>
                    <a:gd name="connsiteY10" fmla="*/ 391886 h 1426075"/>
                    <a:gd name="connsiteX11" fmla="*/ 1027215 w 1496291"/>
                    <a:gd name="connsiteY11" fmla="*/ 41564 h 1426075"/>
                    <a:gd name="connsiteX12" fmla="*/ 979714 w 1496291"/>
                    <a:gd name="connsiteY12" fmla="*/ 0 h 1426075"/>
                    <a:gd name="connsiteX13" fmla="*/ 540327 w 1496291"/>
                    <a:gd name="connsiteY13" fmla="*/ 118753 h 1426075"/>
                    <a:gd name="connsiteX14" fmla="*/ 492826 w 1496291"/>
                    <a:gd name="connsiteY14" fmla="*/ 95003 h 1426075"/>
                    <a:gd name="connsiteX15" fmla="*/ 0 w 1496291"/>
                    <a:gd name="connsiteY15" fmla="*/ 207818 h 1426075"/>
                    <a:gd name="connsiteX0" fmla="*/ 0 w 1496291"/>
                    <a:gd name="connsiteY0" fmla="*/ 207818 h 1426075"/>
                    <a:gd name="connsiteX1" fmla="*/ 86568 w 1496291"/>
                    <a:gd name="connsiteY1" fmla="*/ 503654 h 1426075"/>
                    <a:gd name="connsiteX2" fmla="*/ 174031 w 1496291"/>
                    <a:gd name="connsiteY2" fmla="*/ 814312 h 1426075"/>
                    <a:gd name="connsiteX3" fmla="*/ 355273 w 1496291"/>
                    <a:gd name="connsiteY3" fmla="*/ 1426075 h 1426075"/>
                    <a:gd name="connsiteX4" fmla="*/ 1056904 w 1496291"/>
                    <a:gd name="connsiteY4" fmla="*/ 1074717 h 1426075"/>
                    <a:gd name="connsiteX5" fmla="*/ 1122218 w 1496291"/>
                    <a:gd name="connsiteY5" fmla="*/ 991590 h 1426075"/>
                    <a:gd name="connsiteX6" fmla="*/ 1198795 w 1496291"/>
                    <a:gd name="connsiteY6" fmla="*/ 951945 h 1426075"/>
                    <a:gd name="connsiteX7" fmla="*/ 1356505 w 1496291"/>
                    <a:gd name="connsiteY7" fmla="*/ 833367 h 1426075"/>
                    <a:gd name="connsiteX8" fmla="*/ 1478478 w 1496291"/>
                    <a:gd name="connsiteY8" fmla="*/ 760021 h 1426075"/>
                    <a:gd name="connsiteX9" fmla="*/ 1496291 w 1496291"/>
                    <a:gd name="connsiteY9" fmla="*/ 712519 h 1426075"/>
                    <a:gd name="connsiteX10" fmla="*/ 1294410 w 1496291"/>
                    <a:gd name="connsiteY10" fmla="*/ 391886 h 1426075"/>
                    <a:gd name="connsiteX11" fmla="*/ 1027215 w 1496291"/>
                    <a:gd name="connsiteY11" fmla="*/ 41564 h 1426075"/>
                    <a:gd name="connsiteX12" fmla="*/ 979714 w 1496291"/>
                    <a:gd name="connsiteY12" fmla="*/ 0 h 1426075"/>
                    <a:gd name="connsiteX13" fmla="*/ 540327 w 1496291"/>
                    <a:gd name="connsiteY13" fmla="*/ 118753 h 1426075"/>
                    <a:gd name="connsiteX14" fmla="*/ 492826 w 1496291"/>
                    <a:gd name="connsiteY14" fmla="*/ 95003 h 1426075"/>
                    <a:gd name="connsiteX15" fmla="*/ 0 w 1496291"/>
                    <a:gd name="connsiteY15" fmla="*/ 207818 h 1426075"/>
                    <a:gd name="connsiteX0" fmla="*/ 0 w 1496291"/>
                    <a:gd name="connsiteY0" fmla="*/ 207818 h 1426075"/>
                    <a:gd name="connsiteX1" fmla="*/ 86568 w 1496291"/>
                    <a:gd name="connsiteY1" fmla="*/ 503654 h 1426075"/>
                    <a:gd name="connsiteX2" fmla="*/ 174031 w 1496291"/>
                    <a:gd name="connsiteY2" fmla="*/ 814312 h 1426075"/>
                    <a:gd name="connsiteX3" fmla="*/ 355273 w 1496291"/>
                    <a:gd name="connsiteY3" fmla="*/ 1426075 h 1426075"/>
                    <a:gd name="connsiteX4" fmla="*/ 1031378 w 1496291"/>
                    <a:gd name="connsiteY4" fmla="*/ 1074717 h 1426075"/>
                    <a:gd name="connsiteX5" fmla="*/ 1122218 w 1496291"/>
                    <a:gd name="connsiteY5" fmla="*/ 991590 h 1426075"/>
                    <a:gd name="connsiteX6" fmla="*/ 1198795 w 1496291"/>
                    <a:gd name="connsiteY6" fmla="*/ 951945 h 1426075"/>
                    <a:gd name="connsiteX7" fmla="*/ 1356505 w 1496291"/>
                    <a:gd name="connsiteY7" fmla="*/ 833367 h 1426075"/>
                    <a:gd name="connsiteX8" fmla="*/ 1478478 w 1496291"/>
                    <a:gd name="connsiteY8" fmla="*/ 760021 h 1426075"/>
                    <a:gd name="connsiteX9" fmla="*/ 1496291 w 1496291"/>
                    <a:gd name="connsiteY9" fmla="*/ 712519 h 1426075"/>
                    <a:gd name="connsiteX10" fmla="*/ 1294410 w 1496291"/>
                    <a:gd name="connsiteY10" fmla="*/ 391886 h 1426075"/>
                    <a:gd name="connsiteX11" fmla="*/ 1027215 w 1496291"/>
                    <a:gd name="connsiteY11" fmla="*/ 41564 h 1426075"/>
                    <a:gd name="connsiteX12" fmla="*/ 979714 w 1496291"/>
                    <a:gd name="connsiteY12" fmla="*/ 0 h 1426075"/>
                    <a:gd name="connsiteX13" fmla="*/ 540327 w 1496291"/>
                    <a:gd name="connsiteY13" fmla="*/ 118753 h 1426075"/>
                    <a:gd name="connsiteX14" fmla="*/ 492826 w 1496291"/>
                    <a:gd name="connsiteY14" fmla="*/ 95003 h 1426075"/>
                    <a:gd name="connsiteX15" fmla="*/ 0 w 1496291"/>
                    <a:gd name="connsiteY15" fmla="*/ 207818 h 1426075"/>
                    <a:gd name="connsiteX0" fmla="*/ 0 w 1511606"/>
                    <a:gd name="connsiteY0" fmla="*/ 207818 h 1426075"/>
                    <a:gd name="connsiteX1" fmla="*/ 86568 w 1511606"/>
                    <a:gd name="connsiteY1" fmla="*/ 503654 h 1426075"/>
                    <a:gd name="connsiteX2" fmla="*/ 174031 w 1511606"/>
                    <a:gd name="connsiteY2" fmla="*/ 814312 h 1426075"/>
                    <a:gd name="connsiteX3" fmla="*/ 355273 w 1511606"/>
                    <a:gd name="connsiteY3" fmla="*/ 1426075 h 1426075"/>
                    <a:gd name="connsiteX4" fmla="*/ 1031378 w 1511606"/>
                    <a:gd name="connsiteY4" fmla="*/ 1074717 h 1426075"/>
                    <a:gd name="connsiteX5" fmla="*/ 1122218 w 1511606"/>
                    <a:gd name="connsiteY5" fmla="*/ 991590 h 1426075"/>
                    <a:gd name="connsiteX6" fmla="*/ 1198795 w 1511606"/>
                    <a:gd name="connsiteY6" fmla="*/ 951945 h 1426075"/>
                    <a:gd name="connsiteX7" fmla="*/ 1356505 w 1511606"/>
                    <a:gd name="connsiteY7" fmla="*/ 833367 h 1426075"/>
                    <a:gd name="connsiteX8" fmla="*/ 1478478 w 1511606"/>
                    <a:gd name="connsiteY8" fmla="*/ 760021 h 1426075"/>
                    <a:gd name="connsiteX9" fmla="*/ 1511606 w 1511606"/>
                    <a:gd name="connsiteY9" fmla="*/ 736094 h 1426075"/>
                    <a:gd name="connsiteX10" fmla="*/ 1294410 w 1511606"/>
                    <a:gd name="connsiteY10" fmla="*/ 391886 h 1426075"/>
                    <a:gd name="connsiteX11" fmla="*/ 1027215 w 1511606"/>
                    <a:gd name="connsiteY11" fmla="*/ 41564 h 1426075"/>
                    <a:gd name="connsiteX12" fmla="*/ 979714 w 1511606"/>
                    <a:gd name="connsiteY12" fmla="*/ 0 h 1426075"/>
                    <a:gd name="connsiteX13" fmla="*/ 540327 w 1511606"/>
                    <a:gd name="connsiteY13" fmla="*/ 118753 h 1426075"/>
                    <a:gd name="connsiteX14" fmla="*/ 492826 w 1511606"/>
                    <a:gd name="connsiteY14" fmla="*/ 95003 h 1426075"/>
                    <a:gd name="connsiteX15" fmla="*/ 0 w 1511606"/>
                    <a:gd name="connsiteY15" fmla="*/ 207818 h 1426075"/>
                    <a:gd name="connsiteX0" fmla="*/ 0 w 1478478"/>
                    <a:gd name="connsiteY0" fmla="*/ 207818 h 1426075"/>
                    <a:gd name="connsiteX1" fmla="*/ 86568 w 1478478"/>
                    <a:gd name="connsiteY1" fmla="*/ 503654 h 1426075"/>
                    <a:gd name="connsiteX2" fmla="*/ 174031 w 1478478"/>
                    <a:gd name="connsiteY2" fmla="*/ 814312 h 1426075"/>
                    <a:gd name="connsiteX3" fmla="*/ 355273 w 1478478"/>
                    <a:gd name="connsiteY3" fmla="*/ 1426075 h 1426075"/>
                    <a:gd name="connsiteX4" fmla="*/ 1031378 w 1478478"/>
                    <a:gd name="connsiteY4" fmla="*/ 1074717 h 1426075"/>
                    <a:gd name="connsiteX5" fmla="*/ 1122218 w 1478478"/>
                    <a:gd name="connsiteY5" fmla="*/ 991590 h 1426075"/>
                    <a:gd name="connsiteX6" fmla="*/ 1198795 w 1478478"/>
                    <a:gd name="connsiteY6" fmla="*/ 951945 h 1426075"/>
                    <a:gd name="connsiteX7" fmla="*/ 1356505 w 1478478"/>
                    <a:gd name="connsiteY7" fmla="*/ 833367 h 1426075"/>
                    <a:gd name="connsiteX8" fmla="*/ 1478478 w 1478478"/>
                    <a:gd name="connsiteY8" fmla="*/ 760021 h 1426075"/>
                    <a:gd name="connsiteX9" fmla="*/ 1475868 w 1478478"/>
                    <a:gd name="connsiteY9" fmla="*/ 698374 h 1426075"/>
                    <a:gd name="connsiteX10" fmla="*/ 1294410 w 1478478"/>
                    <a:gd name="connsiteY10" fmla="*/ 391886 h 1426075"/>
                    <a:gd name="connsiteX11" fmla="*/ 1027215 w 1478478"/>
                    <a:gd name="connsiteY11" fmla="*/ 41564 h 1426075"/>
                    <a:gd name="connsiteX12" fmla="*/ 979714 w 1478478"/>
                    <a:gd name="connsiteY12" fmla="*/ 0 h 1426075"/>
                    <a:gd name="connsiteX13" fmla="*/ 540327 w 1478478"/>
                    <a:gd name="connsiteY13" fmla="*/ 118753 h 1426075"/>
                    <a:gd name="connsiteX14" fmla="*/ 492826 w 1478478"/>
                    <a:gd name="connsiteY14" fmla="*/ 95003 h 1426075"/>
                    <a:gd name="connsiteX15" fmla="*/ 0 w 1478478"/>
                    <a:gd name="connsiteY15" fmla="*/ 207818 h 1426075"/>
                    <a:gd name="connsiteX0" fmla="*/ 0 w 1475868"/>
                    <a:gd name="connsiteY0" fmla="*/ 207818 h 1426075"/>
                    <a:gd name="connsiteX1" fmla="*/ 86568 w 1475868"/>
                    <a:gd name="connsiteY1" fmla="*/ 503654 h 1426075"/>
                    <a:gd name="connsiteX2" fmla="*/ 174031 w 1475868"/>
                    <a:gd name="connsiteY2" fmla="*/ 814312 h 1426075"/>
                    <a:gd name="connsiteX3" fmla="*/ 355273 w 1475868"/>
                    <a:gd name="connsiteY3" fmla="*/ 1426075 h 1426075"/>
                    <a:gd name="connsiteX4" fmla="*/ 1031378 w 1475868"/>
                    <a:gd name="connsiteY4" fmla="*/ 1074717 h 1426075"/>
                    <a:gd name="connsiteX5" fmla="*/ 1122218 w 1475868"/>
                    <a:gd name="connsiteY5" fmla="*/ 991590 h 1426075"/>
                    <a:gd name="connsiteX6" fmla="*/ 1198795 w 1475868"/>
                    <a:gd name="connsiteY6" fmla="*/ 951945 h 1426075"/>
                    <a:gd name="connsiteX7" fmla="*/ 1356505 w 1475868"/>
                    <a:gd name="connsiteY7" fmla="*/ 833367 h 1426075"/>
                    <a:gd name="connsiteX8" fmla="*/ 1437638 w 1475868"/>
                    <a:gd name="connsiteY8" fmla="*/ 741161 h 1426075"/>
                    <a:gd name="connsiteX9" fmla="*/ 1475868 w 1475868"/>
                    <a:gd name="connsiteY9" fmla="*/ 698374 h 1426075"/>
                    <a:gd name="connsiteX10" fmla="*/ 1294410 w 1475868"/>
                    <a:gd name="connsiteY10" fmla="*/ 391886 h 1426075"/>
                    <a:gd name="connsiteX11" fmla="*/ 1027215 w 1475868"/>
                    <a:gd name="connsiteY11" fmla="*/ 41564 h 1426075"/>
                    <a:gd name="connsiteX12" fmla="*/ 979714 w 1475868"/>
                    <a:gd name="connsiteY12" fmla="*/ 0 h 1426075"/>
                    <a:gd name="connsiteX13" fmla="*/ 540327 w 1475868"/>
                    <a:gd name="connsiteY13" fmla="*/ 118753 h 1426075"/>
                    <a:gd name="connsiteX14" fmla="*/ 492826 w 1475868"/>
                    <a:gd name="connsiteY14" fmla="*/ 95003 h 1426075"/>
                    <a:gd name="connsiteX15" fmla="*/ 0 w 1475868"/>
                    <a:gd name="connsiteY15" fmla="*/ 207818 h 1426075"/>
                    <a:gd name="connsiteX0" fmla="*/ 0 w 1475868"/>
                    <a:gd name="connsiteY0" fmla="*/ 207818 h 1404588"/>
                    <a:gd name="connsiteX1" fmla="*/ 86568 w 1475868"/>
                    <a:gd name="connsiteY1" fmla="*/ 503654 h 1404588"/>
                    <a:gd name="connsiteX2" fmla="*/ 174031 w 1475868"/>
                    <a:gd name="connsiteY2" fmla="*/ 814312 h 1404588"/>
                    <a:gd name="connsiteX3" fmla="*/ 345303 w 1475868"/>
                    <a:gd name="connsiteY3" fmla="*/ 1404588 h 1404588"/>
                    <a:gd name="connsiteX4" fmla="*/ 1031378 w 1475868"/>
                    <a:gd name="connsiteY4" fmla="*/ 1074717 h 1404588"/>
                    <a:gd name="connsiteX5" fmla="*/ 1122218 w 1475868"/>
                    <a:gd name="connsiteY5" fmla="*/ 991590 h 1404588"/>
                    <a:gd name="connsiteX6" fmla="*/ 1198795 w 1475868"/>
                    <a:gd name="connsiteY6" fmla="*/ 951945 h 1404588"/>
                    <a:gd name="connsiteX7" fmla="*/ 1356505 w 1475868"/>
                    <a:gd name="connsiteY7" fmla="*/ 833367 h 1404588"/>
                    <a:gd name="connsiteX8" fmla="*/ 1437638 w 1475868"/>
                    <a:gd name="connsiteY8" fmla="*/ 741161 h 1404588"/>
                    <a:gd name="connsiteX9" fmla="*/ 1475868 w 1475868"/>
                    <a:gd name="connsiteY9" fmla="*/ 698374 h 1404588"/>
                    <a:gd name="connsiteX10" fmla="*/ 1294410 w 1475868"/>
                    <a:gd name="connsiteY10" fmla="*/ 391886 h 1404588"/>
                    <a:gd name="connsiteX11" fmla="*/ 1027215 w 1475868"/>
                    <a:gd name="connsiteY11" fmla="*/ 41564 h 1404588"/>
                    <a:gd name="connsiteX12" fmla="*/ 979714 w 1475868"/>
                    <a:gd name="connsiteY12" fmla="*/ 0 h 1404588"/>
                    <a:gd name="connsiteX13" fmla="*/ 540327 w 1475868"/>
                    <a:gd name="connsiteY13" fmla="*/ 118753 h 1404588"/>
                    <a:gd name="connsiteX14" fmla="*/ 492826 w 1475868"/>
                    <a:gd name="connsiteY14" fmla="*/ 95003 h 1404588"/>
                    <a:gd name="connsiteX15" fmla="*/ 0 w 1475868"/>
                    <a:gd name="connsiteY15" fmla="*/ 207818 h 140458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1031378 w 1475868"/>
                    <a:gd name="connsiteY4" fmla="*/ 1074717 h 1419938"/>
                    <a:gd name="connsiteX5" fmla="*/ 1122218 w 1475868"/>
                    <a:gd name="connsiteY5" fmla="*/ 991590 h 1419938"/>
                    <a:gd name="connsiteX6" fmla="*/ 1198795 w 1475868"/>
                    <a:gd name="connsiteY6" fmla="*/ 951945 h 1419938"/>
                    <a:gd name="connsiteX7" fmla="*/ 1356505 w 1475868"/>
                    <a:gd name="connsiteY7" fmla="*/ 833367 h 1419938"/>
                    <a:gd name="connsiteX8" fmla="*/ 1437638 w 1475868"/>
                    <a:gd name="connsiteY8" fmla="*/ 741161 h 1419938"/>
                    <a:gd name="connsiteX9" fmla="*/ 1475868 w 1475868"/>
                    <a:gd name="connsiteY9" fmla="*/ 698374 h 1419938"/>
                    <a:gd name="connsiteX10" fmla="*/ 1294410 w 1475868"/>
                    <a:gd name="connsiteY10" fmla="*/ 391886 h 1419938"/>
                    <a:gd name="connsiteX11" fmla="*/ 1027215 w 1475868"/>
                    <a:gd name="connsiteY11" fmla="*/ 41564 h 1419938"/>
                    <a:gd name="connsiteX12" fmla="*/ 979714 w 1475868"/>
                    <a:gd name="connsiteY12" fmla="*/ 0 h 1419938"/>
                    <a:gd name="connsiteX13" fmla="*/ 540327 w 1475868"/>
                    <a:gd name="connsiteY13" fmla="*/ 118753 h 1419938"/>
                    <a:gd name="connsiteX14" fmla="*/ 492826 w 1475868"/>
                    <a:gd name="connsiteY14" fmla="*/ 95003 h 1419938"/>
                    <a:gd name="connsiteX15" fmla="*/ 0 w 1475868"/>
                    <a:gd name="connsiteY15" fmla="*/ 207818 h 141993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1028055 w 1475868"/>
                    <a:gd name="connsiteY4" fmla="*/ 1034807 h 1419938"/>
                    <a:gd name="connsiteX5" fmla="*/ 1122218 w 1475868"/>
                    <a:gd name="connsiteY5" fmla="*/ 991590 h 1419938"/>
                    <a:gd name="connsiteX6" fmla="*/ 1198795 w 1475868"/>
                    <a:gd name="connsiteY6" fmla="*/ 951945 h 1419938"/>
                    <a:gd name="connsiteX7" fmla="*/ 1356505 w 1475868"/>
                    <a:gd name="connsiteY7" fmla="*/ 833367 h 1419938"/>
                    <a:gd name="connsiteX8" fmla="*/ 1437638 w 1475868"/>
                    <a:gd name="connsiteY8" fmla="*/ 741161 h 1419938"/>
                    <a:gd name="connsiteX9" fmla="*/ 1475868 w 1475868"/>
                    <a:gd name="connsiteY9" fmla="*/ 698374 h 1419938"/>
                    <a:gd name="connsiteX10" fmla="*/ 1294410 w 1475868"/>
                    <a:gd name="connsiteY10" fmla="*/ 391886 h 1419938"/>
                    <a:gd name="connsiteX11" fmla="*/ 1027215 w 1475868"/>
                    <a:gd name="connsiteY11" fmla="*/ 41564 h 1419938"/>
                    <a:gd name="connsiteX12" fmla="*/ 979714 w 1475868"/>
                    <a:gd name="connsiteY12" fmla="*/ 0 h 1419938"/>
                    <a:gd name="connsiteX13" fmla="*/ 540327 w 1475868"/>
                    <a:gd name="connsiteY13" fmla="*/ 118753 h 1419938"/>
                    <a:gd name="connsiteX14" fmla="*/ 492826 w 1475868"/>
                    <a:gd name="connsiteY14" fmla="*/ 95003 h 1419938"/>
                    <a:gd name="connsiteX15" fmla="*/ 0 w 1475868"/>
                    <a:gd name="connsiteY15" fmla="*/ 207818 h 141993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1028055 w 1475868"/>
                    <a:gd name="connsiteY4" fmla="*/ 1034807 h 1419938"/>
                    <a:gd name="connsiteX5" fmla="*/ 1122218 w 1475868"/>
                    <a:gd name="connsiteY5" fmla="*/ 991590 h 1419938"/>
                    <a:gd name="connsiteX6" fmla="*/ 1215411 w 1475868"/>
                    <a:gd name="connsiteY6" fmla="*/ 918175 h 1419938"/>
                    <a:gd name="connsiteX7" fmla="*/ 1356505 w 1475868"/>
                    <a:gd name="connsiteY7" fmla="*/ 833367 h 1419938"/>
                    <a:gd name="connsiteX8" fmla="*/ 1437638 w 1475868"/>
                    <a:gd name="connsiteY8" fmla="*/ 741161 h 1419938"/>
                    <a:gd name="connsiteX9" fmla="*/ 1475868 w 1475868"/>
                    <a:gd name="connsiteY9" fmla="*/ 698374 h 1419938"/>
                    <a:gd name="connsiteX10" fmla="*/ 1294410 w 1475868"/>
                    <a:gd name="connsiteY10" fmla="*/ 391886 h 1419938"/>
                    <a:gd name="connsiteX11" fmla="*/ 1027215 w 1475868"/>
                    <a:gd name="connsiteY11" fmla="*/ 41564 h 1419938"/>
                    <a:gd name="connsiteX12" fmla="*/ 979714 w 1475868"/>
                    <a:gd name="connsiteY12" fmla="*/ 0 h 1419938"/>
                    <a:gd name="connsiteX13" fmla="*/ 540327 w 1475868"/>
                    <a:gd name="connsiteY13" fmla="*/ 118753 h 1419938"/>
                    <a:gd name="connsiteX14" fmla="*/ 492826 w 1475868"/>
                    <a:gd name="connsiteY14" fmla="*/ 95003 h 1419938"/>
                    <a:gd name="connsiteX15" fmla="*/ 0 w 1475868"/>
                    <a:gd name="connsiteY15" fmla="*/ 207818 h 141993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1028055 w 1475868"/>
                    <a:gd name="connsiteY4" fmla="*/ 1034807 h 1419938"/>
                    <a:gd name="connsiteX5" fmla="*/ 1115572 w 1475868"/>
                    <a:gd name="connsiteY5" fmla="*/ 979311 h 1419938"/>
                    <a:gd name="connsiteX6" fmla="*/ 1215411 w 1475868"/>
                    <a:gd name="connsiteY6" fmla="*/ 918175 h 1419938"/>
                    <a:gd name="connsiteX7" fmla="*/ 1356505 w 1475868"/>
                    <a:gd name="connsiteY7" fmla="*/ 833367 h 1419938"/>
                    <a:gd name="connsiteX8" fmla="*/ 1437638 w 1475868"/>
                    <a:gd name="connsiteY8" fmla="*/ 741161 h 1419938"/>
                    <a:gd name="connsiteX9" fmla="*/ 1475868 w 1475868"/>
                    <a:gd name="connsiteY9" fmla="*/ 698374 h 1419938"/>
                    <a:gd name="connsiteX10" fmla="*/ 1294410 w 1475868"/>
                    <a:gd name="connsiteY10" fmla="*/ 391886 h 1419938"/>
                    <a:gd name="connsiteX11" fmla="*/ 1027215 w 1475868"/>
                    <a:gd name="connsiteY11" fmla="*/ 41564 h 1419938"/>
                    <a:gd name="connsiteX12" fmla="*/ 979714 w 1475868"/>
                    <a:gd name="connsiteY12" fmla="*/ 0 h 1419938"/>
                    <a:gd name="connsiteX13" fmla="*/ 540327 w 1475868"/>
                    <a:gd name="connsiteY13" fmla="*/ 118753 h 1419938"/>
                    <a:gd name="connsiteX14" fmla="*/ 492826 w 1475868"/>
                    <a:gd name="connsiteY14" fmla="*/ 95003 h 1419938"/>
                    <a:gd name="connsiteX15" fmla="*/ 0 w 1475868"/>
                    <a:gd name="connsiteY15" fmla="*/ 207818 h 141993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1028055 w 1475868"/>
                    <a:gd name="connsiteY4" fmla="*/ 1034807 h 1419938"/>
                    <a:gd name="connsiteX5" fmla="*/ 1215411 w 1475868"/>
                    <a:gd name="connsiteY5" fmla="*/ 918175 h 1419938"/>
                    <a:gd name="connsiteX6" fmla="*/ 1356505 w 1475868"/>
                    <a:gd name="connsiteY6" fmla="*/ 833367 h 1419938"/>
                    <a:gd name="connsiteX7" fmla="*/ 1437638 w 1475868"/>
                    <a:gd name="connsiteY7" fmla="*/ 741161 h 1419938"/>
                    <a:gd name="connsiteX8" fmla="*/ 1475868 w 1475868"/>
                    <a:gd name="connsiteY8" fmla="*/ 698374 h 1419938"/>
                    <a:gd name="connsiteX9" fmla="*/ 1294410 w 1475868"/>
                    <a:gd name="connsiteY9" fmla="*/ 391886 h 1419938"/>
                    <a:gd name="connsiteX10" fmla="*/ 1027215 w 1475868"/>
                    <a:gd name="connsiteY10" fmla="*/ 41564 h 1419938"/>
                    <a:gd name="connsiteX11" fmla="*/ 979714 w 1475868"/>
                    <a:gd name="connsiteY11" fmla="*/ 0 h 1419938"/>
                    <a:gd name="connsiteX12" fmla="*/ 540327 w 1475868"/>
                    <a:gd name="connsiteY12" fmla="*/ 118753 h 1419938"/>
                    <a:gd name="connsiteX13" fmla="*/ 492826 w 1475868"/>
                    <a:gd name="connsiteY13" fmla="*/ 95003 h 1419938"/>
                    <a:gd name="connsiteX14" fmla="*/ 0 w 1475868"/>
                    <a:gd name="connsiteY14" fmla="*/ 207818 h 141993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838631 w 1475868"/>
                    <a:gd name="connsiteY4" fmla="*/ 1179097 h 1419938"/>
                    <a:gd name="connsiteX5" fmla="*/ 1215411 w 1475868"/>
                    <a:gd name="connsiteY5" fmla="*/ 918175 h 1419938"/>
                    <a:gd name="connsiteX6" fmla="*/ 1356505 w 1475868"/>
                    <a:gd name="connsiteY6" fmla="*/ 833367 h 1419938"/>
                    <a:gd name="connsiteX7" fmla="*/ 1437638 w 1475868"/>
                    <a:gd name="connsiteY7" fmla="*/ 741161 h 1419938"/>
                    <a:gd name="connsiteX8" fmla="*/ 1475868 w 1475868"/>
                    <a:gd name="connsiteY8" fmla="*/ 698374 h 1419938"/>
                    <a:gd name="connsiteX9" fmla="*/ 1294410 w 1475868"/>
                    <a:gd name="connsiteY9" fmla="*/ 391886 h 1419938"/>
                    <a:gd name="connsiteX10" fmla="*/ 1027215 w 1475868"/>
                    <a:gd name="connsiteY10" fmla="*/ 41564 h 1419938"/>
                    <a:gd name="connsiteX11" fmla="*/ 979714 w 1475868"/>
                    <a:gd name="connsiteY11" fmla="*/ 0 h 1419938"/>
                    <a:gd name="connsiteX12" fmla="*/ 540327 w 1475868"/>
                    <a:gd name="connsiteY12" fmla="*/ 118753 h 1419938"/>
                    <a:gd name="connsiteX13" fmla="*/ 492826 w 1475868"/>
                    <a:gd name="connsiteY13" fmla="*/ 95003 h 1419938"/>
                    <a:gd name="connsiteX14" fmla="*/ 0 w 1475868"/>
                    <a:gd name="connsiteY14" fmla="*/ 207818 h 141993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838631 w 1475868"/>
                    <a:gd name="connsiteY4" fmla="*/ 1179097 h 1419938"/>
                    <a:gd name="connsiteX5" fmla="*/ 1215411 w 1475868"/>
                    <a:gd name="connsiteY5" fmla="*/ 918175 h 1419938"/>
                    <a:gd name="connsiteX6" fmla="*/ 1329919 w 1475868"/>
                    <a:gd name="connsiteY6" fmla="*/ 824158 h 1419938"/>
                    <a:gd name="connsiteX7" fmla="*/ 1437638 w 1475868"/>
                    <a:gd name="connsiteY7" fmla="*/ 741161 h 1419938"/>
                    <a:gd name="connsiteX8" fmla="*/ 1475868 w 1475868"/>
                    <a:gd name="connsiteY8" fmla="*/ 698374 h 1419938"/>
                    <a:gd name="connsiteX9" fmla="*/ 1294410 w 1475868"/>
                    <a:gd name="connsiteY9" fmla="*/ 391886 h 1419938"/>
                    <a:gd name="connsiteX10" fmla="*/ 1027215 w 1475868"/>
                    <a:gd name="connsiteY10" fmla="*/ 41564 h 1419938"/>
                    <a:gd name="connsiteX11" fmla="*/ 979714 w 1475868"/>
                    <a:gd name="connsiteY11" fmla="*/ 0 h 1419938"/>
                    <a:gd name="connsiteX12" fmla="*/ 540327 w 1475868"/>
                    <a:gd name="connsiteY12" fmla="*/ 118753 h 1419938"/>
                    <a:gd name="connsiteX13" fmla="*/ 492826 w 1475868"/>
                    <a:gd name="connsiteY13" fmla="*/ 95003 h 1419938"/>
                    <a:gd name="connsiteX14" fmla="*/ 0 w 1475868"/>
                    <a:gd name="connsiteY14" fmla="*/ 207818 h 141993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838631 w 1475868"/>
                    <a:gd name="connsiteY4" fmla="*/ 1179097 h 1419938"/>
                    <a:gd name="connsiteX5" fmla="*/ 1215411 w 1475868"/>
                    <a:gd name="connsiteY5" fmla="*/ 918175 h 1419938"/>
                    <a:gd name="connsiteX6" fmla="*/ 1329919 w 1475868"/>
                    <a:gd name="connsiteY6" fmla="*/ 824158 h 1419938"/>
                    <a:gd name="connsiteX7" fmla="*/ 1427669 w 1475868"/>
                    <a:gd name="connsiteY7" fmla="*/ 735021 h 1419938"/>
                    <a:gd name="connsiteX8" fmla="*/ 1475868 w 1475868"/>
                    <a:gd name="connsiteY8" fmla="*/ 698374 h 1419938"/>
                    <a:gd name="connsiteX9" fmla="*/ 1294410 w 1475868"/>
                    <a:gd name="connsiteY9" fmla="*/ 391886 h 1419938"/>
                    <a:gd name="connsiteX10" fmla="*/ 1027215 w 1475868"/>
                    <a:gd name="connsiteY10" fmla="*/ 41564 h 1419938"/>
                    <a:gd name="connsiteX11" fmla="*/ 979714 w 1475868"/>
                    <a:gd name="connsiteY11" fmla="*/ 0 h 1419938"/>
                    <a:gd name="connsiteX12" fmla="*/ 540327 w 1475868"/>
                    <a:gd name="connsiteY12" fmla="*/ 118753 h 1419938"/>
                    <a:gd name="connsiteX13" fmla="*/ 492826 w 1475868"/>
                    <a:gd name="connsiteY13" fmla="*/ 95003 h 1419938"/>
                    <a:gd name="connsiteX14" fmla="*/ 0 w 1475868"/>
                    <a:gd name="connsiteY14" fmla="*/ 207818 h 141993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838631 w 1475868"/>
                    <a:gd name="connsiteY4" fmla="*/ 1179097 h 1419938"/>
                    <a:gd name="connsiteX5" fmla="*/ 1215411 w 1475868"/>
                    <a:gd name="connsiteY5" fmla="*/ 918175 h 1419938"/>
                    <a:gd name="connsiteX6" fmla="*/ 1329919 w 1475868"/>
                    <a:gd name="connsiteY6" fmla="*/ 824158 h 1419938"/>
                    <a:gd name="connsiteX7" fmla="*/ 1437638 w 1475868"/>
                    <a:gd name="connsiteY7" fmla="*/ 741161 h 1419938"/>
                    <a:gd name="connsiteX8" fmla="*/ 1475868 w 1475868"/>
                    <a:gd name="connsiteY8" fmla="*/ 698374 h 1419938"/>
                    <a:gd name="connsiteX9" fmla="*/ 1294410 w 1475868"/>
                    <a:gd name="connsiteY9" fmla="*/ 391886 h 1419938"/>
                    <a:gd name="connsiteX10" fmla="*/ 1027215 w 1475868"/>
                    <a:gd name="connsiteY10" fmla="*/ 41564 h 1419938"/>
                    <a:gd name="connsiteX11" fmla="*/ 979714 w 1475868"/>
                    <a:gd name="connsiteY11" fmla="*/ 0 h 1419938"/>
                    <a:gd name="connsiteX12" fmla="*/ 540327 w 1475868"/>
                    <a:gd name="connsiteY12" fmla="*/ 118753 h 1419938"/>
                    <a:gd name="connsiteX13" fmla="*/ 492826 w 1475868"/>
                    <a:gd name="connsiteY13" fmla="*/ 95003 h 1419938"/>
                    <a:gd name="connsiteX14" fmla="*/ 0 w 1475868"/>
                    <a:gd name="connsiteY14" fmla="*/ 207818 h 1419938"/>
                    <a:gd name="connsiteX0" fmla="*/ 0 w 1475868"/>
                    <a:gd name="connsiteY0" fmla="*/ 207818 h 1419938"/>
                    <a:gd name="connsiteX1" fmla="*/ 86568 w 1475868"/>
                    <a:gd name="connsiteY1" fmla="*/ 503654 h 1419938"/>
                    <a:gd name="connsiteX2" fmla="*/ 174031 w 1475868"/>
                    <a:gd name="connsiteY2" fmla="*/ 814312 h 1419938"/>
                    <a:gd name="connsiteX3" fmla="*/ 355273 w 1475868"/>
                    <a:gd name="connsiteY3" fmla="*/ 1419938 h 1419938"/>
                    <a:gd name="connsiteX4" fmla="*/ 838631 w 1475868"/>
                    <a:gd name="connsiteY4" fmla="*/ 1179097 h 1419938"/>
                    <a:gd name="connsiteX5" fmla="*/ 1047576 w 1475868"/>
                    <a:gd name="connsiteY5" fmla="*/ 1058699 h 1419938"/>
                    <a:gd name="connsiteX6" fmla="*/ 1215411 w 1475868"/>
                    <a:gd name="connsiteY6" fmla="*/ 918175 h 1419938"/>
                    <a:gd name="connsiteX7" fmla="*/ 1329919 w 1475868"/>
                    <a:gd name="connsiteY7" fmla="*/ 824158 h 1419938"/>
                    <a:gd name="connsiteX8" fmla="*/ 1437638 w 1475868"/>
                    <a:gd name="connsiteY8" fmla="*/ 741161 h 1419938"/>
                    <a:gd name="connsiteX9" fmla="*/ 1475868 w 1475868"/>
                    <a:gd name="connsiteY9" fmla="*/ 698374 h 1419938"/>
                    <a:gd name="connsiteX10" fmla="*/ 1294410 w 1475868"/>
                    <a:gd name="connsiteY10" fmla="*/ 391886 h 1419938"/>
                    <a:gd name="connsiteX11" fmla="*/ 1027215 w 1475868"/>
                    <a:gd name="connsiteY11" fmla="*/ 41564 h 1419938"/>
                    <a:gd name="connsiteX12" fmla="*/ 979714 w 1475868"/>
                    <a:gd name="connsiteY12" fmla="*/ 0 h 1419938"/>
                    <a:gd name="connsiteX13" fmla="*/ 540327 w 1475868"/>
                    <a:gd name="connsiteY13" fmla="*/ 118753 h 1419938"/>
                    <a:gd name="connsiteX14" fmla="*/ 492826 w 1475868"/>
                    <a:gd name="connsiteY14" fmla="*/ 95003 h 1419938"/>
                    <a:gd name="connsiteX15" fmla="*/ 0 w 1475868"/>
                    <a:gd name="connsiteY15" fmla="*/ 207818 h 141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5868" h="1419938">
                      <a:moveTo>
                        <a:pt x="0" y="207818"/>
                      </a:moveTo>
                      <a:lnTo>
                        <a:pt x="86568" y="503654"/>
                      </a:lnTo>
                      <a:lnTo>
                        <a:pt x="174031" y="814312"/>
                      </a:lnTo>
                      <a:cubicBezTo>
                        <a:pt x="229025" y="960977"/>
                        <a:pt x="300021" y="1244526"/>
                        <a:pt x="355273" y="1419938"/>
                      </a:cubicBezTo>
                      <a:lnTo>
                        <a:pt x="838631" y="1179097"/>
                      </a:lnTo>
                      <a:cubicBezTo>
                        <a:pt x="903848" y="1135894"/>
                        <a:pt x="982359" y="1101902"/>
                        <a:pt x="1047576" y="1058699"/>
                      </a:cubicBezTo>
                      <a:lnTo>
                        <a:pt x="1215411" y="918175"/>
                      </a:lnTo>
                      <a:lnTo>
                        <a:pt x="1329919" y="824158"/>
                      </a:lnTo>
                      <a:lnTo>
                        <a:pt x="1437638" y="741161"/>
                      </a:lnTo>
                      <a:lnTo>
                        <a:pt x="1475868" y="698374"/>
                      </a:lnTo>
                      <a:lnTo>
                        <a:pt x="1294410" y="391886"/>
                      </a:lnTo>
                      <a:lnTo>
                        <a:pt x="1027215" y="41564"/>
                      </a:lnTo>
                      <a:lnTo>
                        <a:pt x="979714" y="0"/>
                      </a:lnTo>
                      <a:lnTo>
                        <a:pt x="540327" y="118753"/>
                      </a:lnTo>
                      <a:lnTo>
                        <a:pt x="492826" y="95003"/>
                      </a:lnTo>
                      <a:lnTo>
                        <a:pt x="0" y="207818"/>
                      </a:lnTo>
                      <a:close/>
                    </a:path>
                  </a:pathLst>
                </a:custGeom>
                <a:noFill/>
                <a:ln w="25400">
                  <a:solidFill>
                    <a:srgbClr val="FF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70" name="AutoShape 69"/>
                <p:cNvSpPr>
                  <a:spLocks noChangeAspect="1"/>
                </p:cNvSpPr>
                <p:nvPr/>
              </p:nvSpPr>
              <p:spPr bwMode="auto">
                <a:xfrm rot="-853803">
                  <a:off x="7342" y="4344"/>
                  <a:ext cx="902" cy="494"/>
                </a:xfrm>
                <a:prstGeom prst="roundRect">
                  <a:avLst>
                    <a:gd name="adj" fmla="val 50000"/>
                  </a:avLst>
                </a:prstGeom>
                <a:noFill/>
                <a:ln w="12700">
                  <a:solidFill>
                    <a:srgbClr val="00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71" name="AutoShape 70"/>
                <p:cNvSpPr>
                  <a:spLocks noChangeAspect="1"/>
                </p:cNvSpPr>
                <p:nvPr/>
              </p:nvSpPr>
              <p:spPr bwMode="auto">
                <a:xfrm rot="-853803">
                  <a:off x="7033" y="3596"/>
                  <a:ext cx="902" cy="852"/>
                </a:xfrm>
                <a:prstGeom prst="roundRect">
                  <a:avLst>
                    <a:gd name="adj" fmla="val 38778"/>
                  </a:avLst>
                </a:prstGeom>
                <a:noFill/>
                <a:ln w="12700">
                  <a:solidFill>
                    <a:srgbClr val="00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72" name="Text Box 71"/>
                <p:cNvSpPr txBox="1">
                  <a:spLocks/>
                </p:cNvSpPr>
                <p:nvPr/>
              </p:nvSpPr>
              <p:spPr bwMode="auto">
                <a:xfrm>
                  <a:off x="6735" y="1646"/>
                  <a:ext cx="2581" cy="403"/>
                </a:xfrm>
                <a:prstGeom prst="rect">
                  <a:avLst/>
                </a:prstGeom>
                <a:solidFill>
                  <a:srgbClr val="F2DBDB"/>
                </a:solidFill>
                <a:ln w="6350">
                  <a:solidFill>
                    <a:srgbClr val="FF0000"/>
                  </a:solidFill>
                  <a:miter lim="800000"/>
                  <a:headEnd/>
                  <a:tailEnd/>
                </a:ln>
              </p:spPr>
              <p:txBody>
                <a:bodyPr vert="horz" wrap="none" lIns="99044" tIns="49522" rIns="99044" bIns="49522" numCol="1" anchor="t" anchorCtr="0" compatLnSpc="1">
                  <a:prstTxWarp prst="textNoShape">
                    <a:avLst/>
                  </a:prstTxWarp>
                </a:bodyPr>
                <a:lstStyle/>
                <a:p>
                  <a:r>
                    <a:rPr lang="ja-JP" altLang="en-US" sz="975" b="1" dirty="0">
                      <a:solidFill>
                        <a:srgbClr val="FF0000"/>
                      </a:solidFill>
                      <a:latin typeface="ＭＳ Ｐゴシック" pitchFamily="50" charset="-128"/>
                      <a:cs typeface="ＭＳ Ｐゴシック" pitchFamily="50" charset="-128"/>
                    </a:rPr>
                    <a:t>道の駅　美山ふれあい広場</a:t>
                  </a:r>
                  <a:endParaRPr lang="ja-JP" altLang="en-US" sz="975" dirty="0">
                    <a:solidFill>
                      <a:srgbClr val="000000"/>
                    </a:solidFill>
                    <a:latin typeface="Arial" pitchFamily="34" charset="0"/>
                    <a:cs typeface="ＭＳ Ｐゴシック" pitchFamily="50" charset="-128"/>
                  </a:endParaRPr>
                </a:p>
              </p:txBody>
            </p:sp>
            <p:sp>
              <p:nvSpPr>
                <p:cNvPr id="73" name="Text Box 72"/>
                <p:cNvSpPr txBox="1">
                  <a:spLocks/>
                </p:cNvSpPr>
                <p:nvPr/>
              </p:nvSpPr>
              <p:spPr bwMode="auto">
                <a:xfrm>
                  <a:off x="9944" y="3926"/>
                  <a:ext cx="1175" cy="617"/>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r>
                    <a:rPr lang="ja-JP" altLang="en-US" sz="867" b="1">
                      <a:solidFill>
                        <a:srgbClr val="000000"/>
                      </a:solidFill>
                      <a:latin typeface="ＭＳ Ｐゴシック" pitchFamily="50" charset="-128"/>
                      <a:cs typeface="ＭＳ Ｐゴシック" pitchFamily="50" charset="-128"/>
                    </a:rPr>
                    <a:t>高齢者</a:t>
                  </a:r>
                </a:p>
                <a:p>
                  <a:r>
                    <a:rPr lang="ja-JP" altLang="en-US" sz="867" b="1">
                      <a:solidFill>
                        <a:srgbClr val="000000"/>
                      </a:solidFill>
                      <a:latin typeface="ＭＳ Ｐゴシック" pitchFamily="50" charset="-128"/>
                      <a:cs typeface="ＭＳ Ｐゴシック" pitchFamily="50" charset="-128"/>
                    </a:rPr>
                    <a:t>ｺﾐｭﾆﾃｨｾﾝﾀｰ</a:t>
                  </a:r>
                  <a:endParaRPr lang="ja-JP" altLang="en-US">
                    <a:solidFill>
                      <a:srgbClr val="000000"/>
                    </a:solidFill>
                    <a:latin typeface="Arial" pitchFamily="34" charset="0"/>
                    <a:cs typeface="ＭＳ Ｐゴシック" pitchFamily="50" charset="-128"/>
                  </a:endParaRPr>
                </a:p>
              </p:txBody>
            </p:sp>
            <p:sp>
              <p:nvSpPr>
                <p:cNvPr id="74" name="テキスト ボックス 76"/>
                <p:cNvSpPr txBox="1">
                  <a:spLocks/>
                </p:cNvSpPr>
                <p:nvPr/>
              </p:nvSpPr>
              <p:spPr bwMode="auto">
                <a:xfrm>
                  <a:off x="8772" y="4943"/>
                  <a:ext cx="2137" cy="551"/>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r>
                    <a:rPr lang="ja-JP" altLang="en-US" sz="867" b="1">
                      <a:solidFill>
                        <a:srgbClr val="000000"/>
                      </a:solidFill>
                      <a:latin typeface="ＭＳ Ｐゴシック" pitchFamily="50" charset="-128"/>
                      <a:cs typeface="ＭＳ Ｐゴシック" pitchFamily="50" charset="-128"/>
                    </a:rPr>
                    <a:t>農業振興総合センター</a:t>
                  </a:r>
                </a:p>
                <a:p>
                  <a:r>
                    <a:rPr lang="ja-JP" altLang="en-US" sz="867" b="1">
                      <a:solidFill>
                        <a:srgbClr val="000000"/>
                      </a:solidFill>
                      <a:latin typeface="ＭＳ Ｐゴシック" pitchFamily="50" charset="-128"/>
                      <a:cs typeface="ＭＳ Ｐゴシック" pitchFamily="50" charset="-128"/>
                    </a:rPr>
                    <a:t>（商工会・観光協会案内所）</a:t>
                  </a:r>
                  <a:endParaRPr lang="ja-JP" altLang="en-US">
                    <a:solidFill>
                      <a:srgbClr val="000000"/>
                    </a:solidFill>
                    <a:latin typeface="Arial" pitchFamily="34" charset="0"/>
                    <a:cs typeface="ＭＳ Ｐゴシック" pitchFamily="50" charset="-128"/>
                  </a:endParaRPr>
                </a:p>
              </p:txBody>
            </p:sp>
            <p:sp>
              <p:nvSpPr>
                <p:cNvPr id="75" name="Text Box 74"/>
                <p:cNvSpPr txBox="1">
                  <a:spLocks/>
                </p:cNvSpPr>
                <p:nvPr/>
              </p:nvSpPr>
              <p:spPr bwMode="auto">
                <a:xfrm>
                  <a:off x="8470" y="4440"/>
                  <a:ext cx="1220" cy="598"/>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r>
                    <a:rPr lang="ja-JP" altLang="en-US" sz="867" b="1">
                      <a:solidFill>
                        <a:srgbClr val="000000"/>
                      </a:solidFill>
                      <a:latin typeface="ＭＳ Ｐゴシック" pitchFamily="50" charset="-128"/>
                      <a:cs typeface="ＭＳ Ｐゴシック" pitchFamily="50" charset="-128"/>
                    </a:rPr>
                    <a:t>美山のめぐみ</a:t>
                  </a:r>
                </a:p>
                <a:p>
                  <a:r>
                    <a:rPr lang="ja-JP" altLang="en-US" sz="867" b="1">
                      <a:solidFill>
                        <a:srgbClr val="000000"/>
                      </a:solidFill>
                      <a:latin typeface="ＭＳ Ｐゴシック" pitchFamily="50" charset="-128"/>
                      <a:cs typeface="ＭＳ Ｐゴシック" pitchFamily="50" charset="-128"/>
                    </a:rPr>
                    <a:t>牛乳工場</a:t>
                  </a:r>
                  <a:endParaRPr lang="ja-JP" altLang="en-US">
                    <a:solidFill>
                      <a:srgbClr val="000000"/>
                    </a:solidFill>
                    <a:latin typeface="Arial" pitchFamily="34" charset="0"/>
                    <a:cs typeface="ＭＳ Ｐゴシック" pitchFamily="50" charset="-128"/>
                  </a:endParaRPr>
                </a:p>
              </p:txBody>
            </p:sp>
            <p:sp>
              <p:nvSpPr>
                <p:cNvPr id="76" name="AutoShape 75"/>
                <p:cNvSpPr>
                  <a:spLocks noChangeAspect="1"/>
                </p:cNvSpPr>
                <p:nvPr/>
              </p:nvSpPr>
              <p:spPr bwMode="auto">
                <a:xfrm rot="-853803">
                  <a:off x="7251" y="3065"/>
                  <a:ext cx="731" cy="463"/>
                </a:xfrm>
                <a:prstGeom prst="roundRect">
                  <a:avLst>
                    <a:gd name="adj" fmla="val 38778"/>
                  </a:avLst>
                </a:prstGeom>
                <a:noFill/>
                <a:ln w="12700">
                  <a:solidFill>
                    <a:srgbClr val="00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cxnSp>
              <p:nvCxnSpPr>
                <p:cNvPr id="77" name="AutoShape 76"/>
                <p:cNvCxnSpPr>
                  <a:cxnSpLocks/>
                </p:cNvCxnSpPr>
                <p:nvPr/>
              </p:nvCxnSpPr>
              <p:spPr bwMode="auto">
                <a:xfrm flipV="1">
                  <a:off x="8926" y="4241"/>
                  <a:ext cx="159" cy="304"/>
                </a:xfrm>
                <a:prstGeom prst="straightConnector1">
                  <a:avLst/>
                </a:prstGeom>
                <a:noFill/>
                <a:ln w="19050">
                  <a:solidFill>
                    <a:srgbClr val="000000"/>
                  </a:solidFill>
                  <a:round/>
                  <a:headEnd/>
                  <a:tailEnd/>
                </a:ln>
              </p:spPr>
            </p:cxnSp>
            <p:cxnSp>
              <p:nvCxnSpPr>
                <p:cNvPr id="78" name="AutoShape 77"/>
                <p:cNvCxnSpPr>
                  <a:cxnSpLocks/>
                </p:cNvCxnSpPr>
                <p:nvPr/>
              </p:nvCxnSpPr>
              <p:spPr bwMode="auto">
                <a:xfrm flipH="1" flipV="1">
                  <a:off x="9666" y="3877"/>
                  <a:ext cx="331" cy="1159"/>
                </a:xfrm>
                <a:prstGeom prst="straightConnector1">
                  <a:avLst/>
                </a:prstGeom>
                <a:noFill/>
                <a:ln w="19050">
                  <a:solidFill>
                    <a:srgbClr val="000000"/>
                  </a:solidFill>
                  <a:round/>
                  <a:headEnd/>
                  <a:tailEnd/>
                </a:ln>
              </p:spPr>
            </p:cxnSp>
            <p:cxnSp>
              <p:nvCxnSpPr>
                <p:cNvPr id="79" name="AutoShape 78"/>
                <p:cNvCxnSpPr>
                  <a:cxnSpLocks/>
                </p:cNvCxnSpPr>
                <p:nvPr/>
              </p:nvCxnSpPr>
              <p:spPr bwMode="auto">
                <a:xfrm>
                  <a:off x="10063" y="3851"/>
                  <a:ext cx="84" cy="137"/>
                </a:xfrm>
                <a:prstGeom prst="straightConnector1">
                  <a:avLst/>
                </a:prstGeom>
                <a:noFill/>
                <a:ln w="19050">
                  <a:solidFill>
                    <a:srgbClr val="000000"/>
                  </a:solidFill>
                  <a:round/>
                  <a:headEnd/>
                  <a:tailEnd/>
                </a:ln>
              </p:spPr>
            </p:cxnSp>
            <p:cxnSp>
              <p:nvCxnSpPr>
                <p:cNvPr id="80" name="AutoShape 79"/>
                <p:cNvCxnSpPr>
                  <a:cxnSpLocks/>
                </p:cNvCxnSpPr>
                <p:nvPr/>
              </p:nvCxnSpPr>
              <p:spPr bwMode="auto">
                <a:xfrm flipH="1" flipV="1">
                  <a:off x="7041" y="2568"/>
                  <a:ext cx="338" cy="543"/>
                </a:xfrm>
                <a:prstGeom prst="straightConnector1">
                  <a:avLst/>
                </a:prstGeom>
                <a:noFill/>
                <a:ln w="19050">
                  <a:solidFill>
                    <a:srgbClr val="000000"/>
                  </a:solidFill>
                  <a:round/>
                  <a:headEnd/>
                  <a:tailEnd/>
                </a:ln>
              </p:spPr>
            </p:cxnSp>
            <p:sp>
              <p:nvSpPr>
                <p:cNvPr id="81" name="Text Box 80"/>
                <p:cNvSpPr txBox="1">
                  <a:spLocks/>
                </p:cNvSpPr>
                <p:nvPr/>
              </p:nvSpPr>
              <p:spPr bwMode="auto">
                <a:xfrm>
                  <a:off x="6537" y="2288"/>
                  <a:ext cx="1397" cy="429"/>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r>
                    <a:rPr lang="ja-JP" altLang="en-US" sz="867" b="1">
                      <a:solidFill>
                        <a:srgbClr val="000000"/>
                      </a:solidFill>
                      <a:latin typeface="ＭＳ Ｐゴシック" pitchFamily="50" charset="-128"/>
                      <a:cs typeface="ＭＳ Ｐゴシック" pitchFamily="50" charset="-128"/>
                    </a:rPr>
                    <a:t>民間周遊バス停</a:t>
                  </a:r>
                  <a:endParaRPr lang="ja-JP" altLang="en-US">
                    <a:solidFill>
                      <a:srgbClr val="000000"/>
                    </a:solidFill>
                    <a:latin typeface="Arial" pitchFamily="34" charset="0"/>
                    <a:cs typeface="ＭＳ Ｐゴシック" pitchFamily="50" charset="-128"/>
                  </a:endParaRPr>
                </a:p>
              </p:txBody>
            </p:sp>
            <p:sp>
              <p:nvSpPr>
                <p:cNvPr id="82" name="Text Box 81"/>
                <p:cNvSpPr txBox="1">
                  <a:spLocks/>
                </p:cNvSpPr>
                <p:nvPr/>
              </p:nvSpPr>
              <p:spPr bwMode="auto">
                <a:xfrm>
                  <a:off x="7165" y="5036"/>
                  <a:ext cx="1494" cy="364"/>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r>
                    <a:rPr lang="ja-JP" altLang="en-US" sz="867" b="1">
                      <a:solidFill>
                        <a:srgbClr val="000000"/>
                      </a:solidFill>
                      <a:latin typeface="ＭＳ Ｐゴシック" pitchFamily="50" charset="-128"/>
                      <a:cs typeface="ＭＳ Ｐゴシック" pitchFamily="50" charset="-128"/>
                    </a:rPr>
                    <a:t>保健福祉センター</a:t>
                  </a:r>
                  <a:endParaRPr lang="ja-JP" altLang="en-US">
                    <a:solidFill>
                      <a:srgbClr val="000000"/>
                    </a:solidFill>
                    <a:latin typeface="Arial" pitchFamily="34" charset="0"/>
                    <a:cs typeface="ＭＳ Ｐゴシック" pitchFamily="50" charset="-128"/>
                  </a:endParaRPr>
                </a:p>
              </p:txBody>
            </p:sp>
            <p:sp>
              <p:nvSpPr>
                <p:cNvPr id="83" name="Text Box 82"/>
                <p:cNvSpPr txBox="1">
                  <a:spLocks/>
                </p:cNvSpPr>
                <p:nvPr/>
              </p:nvSpPr>
              <p:spPr bwMode="auto">
                <a:xfrm>
                  <a:off x="6255" y="4473"/>
                  <a:ext cx="1092" cy="364"/>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r>
                    <a:rPr lang="ja-JP" altLang="en-US" sz="867" b="1">
                      <a:solidFill>
                        <a:srgbClr val="000000"/>
                      </a:solidFill>
                      <a:latin typeface="ＭＳ Ｐゴシック" pitchFamily="50" charset="-128"/>
                      <a:cs typeface="ＭＳ Ｐゴシック" pitchFamily="50" charset="-128"/>
                    </a:rPr>
                    <a:t>美山診療所</a:t>
                  </a:r>
                  <a:endParaRPr lang="ja-JP" altLang="en-US">
                    <a:solidFill>
                      <a:srgbClr val="000000"/>
                    </a:solidFill>
                    <a:latin typeface="Arial" pitchFamily="34" charset="0"/>
                    <a:cs typeface="ＭＳ Ｐゴシック" pitchFamily="50" charset="-128"/>
                  </a:endParaRPr>
                </a:p>
              </p:txBody>
            </p:sp>
            <p:cxnSp>
              <p:nvCxnSpPr>
                <p:cNvPr id="84" name="AutoShape 83"/>
                <p:cNvCxnSpPr>
                  <a:cxnSpLocks/>
                </p:cNvCxnSpPr>
                <p:nvPr/>
              </p:nvCxnSpPr>
              <p:spPr bwMode="auto">
                <a:xfrm flipV="1">
                  <a:off x="7360" y="4839"/>
                  <a:ext cx="102" cy="270"/>
                </a:xfrm>
                <a:prstGeom prst="straightConnector1">
                  <a:avLst/>
                </a:prstGeom>
                <a:noFill/>
                <a:ln w="19050">
                  <a:solidFill>
                    <a:srgbClr val="000000"/>
                  </a:solidFill>
                  <a:round/>
                  <a:headEnd/>
                  <a:tailEnd/>
                </a:ln>
              </p:spPr>
            </p:cxnSp>
            <p:cxnSp>
              <p:nvCxnSpPr>
                <p:cNvPr id="85" name="AutoShape 84"/>
                <p:cNvCxnSpPr>
                  <a:cxnSpLocks/>
                </p:cNvCxnSpPr>
                <p:nvPr/>
              </p:nvCxnSpPr>
              <p:spPr bwMode="auto">
                <a:xfrm flipV="1">
                  <a:off x="6650" y="4213"/>
                  <a:ext cx="391" cy="332"/>
                </a:xfrm>
                <a:prstGeom prst="straightConnector1">
                  <a:avLst/>
                </a:prstGeom>
                <a:noFill/>
                <a:ln w="19050">
                  <a:solidFill>
                    <a:srgbClr val="000000"/>
                  </a:solidFill>
                  <a:round/>
                  <a:headEnd/>
                  <a:tailEnd/>
                </a:ln>
              </p:spPr>
            </p:cxnSp>
            <p:cxnSp>
              <p:nvCxnSpPr>
                <p:cNvPr id="88" name="AutoShape 85"/>
                <p:cNvCxnSpPr>
                  <a:cxnSpLocks/>
                </p:cNvCxnSpPr>
                <p:nvPr/>
              </p:nvCxnSpPr>
              <p:spPr bwMode="auto">
                <a:xfrm flipH="1" flipV="1">
                  <a:off x="7927" y="2044"/>
                  <a:ext cx="263" cy="888"/>
                </a:xfrm>
                <a:prstGeom prst="straightConnector1">
                  <a:avLst/>
                </a:prstGeom>
                <a:noFill/>
                <a:ln w="19050">
                  <a:solidFill>
                    <a:srgbClr val="FF0000"/>
                  </a:solidFill>
                  <a:round/>
                  <a:headEnd/>
                  <a:tailEnd/>
                </a:ln>
              </p:spPr>
            </p:cxnSp>
            <p:sp>
              <p:nvSpPr>
                <p:cNvPr id="90" name="AutoShape 86"/>
                <p:cNvSpPr>
                  <a:spLocks noChangeAspect="1"/>
                </p:cNvSpPr>
                <p:nvPr/>
              </p:nvSpPr>
              <p:spPr bwMode="auto">
                <a:xfrm rot="-2083924">
                  <a:off x="10388" y="3232"/>
                  <a:ext cx="302" cy="366"/>
                </a:xfrm>
                <a:prstGeom prst="roundRect">
                  <a:avLst>
                    <a:gd name="adj" fmla="val 24407"/>
                  </a:avLst>
                </a:prstGeom>
                <a:noFill/>
                <a:ln w="12700">
                  <a:solidFill>
                    <a:srgbClr val="00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95" name="Text Box 87"/>
                <p:cNvSpPr txBox="1">
                  <a:spLocks/>
                </p:cNvSpPr>
                <p:nvPr/>
              </p:nvSpPr>
              <p:spPr bwMode="auto">
                <a:xfrm>
                  <a:off x="10007" y="2558"/>
                  <a:ext cx="931" cy="373"/>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r>
                    <a:rPr lang="ja-JP" altLang="en-US" sz="867" b="1">
                      <a:solidFill>
                        <a:srgbClr val="000000"/>
                      </a:solidFill>
                      <a:latin typeface="ＭＳ Ｐゴシック" pitchFamily="50" charset="-128"/>
                      <a:cs typeface="ＭＳ Ｐゴシック" pitchFamily="50" charset="-128"/>
                    </a:rPr>
                    <a:t>美山漁協</a:t>
                  </a:r>
                  <a:endParaRPr lang="ja-JP" altLang="en-US">
                    <a:solidFill>
                      <a:srgbClr val="000000"/>
                    </a:solidFill>
                    <a:latin typeface="Arial" pitchFamily="34" charset="0"/>
                    <a:cs typeface="ＭＳ Ｐゴシック" pitchFamily="50" charset="-128"/>
                  </a:endParaRPr>
                </a:p>
              </p:txBody>
            </p:sp>
            <p:cxnSp>
              <p:nvCxnSpPr>
                <p:cNvPr id="96" name="AutoShape 88"/>
                <p:cNvCxnSpPr>
                  <a:cxnSpLocks/>
                </p:cNvCxnSpPr>
                <p:nvPr/>
              </p:nvCxnSpPr>
              <p:spPr bwMode="auto">
                <a:xfrm flipH="1" flipV="1">
                  <a:off x="10297" y="2820"/>
                  <a:ext cx="104" cy="439"/>
                </a:xfrm>
                <a:prstGeom prst="straightConnector1">
                  <a:avLst/>
                </a:prstGeom>
                <a:noFill/>
                <a:ln w="19050">
                  <a:solidFill>
                    <a:srgbClr val="000000"/>
                  </a:solidFill>
                  <a:round/>
                  <a:headEnd/>
                  <a:tailEnd/>
                </a:ln>
              </p:spPr>
            </p:cxnSp>
            <p:sp>
              <p:nvSpPr>
                <p:cNvPr id="97" name="Line 89"/>
                <p:cNvSpPr>
                  <a:spLocks noChangeShapeType="1"/>
                </p:cNvSpPr>
                <p:nvPr/>
              </p:nvSpPr>
              <p:spPr bwMode="auto">
                <a:xfrm>
                  <a:off x="6544" y="5585"/>
                  <a:ext cx="1403" cy="0"/>
                </a:xfrm>
                <a:prstGeom prst="line">
                  <a:avLst/>
                </a:prstGeom>
                <a:noFill/>
                <a:ln w="38100">
                  <a:solidFill>
                    <a:srgbClr val="000000"/>
                  </a:solidFill>
                  <a:round/>
                  <a:headEnd/>
                  <a:tailEnd/>
                </a:ln>
              </p:spPr>
              <p:txBody>
                <a:bodyPr vert="horz" wrap="square" lIns="99044" tIns="49522" rIns="99044" bIns="49522" numCol="1" anchor="t" anchorCtr="0" compatLnSpc="1">
                  <a:prstTxWarp prst="textNoShape">
                    <a:avLst/>
                  </a:prstTxWarp>
                </a:bodyPr>
                <a:lstStyle/>
                <a:p>
                  <a:endParaRPr lang="ja-JP" altLang="en-US">
                    <a:solidFill>
                      <a:srgbClr val="000000"/>
                    </a:solidFill>
                  </a:endParaRPr>
                </a:p>
              </p:txBody>
            </p:sp>
            <p:sp>
              <p:nvSpPr>
                <p:cNvPr id="98" name="Text Box 90"/>
                <p:cNvSpPr txBox="1">
                  <a:spLocks/>
                </p:cNvSpPr>
                <p:nvPr/>
              </p:nvSpPr>
              <p:spPr bwMode="auto">
                <a:xfrm>
                  <a:off x="6942" y="5242"/>
                  <a:ext cx="649" cy="409"/>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pPr algn="just"/>
                  <a:r>
                    <a:rPr lang="en-US" altLang="ja-JP" sz="867" b="1">
                      <a:solidFill>
                        <a:srgbClr val="000000"/>
                      </a:solidFill>
                      <a:latin typeface="ＭＳ Ｐゴシック" pitchFamily="50" charset="-128"/>
                      <a:cs typeface="ＭＳ Ｐゴシック" pitchFamily="50" charset="-128"/>
                    </a:rPr>
                    <a:t>100m</a:t>
                  </a:r>
                  <a:endParaRPr lang="ja-JP" altLang="ja-JP">
                    <a:solidFill>
                      <a:srgbClr val="000000"/>
                    </a:solidFill>
                    <a:latin typeface="Arial" pitchFamily="34" charset="0"/>
                    <a:cs typeface="ＭＳ Ｐゴシック" pitchFamily="50" charset="-128"/>
                  </a:endParaRPr>
                </a:p>
              </p:txBody>
            </p:sp>
            <p:sp>
              <p:nvSpPr>
                <p:cNvPr id="68" name="AutoShape 67"/>
                <p:cNvSpPr>
                  <a:spLocks noChangeAspect="1"/>
                </p:cNvSpPr>
                <p:nvPr/>
              </p:nvSpPr>
              <p:spPr bwMode="auto">
                <a:xfrm rot="-899616">
                  <a:off x="9025" y="3603"/>
                  <a:ext cx="548" cy="834"/>
                </a:xfrm>
                <a:prstGeom prst="roundRect">
                  <a:avLst>
                    <a:gd name="adj" fmla="val 24407"/>
                  </a:avLst>
                </a:prstGeom>
                <a:noFill/>
                <a:ln w="12700">
                  <a:solidFill>
                    <a:srgbClr val="00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grpSp>
        </p:grpSp>
        <p:cxnSp>
          <p:nvCxnSpPr>
            <p:cNvPr id="56" name="直線コネクタ 55"/>
            <p:cNvCxnSpPr>
              <a:endCxn id="66" idx="0"/>
            </p:cNvCxnSpPr>
            <p:nvPr/>
          </p:nvCxnSpPr>
          <p:spPr bwMode="auto">
            <a:xfrm>
              <a:off x="5240238" y="2780928"/>
              <a:ext cx="109869" cy="129027"/>
            </a:xfrm>
            <a:prstGeom prst="line">
              <a:avLst/>
            </a:prstGeom>
            <a:solidFill>
              <a:schemeClr val="accent1"/>
            </a:solidFill>
            <a:ln w="19050" cap="flat" cmpd="sng" algn="ctr">
              <a:solidFill>
                <a:schemeClr val="tx1"/>
              </a:solidFill>
              <a:prstDash val="solid"/>
              <a:round/>
              <a:headEnd type="none" w="sm" len="sm"/>
              <a:tailEnd type="none" w="sm" len="sm"/>
            </a:ln>
            <a:effectLst/>
          </p:spPr>
        </p:cxnSp>
      </p:grpSp>
      <p:sp>
        <p:nvSpPr>
          <p:cNvPr id="99" name="テキスト ボックス 98"/>
          <p:cNvSpPr txBox="1"/>
          <p:nvPr/>
        </p:nvSpPr>
        <p:spPr>
          <a:xfrm>
            <a:off x="7760518" y="3807842"/>
            <a:ext cx="2016223" cy="374461"/>
          </a:xfrm>
          <a:prstGeom prst="rect">
            <a:avLst/>
          </a:prstGeom>
          <a:noFill/>
        </p:spPr>
        <p:txBody>
          <a:bodyPr wrap="square" rtlCol="0">
            <a:spAutoFit/>
          </a:bodyPr>
          <a:lstStyle/>
          <a:p>
            <a:pPr>
              <a:lnSpc>
                <a:spcPts val="2166"/>
              </a:lnSpc>
            </a:pPr>
            <a:r>
              <a:rPr lang="ja-JP" altLang="en-US" sz="1300" dirty="0">
                <a:solidFill>
                  <a:srgbClr val="000000"/>
                </a:solidFill>
              </a:rPr>
              <a:t>ふらっと美山 外観</a:t>
            </a:r>
            <a:endParaRPr lang="en-US" altLang="ja-JP" sz="1300" dirty="0">
              <a:solidFill>
                <a:srgbClr val="000000"/>
              </a:solidFill>
            </a:endParaRPr>
          </a:p>
        </p:txBody>
      </p:sp>
      <p:sp>
        <p:nvSpPr>
          <p:cNvPr id="100" name="テキスト ボックス 99"/>
          <p:cNvSpPr txBox="1"/>
          <p:nvPr/>
        </p:nvSpPr>
        <p:spPr>
          <a:xfrm>
            <a:off x="7688510" y="7044471"/>
            <a:ext cx="1643457" cy="374461"/>
          </a:xfrm>
          <a:prstGeom prst="rect">
            <a:avLst/>
          </a:prstGeom>
          <a:noFill/>
        </p:spPr>
        <p:txBody>
          <a:bodyPr wrap="square" rtlCol="0">
            <a:spAutoFit/>
          </a:bodyPr>
          <a:lstStyle/>
          <a:p>
            <a:pPr>
              <a:lnSpc>
                <a:spcPts val="2166"/>
              </a:lnSpc>
            </a:pPr>
            <a:r>
              <a:rPr lang="ja-JP" altLang="en-US" sz="1300" dirty="0">
                <a:solidFill>
                  <a:srgbClr val="000000"/>
                </a:solidFill>
              </a:rPr>
              <a:t>拠点周辺の位置図</a:t>
            </a:r>
            <a:endParaRPr lang="en-US" altLang="ja-JP" sz="1300" dirty="0">
              <a:solidFill>
                <a:srgbClr val="000000"/>
              </a:solidFill>
            </a:endParaRPr>
          </a:p>
        </p:txBody>
      </p:sp>
      <p:sp>
        <p:nvSpPr>
          <p:cNvPr id="58" name="円/楕円 57"/>
          <p:cNvSpPr/>
          <p:nvPr/>
        </p:nvSpPr>
        <p:spPr bwMode="auto">
          <a:xfrm>
            <a:off x="6257743" y="2475919"/>
            <a:ext cx="72008" cy="77996"/>
          </a:xfrm>
          <a:prstGeom prst="ellipse">
            <a:avLst/>
          </a:prstGeom>
          <a:solidFill>
            <a:srgbClr val="FF0000"/>
          </a:solidFill>
          <a:ln w="12700" cap="flat" cmpd="sng" algn="ctr">
            <a:noFill/>
            <a:prstDash val="solid"/>
            <a:round/>
            <a:headEnd type="none" w="sm" len="sm"/>
            <a:tailEnd type="none" w="sm" len="sm"/>
          </a:ln>
          <a:effectLst/>
        </p:spPr>
        <p:txBody>
          <a:bodyPr vert="horz" wrap="none" lIns="99044" tIns="49522" rIns="99044" bIns="49522" numCol="1" rtlCol="0" anchor="t" anchorCtr="0" compatLnSpc="1">
            <a:prstTxWarp prst="textNoShape">
              <a:avLst/>
            </a:prstTxWarp>
          </a:bodyPr>
          <a:lstStyle/>
          <a:p>
            <a:endParaRPr lang="ja-JP" altLang="en-US">
              <a:solidFill>
                <a:srgbClr val="000000"/>
              </a:solidFill>
              <a:ea typeface="ＭＳ Ｐゴシック" charset="-128"/>
            </a:endParaRPr>
          </a:p>
        </p:txBody>
      </p:sp>
      <p:sp>
        <p:nvSpPr>
          <p:cNvPr id="93" name="テキスト ボックス 92"/>
          <p:cNvSpPr txBox="1"/>
          <p:nvPr/>
        </p:nvSpPr>
        <p:spPr>
          <a:xfrm>
            <a:off x="5508000" y="-108000"/>
            <a:ext cx="779962" cy="374461"/>
          </a:xfrm>
          <a:prstGeom prst="rect">
            <a:avLst/>
          </a:prstGeom>
          <a:noFill/>
        </p:spPr>
        <p:txBody>
          <a:bodyPr wrap="square" rtlCol="0">
            <a:spAutoFit/>
          </a:bodyPr>
          <a:lstStyle/>
          <a:p>
            <a:pPr>
              <a:lnSpc>
                <a:spcPts val="2166"/>
              </a:lnSpc>
            </a:pPr>
            <a:r>
              <a:rPr lang="ja-JP" altLang="en-US" sz="867" b="1" dirty="0">
                <a:solidFill>
                  <a:srgbClr val="4087C8"/>
                </a:solidFill>
              </a:rPr>
              <a:t>みやまちょう</a:t>
            </a:r>
            <a:endParaRPr lang="en-US" altLang="ja-JP" sz="867" b="1" dirty="0">
              <a:solidFill>
                <a:srgbClr val="4087C8"/>
              </a:solidFill>
            </a:endParaRPr>
          </a:p>
        </p:txBody>
      </p:sp>
      <p:sp>
        <p:nvSpPr>
          <p:cNvPr id="87" name="Rectangle 2"/>
          <p:cNvSpPr txBox="1">
            <a:spLocks noChangeArrowheads="1"/>
          </p:cNvSpPr>
          <p:nvPr/>
        </p:nvSpPr>
        <p:spPr bwMode="auto">
          <a:xfrm>
            <a:off x="3" y="30005"/>
            <a:ext cx="8984006" cy="516312"/>
          </a:xfrm>
          <a:prstGeom prst="rect">
            <a:avLst/>
          </a:prstGeom>
          <a:noFill/>
          <a:ln w="9525">
            <a:noFill/>
            <a:miter lim="800000"/>
            <a:headEnd/>
            <a:tailEnd/>
          </a:ln>
        </p:spPr>
        <p:txBody>
          <a:bodyPr vert="horz" wrap="square" lIns="99003" tIns="49501" rIns="99003" bIns="49501" numCol="1" anchor="ctr" anchorCtr="0" compatLnSpc="1">
            <a:prstTxWarp prst="textNoShape">
              <a:avLst/>
            </a:prstTxWarp>
          </a:bodyP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1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029"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04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058"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ja-JP" altLang="en-US" sz="2170" kern="0" dirty="0"/>
              <a:t>「小さな拠点」の取組事例②　（</a:t>
            </a:r>
            <a:r>
              <a:rPr lang="ja-JP" altLang="en-US" sz="2170" dirty="0"/>
              <a:t>京都府 南丹市 美山町 平屋地区）</a:t>
            </a:r>
            <a:endParaRPr lang="ja-JP" altLang="en-US" sz="2170" kern="0" dirty="0"/>
          </a:p>
        </p:txBody>
      </p:sp>
      <p:sp>
        <p:nvSpPr>
          <p:cNvPr id="92" name="Rectangle 2"/>
          <p:cNvSpPr txBox="1">
            <a:spLocks noChangeArrowheads="1"/>
          </p:cNvSpPr>
          <p:nvPr/>
        </p:nvSpPr>
        <p:spPr bwMode="auto">
          <a:xfrm>
            <a:off x="6046345" y="495474"/>
            <a:ext cx="4306461" cy="392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4" tIns="49522" rIns="99044" bIns="49522"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ja-JP" altLang="en-US" sz="1200" kern="0" dirty="0"/>
              <a:t>　</a:t>
            </a:r>
            <a:r>
              <a:rPr lang="en-US" altLang="ja-JP" sz="1200" kern="0" dirty="0"/>
              <a:t>《</a:t>
            </a:r>
            <a:r>
              <a:rPr lang="ja-JP" altLang="en-US" sz="1200" kern="0" dirty="0"/>
              <a:t>「小さな拠点」</a:t>
            </a:r>
            <a:r>
              <a:rPr lang="ja-JP" altLang="en-US" sz="1200" kern="0" dirty="0" err="1"/>
              <a:t>づ</a:t>
            </a:r>
            <a:r>
              <a:rPr lang="ja-JP" altLang="en-US" sz="1200" kern="0" dirty="0"/>
              <a:t>くりガイドブック（Ｈ</a:t>
            </a:r>
            <a:r>
              <a:rPr lang="en-US" altLang="ja-JP" sz="1200" kern="0" dirty="0"/>
              <a:t>24</a:t>
            </a:r>
            <a:r>
              <a:rPr lang="ja-JP" altLang="en-US" sz="1200" kern="0" dirty="0"/>
              <a:t>年度）掲載事例</a:t>
            </a:r>
            <a:r>
              <a:rPr lang="en-US" altLang="ja-JP" sz="1200" kern="0" dirty="0"/>
              <a:t>》</a:t>
            </a:r>
            <a:endParaRPr lang="ja-JP" altLang="en-US" sz="1200" kern="0" dirty="0"/>
          </a:p>
        </p:txBody>
      </p:sp>
      <p:pic>
        <p:nvPicPr>
          <p:cNvPr id="1026" name="Picture 2" descr="C:\Users\kk247012\Desktop\外観（美山ふれあい広場）.jpg"/>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6968430" y="1935634"/>
            <a:ext cx="2887939" cy="1949688"/>
          </a:xfrm>
          <a:prstGeom prst="rect">
            <a:avLst/>
          </a:prstGeom>
          <a:noFill/>
          <a:extLst>
            <a:ext uri="{909E8E84-426E-40DD-AFC4-6F175D3DCCD1}">
              <a14:hiddenFill xmlns:a14="http://schemas.microsoft.com/office/drawing/2010/main">
                <a:solidFill>
                  <a:srgbClr val="FFFFFF"/>
                </a:solidFill>
              </a14:hiddenFill>
            </a:ext>
          </a:extLst>
        </p:spPr>
      </p:pic>
      <p:sp>
        <p:nvSpPr>
          <p:cNvPr id="61" name="テキスト ボックス 60"/>
          <p:cNvSpPr txBox="1"/>
          <p:nvPr/>
        </p:nvSpPr>
        <p:spPr>
          <a:xfrm>
            <a:off x="321039" y="2079650"/>
            <a:ext cx="4559159" cy="628249"/>
          </a:xfrm>
          <a:prstGeom prst="rect">
            <a:avLst/>
          </a:prstGeom>
          <a:noFill/>
        </p:spPr>
        <p:txBody>
          <a:bodyPr wrap="square" rtlCol="0">
            <a:spAutoFit/>
          </a:bodyPr>
          <a:lstStyle/>
          <a:p>
            <a:pPr>
              <a:lnSpc>
                <a:spcPts val="2166"/>
              </a:lnSpc>
            </a:pPr>
            <a:r>
              <a:rPr lang="ja-JP" altLang="en-US" sz="1516" dirty="0">
                <a:solidFill>
                  <a:srgbClr val="000000"/>
                </a:solidFill>
              </a:rPr>
              <a:t>・ 地区人口</a:t>
            </a:r>
            <a:r>
              <a:rPr lang="ja-JP" altLang="en-US" sz="1516" dirty="0"/>
              <a:t>： </a:t>
            </a:r>
            <a:r>
              <a:rPr lang="en-US" altLang="ja-JP" sz="1516" dirty="0"/>
              <a:t>792</a:t>
            </a:r>
            <a:r>
              <a:rPr lang="ja-JP" altLang="en-US" sz="1516" dirty="0"/>
              <a:t>人  （</a:t>
            </a:r>
            <a:r>
              <a:rPr lang="en-US" altLang="ja-JP" sz="1516" dirty="0"/>
              <a:t>336</a:t>
            </a:r>
            <a:r>
              <a:rPr lang="ja-JP" altLang="en-US" sz="1516" dirty="0"/>
              <a:t>世帯）　</a:t>
            </a:r>
            <a:r>
              <a:rPr lang="en-US" altLang="ja-JP" sz="1516" dirty="0"/>
              <a:t>【H28.4.1</a:t>
            </a:r>
            <a:r>
              <a:rPr lang="ja-JP" altLang="en-US" sz="1516" dirty="0"/>
              <a:t>現在</a:t>
            </a:r>
            <a:r>
              <a:rPr lang="en-US" altLang="ja-JP" sz="1516" dirty="0"/>
              <a:t>】</a:t>
            </a:r>
          </a:p>
          <a:p>
            <a:pPr>
              <a:lnSpc>
                <a:spcPts val="2166"/>
              </a:lnSpc>
            </a:pPr>
            <a:r>
              <a:rPr lang="ja-JP" altLang="en-US" sz="1516" dirty="0">
                <a:solidFill>
                  <a:srgbClr val="000000"/>
                </a:solidFill>
              </a:rPr>
              <a:t>・ </a:t>
            </a:r>
            <a:r>
              <a:rPr lang="en-US" altLang="ja-JP" sz="1516" dirty="0">
                <a:solidFill>
                  <a:srgbClr val="000000"/>
                </a:solidFill>
              </a:rPr>
              <a:t>H12</a:t>
            </a:r>
            <a:r>
              <a:rPr lang="ja-JP" altLang="en-US" sz="1516" dirty="0">
                <a:solidFill>
                  <a:srgbClr val="000000"/>
                </a:solidFill>
              </a:rPr>
              <a:t>にＪＡ店舗（食料・日用品等販売）が廃止</a:t>
            </a:r>
            <a:endParaRPr lang="en-US" altLang="ja-JP" sz="1516" dirty="0">
              <a:solidFill>
                <a:srgbClr val="000000"/>
              </a:solidFill>
              <a:uFill>
                <a:solidFill>
                  <a:srgbClr val="000000"/>
                </a:solidFill>
              </a:uFill>
            </a:endParaRPr>
          </a:p>
        </p:txBody>
      </p:sp>
      <p:sp>
        <p:nvSpPr>
          <p:cNvPr id="5" name="フッター プレースホルダー 4">
            <a:extLst>
              <a:ext uri="{FF2B5EF4-FFF2-40B4-BE49-F238E27FC236}">
                <a16:creationId xmlns:a16="http://schemas.microsoft.com/office/drawing/2014/main" id="{C54C45B0-4C6A-CE0A-347B-186F6B884030}"/>
              </a:ext>
            </a:extLst>
          </p:cNvPr>
          <p:cNvSpPr>
            <a:spLocks noGrp="1"/>
          </p:cNvSpPr>
          <p:nvPr>
            <p:ph type="ftr" sz="quarter" idx="11"/>
          </p:nvPr>
        </p:nvSpPr>
        <p:spPr/>
        <p:txBody>
          <a:bodyPr/>
          <a:lstStyle/>
          <a:p>
            <a:pPr>
              <a:defRPr/>
            </a:pPr>
            <a:endParaRPr lang="en-US" altLang="ja-JP" dirty="0"/>
          </a:p>
        </p:txBody>
      </p:sp>
      <p:sp>
        <p:nvSpPr>
          <p:cNvPr id="6" name="スライド番号プレースホルダー 5">
            <a:extLst>
              <a:ext uri="{FF2B5EF4-FFF2-40B4-BE49-F238E27FC236}">
                <a16:creationId xmlns:a16="http://schemas.microsoft.com/office/drawing/2014/main" id="{057FFBC7-D0F5-EE64-2650-BA7B53EA4045}"/>
              </a:ext>
            </a:extLst>
          </p:cNvPr>
          <p:cNvSpPr>
            <a:spLocks noGrp="1"/>
          </p:cNvSpPr>
          <p:nvPr>
            <p:ph type="sldNum" sz="quarter" idx="12"/>
          </p:nvPr>
        </p:nvSpPr>
        <p:spPr/>
        <p:txBody>
          <a:bodyPr/>
          <a:lstStyle/>
          <a:p>
            <a:pPr>
              <a:defRPr/>
            </a:pPr>
            <a:fld id="{651FC12D-27C1-4F31-90C9-A93D49E44687}" type="slidenum">
              <a:rPr lang="en-US" altLang="ja-JP" smtClean="0"/>
              <a:pPr>
                <a:defRPr/>
              </a:pPr>
              <a:t>35</a:t>
            </a:fld>
            <a:endParaRPr lang="en-US" altLang="ja-JP" dirty="0"/>
          </a:p>
        </p:txBody>
      </p:sp>
    </p:spTree>
    <p:extLst>
      <p:ext uri="{BB962C8B-B14F-4D97-AF65-F5344CB8AC3E}">
        <p14:creationId xmlns:p14="http://schemas.microsoft.com/office/powerpoint/2010/main" val="2294105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p:cNvPicPr>
            <a:picLocks noChangeAspect="1"/>
          </p:cNvPicPr>
          <p:nvPr/>
        </p:nvPicPr>
        <p:blipFill>
          <a:blip r:embed="rId3"/>
          <a:stretch>
            <a:fillRect/>
          </a:stretch>
        </p:blipFill>
        <p:spPr>
          <a:xfrm>
            <a:off x="6896422" y="5175994"/>
            <a:ext cx="2839265" cy="1997390"/>
          </a:xfrm>
          <a:prstGeom prst="rect">
            <a:avLst/>
          </a:prstGeom>
        </p:spPr>
      </p:pic>
      <p:pic>
        <p:nvPicPr>
          <p:cNvPr id="3" name="図 2"/>
          <p:cNvPicPr>
            <a:picLocks noChangeAspect="1"/>
          </p:cNvPicPr>
          <p:nvPr/>
        </p:nvPicPr>
        <p:blipFill>
          <a:blip r:embed="rId4"/>
          <a:stretch>
            <a:fillRect/>
          </a:stretch>
        </p:blipFill>
        <p:spPr>
          <a:xfrm>
            <a:off x="6922608" y="3231778"/>
            <a:ext cx="2831011" cy="1601213"/>
          </a:xfrm>
          <a:prstGeom prst="rect">
            <a:avLst/>
          </a:prstGeom>
        </p:spPr>
      </p:pic>
      <p:sp>
        <p:nvSpPr>
          <p:cNvPr id="29" name="正方形/長方形 28"/>
          <p:cNvSpPr/>
          <p:nvPr/>
        </p:nvSpPr>
        <p:spPr>
          <a:xfrm>
            <a:off x="3512046" y="2344505"/>
            <a:ext cx="2599908" cy="23920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8" name="正方形/長方形 27"/>
          <p:cNvSpPr/>
          <p:nvPr/>
        </p:nvSpPr>
        <p:spPr>
          <a:xfrm>
            <a:off x="4295139" y="6616154"/>
            <a:ext cx="729075" cy="27246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7" name="正方形/長方形 26"/>
          <p:cNvSpPr/>
          <p:nvPr/>
        </p:nvSpPr>
        <p:spPr>
          <a:xfrm>
            <a:off x="1280248" y="3817255"/>
            <a:ext cx="2807862" cy="206611"/>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6" name="正方形/長方形 25"/>
          <p:cNvSpPr/>
          <p:nvPr/>
        </p:nvSpPr>
        <p:spPr>
          <a:xfrm>
            <a:off x="4114680" y="4599930"/>
            <a:ext cx="1701622" cy="294225"/>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25" name="正方形/長方形 24"/>
          <p:cNvSpPr/>
          <p:nvPr/>
        </p:nvSpPr>
        <p:spPr>
          <a:xfrm>
            <a:off x="3584054" y="3159770"/>
            <a:ext cx="1344366" cy="27512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144" name="Rectangle 2"/>
          <p:cNvSpPr>
            <a:spLocks noGrp="1" noChangeArrowheads="1"/>
          </p:cNvSpPr>
          <p:nvPr>
            <p:ph type="title"/>
          </p:nvPr>
        </p:nvSpPr>
        <p:spPr>
          <a:xfrm>
            <a:off x="3" y="51170"/>
            <a:ext cx="8984006" cy="516312"/>
          </a:xfrm>
        </p:spPr>
        <p:txBody>
          <a:bodyPr/>
          <a:lstStyle/>
          <a:p>
            <a:r>
              <a:rPr lang="ja-JP" altLang="en-US" sz="2166" dirty="0"/>
              <a:t>「小さな拠点」の取組事例③　（岡山県 新見市 哲西地域）</a:t>
            </a:r>
          </a:p>
        </p:txBody>
      </p:sp>
      <p:sp>
        <p:nvSpPr>
          <p:cNvPr id="59" name="角丸四角形 58"/>
          <p:cNvSpPr/>
          <p:nvPr/>
        </p:nvSpPr>
        <p:spPr>
          <a:xfrm>
            <a:off x="208139" y="1754832"/>
            <a:ext cx="1719731" cy="276762"/>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b="1" dirty="0">
              <a:solidFill>
                <a:srgbClr val="FFFFFF"/>
              </a:solidFill>
            </a:endParaRPr>
          </a:p>
        </p:txBody>
      </p:sp>
      <p:sp>
        <p:nvSpPr>
          <p:cNvPr id="60" name="テキスト ボックス 59"/>
          <p:cNvSpPr txBox="1"/>
          <p:nvPr/>
        </p:nvSpPr>
        <p:spPr>
          <a:xfrm>
            <a:off x="280148" y="1719610"/>
            <a:ext cx="1533198" cy="325602"/>
          </a:xfrm>
          <a:prstGeom prst="rect">
            <a:avLst/>
          </a:prstGeom>
          <a:noFill/>
        </p:spPr>
        <p:txBody>
          <a:bodyPr wrap="square" rtlCol="0">
            <a:spAutoFit/>
          </a:bodyPr>
          <a:lstStyle/>
          <a:p>
            <a:r>
              <a:rPr lang="ja-JP" altLang="en-US" sz="1516" b="1" dirty="0">
                <a:solidFill>
                  <a:srgbClr val="000000"/>
                </a:solidFill>
              </a:rPr>
              <a:t>地域概要・背景</a:t>
            </a:r>
          </a:p>
        </p:txBody>
      </p:sp>
      <p:sp>
        <p:nvSpPr>
          <p:cNvPr id="61" name="テキスト ボックス 60"/>
          <p:cNvSpPr txBox="1"/>
          <p:nvPr/>
        </p:nvSpPr>
        <p:spPr>
          <a:xfrm>
            <a:off x="103268" y="1999124"/>
            <a:ext cx="7344815" cy="656590"/>
          </a:xfrm>
          <a:prstGeom prst="rect">
            <a:avLst/>
          </a:prstGeom>
          <a:noFill/>
        </p:spPr>
        <p:txBody>
          <a:bodyPr wrap="square" rtlCol="0">
            <a:spAutoFit/>
          </a:bodyPr>
          <a:lstStyle/>
          <a:p>
            <a:pPr>
              <a:lnSpc>
                <a:spcPts val="2166"/>
              </a:lnSpc>
            </a:pPr>
            <a:r>
              <a:rPr lang="ja-JP" altLang="en-US" sz="1516" dirty="0">
                <a:solidFill>
                  <a:srgbClr val="000000"/>
                </a:solidFill>
              </a:rPr>
              <a:t>○ 地区人口： </a:t>
            </a:r>
            <a:r>
              <a:rPr lang="en-US" altLang="ja-JP" sz="1516" dirty="0">
                <a:solidFill>
                  <a:srgbClr val="000000"/>
                </a:solidFill>
              </a:rPr>
              <a:t>2,835 </a:t>
            </a:r>
            <a:r>
              <a:rPr lang="ja-JP" altLang="en-US" sz="1516" dirty="0">
                <a:solidFill>
                  <a:srgbClr val="000000"/>
                </a:solidFill>
              </a:rPr>
              <a:t>人  （</a:t>
            </a:r>
            <a:r>
              <a:rPr lang="en-US" altLang="ja-JP" sz="1516" dirty="0">
                <a:solidFill>
                  <a:srgbClr val="000000"/>
                </a:solidFill>
              </a:rPr>
              <a:t>992</a:t>
            </a:r>
            <a:r>
              <a:rPr lang="ja-JP" altLang="en-US" sz="1516" dirty="0">
                <a:solidFill>
                  <a:srgbClr val="000000"/>
                </a:solidFill>
              </a:rPr>
              <a:t>世帯）　</a:t>
            </a:r>
            <a:r>
              <a:rPr lang="en-US" altLang="ja-JP" sz="1516" dirty="0">
                <a:solidFill>
                  <a:srgbClr val="000000"/>
                </a:solidFill>
              </a:rPr>
              <a:t>【H22.10.1 </a:t>
            </a:r>
            <a:r>
              <a:rPr lang="ja-JP" altLang="en-US" sz="1516" dirty="0">
                <a:solidFill>
                  <a:srgbClr val="000000"/>
                </a:solidFill>
              </a:rPr>
              <a:t>現在</a:t>
            </a:r>
            <a:r>
              <a:rPr lang="en-US" altLang="ja-JP" sz="1516" dirty="0">
                <a:solidFill>
                  <a:srgbClr val="000000"/>
                </a:solidFill>
              </a:rPr>
              <a:t>】</a:t>
            </a:r>
          </a:p>
          <a:p>
            <a:pPr>
              <a:lnSpc>
                <a:spcPts val="2166"/>
              </a:lnSpc>
            </a:pPr>
            <a:r>
              <a:rPr lang="ja-JP" altLang="en-US" sz="1516" dirty="0">
                <a:solidFill>
                  <a:srgbClr val="000000"/>
                </a:solidFill>
              </a:rPr>
              <a:t>○ 哲西町（当時）は、</a:t>
            </a:r>
            <a:r>
              <a:rPr lang="en-US" altLang="ja-JP" sz="1516" dirty="0">
                <a:solidFill>
                  <a:srgbClr val="000000"/>
                </a:solidFill>
              </a:rPr>
              <a:t>H4</a:t>
            </a:r>
            <a:r>
              <a:rPr lang="ja-JP" altLang="en-US" sz="1516" dirty="0">
                <a:solidFill>
                  <a:srgbClr val="000000"/>
                </a:solidFill>
              </a:rPr>
              <a:t>から</a:t>
            </a:r>
            <a:r>
              <a:rPr lang="en-US" altLang="ja-JP" sz="1516" dirty="0">
                <a:solidFill>
                  <a:srgbClr val="000000"/>
                </a:solidFill>
              </a:rPr>
              <a:t>2</a:t>
            </a:r>
            <a:r>
              <a:rPr lang="ja-JP" altLang="en-US" sz="1516" dirty="0">
                <a:solidFill>
                  <a:srgbClr val="000000"/>
                </a:solidFill>
              </a:rPr>
              <a:t>年かけて、住民代表と共に「まちづくり計画」を策定</a:t>
            </a:r>
            <a:endParaRPr lang="en-US" altLang="ja-JP" sz="1516" dirty="0">
              <a:solidFill>
                <a:srgbClr val="000000"/>
              </a:solidFill>
              <a:uFill>
                <a:solidFill>
                  <a:srgbClr val="000000"/>
                </a:solidFill>
              </a:uFill>
            </a:endParaRPr>
          </a:p>
        </p:txBody>
      </p:sp>
      <p:sp>
        <p:nvSpPr>
          <p:cNvPr id="62" name="正方形/長方形 61"/>
          <p:cNvSpPr/>
          <p:nvPr/>
        </p:nvSpPr>
        <p:spPr>
          <a:xfrm>
            <a:off x="199678" y="837999"/>
            <a:ext cx="9577064" cy="857958"/>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63" name="テキスト ボックス 62"/>
          <p:cNvSpPr txBox="1"/>
          <p:nvPr/>
        </p:nvSpPr>
        <p:spPr>
          <a:xfrm>
            <a:off x="127671" y="838000"/>
            <a:ext cx="9679084" cy="861774"/>
          </a:xfrm>
          <a:prstGeom prst="rect">
            <a:avLst/>
          </a:prstGeom>
          <a:noFill/>
        </p:spPr>
        <p:txBody>
          <a:bodyPr wrap="square" rtlCol="0">
            <a:spAutoFit/>
          </a:bodyPr>
          <a:lstStyle/>
          <a:p>
            <a:pPr>
              <a:lnSpc>
                <a:spcPts val="1950"/>
              </a:lnSpc>
            </a:pPr>
            <a:r>
              <a:rPr lang="ja-JP" altLang="en-US" sz="1516" b="1" dirty="0">
                <a:solidFill>
                  <a:srgbClr val="000000"/>
                </a:solidFill>
              </a:rPr>
              <a:t>・哲西町（</a:t>
            </a:r>
            <a:r>
              <a:rPr lang="en-US" altLang="ja-JP" sz="1516" b="1" dirty="0">
                <a:solidFill>
                  <a:srgbClr val="000000"/>
                </a:solidFill>
              </a:rPr>
              <a:t>H13</a:t>
            </a:r>
            <a:r>
              <a:rPr lang="ja-JP" altLang="en-US" sz="1516" b="1" dirty="0">
                <a:solidFill>
                  <a:srgbClr val="000000"/>
                </a:solidFill>
              </a:rPr>
              <a:t>当時）が住民ニーズを汲み取り、行政庁舎・診療所等の複合施設である「きらめき広場・哲西」を整備</a:t>
            </a:r>
            <a:endParaRPr lang="en-US" altLang="ja-JP" sz="1516" b="1" dirty="0">
              <a:solidFill>
                <a:srgbClr val="000000"/>
              </a:solidFill>
            </a:endParaRPr>
          </a:p>
          <a:p>
            <a:pPr>
              <a:lnSpc>
                <a:spcPts val="1950"/>
              </a:lnSpc>
            </a:pPr>
            <a:r>
              <a:rPr lang="ja-JP" altLang="en-US" sz="1516" b="1" dirty="0">
                <a:solidFill>
                  <a:srgbClr val="000000"/>
                </a:solidFill>
              </a:rPr>
              <a:t>・きらめき広場は、物販、飲食店、体験交流などの機能をもつ道の駅「鯉が窪」の隣に整備。</a:t>
            </a:r>
            <a:endParaRPr lang="en-US" altLang="ja-JP" sz="1516" b="1" dirty="0">
              <a:solidFill>
                <a:srgbClr val="000000"/>
              </a:solidFill>
            </a:endParaRPr>
          </a:p>
          <a:p>
            <a:pPr>
              <a:lnSpc>
                <a:spcPts val="1950"/>
              </a:lnSpc>
            </a:pPr>
            <a:r>
              <a:rPr lang="ja-JP" altLang="en-US" sz="1516" b="1" dirty="0">
                <a:solidFill>
                  <a:srgbClr val="000000"/>
                </a:solidFill>
              </a:rPr>
              <a:t>・他２件（大宮、平屋）は小学校区のエリアだが、当事例は平成の合併前の旧町村エリアにおける「小さな拠点」の事例</a:t>
            </a:r>
            <a:endParaRPr lang="en-US" altLang="ja-JP" sz="1516" b="1" dirty="0">
              <a:solidFill>
                <a:srgbClr val="000000"/>
              </a:solidFill>
            </a:endParaRPr>
          </a:p>
        </p:txBody>
      </p:sp>
      <p:sp>
        <p:nvSpPr>
          <p:cNvPr id="31" name="角丸四角形 30"/>
          <p:cNvSpPr/>
          <p:nvPr/>
        </p:nvSpPr>
        <p:spPr>
          <a:xfrm>
            <a:off x="179115" y="2799730"/>
            <a:ext cx="1460723" cy="311985"/>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516" b="1" dirty="0">
              <a:solidFill>
                <a:srgbClr val="FFFFFF"/>
              </a:solidFill>
            </a:endParaRPr>
          </a:p>
        </p:txBody>
      </p:sp>
      <p:sp>
        <p:nvSpPr>
          <p:cNvPr id="32" name="テキスト ボックス 31"/>
          <p:cNvSpPr txBox="1"/>
          <p:nvPr/>
        </p:nvSpPr>
        <p:spPr>
          <a:xfrm>
            <a:off x="449462" y="2799731"/>
            <a:ext cx="966931" cy="325602"/>
          </a:xfrm>
          <a:prstGeom prst="rect">
            <a:avLst/>
          </a:prstGeom>
          <a:noFill/>
        </p:spPr>
        <p:txBody>
          <a:bodyPr wrap="none" rtlCol="0">
            <a:spAutoFit/>
          </a:bodyPr>
          <a:lstStyle/>
          <a:p>
            <a:r>
              <a:rPr lang="ja-JP" altLang="en-US" sz="1516" b="1" dirty="0">
                <a:solidFill>
                  <a:srgbClr val="000000"/>
                </a:solidFill>
              </a:rPr>
              <a:t>取組概要</a:t>
            </a:r>
          </a:p>
        </p:txBody>
      </p:sp>
      <p:sp>
        <p:nvSpPr>
          <p:cNvPr id="33" name="テキスト ボックス 32"/>
          <p:cNvSpPr txBox="1"/>
          <p:nvPr/>
        </p:nvSpPr>
        <p:spPr>
          <a:xfrm>
            <a:off x="116633" y="3159770"/>
            <a:ext cx="7283845" cy="2913618"/>
          </a:xfrm>
          <a:prstGeom prst="rect">
            <a:avLst/>
          </a:prstGeom>
          <a:noFill/>
          <a:ln>
            <a:noFill/>
          </a:ln>
        </p:spPr>
        <p:txBody>
          <a:bodyPr wrap="square" rtlCol="0">
            <a:spAutoFit/>
          </a:bodyPr>
          <a:lstStyle/>
          <a:p>
            <a:pPr>
              <a:lnSpc>
                <a:spcPts val="2166"/>
              </a:lnSpc>
            </a:pPr>
            <a:r>
              <a:rPr lang="ja-JP" altLang="en-US" sz="1516" dirty="0">
                <a:solidFill>
                  <a:srgbClr val="000000"/>
                </a:solidFill>
              </a:rPr>
              <a:t>○哲西町は、まちづくり計画に従い、</a:t>
            </a:r>
            <a:r>
              <a:rPr lang="en-US" altLang="ja-JP" sz="1516" dirty="0">
                <a:solidFill>
                  <a:srgbClr val="000000"/>
                </a:solidFill>
              </a:rPr>
              <a:t>H9</a:t>
            </a:r>
            <a:r>
              <a:rPr lang="ja-JP" altLang="en-US" sz="1516" dirty="0">
                <a:solidFill>
                  <a:srgbClr val="000000"/>
                </a:solidFill>
              </a:rPr>
              <a:t>に道の駅「鯉が窪」を整備</a:t>
            </a:r>
            <a:endParaRPr lang="en-US" altLang="ja-JP" sz="1516" dirty="0">
              <a:solidFill>
                <a:srgbClr val="000000"/>
              </a:solidFill>
            </a:endParaRPr>
          </a:p>
          <a:p>
            <a:pPr>
              <a:lnSpc>
                <a:spcPts val="2166"/>
              </a:lnSpc>
            </a:pPr>
            <a:r>
              <a:rPr lang="en-US" altLang="ja-JP" sz="1516" dirty="0">
                <a:solidFill>
                  <a:srgbClr val="000000"/>
                </a:solidFill>
              </a:rPr>
              <a:t>    </a:t>
            </a:r>
            <a:r>
              <a:rPr lang="ja-JP" altLang="en-US" sz="1516" dirty="0">
                <a:solidFill>
                  <a:srgbClr val="000000"/>
                </a:solidFill>
              </a:rPr>
              <a:t>道の駅には、物産販売、飲食店、製粉・製パン施設、体験交流などの機能を付与</a:t>
            </a:r>
            <a:endParaRPr lang="en-US" altLang="ja-JP" sz="1516" dirty="0">
              <a:solidFill>
                <a:srgbClr val="000000"/>
              </a:solidFill>
            </a:endParaRPr>
          </a:p>
          <a:p>
            <a:pPr>
              <a:lnSpc>
                <a:spcPts val="2166"/>
              </a:lnSpc>
            </a:pPr>
            <a:r>
              <a:rPr lang="ja-JP" altLang="en-US" sz="1516" dirty="0">
                <a:solidFill>
                  <a:srgbClr val="000000"/>
                </a:solidFill>
              </a:rPr>
              <a:t>○また、</a:t>
            </a:r>
            <a:r>
              <a:rPr lang="en-US" altLang="ja-JP" sz="1516" dirty="0">
                <a:solidFill>
                  <a:srgbClr val="000000"/>
                </a:solidFill>
              </a:rPr>
              <a:t>H9</a:t>
            </a:r>
            <a:r>
              <a:rPr lang="ja-JP" altLang="en-US" sz="1516" dirty="0">
                <a:solidFill>
                  <a:srgbClr val="000000"/>
                </a:solidFill>
              </a:rPr>
              <a:t>に中学生以上の全住民にアンケートを実施</a:t>
            </a:r>
            <a:endParaRPr lang="en-US" altLang="ja-JP" sz="1516" dirty="0">
              <a:solidFill>
                <a:srgbClr val="000000"/>
              </a:solidFill>
            </a:endParaRPr>
          </a:p>
          <a:p>
            <a:pPr>
              <a:lnSpc>
                <a:spcPts val="2166"/>
              </a:lnSpc>
            </a:pPr>
            <a:r>
              <a:rPr lang="ja-JP" altLang="en-US" sz="1516" dirty="0">
                <a:solidFill>
                  <a:srgbClr val="000000"/>
                </a:solidFill>
              </a:rPr>
              <a:t>○アンケート結果を基に住民代表と協議を行い、最もニーズが高かった「診療所」や</a:t>
            </a:r>
            <a:endParaRPr lang="en-US" altLang="ja-JP" sz="1516" dirty="0">
              <a:solidFill>
                <a:srgbClr val="000000"/>
              </a:solidFill>
            </a:endParaRPr>
          </a:p>
          <a:p>
            <a:pPr>
              <a:lnSpc>
                <a:spcPts val="2166"/>
              </a:lnSpc>
            </a:pPr>
            <a:r>
              <a:rPr lang="ja-JP" altLang="en-US" sz="1516" dirty="0">
                <a:solidFill>
                  <a:srgbClr val="000000"/>
                </a:solidFill>
              </a:rPr>
              <a:t>　  「保健医療の充実」を中心に、町庁舎、診療所、保健福祉センター、文化ホール、</a:t>
            </a:r>
            <a:endParaRPr lang="en-US" altLang="ja-JP" sz="1516" dirty="0">
              <a:solidFill>
                <a:srgbClr val="000000"/>
              </a:solidFill>
            </a:endParaRPr>
          </a:p>
          <a:p>
            <a:pPr>
              <a:lnSpc>
                <a:spcPts val="2166"/>
              </a:lnSpc>
            </a:pPr>
            <a:r>
              <a:rPr lang="en-US" altLang="ja-JP" sz="1516" dirty="0">
                <a:solidFill>
                  <a:srgbClr val="000000"/>
                </a:solidFill>
              </a:rPr>
              <a:t>    </a:t>
            </a:r>
            <a:r>
              <a:rPr lang="ja-JP" altLang="en-US" sz="1516" dirty="0">
                <a:solidFill>
                  <a:srgbClr val="000000"/>
                </a:solidFill>
              </a:rPr>
              <a:t>金融（</a:t>
            </a:r>
            <a:r>
              <a:rPr lang="en-US" altLang="ja-JP" sz="1516" dirty="0">
                <a:solidFill>
                  <a:srgbClr val="000000"/>
                </a:solidFill>
              </a:rPr>
              <a:t>ATM</a:t>
            </a:r>
            <a:r>
              <a:rPr lang="ja-JP" altLang="en-US" sz="1516" dirty="0">
                <a:solidFill>
                  <a:srgbClr val="000000"/>
                </a:solidFill>
              </a:rPr>
              <a:t>）、図書館等、多数の機能を備えた「きらめき広場・哲西」を整備（</a:t>
            </a:r>
            <a:r>
              <a:rPr lang="en-US" altLang="ja-JP" sz="1516" dirty="0">
                <a:solidFill>
                  <a:srgbClr val="000000"/>
                </a:solidFill>
              </a:rPr>
              <a:t>H13</a:t>
            </a:r>
            <a:r>
              <a:rPr lang="ja-JP" altLang="en-US" sz="1516" dirty="0">
                <a:solidFill>
                  <a:srgbClr val="000000"/>
                </a:solidFill>
              </a:rPr>
              <a:t>）</a:t>
            </a:r>
            <a:endParaRPr lang="en-US" altLang="ja-JP" sz="1516" dirty="0">
              <a:solidFill>
                <a:srgbClr val="000000"/>
              </a:solidFill>
            </a:endParaRPr>
          </a:p>
          <a:p>
            <a:pPr>
              <a:lnSpc>
                <a:spcPts val="2166"/>
              </a:lnSpc>
            </a:pPr>
            <a:r>
              <a:rPr lang="ja-JP" altLang="en-US" sz="1516" dirty="0">
                <a:solidFill>
                  <a:srgbClr val="000000"/>
                </a:solidFill>
              </a:rPr>
              <a:t>○拠点と各集落との間を運行する市営バスのほか、デマンドバスが地区ごとに曜日</a:t>
            </a:r>
            <a:endParaRPr lang="en-US" altLang="ja-JP" sz="1516" dirty="0">
              <a:solidFill>
                <a:srgbClr val="000000"/>
              </a:solidFill>
            </a:endParaRPr>
          </a:p>
          <a:p>
            <a:pPr>
              <a:lnSpc>
                <a:spcPts val="2166"/>
              </a:lnSpc>
            </a:pPr>
            <a:r>
              <a:rPr lang="ja-JP" altLang="en-US" sz="1516" dirty="0">
                <a:solidFill>
                  <a:srgbClr val="000000"/>
                </a:solidFill>
              </a:rPr>
              <a:t>　 を変えて週</a:t>
            </a:r>
            <a:r>
              <a:rPr lang="en-US" altLang="ja-JP" sz="1516" dirty="0">
                <a:solidFill>
                  <a:srgbClr val="000000"/>
                </a:solidFill>
              </a:rPr>
              <a:t>1</a:t>
            </a:r>
            <a:r>
              <a:rPr lang="ja-JP" altLang="en-US" sz="1516" dirty="0">
                <a:solidFill>
                  <a:srgbClr val="000000"/>
                </a:solidFill>
              </a:rPr>
              <a:t>回ずつ運行している</a:t>
            </a:r>
            <a:endParaRPr lang="en-US" altLang="ja-JP" sz="1516" dirty="0">
              <a:solidFill>
                <a:srgbClr val="000000"/>
              </a:solidFill>
            </a:endParaRPr>
          </a:p>
          <a:p>
            <a:pPr>
              <a:lnSpc>
                <a:spcPts val="2166"/>
              </a:lnSpc>
            </a:pPr>
            <a:r>
              <a:rPr lang="ja-JP" altLang="en-US" sz="1516" dirty="0">
                <a:solidFill>
                  <a:srgbClr val="000000"/>
                </a:solidFill>
              </a:rPr>
              <a:t>○基礎的な生活サービスをワンストップで受けられるだけでなく、「子育て広場」や</a:t>
            </a:r>
            <a:endParaRPr lang="en-US" altLang="ja-JP" sz="1516" dirty="0">
              <a:solidFill>
                <a:srgbClr val="000000"/>
              </a:solidFill>
            </a:endParaRPr>
          </a:p>
          <a:p>
            <a:pPr>
              <a:lnSpc>
                <a:spcPts val="2166"/>
              </a:lnSpc>
            </a:pPr>
            <a:r>
              <a:rPr lang="ja-JP" altLang="en-US" sz="1516" dirty="0">
                <a:solidFill>
                  <a:srgbClr val="000000"/>
                </a:solidFill>
              </a:rPr>
              <a:t>　 「地域づくりフォーラム」なども開催される交流拠点としての機能も果たす</a:t>
            </a:r>
            <a:endParaRPr lang="en-US" altLang="ja-JP" sz="1516" dirty="0">
              <a:solidFill>
                <a:srgbClr val="000000"/>
              </a:solidFill>
            </a:endParaRPr>
          </a:p>
        </p:txBody>
      </p:sp>
      <p:sp>
        <p:nvSpPr>
          <p:cNvPr id="34" name="角丸四角形 33"/>
          <p:cNvSpPr/>
          <p:nvPr/>
        </p:nvSpPr>
        <p:spPr>
          <a:xfrm>
            <a:off x="199679" y="6184106"/>
            <a:ext cx="1440159" cy="311985"/>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ja-JP" altLang="en-US" b="1" dirty="0">
              <a:solidFill>
                <a:srgbClr val="FFFFFF"/>
              </a:solidFill>
            </a:endParaRPr>
          </a:p>
        </p:txBody>
      </p:sp>
      <p:sp>
        <p:nvSpPr>
          <p:cNvPr id="35" name="テキスト ボックス 34"/>
          <p:cNvSpPr txBox="1"/>
          <p:nvPr/>
        </p:nvSpPr>
        <p:spPr>
          <a:xfrm>
            <a:off x="116165" y="6544146"/>
            <a:ext cx="6564233" cy="656590"/>
          </a:xfrm>
          <a:prstGeom prst="rect">
            <a:avLst/>
          </a:prstGeom>
          <a:noFill/>
        </p:spPr>
        <p:txBody>
          <a:bodyPr wrap="square" rtlCol="0">
            <a:spAutoFit/>
          </a:bodyPr>
          <a:lstStyle/>
          <a:p>
            <a:pPr>
              <a:lnSpc>
                <a:spcPts val="2166"/>
              </a:lnSpc>
            </a:pPr>
            <a:r>
              <a:rPr lang="ja-JP" altLang="en-US" sz="1516" dirty="0">
                <a:solidFill>
                  <a:srgbClr val="000000"/>
                </a:solidFill>
              </a:rPr>
              <a:t>○</a:t>
            </a:r>
            <a:r>
              <a:rPr lang="en-US" altLang="ja-JP" sz="1516" dirty="0">
                <a:solidFill>
                  <a:srgbClr val="000000"/>
                </a:solidFill>
              </a:rPr>
              <a:t>H23</a:t>
            </a:r>
            <a:r>
              <a:rPr lang="ja-JP" altLang="en-US" sz="1516" dirty="0">
                <a:solidFill>
                  <a:srgbClr val="000000"/>
                </a:solidFill>
              </a:rPr>
              <a:t>のきらめき広場利用者（</a:t>
            </a:r>
            <a:r>
              <a:rPr lang="en-US" altLang="ja-JP" sz="1516" dirty="0">
                <a:solidFill>
                  <a:srgbClr val="000000"/>
                </a:solidFill>
              </a:rPr>
              <a:t>ATM</a:t>
            </a:r>
            <a:r>
              <a:rPr lang="ja-JP" altLang="en-US" sz="1516" dirty="0">
                <a:solidFill>
                  <a:srgbClr val="000000"/>
                </a:solidFill>
              </a:rPr>
              <a:t>利用者含む）は約</a:t>
            </a:r>
            <a:r>
              <a:rPr lang="en-US" altLang="ja-JP" sz="1516" dirty="0">
                <a:solidFill>
                  <a:srgbClr val="000000"/>
                </a:solidFill>
              </a:rPr>
              <a:t>6</a:t>
            </a:r>
            <a:r>
              <a:rPr lang="ja-JP" altLang="en-US" sz="1516" dirty="0">
                <a:solidFill>
                  <a:srgbClr val="000000"/>
                </a:solidFill>
              </a:rPr>
              <a:t>万人。これは地域住民</a:t>
            </a:r>
            <a:endParaRPr lang="en-US" altLang="ja-JP" sz="1516" dirty="0">
              <a:solidFill>
                <a:srgbClr val="000000"/>
              </a:solidFill>
            </a:endParaRPr>
          </a:p>
          <a:p>
            <a:pPr>
              <a:lnSpc>
                <a:spcPts val="2166"/>
              </a:lnSpc>
            </a:pPr>
            <a:r>
              <a:rPr lang="ja-JP" altLang="en-US" sz="1516" dirty="0">
                <a:solidFill>
                  <a:srgbClr val="000000"/>
                </a:solidFill>
              </a:rPr>
              <a:t>    １人あたり年間</a:t>
            </a:r>
            <a:r>
              <a:rPr lang="en-US" altLang="ja-JP" sz="1516" dirty="0">
                <a:solidFill>
                  <a:srgbClr val="000000"/>
                </a:solidFill>
              </a:rPr>
              <a:t>15</a:t>
            </a:r>
            <a:r>
              <a:rPr lang="ja-JP" altLang="en-US" sz="1516" dirty="0">
                <a:solidFill>
                  <a:srgbClr val="000000"/>
                </a:solidFill>
              </a:rPr>
              <a:t>～</a:t>
            </a:r>
            <a:r>
              <a:rPr lang="en-US" altLang="ja-JP" sz="1516" dirty="0">
                <a:solidFill>
                  <a:srgbClr val="000000"/>
                </a:solidFill>
              </a:rPr>
              <a:t>20</a:t>
            </a:r>
            <a:r>
              <a:rPr lang="ja-JP" altLang="en-US" sz="1516" dirty="0">
                <a:solidFill>
                  <a:srgbClr val="000000"/>
                </a:solidFill>
              </a:rPr>
              <a:t>回利用していることになる数値</a:t>
            </a:r>
            <a:endParaRPr lang="en-US" altLang="ja-JP" sz="1516" dirty="0">
              <a:solidFill>
                <a:srgbClr val="000000"/>
              </a:solidFill>
            </a:endParaRPr>
          </a:p>
        </p:txBody>
      </p:sp>
      <p:sp>
        <p:nvSpPr>
          <p:cNvPr id="36" name="テキスト ボックス 35"/>
          <p:cNvSpPr txBox="1"/>
          <p:nvPr/>
        </p:nvSpPr>
        <p:spPr>
          <a:xfrm>
            <a:off x="151098" y="6184108"/>
            <a:ext cx="1300335" cy="325602"/>
          </a:xfrm>
          <a:prstGeom prst="rect">
            <a:avLst/>
          </a:prstGeom>
          <a:noFill/>
        </p:spPr>
        <p:txBody>
          <a:bodyPr wrap="square" rtlCol="0">
            <a:spAutoFit/>
          </a:bodyPr>
          <a:lstStyle/>
          <a:p>
            <a:r>
              <a:rPr lang="ja-JP" altLang="en-US" sz="1516" b="1" dirty="0">
                <a:solidFill>
                  <a:srgbClr val="000000"/>
                </a:solidFill>
              </a:rPr>
              <a:t>　　取組効果</a:t>
            </a:r>
          </a:p>
        </p:txBody>
      </p:sp>
      <p:sp>
        <p:nvSpPr>
          <p:cNvPr id="22" name="正方形/長方形 21"/>
          <p:cNvSpPr/>
          <p:nvPr/>
        </p:nvSpPr>
        <p:spPr>
          <a:xfrm>
            <a:off x="7616502" y="1773954"/>
            <a:ext cx="2160240" cy="1403931"/>
          </a:xfrm>
          <a:prstGeom prst="rect">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89" name="正方形/長方形 88"/>
          <p:cNvSpPr/>
          <p:nvPr/>
        </p:nvSpPr>
        <p:spPr>
          <a:xfrm>
            <a:off x="7635614" y="1929948"/>
            <a:ext cx="622286" cy="617285"/>
          </a:xfrm>
          <a:prstGeom prst="rect">
            <a:avLst/>
          </a:prstGeom>
        </p:spPr>
        <p:txBody>
          <a:bodyPr wrap="none">
            <a:spAutoFit/>
          </a:bodyPr>
          <a:lstStyle/>
          <a:p>
            <a:r>
              <a:rPr lang="ja-JP" altLang="en-US" sz="1137" b="1" dirty="0">
                <a:solidFill>
                  <a:srgbClr val="000000"/>
                </a:solidFill>
              </a:rPr>
              <a:t>岡山</a:t>
            </a:r>
            <a:r>
              <a:rPr lang="ja-JP" altLang="ja-JP" sz="1137" b="1" dirty="0">
                <a:solidFill>
                  <a:srgbClr val="000000"/>
                </a:solidFill>
              </a:rPr>
              <a:t>県</a:t>
            </a:r>
            <a:endParaRPr lang="en-US" altLang="ja-JP" sz="1137" b="1" dirty="0">
              <a:solidFill>
                <a:srgbClr val="000000"/>
              </a:solidFill>
            </a:endParaRPr>
          </a:p>
          <a:p>
            <a:r>
              <a:rPr lang="ja-JP" altLang="en-US" sz="1137" b="1" dirty="0">
                <a:solidFill>
                  <a:srgbClr val="000000"/>
                </a:solidFill>
              </a:rPr>
              <a:t>新見</a:t>
            </a:r>
            <a:r>
              <a:rPr lang="ja-JP" altLang="ja-JP" sz="1137" b="1" dirty="0">
                <a:solidFill>
                  <a:srgbClr val="000000"/>
                </a:solidFill>
              </a:rPr>
              <a:t>市</a:t>
            </a:r>
            <a:endParaRPr lang="en-US" altLang="ja-JP" sz="1137" b="1" dirty="0">
              <a:solidFill>
                <a:srgbClr val="000000"/>
              </a:solidFill>
            </a:endParaRPr>
          </a:p>
          <a:p>
            <a:r>
              <a:rPr lang="ja-JP" altLang="ja-JP" sz="1137" b="1" dirty="0">
                <a:solidFill>
                  <a:srgbClr val="000000"/>
                </a:solidFill>
              </a:rPr>
              <a:t>の位置</a:t>
            </a:r>
            <a:endParaRPr lang="ja-JP" altLang="en-US" sz="1137" dirty="0">
              <a:solidFill>
                <a:srgbClr val="000000"/>
              </a:solidFill>
            </a:endParaRPr>
          </a:p>
        </p:txBody>
      </p:sp>
      <p:sp>
        <p:nvSpPr>
          <p:cNvPr id="99" name="テキスト ボックス 98"/>
          <p:cNvSpPr txBox="1"/>
          <p:nvPr/>
        </p:nvSpPr>
        <p:spPr>
          <a:xfrm>
            <a:off x="6924444" y="4743946"/>
            <a:ext cx="2924306" cy="374461"/>
          </a:xfrm>
          <a:prstGeom prst="rect">
            <a:avLst/>
          </a:prstGeom>
          <a:noFill/>
        </p:spPr>
        <p:txBody>
          <a:bodyPr wrap="square" rtlCol="0">
            <a:spAutoFit/>
          </a:bodyPr>
          <a:lstStyle/>
          <a:p>
            <a:pPr>
              <a:lnSpc>
                <a:spcPts val="2166"/>
              </a:lnSpc>
            </a:pPr>
            <a:r>
              <a:rPr lang="ja-JP" altLang="en-US" sz="1300" dirty="0">
                <a:solidFill>
                  <a:srgbClr val="000000"/>
                </a:solidFill>
                <a:latin typeface="ＭＳ Ｐゴシック"/>
                <a:ea typeface="ＭＳ Ｐゴシック"/>
              </a:rPr>
              <a:t>外観（株式会社アクティブ哲西</a:t>
            </a:r>
            <a:r>
              <a:rPr lang="en-US" altLang="ja-JP" sz="1300" dirty="0">
                <a:solidFill>
                  <a:srgbClr val="000000"/>
                </a:solidFill>
                <a:latin typeface="ＭＳ Ｐゴシック"/>
                <a:ea typeface="ＭＳ Ｐゴシック"/>
              </a:rPr>
              <a:t>HP</a:t>
            </a:r>
            <a:r>
              <a:rPr lang="ja-JP" altLang="en-US" sz="1300" dirty="0">
                <a:solidFill>
                  <a:srgbClr val="000000"/>
                </a:solidFill>
                <a:latin typeface="ＭＳ Ｐゴシック"/>
                <a:ea typeface="ＭＳ Ｐゴシック"/>
              </a:rPr>
              <a:t>より）</a:t>
            </a:r>
          </a:p>
        </p:txBody>
      </p:sp>
      <p:sp>
        <p:nvSpPr>
          <p:cNvPr id="100" name="テキスト ボックス 99"/>
          <p:cNvSpPr txBox="1"/>
          <p:nvPr/>
        </p:nvSpPr>
        <p:spPr>
          <a:xfrm>
            <a:off x="7544494" y="7120210"/>
            <a:ext cx="1793461" cy="374461"/>
          </a:xfrm>
          <a:prstGeom prst="rect">
            <a:avLst/>
          </a:prstGeom>
          <a:noFill/>
        </p:spPr>
        <p:txBody>
          <a:bodyPr wrap="square" rtlCol="0">
            <a:spAutoFit/>
          </a:bodyPr>
          <a:lstStyle/>
          <a:p>
            <a:pPr>
              <a:lnSpc>
                <a:spcPts val="2166"/>
              </a:lnSpc>
            </a:pPr>
            <a:r>
              <a:rPr lang="ja-JP" altLang="en-US" sz="1300" dirty="0">
                <a:solidFill>
                  <a:srgbClr val="000000"/>
                </a:solidFill>
              </a:rPr>
              <a:t>拠点周辺の位置図</a:t>
            </a:r>
            <a:endParaRPr lang="en-US" altLang="ja-JP" sz="1300" dirty="0">
              <a:solidFill>
                <a:srgbClr val="000000"/>
              </a:solidFill>
            </a:endParaRPr>
          </a:p>
        </p:txBody>
      </p:sp>
      <p:pic>
        <p:nvPicPr>
          <p:cNvPr id="101" name="図 100"/>
          <p:cNvPicPr/>
          <p:nvPr/>
        </p:nvPicPr>
        <p:blipFill>
          <a:blip r:embed="rId5" cstate="email">
            <a:extLst>
              <a:ext uri="{28A0092B-C50C-407E-A947-70E740481C1C}">
                <a14:useLocalDpi xmlns:a14="http://schemas.microsoft.com/office/drawing/2010/main" val="0"/>
              </a:ext>
            </a:extLst>
          </a:blip>
          <a:stretch>
            <a:fillRect/>
          </a:stretch>
        </p:blipFill>
        <p:spPr>
          <a:xfrm>
            <a:off x="8284002" y="1800205"/>
            <a:ext cx="1380395" cy="1377681"/>
          </a:xfrm>
          <a:prstGeom prst="rect">
            <a:avLst/>
          </a:prstGeom>
        </p:spPr>
      </p:pic>
      <p:sp>
        <p:nvSpPr>
          <p:cNvPr id="24" name="円/楕円 23"/>
          <p:cNvSpPr/>
          <p:nvPr/>
        </p:nvSpPr>
        <p:spPr bwMode="auto">
          <a:xfrm>
            <a:off x="8466532" y="2316193"/>
            <a:ext cx="72008" cy="77996"/>
          </a:xfrm>
          <a:prstGeom prst="ellipse">
            <a:avLst/>
          </a:prstGeom>
          <a:solidFill>
            <a:srgbClr val="FF0000"/>
          </a:solidFill>
          <a:ln w="12700" cap="flat" cmpd="sng" algn="ctr">
            <a:noFill/>
            <a:prstDash val="solid"/>
            <a:round/>
            <a:headEnd type="none" w="sm" len="sm"/>
            <a:tailEnd type="none" w="sm" len="sm"/>
          </a:ln>
          <a:effectLst/>
        </p:spPr>
        <p:txBody>
          <a:bodyPr vert="horz" wrap="none" lIns="99044" tIns="49522" rIns="99044" bIns="49522" numCol="1" rtlCol="0" anchor="t" anchorCtr="0" compatLnSpc="1">
            <a:prstTxWarp prst="textNoShape">
              <a:avLst/>
            </a:prstTxWarp>
          </a:bodyPr>
          <a:lstStyle/>
          <a:p>
            <a:endParaRPr lang="ja-JP" altLang="en-US">
              <a:solidFill>
                <a:srgbClr val="000000"/>
              </a:solidFill>
              <a:ea typeface="ＭＳ Ｐゴシック" charset="-128"/>
            </a:endParaRPr>
          </a:p>
        </p:txBody>
      </p:sp>
      <p:sp>
        <p:nvSpPr>
          <p:cNvPr id="30" name="テキスト ボックス 29"/>
          <p:cNvSpPr txBox="1"/>
          <p:nvPr/>
        </p:nvSpPr>
        <p:spPr>
          <a:xfrm>
            <a:off x="5369311" y="-106441"/>
            <a:ext cx="779962" cy="374461"/>
          </a:xfrm>
          <a:prstGeom prst="rect">
            <a:avLst/>
          </a:prstGeom>
          <a:noFill/>
        </p:spPr>
        <p:txBody>
          <a:bodyPr wrap="square" rtlCol="0">
            <a:spAutoFit/>
          </a:bodyPr>
          <a:lstStyle/>
          <a:p>
            <a:pPr>
              <a:lnSpc>
                <a:spcPts val="2166"/>
              </a:lnSpc>
            </a:pPr>
            <a:r>
              <a:rPr lang="ja-JP" altLang="en-US" sz="867" b="1" dirty="0" err="1">
                <a:solidFill>
                  <a:srgbClr val="4087C8"/>
                </a:solidFill>
              </a:rPr>
              <a:t>てっせい</a:t>
            </a:r>
            <a:endParaRPr lang="en-US" altLang="ja-JP" sz="867" b="1" dirty="0">
              <a:solidFill>
                <a:srgbClr val="4087C8"/>
              </a:solidFill>
            </a:endParaRPr>
          </a:p>
        </p:txBody>
      </p:sp>
      <p:sp>
        <p:nvSpPr>
          <p:cNvPr id="38" name="テキスト ボックス 37"/>
          <p:cNvSpPr txBox="1"/>
          <p:nvPr/>
        </p:nvSpPr>
        <p:spPr>
          <a:xfrm>
            <a:off x="396000" y="2124000"/>
            <a:ext cx="684000" cy="144000"/>
          </a:xfrm>
          <a:prstGeom prst="rect">
            <a:avLst/>
          </a:prstGeom>
          <a:noFill/>
        </p:spPr>
        <p:txBody>
          <a:bodyPr wrap="square" lIns="36000" tIns="36000" rIns="36000" bIns="36000" rtlCol="0">
            <a:spAutoFit/>
          </a:bodyPr>
          <a:lstStyle/>
          <a:p>
            <a:pPr>
              <a:lnSpc>
                <a:spcPts val="2166"/>
              </a:lnSpc>
            </a:pPr>
            <a:r>
              <a:rPr lang="ja-JP" altLang="en-US" sz="758" dirty="0" err="1">
                <a:solidFill>
                  <a:srgbClr val="000000"/>
                </a:solidFill>
              </a:rPr>
              <a:t>てっ</a:t>
            </a:r>
            <a:r>
              <a:rPr lang="ja-JP" altLang="en-US" sz="758" dirty="0">
                <a:solidFill>
                  <a:srgbClr val="000000"/>
                </a:solidFill>
              </a:rPr>
              <a:t>せいちょう</a:t>
            </a:r>
            <a:endParaRPr lang="en-US" altLang="ja-JP" sz="758" dirty="0">
              <a:solidFill>
                <a:srgbClr val="000000"/>
              </a:solidFill>
            </a:endParaRPr>
          </a:p>
        </p:txBody>
      </p:sp>
      <p:sp>
        <p:nvSpPr>
          <p:cNvPr id="37" name="テキスト ボックス 36"/>
          <p:cNvSpPr txBox="1"/>
          <p:nvPr/>
        </p:nvSpPr>
        <p:spPr>
          <a:xfrm>
            <a:off x="4176000" y="2988000"/>
            <a:ext cx="935954" cy="374461"/>
          </a:xfrm>
          <a:prstGeom prst="rect">
            <a:avLst/>
          </a:prstGeom>
          <a:noFill/>
        </p:spPr>
        <p:txBody>
          <a:bodyPr wrap="square" rtlCol="0">
            <a:spAutoFit/>
          </a:bodyPr>
          <a:lstStyle/>
          <a:p>
            <a:pPr>
              <a:lnSpc>
                <a:spcPts val="2166"/>
              </a:lnSpc>
            </a:pPr>
            <a:r>
              <a:rPr lang="ja-JP" altLang="en-US" sz="758" dirty="0">
                <a:solidFill>
                  <a:srgbClr val="000000"/>
                </a:solidFill>
              </a:rPr>
              <a:t>こ い が く  </a:t>
            </a:r>
            <a:r>
              <a:rPr lang="ja-JP" altLang="en-US" sz="758" dirty="0" err="1">
                <a:solidFill>
                  <a:srgbClr val="000000"/>
                </a:solidFill>
              </a:rPr>
              <a:t>ぼ</a:t>
            </a:r>
            <a:endParaRPr lang="en-US" altLang="ja-JP" sz="758" dirty="0">
              <a:solidFill>
                <a:srgbClr val="000000"/>
              </a:solidFill>
            </a:endParaRPr>
          </a:p>
        </p:txBody>
      </p:sp>
      <p:sp>
        <p:nvSpPr>
          <p:cNvPr id="39" name="Rectangle 2"/>
          <p:cNvSpPr txBox="1">
            <a:spLocks noChangeArrowheads="1"/>
          </p:cNvSpPr>
          <p:nvPr/>
        </p:nvSpPr>
        <p:spPr bwMode="auto">
          <a:xfrm>
            <a:off x="6046345" y="495474"/>
            <a:ext cx="4306461" cy="392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4" tIns="49522" rIns="99044" bIns="49522"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ja-JP" altLang="en-US" sz="1200" kern="0" dirty="0"/>
              <a:t>　</a:t>
            </a:r>
            <a:r>
              <a:rPr lang="en-US" altLang="ja-JP" sz="1200" kern="0" dirty="0"/>
              <a:t>《</a:t>
            </a:r>
            <a:r>
              <a:rPr lang="ja-JP" altLang="en-US" sz="1200" kern="0" dirty="0"/>
              <a:t>「小さな拠点」</a:t>
            </a:r>
            <a:r>
              <a:rPr lang="ja-JP" altLang="en-US" sz="1200" kern="0" dirty="0" err="1"/>
              <a:t>づ</a:t>
            </a:r>
            <a:r>
              <a:rPr lang="ja-JP" altLang="en-US" sz="1200" kern="0" dirty="0"/>
              <a:t>くりガイドブック（Ｈ</a:t>
            </a:r>
            <a:r>
              <a:rPr lang="en-US" altLang="ja-JP" sz="1200" kern="0" dirty="0"/>
              <a:t>24</a:t>
            </a:r>
            <a:r>
              <a:rPr lang="ja-JP" altLang="en-US" sz="1200" kern="0" dirty="0"/>
              <a:t>年度）掲載事例</a:t>
            </a:r>
            <a:r>
              <a:rPr lang="en-US" altLang="ja-JP" sz="1200" kern="0" dirty="0"/>
              <a:t>》</a:t>
            </a:r>
            <a:endParaRPr lang="ja-JP" altLang="en-US" sz="1200" kern="0" dirty="0"/>
          </a:p>
        </p:txBody>
      </p:sp>
      <p:sp>
        <p:nvSpPr>
          <p:cNvPr id="2" name="フッター プレースホルダー 1">
            <a:extLst>
              <a:ext uri="{FF2B5EF4-FFF2-40B4-BE49-F238E27FC236}">
                <a16:creationId xmlns:a16="http://schemas.microsoft.com/office/drawing/2014/main" id="{D5A6B15B-A6C1-C08D-962B-A9983622429C}"/>
              </a:ext>
            </a:extLst>
          </p:cNvPr>
          <p:cNvSpPr>
            <a:spLocks noGrp="1"/>
          </p:cNvSpPr>
          <p:nvPr>
            <p:ph type="ftr" sz="quarter" idx="11"/>
          </p:nvPr>
        </p:nvSpPr>
        <p:spPr/>
        <p:txBody>
          <a:bodyPr/>
          <a:lstStyle/>
          <a:p>
            <a:pPr>
              <a:defRPr/>
            </a:pPr>
            <a:endParaRPr lang="en-US" altLang="ja-JP" dirty="0"/>
          </a:p>
        </p:txBody>
      </p:sp>
      <p:sp>
        <p:nvSpPr>
          <p:cNvPr id="5" name="スライド番号プレースホルダー 4">
            <a:extLst>
              <a:ext uri="{FF2B5EF4-FFF2-40B4-BE49-F238E27FC236}">
                <a16:creationId xmlns:a16="http://schemas.microsoft.com/office/drawing/2014/main" id="{3DE2FA5C-1551-CCD1-7EF8-4340331814EF}"/>
              </a:ext>
            </a:extLst>
          </p:cNvPr>
          <p:cNvSpPr>
            <a:spLocks noGrp="1"/>
          </p:cNvSpPr>
          <p:nvPr>
            <p:ph type="sldNum" sz="quarter" idx="12"/>
          </p:nvPr>
        </p:nvSpPr>
        <p:spPr/>
        <p:txBody>
          <a:bodyPr/>
          <a:lstStyle/>
          <a:p>
            <a:pPr>
              <a:defRPr/>
            </a:pPr>
            <a:fld id="{651FC12D-27C1-4F31-90C9-A93D49E44687}" type="slidenum">
              <a:rPr lang="en-US" altLang="ja-JP" smtClean="0"/>
              <a:pPr>
                <a:defRPr/>
              </a:pPr>
              <a:t>36</a:t>
            </a:fld>
            <a:endParaRPr lang="en-US" altLang="ja-JP" dirty="0"/>
          </a:p>
        </p:txBody>
      </p:sp>
    </p:spTree>
    <p:extLst>
      <p:ext uri="{BB962C8B-B14F-4D97-AF65-F5344CB8AC3E}">
        <p14:creationId xmlns:p14="http://schemas.microsoft.com/office/powerpoint/2010/main" val="41150458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0" y="63814"/>
            <a:ext cx="8470879" cy="435214"/>
          </a:xfrm>
        </p:spPr>
        <p:txBody>
          <a:bodyPr wrap="square">
            <a:spAutoFit/>
          </a:bodyPr>
          <a:lstStyle/>
          <a:p>
            <a:r>
              <a:rPr lang="ja-JP" altLang="en-US" sz="2166" dirty="0"/>
              <a:t>「小さな拠点」の取組事例④ （秋田県 由利本荘市 鳥海町笹子地区）</a:t>
            </a:r>
          </a:p>
        </p:txBody>
      </p:sp>
      <p:sp>
        <p:nvSpPr>
          <p:cNvPr id="51" name="正方形/長方形 50"/>
          <p:cNvSpPr/>
          <p:nvPr/>
        </p:nvSpPr>
        <p:spPr>
          <a:xfrm>
            <a:off x="5675073" y="1897018"/>
            <a:ext cx="1869421" cy="1594858"/>
          </a:xfrm>
          <a:prstGeom prst="rect">
            <a:avLst/>
          </a:prstGeom>
          <a:solidFill>
            <a:srgbClr val="D3EBED"/>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p:cNvSpPr/>
          <p:nvPr/>
        </p:nvSpPr>
        <p:spPr>
          <a:xfrm>
            <a:off x="5689221" y="1676920"/>
            <a:ext cx="1853799" cy="26051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正方形/長方形 64"/>
          <p:cNvSpPr/>
          <p:nvPr/>
        </p:nvSpPr>
        <p:spPr>
          <a:xfrm>
            <a:off x="5797079" y="1647602"/>
            <a:ext cx="1518364" cy="292388"/>
          </a:xfrm>
          <a:prstGeom prst="rect">
            <a:avLst/>
          </a:prstGeom>
        </p:spPr>
        <p:txBody>
          <a:bodyPr wrap="none">
            <a:spAutoFit/>
          </a:bodyPr>
          <a:lstStyle/>
          <a:p>
            <a:r>
              <a:rPr lang="ja-JP" altLang="en-US" sz="1300" b="1" dirty="0">
                <a:solidFill>
                  <a:schemeClr val="bg1"/>
                </a:solidFill>
              </a:rPr>
              <a:t>秋田</a:t>
            </a:r>
            <a:r>
              <a:rPr lang="ja-JP" altLang="ja-JP" sz="1300" b="1" dirty="0">
                <a:solidFill>
                  <a:schemeClr val="bg1"/>
                </a:solidFill>
              </a:rPr>
              <a:t>県</a:t>
            </a:r>
            <a:r>
              <a:rPr lang="ja-JP" altLang="en-US" sz="1300" b="1" dirty="0">
                <a:solidFill>
                  <a:schemeClr val="bg1"/>
                </a:solidFill>
              </a:rPr>
              <a:t>由利本荘</a:t>
            </a:r>
            <a:r>
              <a:rPr lang="ja-JP" altLang="ja-JP" sz="1300" b="1" dirty="0">
                <a:solidFill>
                  <a:schemeClr val="bg1"/>
                </a:solidFill>
              </a:rPr>
              <a:t>市</a:t>
            </a:r>
            <a:endParaRPr lang="ja-JP" altLang="en-US" sz="1300" dirty="0">
              <a:solidFill>
                <a:schemeClr val="bg1"/>
              </a:solidFill>
            </a:endParaRPr>
          </a:p>
        </p:txBody>
      </p:sp>
      <p:sp>
        <p:nvSpPr>
          <p:cNvPr id="68" name="テキスト ボックス 67"/>
          <p:cNvSpPr txBox="1"/>
          <p:nvPr/>
        </p:nvSpPr>
        <p:spPr>
          <a:xfrm>
            <a:off x="747149" y="1749140"/>
            <a:ext cx="5285177" cy="1785104"/>
          </a:xfrm>
          <a:prstGeom prst="rect">
            <a:avLst/>
          </a:prstGeom>
          <a:noFill/>
        </p:spPr>
        <p:txBody>
          <a:bodyPr wrap="square" rtlCol="0">
            <a:spAutoFit/>
          </a:bodyPr>
          <a:lstStyle/>
          <a:p>
            <a:pPr>
              <a:lnSpc>
                <a:spcPts val="2166"/>
              </a:lnSpc>
            </a:pPr>
            <a:r>
              <a:rPr lang="ja-JP" altLang="en-US" sz="1516" dirty="0"/>
              <a:t>・地区人口 ： </a:t>
            </a:r>
            <a:r>
              <a:rPr lang="en-US" altLang="ja-JP" sz="1516" dirty="0"/>
              <a:t>1,558</a:t>
            </a:r>
            <a:r>
              <a:rPr lang="ja-JP" altLang="en-US" sz="1516" dirty="0"/>
              <a:t>人    （</a:t>
            </a:r>
            <a:r>
              <a:rPr lang="en-US" altLang="ja-JP" sz="1516" dirty="0"/>
              <a:t>H29.4.30 </a:t>
            </a:r>
            <a:r>
              <a:rPr lang="ja-JP" altLang="en-US" sz="1516" dirty="0"/>
              <a:t>現在）</a:t>
            </a:r>
            <a:endParaRPr lang="en-US" altLang="ja-JP" sz="1516" dirty="0"/>
          </a:p>
          <a:p>
            <a:pPr>
              <a:lnSpc>
                <a:spcPts val="2166"/>
              </a:lnSpc>
            </a:pPr>
            <a:r>
              <a:rPr lang="ja-JP" altLang="en-US" sz="1516" dirty="0"/>
              <a:t>・世  帯  数 ： </a:t>
            </a:r>
            <a:r>
              <a:rPr lang="en-US" altLang="ja-JP" sz="1516" dirty="0"/>
              <a:t>558</a:t>
            </a:r>
            <a:r>
              <a:rPr lang="ja-JP" altLang="en-US" sz="1516" dirty="0"/>
              <a:t>世帯 　（</a:t>
            </a:r>
            <a:r>
              <a:rPr lang="en-US" altLang="ja-JP" sz="1516" dirty="0"/>
              <a:t>H29.4.30 </a:t>
            </a:r>
            <a:r>
              <a:rPr lang="ja-JP" altLang="en-US" sz="1516" dirty="0"/>
              <a:t>現在）</a:t>
            </a:r>
            <a:endParaRPr lang="en-US" altLang="ja-JP" sz="1516" dirty="0"/>
          </a:p>
          <a:p>
            <a:pPr>
              <a:lnSpc>
                <a:spcPts val="2166"/>
              </a:lnSpc>
            </a:pPr>
            <a:r>
              <a:rPr lang="ja-JP" altLang="en-US" sz="1516" dirty="0"/>
              <a:t>・総面積の約</a:t>
            </a:r>
            <a:r>
              <a:rPr lang="en-US" altLang="ja-JP" sz="1516" dirty="0"/>
              <a:t>85</a:t>
            </a:r>
            <a:r>
              <a:rPr lang="ja-JP" altLang="en-US" sz="1516" dirty="0"/>
              <a:t>％が森林。林業（木材・山菜）が盛ん。</a:t>
            </a:r>
            <a:endParaRPr lang="en-US" altLang="ja-JP" sz="1516" dirty="0"/>
          </a:p>
          <a:p>
            <a:pPr>
              <a:lnSpc>
                <a:spcPts val="2166"/>
              </a:lnSpc>
            </a:pPr>
            <a:r>
              <a:rPr lang="ja-JP" altLang="en-US" sz="1516" dirty="0"/>
              <a:t>・</a:t>
            </a:r>
            <a:r>
              <a:rPr lang="ja-JP" altLang="en-US" sz="1516" u="sng" dirty="0"/>
              <a:t>福祉サービスが遠く、地区内への整備が急務</a:t>
            </a:r>
            <a:r>
              <a:rPr lang="ja-JP" altLang="en-US" sz="1516" dirty="0"/>
              <a:t>だった。</a:t>
            </a:r>
            <a:endParaRPr lang="en-US" altLang="ja-JP" sz="1516" u="sng" dirty="0">
              <a:uFill>
                <a:solidFill>
                  <a:schemeClr val="tx1"/>
                </a:solidFill>
              </a:uFill>
            </a:endParaRPr>
          </a:p>
          <a:p>
            <a:pPr>
              <a:lnSpc>
                <a:spcPts val="2166"/>
              </a:lnSpc>
            </a:pPr>
            <a:r>
              <a:rPr lang="ja-JP" altLang="en-US" sz="1516" dirty="0">
                <a:uFill>
                  <a:solidFill>
                    <a:schemeClr val="tx1"/>
                  </a:solidFill>
                </a:uFill>
              </a:rPr>
              <a:t>・中心を通る国道</a:t>
            </a:r>
            <a:r>
              <a:rPr lang="en-US" altLang="ja-JP" sz="1516" dirty="0">
                <a:uFill>
                  <a:solidFill>
                    <a:schemeClr val="tx1"/>
                  </a:solidFill>
                </a:uFill>
              </a:rPr>
              <a:t>108</a:t>
            </a:r>
            <a:r>
              <a:rPr lang="ja-JP" altLang="en-US" sz="1516" dirty="0">
                <a:uFill>
                  <a:solidFill>
                    <a:schemeClr val="tx1"/>
                  </a:solidFill>
                </a:uFill>
              </a:rPr>
              <a:t>号線は冬季閉鎖区間があったが</a:t>
            </a:r>
            <a:endParaRPr lang="en-US" altLang="ja-JP" sz="1516" dirty="0">
              <a:uFill>
                <a:solidFill>
                  <a:schemeClr val="tx1"/>
                </a:solidFill>
              </a:uFill>
            </a:endParaRPr>
          </a:p>
          <a:p>
            <a:pPr>
              <a:lnSpc>
                <a:spcPts val="2166"/>
              </a:lnSpc>
            </a:pPr>
            <a:r>
              <a:rPr lang="ja-JP" altLang="en-US" sz="1516" dirty="0">
                <a:uFill>
                  <a:solidFill>
                    <a:schemeClr val="tx1"/>
                  </a:solidFill>
                </a:uFill>
              </a:rPr>
              <a:t>　</a:t>
            </a:r>
            <a:r>
              <a:rPr lang="en-US" altLang="ja-JP" sz="1516" dirty="0">
                <a:uFill>
                  <a:solidFill>
                    <a:schemeClr val="tx1"/>
                  </a:solidFill>
                </a:uFill>
              </a:rPr>
              <a:t>H8</a:t>
            </a:r>
            <a:r>
              <a:rPr lang="ja-JP" altLang="en-US" sz="1516" dirty="0">
                <a:uFill>
                  <a:solidFill>
                    <a:schemeClr val="tx1"/>
                  </a:solidFill>
                </a:uFill>
              </a:rPr>
              <a:t>にバイパスが完成し、通年通行可能となった。</a:t>
            </a:r>
            <a:endParaRPr lang="en-US" altLang="ja-JP" sz="1516" dirty="0"/>
          </a:p>
        </p:txBody>
      </p:sp>
      <p:sp>
        <p:nvSpPr>
          <p:cNvPr id="69" name="正方形/長方形 68"/>
          <p:cNvSpPr/>
          <p:nvPr/>
        </p:nvSpPr>
        <p:spPr>
          <a:xfrm>
            <a:off x="178829" y="855514"/>
            <a:ext cx="9491729" cy="722008"/>
          </a:xfrm>
          <a:prstGeom prst="rect">
            <a:avLst/>
          </a:prstGeom>
          <a:solidFill>
            <a:srgbClr val="FFCDCD"/>
          </a:solidFill>
          <a:ln w="19050">
            <a:solidFill>
              <a:srgbClr val="FF858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テキスト ボックス 69"/>
          <p:cNvSpPr txBox="1"/>
          <p:nvPr/>
        </p:nvSpPr>
        <p:spPr>
          <a:xfrm>
            <a:off x="259486" y="927522"/>
            <a:ext cx="9356048" cy="605294"/>
          </a:xfrm>
          <a:prstGeom prst="rect">
            <a:avLst/>
          </a:prstGeom>
          <a:noFill/>
        </p:spPr>
        <p:txBody>
          <a:bodyPr wrap="square" rtlCol="0">
            <a:spAutoFit/>
          </a:bodyPr>
          <a:lstStyle/>
          <a:p>
            <a:pPr>
              <a:lnSpc>
                <a:spcPts val="1950"/>
              </a:lnSpc>
            </a:pPr>
            <a:r>
              <a:rPr lang="ja-JP" altLang="en-US" sz="1516" b="1" dirty="0"/>
              <a:t>　行政主導の取組事例。バイパスの完成を契機として、基幹集落に道の駅、農産物直売所、福祉施設、診療所等を集約的に整備。もともと同エリア（徒歩圏）にあったスーパー、郵便局、ＪＡ支店などを含めて生活拠点を形成。</a:t>
            </a:r>
          </a:p>
        </p:txBody>
      </p:sp>
      <p:sp>
        <p:nvSpPr>
          <p:cNvPr id="78" name="テキスト ボックス 77"/>
          <p:cNvSpPr txBox="1"/>
          <p:nvPr/>
        </p:nvSpPr>
        <p:spPr>
          <a:xfrm>
            <a:off x="658482" y="3663826"/>
            <a:ext cx="5260712" cy="2516073"/>
          </a:xfrm>
          <a:prstGeom prst="rect">
            <a:avLst/>
          </a:prstGeom>
          <a:noFill/>
          <a:ln>
            <a:noFill/>
          </a:ln>
        </p:spPr>
        <p:txBody>
          <a:bodyPr wrap="square" rtlCol="0">
            <a:spAutoFit/>
          </a:bodyPr>
          <a:lstStyle/>
          <a:p>
            <a:pPr>
              <a:lnSpc>
                <a:spcPts val="2058"/>
              </a:lnSpc>
            </a:pPr>
            <a:r>
              <a:rPr lang="ja-JP" altLang="en-US" sz="1516" dirty="0"/>
              <a:t>○</a:t>
            </a:r>
            <a:r>
              <a:rPr lang="en-US" altLang="ja-JP" sz="1516" dirty="0"/>
              <a:t>H8</a:t>
            </a:r>
            <a:r>
              <a:rPr lang="ja-JP" altLang="en-US" sz="1516" dirty="0"/>
              <a:t>のバイパス完成により、</a:t>
            </a:r>
            <a:r>
              <a:rPr lang="ja-JP" altLang="en-US" sz="1516" u="sng" dirty="0"/>
              <a:t>道の駅を軸とする拠点整備構想</a:t>
            </a:r>
            <a:endParaRPr lang="en-US" altLang="ja-JP" sz="1516" u="sng" dirty="0"/>
          </a:p>
          <a:p>
            <a:pPr>
              <a:lnSpc>
                <a:spcPts val="2058"/>
              </a:lnSpc>
            </a:pPr>
            <a:r>
              <a:rPr lang="ja-JP" altLang="en-US" sz="1516" dirty="0"/>
              <a:t>　  </a:t>
            </a:r>
            <a:r>
              <a:rPr lang="ja-JP" altLang="en-US" sz="1516" u="sng" dirty="0"/>
              <a:t>が行政により立案</a:t>
            </a:r>
            <a:r>
              <a:rPr lang="ja-JP" altLang="en-US" sz="1516" dirty="0"/>
              <a:t>された。</a:t>
            </a:r>
            <a:endParaRPr lang="en-US" altLang="ja-JP" sz="1516" dirty="0"/>
          </a:p>
          <a:p>
            <a:pPr>
              <a:lnSpc>
                <a:spcPts val="2058"/>
              </a:lnSpc>
            </a:pPr>
            <a:r>
              <a:rPr lang="ja-JP" altLang="en-US" sz="1516" dirty="0"/>
              <a:t>○地区には元々ＪＡ（金融含む）、Ａコープ、郵便局等が集</a:t>
            </a:r>
            <a:r>
              <a:rPr lang="ja-JP" altLang="en-US" sz="1516" dirty="0" err="1"/>
              <a:t>まっ</a:t>
            </a:r>
            <a:endParaRPr lang="en-US" altLang="ja-JP" sz="1516" dirty="0"/>
          </a:p>
          <a:p>
            <a:pPr>
              <a:lnSpc>
                <a:spcPts val="2058"/>
              </a:lnSpc>
            </a:pPr>
            <a:r>
              <a:rPr lang="ja-JP" altLang="en-US" sz="1516" dirty="0"/>
              <a:t>　　たエリアがあり、その特性を拠点づくりに活用。</a:t>
            </a:r>
            <a:endParaRPr lang="en-US" altLang="ja-JP" sz="1516" dirty="0"/>
          </a:p>
          <a:p>
            <a:pPr>
              <a:lnSpc>
                <a:spcPts val="2058"/>
              </a:lnSpc>
            </a:pPr>
            <a:r>
              <a:rPr lang="ja-JP" altLang="en-US" sz="1516" dirty="0"/>
              <a:t>○同敷地内に</a:t>
            </a:r>
            <a:r>
              <a:rPr lang="ja-JP" altLang="en-US" sz="1516" u="sng" dirty="0"/>
              <a:t>福祉施設（</a:t>
            </a:r>
            <a:r>
              <a:rPr lang="en-US" altLang="ja-JP" sz="1516" u="sng" dirty="0"/>
              <a:t>H16</a:t>
            </a:r>
            <a:r>
              <a:rPr lang="ja-JP" altLang="en-US" sz="1516" u="sng" dirty="0"/>
              <a:t>）、道の駅（</a:t>
            </a:r>
            <a:r>
              <a:rPr lang="en-US" altLang="ja-JP" sz="1516" u="sng" dirty="0"/>
              <a:t>H17</a:t>
            </a:r>
            <a:r>
              <a:rPr lang="ja-JP" altLang="en-US" sz="1516" u="sng" dirty="0"/>
              <a:t>）、診療所（</a:t>
            </a:r>
            <a:r>
              <a:rPr lang="en-US" altLang="ja-JP" sz="1516" u="sng" dirty="0"/>
              <a:t>H18</a:t>
            </a:r>
            <a:r>
              <a:rPr lang="ja-JP" altLang="en-US" sz="1516" u="sng" dirty="0"/>
              <a:t>）</a:t>
            </a:r>
            <a:endParaRPr lang="en-US" altLang="ja-JP" sz="1516" u="sng" dirty="0"/>
          </a:p>
          <a:p>
            <a:pPr>
              <a:lnSpc>
                <a:spcPts val="2058"/>
              </a:lnSpc>
            </a:pPr>
            <a:r>
              <a:rPr lang="ja-JP" altLang="en-US" sz="1516" dirty="0"/>
              <a:t>　  </a:t>
            </a:r>
            <a:r>
              <a:rPr lang="ja-JP" altLang="en-US" sz="1516" u="sng" dirty="0"/>
              <a:t>を順次整備</a:t>
            </a:r>
            <a:r>
              <a:rPr lang="ja-JP" altLang="en-US" sz="1516" dirty="0"/>
              <a:t>。道の駅は、物販、飲食店、農産物加工施設か</a:t>
            </a:r>
            <a:endParaRPr lang="en-US" altLang="ja-JP" sz="1516" dirty="0"/>
          </a:p>
          <a:p>
            <a:pPr>
              <a:lnSpc>
                <a:spcPts val="2058"/>
              </a:lnSpc>
            </a:pPr>
            <a:r>
              <a:rPr lang="ja-JP" altLang="en-US" sz="1516" dirty="0"/>
              <a:t>　  ら構成。更に、</a:t>
            </a:r>
            <a:r>
              <a:rPr lang="ja-JP" altLang="en-US" sz="1516" u="sng" dirty="0"/>
              <a:t>徒歩圏に公民館と出張所（市）を整備</a:t>
            </a:r>
            <a:r>
              <a:rPr lang="ja-JP" altLang="en-US" sz="1516" dirty="0"/>
              <a:t>。</a:t>
            </a:r>
            <a:endParaRPr lang="en-US" altLang="ja-JP" sz="1516" dirty="0"/>
          </a:p>
          <a:p>
            <a:pPr>
              <a:lnSpc>
                <a:spcPts val="2058"/>
              </a:lnSpc>
            </a:pPr>
            <a:r>
              <a:rPr lang="ja-JP" altLang="en-US" sz="1516" dirty="0"/>
              <a:t>○集落間の移動経路確保のため、</a:t>
            </a:r>
            <a:r>
              <a:rPr lang="ja-JP" altLang="en-US" sz="1516" u="sng" dirty="0"/>
              <a:t>市がコミュニティバスを運行</a:t>
            </a:r>
            <a:r>
              <a:rPr lang="ja-JP" altLang="en-US" sz="1516" dirty="0"/>
              <a:t>。</a:t>
            </a:r>
            <a:endParaRPr lang="en-US" altLang="ja-JP" sz="1516" dirty="0"/>
          </a:p>
          <a:p>
            <a:pPr>
              <a:lnSpc>
                <a:spcPts val="2058"/>
              </a:lnSpc>
            </a:pPr>
            <a:r>
              <a:rPr lang="ja-JP" altLang="en-US" sz="1516" dirty="0"/>
              <a:t> 　住民からの要望により、ダイヤや経路の見直しを実施。</a:t>
            </a:r>
            <a:endParaRPr lang="en-US" altLang="ja-JP" sz="1516" dirty="0"/>
          </a:p>
        </p:txBody>
      </p:sp>
      <p:sp>
        <p:nvSpPr>
          <p:cNvPr id="97" name="角丸四角形 96"/>
          <p:cNvSpPr/>
          <p:nvPr/>
        </p:nvSpPr>
        <p:spPr>
          <a:xfrm>
            <a:off x="281454" y="1703971"/>
            <a:ext cx="5390832" cy="1870441"/>
          </a:xfrm>
          <a:prstGeom prst="roundRect">
            <a:avLst>
              <a:gd name="adj" fmla="val 9357"/>
            </a:avLst>
          </a:prstGeom>
          <a:noFill/>
          <a:ln>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9" name="片側の 2 つの角を丸めた四角形 98"/>
          <p:cNvSpPr/>
          <p:nvPr/>
        </p:nvSpPr>
        <p:spPr>
          <a:xfrm>
            <a:off x="-507679" y="2418964"/>
            <a:ext cx="1859485" cy="452774"/>
          </a:xfrm>
          <a:prstGeom prst="round2SameRect">
            <a:avLst>
              <a:gd name="adj1" fmla="val 28820"/>
              <a:gd name="adj2" fmla="val 0"/>
            </a:avLst>
          </a:prstGeom>
          <a:solidFill>
            <a:srgbClr val="C2FEC3"/>
          </a:solidFill>
          <a:ln>
            <a:solidFill>
              <a:srgbClr val="00FF00"/>
            </a:solid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6" name="テキスト ボックス 95"/>
          <p:cNvSpPr txBox="1"/>
          <p:nvPr/>
        </p:nvSpPr>
        <p:spPr>
          <a:xfrm>
            <a:off x="226825" y="1978309"/>
            <a:ext cx="417935" cy="1191993"/>
          </a:xfrm>
          <a:prstGeom prst="rect">
            <a:avLst/>
          </a:prstGeom>
          <a:noFill/>
        </p:spPr>
        <p:txBody>
          <a:bodyPr vert="eaVert" wrap="none" rtlCol="0">
            <a:spAutoFit/>
          </a:bodyPr>
          <a:lstStyle/>
          <a:p>
            <a:r>
              <a:rPr lang="ja-JP" altLang="en-US" sz="1516" b="1" dirty="0"/>
              <a:t>地 区 の概 要</a:t>
            </a:r>
          </a:p>
        </p:txBody>
      </p:sp>
      <p:sp>
        <p:nvSpPr>
          <p:cNvPr id="100" name="角丸四角形 99"/>
          <p:cNvSpPr/>
          <p:nvPr/>
        </p:nvSpPr>
        <p:spPr>
          <a:xfrm>
            <a:off x="178829" y="3622882"/>
            <a:ext cx="5693075" cy="2705240"/>
          </a:xfrm>
          <a:prstGeom prst="roundRect">
            <a:avLst>
              <a:gd name="adj" fmla="val 5320"/>
            </a:avLst>
          </a:prstGeom>
          <a:noFill/>
          <a:ln>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1" name="片側の 2 つの角を丸めた四角形 100"/>
          <p:cNvSpPr/>
          <p:nvPr/>
        </p:nvSpPr>
        <p:spPr>
          <a:xfrm>
            <a:off x="-914081" y="4743946"/>
            <a:ext cx="2697935" cy="452774"/>
          </a:xfrm>
          <a:prstGeom prst="round2SameRect">
            <a:avLst>
              <a:gd name="adj1" fmla="val 32998"/>
              <a:gd name="adj2" fmla="val 0"/>
            </a:avLst>
          </a:prstGeom>
          <a:solidFill>
            <a:srgbClr val="C2FEC3"/>
          </a:solidFill>
          <a:ln>
            <a:solidFill>
              <a:srgbClr val="00FF00"/>
            </a:solid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テキスト ボックス 101"/>
          <p:cNvSpPr txBox="1"/>
          <p:nvPr/>
        </p:nvSpPr>
        <p:spPr>
          <a:xfrm>
            <a:off x="213791" y="4414323"/>
            <a:ext cx="417935" cy="1018869"/>
          </a:xfrm>
          <a:prstGeom prst="rect">
            <a:avLst/>
          </a:prstGeom>
          <a:noFill/>
        </p:spPr>
        <p:txBody>
          <a:bodyPr vert="eaVert" wrap="none" rtlCol="0">
            <a:spAutoFit/>
          </a:bodyPr>
          <a:lstStyle/>
          <a:p>
            <a:r>
              <a:rPr lang="ja-JP" altLang="en-US" sz="1516" b="1" dirty="0"/>
              <a:t>取 組 概 要</a:t>
            </a:r>
          </a:p>
        </p:txBody>
      </p:sp>
      <p:sp>
        <p:nvSpPr>
          <p:cNvPr id="103" name="角丸四角形 102"/>
          <p:cNvSpPr/>
          <p:nvPr/>
        </p:nvSpPr>
        <p:spPr>
          <a:xfrm>
            <a:off x="178829" y="6366851"/>
            <a:ext cx="5733239" cy="825367"/>
          </a:xfrm>
          <a:prstGeom prst="roundRect">
            <a:avLst>
              <a:gd name="adj" fmla="val 17483"/>
            </a:avLst>
          </a:prstGeom>
          <a:noFill/>
          <a:ln>
            <a:solidFill>
              <a:srgbClr val="FFAE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4" name="片側の 2 つの角を丸めた四角形 103"/>
          <p:cNvSpPr/>
          <p:nvPr/>
        </p:nvSpPr>
        <p:spPr>
          <a:xfrm>
            <a:off x="28427" y="6544146"/>
            <a:ext cx="819323" cy="446224"/>
          </a:xfrm>
          <a:prstGeom prst="round2SameRect">
            <a:avLst>
              <a:gd name="adj1" fmla="val 31992"/>
              <a:gd name="adj2" fmla="val 0"/>
            </a:avLst>
          </a:prstGeom>
          <a:solidFill>
            <a:srgbClr val="FFFF75"/>
          </a:solidFill>
          <a:ln>
            <a:solidFill>
              <a:srgbClr val="FFAE5D"/>
            </a:solidFill>
          </a:ln>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正方形/長方形 104"/>
          <p:cNvSpPr/>
          <p:nvPr/>
        </p:nvSpPr>
        <p:spPr>
          <a:xfrm>
            <a:off x="635457" y="6463620"/>
            <a:ext cx="4964821" cy="656590"/>
          </a:xfrm>
          <a:prstGeom prst="rect">
            <a:avLst/>
          </a:prstGeom>
        </p:spPr>
        <p:txBody>
          <a:bodyPr wrap="none">
            <a:spAutoFit/>
          </a:bodyPr>
          <a:lstStyle/>
          <a:p>
            <a:pPr>
              <a:lnSpc>
                <a:spcPts val="2166"/>
              </a:lnSpc>
            </a:pPr>
            <a:r>
              <a:rPr lang="ja-JP" altLang="en-US" sz="1516" dirty="0"/>
              <a:t>○交通手段のない高齢者でも、</a:t>
            </a:r>
            <a:r>
              <a:rPr lang="ja-JP" altLang="en-US" sz="1516" u="sng" dirty="0"/>
              <a:t>公共交通と徒歩で一通りの</a:t>
            </a:r>
            <a:endParaRPr lang="en-US" altLang="ja-JP" sz="1516" u="sng" dirty="0"/>
          </a:p>
          <a:p>
            <a:pPr>
              <a:lnSpc>
                <a:spcPts val="2166"/>
              </a:lnSpc>
            </a:pPr>
            <a:r>
              <a:rPr lang="ja-JP" altLang="en-US" sz="1516" dirty="0"/>
              <a:t>　 </a:t>
            </a:r>
            <a:r>
              <a:rPr lang="ja-JP" altLang="en-US" sz="1516" u="sng" dirty="0"/>
              <a:t>生活サービスが受けられる地域</a:t>
            </a:r>
            <a:r>
              <a:rPr lang="ja-JP" altLang="en-US" sz="1516" dirty="0"/>
              <a:t>づくりが図られた。</a:t>
            </a:r>
            <a:endParaRPr lang="en-US" altLang="ja-JP" sz="1516" dirty="0"/>
          </a:p>
        </p:txBody>
      </p:sp>
      <p:sp>
        <p:nvSpPr>
          <p:cNvPr id="106" name="テキスト ボックス 105"/>
          <p:cNvSpPr txBox="1"/>
          <p:nvPr/>
        </p:nvSpPr>
        <p:spPr>
          <a:xfrm>
            <a:off x="213791" y="6544146"/>
            <a:ext cx="417935" cy="473848"/>
          </a:xfrm>
          <a:prstGeom prst="rect">
            <a:avLst/>
          </a:prstGeom>
          <a:noFill/>
        </p:spPr>
        <p:txBody>
          <a:bodyPr vert="eaVert" wrap="none" rtlCol="0">
            <a:spAutoFit/>
          </a:bodyPr>
          <a:lstStyle/>
          <a:p>
            <a:r>
              <a:rPr lang="ja-JP" altLang="en-US" sz="1516" b="1" dirty="0"/>
              <a:t>効果</a:t>
            </a:r>
          </a:p>
        </p:txBody>
      </p:sp>
      <p:pic>
        <p:nvPicPr>
          <p:cNvPr id="30" name="図 29"/>
          <p:cNvPicPr/>
          <p:nvPr/>
        </p:nvPicPr>
        <p:blipFill>
          <a:blip r:embed="rId3" cstate="email">
            <a:extLst>
              <a:ext uri="{28A0092B-C50C-407E-A947-70E740481C1C}">
                <a14:useLocalDpi xmlns:a14="http://schemas.microsoft.com/office/drawing/2010/main" val="0"/>
              </a:ext>
            </a:extLst>
          </a:blip>
          <a:stretch>
            <a:fillRect/>
          </a:stretch>
        </p:blipFill>
        <p:spPr>
          <a:xfrm>
            <a:off x="5838343" y="2032011"/>
            <a:ext cx="1580280" cy="1369576"/>
          </a:xfrm>
          <a:prstGeom prst="rect">
            <a:avLst/>
          </a:prstGeom>
        </p:spPr>
      </p:pic>
      <p:sp>
        <p:nvSpPr>
          <p:cNvPr id="33" name="テキスト ボックス 32"/>
          <p:cNvSpPr txBox="1"/>
          <p:nvPr/>
        </p:nvSpPr>
        <p:spPr>
          <a:xfrm>
            <a:off x="7616502" y="2943746"/>
            <a:ext cx="1903085" cy="292388"/>
          </a:xfrm>
          <a:prstGeom prst="rect">
            <a:avLst/>
          </a:prstGeom>
          <a:noFill/>
        </p:spPr>
        <p:txBody>
          <a:bodyPr wrap="none" rtlCol="0">
            <a:spAutoFit/>
          </a:bodyPr>
          <a:lstStyle/>
          <a:p>
            <a:r>
              <a:rPr lang="ja-JP" altLang="ja-JP" sz="1300" dirty="0"/>
              <a:t>（左から）道の駅・直売</a:t>
            </a:r>
            <a:r>
              <a:rPr lang="ja-JP" altLang="en-US" sz="1300" dirty="0"/>
              <a:t>所</a:t>
            </a:r>
            <a:endParaRPr lang="ja-JP" altLang="ja-JP" sz="1300" dirty="0"/>
          </a:p>
        </p:txBody>
      </p:sp>
      <p:pic>
        <p:nvPicPr>
          <p:cNvPr id="2056" name="Picture 8"/>
          <p:cNvPicPr>
            <a:picLocks noChangeAspect="1" noChangeArrowheads="1"/>
          </p:cNvPicPr>
          <p:nvPr/>
        </p:nvPicPr>
        <p:blipFill>
          <a:blip r:embed="rId4" cstate="print"/>
          <a:srcRect/>
          <a:stretch>
            <a:fillRect/>
          </a:stretch>
        </p:blipFill>
        <p:spPr bwMode="auto">
          <a:xfrm>
            <a:off x="7616502" y="1808223"/>
            <a:ext cx="2135130" cy="1074452"/>
          </a:xfrm>
          <a:prstGeom prst="rect">
            <a:avLst/>
          </a:prstGeom>
          <a:noFill/>
          <a:ln w="9525">
            <a:solidFill>
              <a:schemeClr val="tx1"/>
            </a:solidFill>
            <a:miter lim="800000"/>
            <a:headEnd/>
            <a:tailEnd/>
          </a:ln>
        </p:spPr>
      </p:pic>
      <p:grpSp>
        <p:nvGrpSpPr>
          <p:cNvPr id="2" name="グループ化 146"/>
          <p:cNvGrpSpPr/>
          <p:nvPr/>
        </p:nvGrpSpPr>
        <p:grpSpPr>
          <a:xfrm>
            <a:off x="6015657" y="3714924"/>
            <a:ext cx="3848271" cy="3128381"/>
            <a:chOff x="2128072" y="1641295"/>
            <a:chExt cx="3229836" cy="2625635"/>
          </a:xfrm>
        </p:grpSpPr>
        <p:pic>
          <p:nvPicPr>
            <p:cNvPr id="148" name="図 147"/>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128072" y="1641295"/>
              <a:ext cx="2220856" cy="2584809"/>
            </a:xfrm>
            <a:prstGeom prst="rect">
              <a:avLst/>
            </a:prstGeom>
            <a:noFill/>
            <a:ln>
              <a:noFill/>
            </a:ln>
          </p:spPr>
        </p:pic>
        <p:sp>
          <p:nvSpPr>
            <p:cNvPr id="149" name="Text Box 5"/>
            <p:cNvSpPr txBox="1">
              <a:spLocks/>
            </p:cNvSpPr>
            <p:nvPr/>
          </p:nvSpPr>
          <p:spPr bwMode="auto">
            <a:xfrm>
              <a:off x="2181225" y="1690689"/>
              <a:ext cx="1260475" cy="214312"/>
            </a:xfrm>
            <a:prstGeom prst="rect">
              <a:avLst/>
            </a:prstGeom>
            <a:solidFill>
              <a:schemeClr val="bg1"/>
            </a:solidFill>
            <a:ln w="6350">
              <a:noFill/>
              <a:miter lim="800000"/>
              <a:headEnd/>
              <a:tailEnd/>
            </a:ln>
          </p:spPr>
          <p:txBody>
            <a:bodyPr vert="horz" wrap="none" lIns="99044" tIns="49522" rIns="99044" bIns="49522" numCol="1" anchor="t" anchorCtr="0" compatLnSpc="1">
              <a:prstTxWarp prst="textNoShape">
                <a:avLst/>
              </a:prstTxWarp>
            </a:bodyPr>
            <a:lstStyle/>
            <a:p>
              <a:pPr algn="just" defTabSz="990478"/>
              <a:r>
                <a:rPr lang="en-US" altLang="ja-JP" sz="867" b="1" dirty="0">
                  <a:latin typeface="ＭＳ Ｐゴシック" pitchFamily="50" charset="-128"/>
                  <a:cs typeface="ＭＳ Ｐゴシック" pitchFamily="50" charset="-128"/>
                </a:rPr>
                <a:t>※Yahoo!</a:t>
              </a:r>
              <a:r>
                <a:rPr lang="ja-JP" altLang="en-US" sz="867" b="1" dirty="0">
                  <a:latin typeface="ＭＳ Ｐゴシック" pitchFamily="50" charset="-128"/>
                  <a:cs typeface="ＭＳ Ｐゴシック" pitchFamily="50" charset="-128"/>
                </a:rPr>
                <a:t>マップより作成</a:t>
              </a:r>
              <a:endParaRPr lang="ja-JP" altLang="en-US" sz="1950" dirty="0">
                <a:latin typeface="Arial" pitchFamily="34" charset="0"/>
                <a:cs typeface="ＭＳ Ｐゴシック" pitchFamily="50" charset="-128"/>
              </a:endParaRPr>
            </a:p>
          </p:txBody>
        </p:sp>
        <p:sp>
          <p:nvSpPr>
            <p:cNvPr id="150" name="円/楕円 149"/>
            <p:cNvSpPr/>
            <p:nvPr/>
          </p:nvSpPr>
          <p:spPr>
            <a:xfrm>
              <a:off x="3238500" y="2311400"/>
              <a:ext cx="222250" cy="2349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1" name="直線コネクタ 150"/>
            <p:cNvCxnSpPr>
              <a:endCxn id="153" idx="1"/>
            </p:cNvCxnSpPr>
            <p:nvPr/>
          </p:nvCxnSpPr>
          <p:spPr>
            <a:xfrm flipV="1">
              <a:off x="3479800" y="1946275"/>
              <a:ext cx="927100" cy="42227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52" name="テキスト ボックス 151"/>
            <p:cNvSpPr txBox="1"/>
            <p:nvPr/>
          </p:nvSpPr>
          <p:spPr>
            <a:xfrm>
              <a:off x="4378193" y="1667577"/>
              <a:ext cx="854593" cy="581209"/>
            </a:xfrm>
            <a:prstGeom prst="rect">
              <a:avLst/>
            </a:prstGeom>
            <a:noFill/>
          </p:spPr>
          <p:txBody>
            <a:bodyPr wrap="none" rtlCol="0">
              <a:spAutoFit/>
            </a:bodyPr>
            <a:lstStyle/>
            <a:p>
              <a:r>
                <a:rPr lang="ja-JP" altLang="en-US" sz="1300" dirty="0"/>
                <a:t>○道の駅</a:t>
              </a:r>
              <a:endParaRPr lang="en-US" altLang="ja-JP" sz="1300" dirty="0"/>
            </a:p>
            <a:p>
              <a:r>
                <a:rPr lang="ja-JP" altLang="en-US" sz="1300" dirty="0"/>
                <a:t>○福祉施設</a:t>
              </a:r>
              <a:endParaRPr lang="en-US" altLang="ja-JP" sz="1300" dirty="0"/>
            </a:p>
            <a:p>
              <a:r>
                <a:rPr lang="ja-JP" altLang="en-US" sz="1300" dirty="0"/>
                <a:t>○診療所</a:t>
              </a:r>
            </a:p>
          </p:txBody>
        </p:sp>
        <p:sp>
          <p:nvSpPr>
            <p:cNvPr id="153" name="左大かっこ 152"/>
            <p:cNvSpPr/>
            <p:nvPr/>
          </p:nvSpPr>
          <p:spPr>
            <a:xfrm>
              <a:off x="4406900" y="1657350"/>
              <a:ext cx="95250" cy="577850"/>
            </a:xfrm>
            <a:prstGeom prst="leftBracket">
              <a:avLst>
                <a:gd name="adj" fmla="val 92333"/>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4" name="円/楕円 153"/>
            <p:cNvSpPr/>
            <p:nvPr/>
          </p:nvSpPr>
          <p:spPr>
            <a:xfrm>
              <a:off x="3028950" y="3473450"/>
              <a:ext cx="50800" cy="57150"/>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5" name="円/楕円 154"/>
            <p:cNvSpPr/>
            <p:nvPr/>
          </p:nvSpPr>
          <p:spPr>
            <a:xfrm>
              <a:off x="2184400" y="2254250"/>
              <a:ext cx="1987550" cy="1974850"/>
            </a:xfrm>
            <a:prstGeom prst="ellipse">
              <a:avLst/>
            </a:prstGeom>
            <a:noFill/>
            <a:ln>
              <a:solidFill>
                <a:srgbClr val="FFFF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6" name="円/楕円 155"/>
            <p:cNvSpPr/>
            <p:nvPr/>
          </p:nvSpPr>
          <p:spPr>
            <a:xfrm>
              <a:off x="3130550" y="2527300"/>
              <a:ext cx="107950" cy="24765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57" name="直線コネクタ 156"/>
            <p:cNvCxnSpPr>
              <a:endCxn id="159" idx="1"/>
            </p:cNvCxnSpPr>
            <p:nvPr/>
          </p:nvCxnSpPr>
          <p:spPr>
            <a:xfrm flipV="1">
              <a:off x="3244850" y="2606675"/>
              <a:ext cx="1162050" cy="5397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58" name="テキスト ボックス 157"/>
            <p:cNvSpPr txBox="1"/>
            <p:nvPr/>
          </p:nvSpPr>
          <p:spPr>
            <a:xfrm>
              <a:off x="4378193" y="2327977"/>
              <a:ext cx="979715" cy="581209"/>
            </a:xfrm>
            <a:prstGeom prst="rect">
              <a:avLst/>
            </a:prstGeom>
            <a:noFill/>
          </p:spPr>
          <p:txBody>
            <a:bodyPr wrap="none" rtlCol="0">
              <a:spAutoFit/>
            </a:bodyPr>
            <a:lstStyle/>
            <a:p>
              <a:r>
                <a:rPr lang="ja-JP" altLang="en-US" sz="1300" dirty="0"/>
                <a:t>●ＪＡ</a:t>
              </a:r>
              <a:endParaRPr lang="en-US" altLang="ja-JP" sz="1300" dirty="0"/>
            </a:p>
            <a:p>
              <a:r>
                <a:rPr lang="ja-JP" altLang="en-US" sz="1300" dirty="0"/>
                <a:t>●Ａコープ</a:t>
              </a:r>
              <a:endParaRPr lang="en-US" altLang="ja-JP" sz="1300" dirty="0"/>
            </a:p>
            <a:p>
              <a:r>
                <a:rPr lang="ja-JP" altLang="en-US" sz="1300" dirty="0"/>
                <a:t>●ｶﾞｿﾘﾝｽﾀﾝﾄﾞ</a:t>
              </a:r>
            </a:p>
          </p:txBody>
        </p:sp>
        <p:sp>
          <p:nvSpPr>
            <p:cNvPr id="159" name="左大かっこ 158"/>
            <p:cNvSpPr/>
            <p:nvPr/>
          </p:nvSpPr>
          <p:spPr>
            <a:xfrm>
              <a:off x="4406900" y="2317750"/>
              <a:ext cx="95250" cy="577850"/>
            </a:xfrm>
            <a:prstGeom prst="leftBracket">
              <a:avLst>
                <a:gd name="adj" fmla="val 92333"/>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0" name="円/楕円 159"/>
            <p:cNvSpPr/>
            <p:nvPr/>
          </p:nvSpPr>
          <p:spPr>
            <a:xfrm>
              <a:off x="3365500" y="2984500"/>
              <a:ext cx="101600" cy="20955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61" name="直線コネクタ 160"/>
            <p:cNvCxnSpPr>
              <a:stCxn id="160" idx="6"/>
              <a:endCxn id="163" idx="1"/>
            </p:cNvCxnSpPr>
            <p:nvPr/>
          </p:nvCxnSpPr>
          <p:spPr>
            <a:xfrm>
              <a:off x="3467100" y="3089275"/>
              <a:ext cx="946150" cy="18415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62" name="テキスト ボックス 161"/>
            <p:cNvSpPr txBox="1"/>
            <p:nvPr/>
          </p:nvSpPr>
          <p:spPr>
            <a:xfrm>
              <a:off x="4378193" y="2994727"/>
              <a:ext cx="714673" cy="581209"/>
            </a:xfrm>
            <a:prstGeom prst="rect">
              <a:avLst/>
            </a:prstGeom>
            <a:noFill/>
          </p:spPr>
          <p:txBody>
            <a:bodyPr wrap="none" rtlCol="0">
              <a:spAutoFit/>
            </a:bodyPr>
            <a:lstStyle/>
            <a:p>
              <a:r>
                <a:rPr lang="ja-JP" altLang="en-US" sz="1300" dirty="0"/>
                <a:t>○出張所</a:t>
              </a:r>
              <a:endParaRPr lang="en-US" altLang="ja-JP" sz="1300" dirty="0"/>
            </a:p>
            <a:p>
              <a:r>
                <a:rPr lang="ja-JP" altLang="en-US" sz="1300" dirty="0"/>
                <a:t>○公民館</a:t>
              </a:r>
              <a:endParaRPr lang="en-US" altLang="ja-JP" sz="1300" dirty="0"/>
            </a:p>
            <a:p>
              <a:r>
                <a:rPr lang="ja-JP" altLang="en-US" sz="1300" dirty="0"/>
                <a:t>●駐在所</a:t>
              </a:r>
            </a:p>
          </p:txBody>
        </p:sp>
        <p:sp>
          <p:nvSpPr>
            <p:cNvPr id="163" name="左大かっこ 162"/>
            <p:cNvSpPr/>
            <p:nvPr/>
          </p:nvSpPr>
          <p:spPr>
            <a:xfrm>
              <a:off x="4413250" y="2984500"/>
              <a:ext cx="95250" cy="577850"/>
            </a:xfrm>
            <a:prstGeom prst="leftBracket">
              <a:avLst>
                <a:gd name="adj" fmla="val 92333"/>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64" name="直線コネクタ 163"/>
            <p:cNvCxnSpPr/>
            <p:nvPr/>
          </p:nvCxnSpPr>
          <p:spPr>
            <a:xfrm>
              <a:off x="3086100" y="3505200"/>
              <a:ext cx="1403350" cy="2159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5" name="直線コネクタ 164"/>
            <p:cNvCxnSpPr>
              <a:stCxn id="166" idx="6"/>
              <a:endCxn id="168" idx="1"/>
            </p:cNvCxnSpPr>
            <p:nvPr/>
          </p:nvCxnSpPr>
          <p:spPr>
            <a:xfrm>
              <a:off x="2686050" y="3952875"/>
              <a:ext cx="1727200" cy="11112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66" name="円/楕円 165"/>
            <p:cNvSpPr/>
            <p:nvPr/>
          </p:nvSpPr>
          <p:spPr>
            <a:xfrm>
              <a:off x="2552700" y="3848100"/>
              <a:ext cx="133350" cy="20955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7" name="テキスト ボックス 166"/>
            <p:cNvSpPr txBox="1"/>
            <p:nvPr/>
          </p:nvSpPr>
          <p:spPr>
            <a:xfrm>
              <a:off x="4378193" y="3611501"/>
              <a:ext cx="714673" cy="245400"/>
            </a:xfrm>
            <a:prstGeom prst="rect">
              <a:avLst/>
            </a:prstGeom>
            <a:noFill/>
          </p:spPr>
          <p:txBody>
            <a:bodyPr wrap="none" rtlCol="0">
              <a:spAutoFit/>
            </a:bodyPr>
            <a:lstStyle/>
            <a:p>
              <a:r>
                <a:rPr lang="ja-JP" altLang="en-US" sz="1300" dirty="0"/>
                <a:t>●郵便局</a:t>
              </a:r>
            </a:p>
          </p:txBody>
        </p:sp>
        <p:sp>
          <p:nvSpPr>
            <p:cNvPr id="168" name="左大かっこ 167"/>
            <p:cNvSpPr/>
            <p:nvPr/>
          </p:nvSpPr>
          <p:spPr>
            <a:xfrm>
              <a:off x="4413250" y="3892550"/>
              <a:ext cx="120650" cy="342900"/>
            </a:xfrm>
            <a:prstGeom prst="leftBracket">
              <a:avLst>
                <a:gd name="adj" fmla="val 92333"/>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9" name="テキスト ボックス 168"/>
            <p:cNvSpPr txBox="1"/>
            <p:nvPr/>
          </p:nvSpPr>
          <p:spPr>
            <a:xfrm>
              <a:off x="4378193" y="3853625"/>
              <a:ext cx="714673" cy="413305"/>
            </a:xfrm>
            <a:prstGeom prst="rect">
              <a:avLst/>
            </a:prstGeom>
            <a:noFill/>
          </p:spPr>
          <p:txBody>
            <a:bodyPr wrap="none" rtlCol="0">
              <a:spAutoFit/>
            </a:bodyPr>
            <a:lstStyle/>
            <a:p>
              <a:r>
                <a:rPr lang="ja-JP" altLang="en-US" sz="1300" dirty="0"/>
                <a:t>●消防署</a:t>
              </a:r>
              <a:endParaRPr lang="en-US" altLang="ja-JP" sz="1300" dirty="0"/>
            </a:p>
            <a:p>
              <a:r>
                <a:rPr lang="ja-JP" altLang="en-US" sz="1300" dirty="0"/>
                <a:t>●保育園</a:t>
              </a:r>
              <a:endParaRPr lang="en-US" altLang="ja-JP" sz="1300" dirty="0"/>
            </a:p>
          </p:txBody>
        </p:sp>
        <p:cxnSp>
          <p:nvCxnSpPr>
            <p:cNvPr id="170" name="直線コネクタ 169"/>
            <p:cNvCxnSpPr/>
            <p:nvPr/>
          </p:nvCxnSpPr>
          <p:spPr>
            <a:xfrm>
              <a:off x="2171700" y="3257550"/>
              <a:ext cx="996950" cy="0"/>
            </a:xfrm>
            <a:prstGeom prst="line">
              <a:avLst/>
            </a:prstGeom>
            <a:ln>
              <a:solidFill>
                <a:srgbClr val="FFFF00"/>
              </a:solidFill>
            </a:ln>
          </p:spPr>
          <p:style>
            <a:lnRef idx="1">
              <a:schemeClr val="accent1"/>
            </a:lnRef>
            <a:fillRef idx="0">
              <a:schemeClr val="accent1"/>
            </a:fillRef>
            <a:effectRef idx="0">
              <a:schemeClr val="accent1"/>
            </a:effectRef>
            <a:fontRef idx="minor">
              <a:schemeClr val="tx1"/>
            </a:fontRef>
          </p:style>
        </p:cxnSp>
        <p:sp>
          <p:nvSpPr>
            <p:cNvPr id="171" name="円/楕円 170"/>
            <p:cNvSpPr/>
            <p:nvPr/>
          </p:nvSpPr>
          <p:spPr>
            <a:xfrm>
              <a:off x="3149600" y="3232150"/>
              <a:ext cx="50800" cy="57150"/>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2" name="左大かっこ 171"/>
            <p:cNvSpPr/>
            <p:nvPr/>
          </p:nvSpPr>
          <p:spPr>
            <a:xfrm>
              <a:off x="2603500" y="2724150"/>
              <a:ext cx="127000" cy="927100"/>
            </a:xfrm>
            <a:prstGeom prst="leftBracket">
              <a:avLst>
                <a:gd name="adj" fmla="val 215000"/>
              </a:avLst>
            </a:prstGeom>
            <a:ln w="12700">
              <a:solidFill>
                <a:srgbClr val="FFFF00"/>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73" name="正方形/長方形 172"/>
            <p:cNvSpPr/>
            <p:nvPr/>
          </p:nvSpPr>
          <p:spPr>
            <a:xfrm>
              <a:off x="2520950" y="3079750"/>
              <a:ext cx="317500" cy="1143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4" name="Text Box 7"/>
            <p:cNvSpPr txBox="1">
              <a:spLocks/>
            </p:cNvSpPr>
            <p:nvPr/>
          </p:nvSpPr>
          <p:spPr bwMode="auto">
            <a:xfrm>
              <a:off x="2476500" y="3021013"/>
              <a:ext cx="442913" cy="217487"/>
            </a:xfrm>
            <a:prstGeom prst="rect">
              <a:avLst/>
            </a:prstGeom>
            <a:noFill/>
            <a:ln w="6350">
              <a:noFill/>
              <a:miter lim="800000"/>
              <a:headEnd/>
              <a:tailEnd/>
            </a:ln>
          </p:spPr>
          <p:txBody>
            <a:bodyPr vert="horz" wrap="square" lIns="99044" tIns="49522" rIns="99044" bIns="49522" numCol="1" anchor="t" anchorCtr="0" compatLnSpc="1">
              <a:prstTxWarp prst="textNoShape">
                <a:avLst/>
              </a:prstTxWarp>
            </a:bodyPr>
            <a:lstStyle/>
            <a:p>
              <a:pPr defTabSz="990478"/>
              <a:r>
                <a:rPr lang="en-US" altLang="ja-JP" sz="867" b="1" dirty="0">
                  <a:latin typeface="ＭＳ Ｐゴシック" pitchFamily="50" charset="-128"/>
                  <a:cs typeface="ＭＳ Ｐゴシック" pitchFamily="50" charset="-128"/>
                </a:rPr>
                <a:t>500m</a:t>
              </a:r>
              <a:endParaRPr lang="ja-JP" altLang="ja-JP" sz="1950" dirty="0">
                <a:latin typeface="Arial" pitchFamily="34" charset="0"/>
                <a:cs typeface="ＭＳ Ｐゴシック" pitchFamily="50" charset="-128"/>
              </a:endParaRPr>
            </a:p>
          </p:txBody>
        </p:sp>
      </p:grpSp>
      <p:sp>
        <p:nvSpPr>
          <p:cNvPr id="175" name="テキスト ボックス 174"/>
          <p:cNvSpPr txBox="1"/>
          <p:nvPr/>
        </p:nvSpPr>
        <p:spPr>
          <a:xfrm>
            <a:off x="5997280" y="6760170"/>
            <a:ext cx="2755883" cy="492443"/>
          </a:xfrm>
          <a:prstGeom prst="rect">
            <a:avLst/>
          </a:prstGeom>
          <a:noFill/>
        </p:spPr>
        <p:txBody>
          <a:bodyPr wrap="none" rtlCol="0">
            <a:spAutoFit/>
          </a:bodyPr>
          <a:lstStyle/>
          <a:p>
            <a:r>
              <a:rPr lang="en-US" altLang="ja-JP" sz="1300" dirty="0"/>
              <a:t>1km</a:t>
            </a:r>
            <a:r>
              <a:rPr lang="ja-JP" altLang="en-US" sz="1300" dirty="0"/>
              <a:t>圏に複数の生活サービスを集積</a:t>
            </a:r>
            <a:endParaRPr lang="en-US" altLang="ja-JP" sz="1300" dirty="0"/>
          </a:p>
          <a:p>
            <a:r>
              <a:rPr lang="ja-JP" altLang="en-US" sz="1300" dirty="0"/>
              <a:t>（○：本取組で整備、●：既存施設）</a:t>
            </a:r>
            <a:endParaRPr lang="ja-JP" altLang="ja-JP" sz="1300" dirty="0"/>
          </a:p>
        </p:txBody>
      </p:sp>
      <p:sp>
        <p:nvSpPr>
          <p:cNvPr id="52" name="テキスト ボックス 51"/>
          <p:cNvSpPr txBox="1"/>
          <p:nvPr/>
        </p:nvSpPr>
        <p:spPr>
          <a:xfrm>
            <a:off x="6699899" y="-36000"/>
            <a:ext cx="556563" cy="258982"/>
          </a:xfrm>
          <a:prstGeom prst="rect">
            <a:avLst/>
          </a:prstGeom>
          <a:noFill/>
        </p:spPr>
        <p:txBody>
          <a:bodyPr wrap="none" rtlCol="0">
            <a:spAutoFit/>
          </a:bodyPr>
          <a:lstStyle/>
          <a:p>
            <a:r>
              <a:rPr lang="ja-JP" altLang="en-US" sz="1083" b="1" dirty="0" err="1">
                <a:solidFill>
                  <a:srgbClr val="0070C0"/>
                </a:solidFill>
              </a:rPr>
              <a:t>じねご</a:t>
            </a:r>
            <a:endParaRPr lang="ja-JP" altLang="en-US" sz="1083" b="1" dirty="0">
              <a:solidFill>
                <a:srgbClr val="0070C0"/>
              </a:solidFill>
            </a:endParaRPr>
          </a:p>
        </p:txBody>
      </p:sp>
      <p:sp>
        <p:nvSpPr>
          <p:cNvPr id="53" name="Rectangle 2"/>
          <p:cNvSpPr txBox="1">
            <a:spLocks noChangeArrowheads="1"/>
          </p:cNvSpPr>
          <p:nvPr/>
        </p:nvSpPr>
        <p:spPr bwMode="auto">
          <a:xfrm>
            <a:off x="6046345" y="495474"/>
            <a:ext cx="4306461" cy="392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044" tIns="49522" rIns="99044" bIns="49522"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ja-JP" altLang="en-US" sz="1200" kern="0" dirty="0"/>
              <a:t>　</a:t>
            </a:r>
            <a:r>
              <a:rPr lang="en-US" altLang="ja-JP" sz="1200" kern="0" dirty="0"/>
              <a:t>《</a:t>
            </a:r>
            <a:r>
              <a:rPr lang="ja-JP" altLang="en-US" sz="1200" kern="0" dirty="0"/>
              <a:t>「小さな拠点」</a:t>
            </a:r>
            <a:r>
              <a:rPr lang="ja-JP" altLang="en-US" sz="1200" kern="0" dirty="0" err="1"/>
              <a:t>づ</a:t>
            </a:r>
            <a:r>
              <a:rPr lang="ja-JP" altLang="en-US" sz="1200" kern="0" dirty="0"/>
              <a:t>くりガイドブック（Ｈ</a:t>
            </a:r>
            <a:r>
              <a:rPr lang="en-US" altLang="ja-JP" sz="1200" kern="0" dirty="0"/>
              <a:t>24</a:t>
            </a:r>
            <a:r>
              <a:rPr lang="ja-JP" altLang="en-US" sz="1200" kern="0" dirty="0"/>
              <a:t>年度）掲載事例</a:t>
            </a:r>
            <a:r>
              <a:rPr lang="en-US" altLang="ja-JP" sz="1200" kern="0" dirty="0"/>
              <a:t>》</a:t>
            </a:r>
            <a:endParaRPr lang="ja-JP" altLang="en-US" sz="1200" kern="0" dirty="0"/>
          </a:p>
        </p:txBody>
      </p:sp>
      <p:sp>
        <p:nvSpPr>
          <p:cNvPr id="3" name="フッター プレースホルダー 2">
            <a:extLst>
              <a:ext uri="{FF2B5EF4-FFF2-40B4-BE49-F238E27FC236}">
                <a16:creationId xmlns:a16="http://schemas.microsoft.com/office/drawing/2014/main" id="{0298C07A-BEEF-B126-FB07-2C14319ED61B}"/>
              </a:ext>
            </a:extLst>
          </p:cNvPr>
          <p:cNvSpPr>
            <a:spLocks noGrp="1"/>
          </p:cNvSpPr>
          <p:nvPr>
            <p:ph type="ftr" sz="quarter" idx="11"/>
          </p:nvPr>
        </p:nvSpPr>
        <p:spPr/>
        <p:txBody>
          <a:bodyPr/>
          <a:lstStyle/>
          <a:p>
            <a:pPr>
              <a:defRPr/>
            </a:pPr>
            <a:endParaRPr lang="en-US" altLang="ja-JP" dirty="0"/>
          </a:p>
        </p:txBody>
      </p:sp>
      <p:sp>
        <p:nvSpPr>
          <p:cNvPr id="4" name="スライド番号プレースホルダー 3">
            <a:extLst>
              <a:ext uri="{FF2B5EF4-FFF2-40B4-BE49-F238E27FC236}">
                <a16:creationId xmlns:a16="http://schemas.microsoft.com/office/drawing/2014/main" id="{261FBD6A-AC4C-79AB-81A2-75663C2BCE56}"/>
              </a:ext>
            </a:extLst>
          </p:cNvPr>
          <p:cNvSpPr>
            <a:spLocks noGrp="1"/>
          </p:cNvSpPr>
          <p:nvPr>
            <p:ph type="sldNum" sz="quarter" idx="12"/>
          </p:nvPr>
        </p:nvSpPr>
        <p:spPr/>
        <p:txBody>
          <a:bodyPr/>
          <a:lstStyle/>
          <a:p>
            <a:pPr>
              <a:defRPr/>
            </a:pPr>
            <a:fld id="{651FC12D-27C1-4F31-90C9-A93D49E44687}" type="slidenum">
              <a:rPr lang="en-US" altLang="ja-JP" smtClean="0"/>
              <a:pPr>
                <a:defRPr/>
              </a:pPr>
              <a:t>37</a:t>
            </a:fld>
            <a:endParaRPr lang="en-US" altLang="ja-JP" dirty="0"/>
          </a:p>
        </p:txBody>
      </p:sp>
    </p:spTree>
    <p:extLst>
      <p:ext uri="{BB962C8B-B14F-4D97-AF65-F5344CB8AC3E}">
        <p14:creationId xmlns:p14="http://schemas.microsoft.com/office/powerpoint/2010/main" val="26974845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テキスト ボックス 18"/>
          <p:cNvSpPr txBox="1"/>
          <p:nvPr/>
        </p:nvSpPr>
        <p:spPr>
          <a:xfrm>
            <a:off x="7058103" y="4214267"/>
            <a:ext cx="2770120" cy="1840699"/>
          </a:xfrm>
          <a:prstGeom prst="rect">
            <a:avLst/>
          </a:prstGeom>
          <a:noFill/>
          <a:ln>
            <a:solidFill>
              <a:schemeClr val="tx1"/>
            </a:solidFill>
          </a:ln>
        </p:spPr>
        <p:txBody>
          <a:bodyPr wrap="square" tIns="19497" bIns="0" rtlCol="0">
            <a:spAutoFit/>
          </a:bodyPr>
          <a:lstStyle/>
          <a:p>
            <a:pPr>
              <a:lnSpc>
                <a:spcPts val="2166"/>
              </a:lnSpc>
            </a:pPr>
            <a:r>
              <a:rPr lang="en-US" altLang="ja-JP" sz="1408" dirty="0">
                <a:solidFill>
                  <a:srgbClr val="000000"/>
                </a:solidFill>
                <a:latin typeface="ＭＳ Ｐ明朝" panose="02020600040205080304" pitchFamily="18" charset="-128"/>
                <a:ea typeface="ＭＳ Ｐ明朝" panose="02020600040205080304" pitchFamily="18" charset="-128"/>
              </a:rPr>
              <a:t>【</a:t>
            </a:r>
            <a:r>
              <a:rPr lang="ja-JP" altLang="en-US" sz="1408" dirty="0">
                <a:solidFill>
                  <a:srgbClr val="000000"/>
                </a:solidFill>
                <a:latin typeface="ＭＳ Ｐ明朝" panose="02020600040205080304" pitchFamily="18" charset="-128"/>
                <a:ea typeface="ＭＳ Ｐ明朝" panose="02020600040205080304" pitchFamily="18" charset="-128"/>
              </a:rPr>
              <a:t>改修後の施設内容</a:t>
            </a:r>
            <a:r>
              <a:rPr lang="en-US" altLang="ja-JP" sz="1408" dirty="0">
                <a:solidFill>
                  <a:srgbClr val="000000"/>
                </a:solidFill>
                <a:latin typeface="ＭＳ Ｐ明朝" panose="02020600040205080304" pitchFamily="18" charset="-128"/>
                <a:ea typeface="ＭＳ Ｐ明朝" panose="02020600040205080304" pitchFamily="18" charset="-128"/>
              </a:rPr>
              <a:t>】</a:t>
            </a:r>
          </a:p>
          <a:p>
            <a:pPr>
              <a:lnSpc>
                <a:spcPts val="1733"/>
              </a:lnSpc>
            </a:pPr>
            <a:r>
              <a:rPr lang="ja-JP" altLang="en-US" sz="1300" dirty="0">
                <a:solidFill>
                  <a:srgbClr val="000000"/>
                </a:solidFill>
                <a:uFill>
                  <a:solidFill>
                    <a:srgbClr val="000000"/>
                  </a:solidFill>
                </a:uFill>
                <a:latin typeface="ＭＳ Ｐ明朝" panose="02020600040205080304" pitchFamily="18" charset="-128"/>
                <a:ea typeface="ＭＳ Ｐ明朝" panose="02020600040205080304" pitchFamily="18" charset="-128"/>
              </a:rPr>
              <a:t>１階：診療所、薬局、郵便局、 </a:t>
            </a:r>
            <a:endParaRPr lang="en-US" altLang="ja-JP" sz="1300"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733"/>
              </a:lnSpc>
            </a:pPr>
            <a:r>
              <a:rPr lang="ja-JP" altLang="en-US" sz="1300" dirty="0">
                <a:solidFill>
                  <a:srgbClr val="000000"/>
                </a:solidFill>
                <a:uFill>
                  <a:solidFill>
                    <a:srgbClr val="000000"/>
                  </a:solidFill>
                </a:uFill>
                <a:latin typeface="ＭＳ Ｐ明朝" panose="02020600040205080304" pitchFamily="18" charset="-128"/>
                <a:ea typeface="ＭＳ Ｐ明朝" panose="02020600040205080304" pitchFamily="18" charset="-128"/>
              </a:rPr>
              <a:t>　　　　直売所（商店機能）　等</a:t>
            </a:r>
            <a:endParaRPr lang="en-US" altLang="ja-JP" sz="1300"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733"/>
              </a:lnSpc>
            </a:pPr>
            <a:r>
              <a:rPr lang="ja-JP" altLang="en-US" sz="1300" dirty="0">
                <a:solidFill>
                  <a:srgbClr val="000000"/>
                </a:solidFill>
                <a:uFill>
                  <a:solidFill>
                    <a:srgbClr val="000000"/>
                  </a:solidFill>
                </a:uFill>
                <a:latin typeface="ＭＳ Ｐ明朝" panose="02020600040205080304" pitchFamily="18" charset="-128"/>
                <a:ea typeface="ＭＳ Ｐ明朝" panose="02020600040205080304" pitchFamily="18" charset="-128"/>
              </a:rPr>
              <a:t>２階：市総合支所、歯科診療所　等</a:t>
            </a:r>
            <a:endParaRPr lang="en-US" altLang="ja-JP" sz="1300"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733"/>
              </a:lnSpc>
            </a:pPr>
            <a:r>
              <a:rPr lang="ja-JP" altLang="en-US" sz="1300" dirty="0">
                <a:solidFill>
                  <a:srgbClr val="000000"/>
                </a:solidFill>
                <a:uFill>
                  <a:solidFill>
                    <a:srgbClr val="000000"/>
                  </a:solidFill>
                </a:uFill>
                <a:latin typeface="ＭＳ Ｐ明朝" panose="02020600040205080304" pitchFamily="18" charset="-128"/>
                <a:ea typeface="ＭＳ Ｐ明朝" panose="02020600040205080304" pitchFamily="18" charset="-128"/>
              </a:rPr>
              <a:t>３階：公民館機能（会議室、図書室、　</a:t>
            </a:r>
            <a:endParaRPr lang="en-US" altLang="ja-JP" sz="1300"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733"/>
              </a:lnSpc>
            </a:pPr>
            <a:r>
              <a:rPr lang="ja-JP" altLang="en-US" sz="1300" dirty="0">
                <a:solidFill>
                  <a:srgbClr val="000000"/>
                </a:solidFill>
                <a:uFill>
                  <a:solidFill>
                    <a:srgbClr val="000000"/>
                  </a:solidFill>
                </a:uFill>
                <a:latin typeface="ＭＳ Ｐ明朝" panose="02020600040205080304" pitchFamily="18" charset="-128"/>
                <a:ea typeface="ＭＳ Ｐ明朝" panose="02020600040205080304" pitchFamily="18" charset="-128"/>
              </a:rPr>
              <a:t>　　　調理室）、ＮＰＯ法人事務室　等</a:t>
            </a:r>
            <a:endParaRPr lang="en-US" altLang="ja-JP" sz="1300"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733"/>
              </a:lnSpc>
            </a:pPr>
            <a:r>
              <a:rPr lang="ja-JP" altLang="en-US" sz="1300" dirty="0">
                <a:solidFill>
                  <a:srgbClr val="000000"/>
                </a:solidFill>
                <a:uFill>
                  <a:solidFill>
                    <a:srgbClr val="000000"/>
                  </a:solidFill>
                </a:uFill>
                <a:latin typeface="ＭＳ Ｐ明朝" panose="02020600040205080304" pitchFamily="18" charset="-128"/>
                <a:ea typeface="ＭＳ Ｐ明朝" panose="02020600040205080304" pitchFamily="18" charset="-128"/>
              </a:rPr>
              <a:t>体育館地下：消防分署</a:t>
            </a:r>
            <a:endParaRPr lang="en-US" altLang="ja-JP" sz="1300"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841"/>
              </a:lnSpc>
            </a:pPr>
            <a:r>
              <a:rPr lang="en-US" altLang="ja-JP" sz="1408" b="1" dirty="0">
                <a:solidFill>
                  <a:srgbClr val="FF0000"/>
                </a:solidFill>
                <a:uFill>
                  <a:solidFill>
                    <a:srgbClr val="000000"/>
                  </a:solidFill>
                </a:uFill>
                <a:latin typeface="+mn-ea"/>
                <a:ea typeface="+mn-ea"/>
              </a:rPr>
              <a:t>【</a:t>
            </a:r>
            <a:r>
              <a:rPr lang="ja-JP" altLang="en-US" sz="1408" b="1" dirty="0">
                <a:solidFill>
                  <a:srgbClr val="FF0000"/>
                </a:solidFill>
                <a:uFill>
                  <a:solidFill>
                    <a:srgbClr val="000000"/>
                  </a:solidFill>
                </a:uFill>
                <a:latin typeface="+mn-ea"/>
                <a:ea typeface="+mn-ea"/>
              </a:rPr>
              <a:t>事業期間（平成</a:t>
            </a:r>
            <a:r>
              <a:rPr lang="en-US" altLang="ja-JP" sz="1408" b="1" dirty="0">
                <a:solidFill>
                  <a:srgbClr val="FF0000"/>
                </a:solidFill>
                <a:uFill>
                  <a:solidFill>
                    <a:srgbClr val="000000"/>
                  </a:solidFill>
                </a:uFill>
                <a:latin typeface="+mn-ea"/>
                <a:ea typeface="+mn-ea"/>
              </a:rPr>
              <a:t>26</a:t>
            </a:r>
            <a:r>
              <a:rPr lang="ja-JP" altLang="en-US" sz="1408" b="1" dirty="0">
                <a:solidFill>
                  <a:srgbClr val="FF0000"/>
                </a:solidFill>
                <a:uFill>
                  <a:solidFill>
                    <a:srgbClr val="000000"/>
                  </a:solidFill>
                </a:uFill>
                <a:latin typeface="+mn-ea"/>
                <a:ea typeface="+mn-ea"/>
              </a:rPr>
              <a:t>～</a:t>
            </a:r>
            <a:r>
              <a:rPr lang="en-US" altLang="ja-JP" sz="1408" b="1" dirty="0">
                <a:solidFill>
                  <a:srgbClr val="FF0000"/>
                </a:solidFill>
                <a:uFill>
                  <a:solidFill>
                    <a:srgbClr val="000000"/>
                  </a:solidFill>
                </a:uFill>
                <a:latin typeface="+mn-ea"/>
                <a:ea typeface="+mn-ea"/>
              </a:rPr>
              <a:t>28</a:t>
            </a:r>
            <a:r>
              <a:rPr lang="ja-JP" altLang="en-US" sz="1408" b="1" dirty="0">
                <a:solidFill>
                  <a:srgbClr val="FF0000"/>
                </a:solidFill>
                <a:uFill>
                  <a:solidFill>
                    <a:srgbClr val="000000"/>
                  </a:solidFill>
                </a:uFill>
                <a:latin typeface="+mn-ea"/>
                <a:ea typeface="+mn-ea"/>
              </a:rPr>
              <a:t>年度）</a:t>
            </a:r>
            <a:r>
              <a:rPr lang="en-US" altLang="ja-JP" sz="1408" b="1" dirty="0">
                <a:solidFill>
                  <a:srgbClr val="FF0000"/>
                </a:solidFill>
                <a:uFill>
                  <a:solidFill>
                    <a:srgbClr val="000000"/>
                  </a:solidFill>
                </a:uFill>
                <a:latin typeface="+mn-ea"/>
                <a:ea typeface="+mn-ea"/>
              </a:rPr>
              <a:t>】</a:t>
            </a:r>
            <a:r>
              <a:rPr lang="ja-JP" altLang="en-US" sz="1083" b="1" dirty="0">
                <a:uFill>
                  <a:solidFill>
                    <a:srgbClr val="000000"/>
                  </a:solidFill>
                </a:uFill>
                <a:latin typeface="+mn-ea"/>
                <a:ea typeface="+mn-ea"/>
              </a:rPr>
              <a:t>　</a:t>
            </a:r>
            <a:endParaRPr lang="en-US" altLang="ja-JP" sz="1083" b="1" dirty="0">
              <a:uFill>
                <a:solidFill>
                  <a:srgbClr val="000000"/>
                </a:solidFill>
              </a:uFill>
              <a:latin typeface="+mn-ea"/>
              <a:ea typeface="+mn-ea"/>
            </a:endParaRPr>
          </a:p>
        </p:txBody>
      </p:sp>
      <p:sp>
        <p:nvSpPr>
          <p:cNvPr id="161" name="テキスト ボックス 160"/>
          <p:cNvSpPr txBox="1"/>
          <p:nvPr/>
        </p:nvSpPr>
        <p:spPr>
          <a:xfrm>
            <a:off x="46755" y="2079650"/>
            <a:ext cx="2457179" cy="2144177"/>
          </a:xfrm>
          <a:prstGeom prst="rect">
            <a:avLst/>
          </a:prstGeom>
          <a:noFill/>
        </p:spPr>
        <p:txBody>
          <a:bodyPr wrap="square" rtlCol="0">
            <a:spAutoFit/>
          </a:bodyPr>
          <a:lstStyle/>
          <a:p>
            <a:pPr marL="136483" indent="-350957">
              <a:lnSpc>
                <a:spcPts val="1950"/>
              </a:lnSpc>
            </a:pPr>
            <a:r>
              <a:rPr lang="ja-JP" altLang="en-US" sz="1300" dirty="0">
                <a:solidFill>
                  <a:srgbClr val="000000"/>
                </a:solidFill>
                <a:latin typeface="ＭＳ Ｐ明朝" panose="02020600040205080304" pitchFamily="18" charset="-128"/>
                <a:ea typeface="ＭＳ Ｐ明朝" panose="02020600040205080304" pitchFamily="18" charset="-128"/>
              </a:rPr>
              <a:t>・ </a:t>
            </a:r>
            <a:r>
              <a:rPr lang="ja-JP" altLang="en-US" sz="1300" b="1" dirty="0">
                <a:solidFill>
                  <a:srgbClr val="000000"/>
                </a:solidFill>
                <a:latin typeface="+mn-ea"/>
                <a:ea typeface="+mn-ea"/>
              </a:rPr>
              <a:t>地区人口： </a:t>
            </a:r>
            <a:r>
              <a:rPr lang="en-US" altLang="ja-JP" sz="1300" b="1" dirty="0">
                <a:solidFill>
                  <a:srgbClr val="000000"/>
                </a:solidFill>
                <a:latin typeface="+mn-ea"/>
                <a:ea typeface="+mn-ea"/>
              </a:rPr>
              <a:t>715</a:t>
            </a:r>
            <a:r>
              <a:rPr lang="ja-JP" altLang="en-US" sz="1300" b="1" dirty="0">
                <a:solidFill>
                  <a:srgbClr val="000000"/>
                </a:solidFill>
                <a:latin typeface="+mn-ea"/>
                <a:ea typeface="+mn-ea"/>
              </a:rPr>
              <a:t>人（</a:t>
            </a:r>
            <a:r>
              <a:rPr lang="en-US" altLang="ja-JP" sz="1300" b="1" dirty="0">
                <a:solidFill>
                  <a:srgbClr val="000000"/>
                </a:solidFill>
                <a:latin typeface="+mn-ea"/>
                <a:ea typeface="+mn-ea"/>
              </a:rPr>
              <a:t>402</a:t>
            </a:r>
            <a:r>
              <a:rPr lang="ja-JP" altLang="en-US" sz="1300" b="1" dirty="0">
                <a:solidFill>
                  <a:srgbClr val="000000"/>
                </a:solidFill>
                <a:latin typeface="+mn-ea"/>
                <a:ea typeface="+mn-ea"/>
              </a:rPr>
              <a:t>世帯）</a:t>
            </a:r>
            <a:endParaRPr lang="en-US" altLang="ja-JP" sz="1300" b="1" dirty="0">
              <a:solidFill>
                <a:srgbClr val="000000"/>
              </a:solidFill>
              <a:latin typeface="+mn-ea"/>
              <a:ea typeface="+mn-ea"/>
            </a:endParaRPr>
          </a:p>
          <a:p>
            <a:pPr marL="136483" indent="-350957">
              <a:lnSpc>
                <a:spcPts val="1950"/>
              </a:lnSpc>
            </a:pPr>
            <a:r>
              <a:rPr lang="ja-JP" altLang="en-US" sz="1300" dirty="0">
                <a:solidFill>
                  <a:srgbClr val="000000"/>
                </a:solidFill>
                <a:latin typeface="ＭＳ Ｐ明朝" panose="02020600040205080304" pitchFamily="18" charset="-128"/>
                <a:ea typeface="ＭＳ Ｐ明朝" panose="02020600040205080304" pitchFamily="18" charset="-128"/>
              </a:rPr>
              <a:t>　</a:t>
            </a:r>
            <a:r>
              <a:rPr lang="ja-JP" altLang="en-US" sz="1300" b="1" dirty="0">
                <a:solidFill>
                  <a:srgbClr val="000000"/>
                </a:solidFill>
                <a:latin typeface="+mn-ea"/>
                <a:ea typeface="+mn-ea"/>
              </a:rPr>
              <a:t>高齢化率：</a:t>
            </a:r>
            <a:r>
              <a:rPr lang="en-US" altLang="ja-JP" sz="1300" b="1" dirty="0">
                <a:solidFill>
                  <a:srgbClr val="000000"/>
                </a:solidFill>
                <a:latin typeface="+mn-ea"/>
                <a:ea typeface="+mn-ea"/>
              </a:rPr>
              <a:t>58</a:t>
            </a:r>
            <a:r>
              <a:rPr lang="ja-JP" altLang="en-US" sz="1300" b="1" dirty="0">
                <a:solidFill>
                  <a:srgbClr val="000000"/>
                </a:solidFill>
                <a:latin typeface="+mn-ea"/>
                <a:ea typeface="+mn-ea"/>
              </a:rPr>
              <a:t>％ </a:t>
            </a:r>
            <a:r>
              <a:rPr lang="en-US" altLang="ja-JP" sz="867" dirty="0">
                <a:solidFill>
                  <a:srgbClr val="000000"/>
                </a:solidFill>
                <a:latin typeface="ＭＳ Ｐ明朝" panose="02020600040205080304" pitchFamily="18" charset="-128"/>
                <a:ea typeface="ＭＳ Ｐ明朝" panose="02020600040205080304" pitchFamily="18" charset="-128"/>
              </a:rPr>
              <a:t>【H</a:t>
            </a:r>
            <a:r>
              <a:rPr lang="ja-JP" altLang="en-US" sz="867" dirty="0">
                <a:solidFill>
                  <a:srgbClr val="000000"/>
                </a:solidFill>
                <a:latin typeface="ＭＳ Ｐ明朝" panose="02020600040205080304" pitchFamily="18" charset="-128"/>
                <a:ea typeface="ＭＳ Ｐ明朝" panose="02020600040205080304" pitchFamily="18" charset="-128"/>
              </a:rPr>
              <a:t>２７</a:t>
            </a:r>
            <a:r>
              <a:rPr lang="en-US" altLang="ja-JP" sz="867" dirty="0">
                <a:solidFill>
                  <a:srgbClr val="000000"/>
                </a:solidFill>
                <a:latin typeface="ＭＳ Ｐ明朝" panose="02020600040205080304" pitchFamily="18" charset="-128"/>
                <a:ea typeface="ＭＳ Ｐ明朝" panose="02020600040205080304" pitchFamily="18" charset="-128"/>
              </a:rPr>
              <a:t>.</a:t>
            </a:r>
            <a:r>
              <a:rPr lang="ja-JP" altLang="en-US" sz="867" dirty="0">
                <a:solidFill>
                  <a:srgbClr val="000000"/>
                </a:solidFill>
                <a:latin typeface="ＭＳ Ｐ明朝" panose="02020600040205080304" pitchFamily="18" charset="-128"/>
                <a:ea typeface="ＭＳ Ｐ明朝" panose="02020600040205080304" pitchFamily="18" charset="-128"/>
              </a:rPr>
              <a:t>７</a:t>
            </a:r>
            <a:r>
              <a:rPr lang="en-US" altLang="ja-JP" sz="867" dirty="0">
                <a:solidFill>
                  <a:srgbClr val="000000"/>
                </a:solidFill>
                <a:latin typeface="ＭＳ Ｐ明朝" panose="02020600040205080304" pitchFamily="18" charset="-128"/>
                <a:ea typeface="ＭＳ Ｐ明朝" panose="02020600040205080304" pitchFamily="18" charset="-128"/>
              </a:rPr>
              <a:t>.</a:t>
            </a:r>
            <a:r>
              <a:rPr lang="ja-JP" altLang="en-US" sz="867" dirty="0">
                <a:solidFill>
                  <a:srgbClr val="000000"/>
                </a:solidFill>
                <a:latin typeface="ＭＳ Ｐ明朝" panose="02020600040205080304" pitchFamily="18" charset="-128"/>
                <a:ea typeface="ＭＳ Ｐ明朝" panose="02020600040205080304" pitchFamily="18" charset="-128"/>
              </a:rPr>
              <a:t>１</a:t>
            </a:r>
            <a:r>
              <a:rPr lang="en-US" altLang="ja-JP" sz="867" dirty="0">
                <a:solidFill>
                  <a:srgbClr val="000000"/>
                </a:solidFill>
                <a:latin typeface="ＭＳ Ｐ明朝" panose="02020600040205080304" pitchFamily="18" charset="-128"/>
                <a:ea typeface="ＭＳ Ｐ明朝" panose="02020600040205080304" pitchFamily="18" charset="-128"/>
              </a:rPr>
              <a:t> </a:t>
            </a:r>
            <a:r>
              <a:rPr lang="ja-JP" altLang="en-US" sz="867" dirty="0">
                <a:solidFill>
                  <a:srgbClr val="000000"/>
                </a:solidFill>
                <a:latin typeface="ＭＳ Ｐ明朝" panose="02020600040205080304" pitchFamily="18" charset="-128"/>
                <a:ea typeface="ＭＳ Ｐ明朝" panose="02020600040205080304" pitchFamily="18" charset="-128"/>
              </a:rPr>
              <a:t>現在</a:t>
            </a:r>
            <a:r>
              <a:rPr lang="en-US" altLang="ja-JP" sz="867" dirty="0">
                <a:solidFill>
                  <a:srgbClr val="000000"/>
                </a:solidFill>
                <a:latin typeface="ＭＳ Ｐ明朝" panose="02020600040205080304" pitchFamily="18" charset="-128"/>
                <a:ea typeface="ＭＳ Ｐ明朝" panose="02020600040205080304" pitchFamily="18" charset="-128"/>
              </a:rPr>
              <a:t>】</a:t>
            </a:r>
          </a:p>
          <a:p>
            <a:pPr marL="136483" indent="-350957">
              <a:lnSpc>
                <a:spcPts val="1950"/>
              </a:lnSpc>
            </a:pPr>
            <a:r>
              <a:rPr lang="ja-JP" altLang="en-US" sz="1300" dirty="0">
                <a:solidFill>
                  <a:srgbClr val="000000"/>
                </a:solidFill>
                <a:latin typeface="ＭＳ Ｐ明朝" panose="02020600040205080304" pitchFamily="18" charset="-128"/>
                <a:ea typeface="ＭＳ Ｐ明朝" panose="02020600040205080304" pitchFamily="18" charset="-128"/>
              </a:rPr>
              <a:t>・ </a:t>
            </a:r>
            <a:r>
              <a:rPr lang="ja-JP" altLang="en-US" sz="1300" b="1" dirty="0">
                <a:solidFill>
                  <a:srgbClr val="000000"/>
                </a:solidFill>
                <a:latin typeface="+mn-ea"/>
                <a:ea typeface="+mn-ea"/>
              </a:rPr>
              <a:t>市中心部まで約</a:t>
            </a:r>
            <a:r>
              <a:rPr lang="en-US" altLang="ja-JP" sz="1300" b="1" dirty="0">
                <a:solidFill>
                  <a:srgbClr val="000000"/>
                </a:solidFill>
                <a:latin typeface="+mn-ea"/>
                <a:ea typeface="+mn-ea"/>
              </a:rPr>
              <a:t>30km</a:t>
            </a:r>
          </a:p>
          <a:p>
            <a:pPr marL="136483" indent="-350957">
              <a:lnSpc>
                <a:spcPts val="1950"/>
              </a:lnSpc>
            </a:pPr>
            <a:r>
              <a:rPr lang="ja-JP" altLang="en-US" sz="1300" dirty="0">
                <a:solidFill>
                  <a:srgbClr val="000000"/>
                </a:solidFill>
                <a:latin typeface="ＭＳ Ｐ明朝" panose="02020600040205080304" pitchFamily="18" charset="-128"/>
                <a:ea typeface="ＭＳ Ｐ明朝" panose="02020600040205080304" pitchFamily="18" charset="-128"/>
              </a:rPr>
              <a:t>・ 川井</a:t>
            </a:r>
            <a:r>
              <a:rPr lang="en-US" altLang="ja-JP" sz="1300" dirty="0">
                <a:solidFill>
                  <a:srgbClr val="000000"/>
                </a:solidFill>
                <a:latin typeface="ＭＳ Ｐ明朝" panose="02020600040205080304" pitchFamily="18" charset="-128"/>
                <a:ea typeface="ＭＳ Ｐ明朝" panose="02020600040205080304" pitchFamily="18" charset="-128"/>
              </a:rPr>
              <a:t>､</a:t>
            </a:r>
            <a:r>
              <a:rPr lang="ja-JP" altLang="en-US" sz="1300" dirty="0">
                <a:solidFill>
                  <a:srgbClr val="000000"/>
                </a:solidFill>
                <a:latin typeface="ＭＳ Ｐ明朝" panose="02020600040205080304" pitchFamily="18" charset="-128"/>
                <a:ea typeface="ＭＳ Ｐ明朝" panose="02020600040205080304" pitchFamily="18" charset="-128"/>
              </a:rPr>
              <a:t>三ツ木</a:t>
            </a:r>
            <a:r>
              <a:rPr lang="en-US" altLang="ja-JP" sz="1300" dirty="0">
                <a:solidFill>
                  <a:srgbClr val="000000"/>
                </a:solidFill>
                <a:latin typeface="ＭＳ Ｐ明朝" panose="02020600040205080304" pitchFamily="18" charset="-128"/>
                <a:ea typeface="ＭＳ Ｐ明朝" panose="02020600040205080304" pitchFamily="18" charset="-128"/>
              </a:rPr>
              <a:t>､</a:t>
            </a:r>
            <a:r>
              <a:rPr lang="ja-JP" altLang="en-US" sz="1300" dirty="0">
                <a:solidFill>
                  <a:srgbClr val="000000"/>
                </a:solidFill>
                <a:latin typeface="ＭＳ Ｐ明朝" panose="02020600040205080304" pitchFamily="18" charset="-128"/>
                <a:ea typeface="ＭＳ Ｐ明朝" panose="02020600040205080304" pitchFamily="18" charset="-128"/>
              </a:rPr>
              <a:t>木屋平の</a:t>
            </a:r>
            <a:r>
              <a:rPr lang="en-US" altLang="ja-JP" sz="1300" dirty="0">
                <a:solidFill>
                  <a:srgbClr val="000000"/>
                </a:solidFill>
                <a:latin typeface="ＭＳ Ｐ明朝" panose="02020600040205080304" pitchFamily="18" charset="-128"/>
                <a:ea typeface="ＭＳ Ｐ明朝" panose="02020600040205080304" pitchFamily="18" charset="-128"/>
              </a:rPr>
              <a:t>3</a:t>
            </a:r>
            <a:r>
              <a:rPr lang="ja-JP" altLang="en-US" sz="1300" dirty="0">
                <a:solidFill>
                  <a:srgbClr val="000000"/>
                </a:solidFill>
                <a:latin typeface="ＭＳ Ｐ明朝" panose="02020600040205080304" pitchFamily="18" charset="-128"/>
                <a:ea typeface="ＭＳ Ｐ明朝" panose="02020600040205080304" pitchFamily="18" charset="-128"/>
              </a:rPr>
              <a:t>集落</a:t>
            </a:r>
            <a:endParaRPr lang="en-US" altLang="ja-JP" sz="1300" dirty="0">
              <a:solidFill>
                <a:srgbClr val="000000"/>
              </a:solidFill>
              <a:latin typeface="ＭＳ Ｐ明朝" panose="02020600040205080304" pitchFamily="18" charset="-128"/>
              <a:ea typeface="ＭＳ Ｐ明朝" panose="02020600040205080304" pitchFamily="18" charset="-128"/>
            </a:endParaRPr>
          </a:p>
          <a:p>
            <a:pPr marL="136483" indent="-350957">
              <a:lnSpc>
                <a:spcPts val="1950"/>
              </a:lnSpc>
            </a:pPr>
            <a:r>
              <a:rPr lang="ja-JP" altLang="en-US" sz="1300" dirty="0">
                <a:solidFill>
                  <a:srgbClr val="000000"/>
                </a:solidFill>
                <a:latin typeface="ＭＳ Ｐ明朝" panose="02020600040205080304" pitchFamily="18" charset="-128"/>
                <a:ea typeface="ＭＳ Ｐ明朝" panose="02020600040205080304" pitchFamily="18" charset="-128"/>
              </a:rPr>
              <a:t>・ 合併</a:t>
            </a:r>
            <a:r>
              <a:rPr lang="en-US" altLang="ja-JP" sz="1300" dirty="0">
                <a:solidFill>
                  <a:srgbClr val="000000"/>
                </a:solidFill>
                <a:latin typeface="ＭＳ Ｐ明朝" panose="02020600040205080304" pitchFamily="18" charset="-128"/>
                <a:ea typeface="ＭＳ Ｐ明朝" panose="02020600040205080304" pitchFamily="18" charset="-128"/>
              </a:rPr>
              <a:t>(H17)</a:t>
            </a:r>
            <a:r>
              <a:rPr lang="ja-JP" altLang="en-US" sz="1300" dirty="0">
                <a:solidFill>
                  <a:srgbClr val="000000"/>
                </a:solidFill>
                <a:latin typeface="ＭＳ Ｐ明朝" panose="02020600040205080304" pitchFamily="18" charset="-128"/>
                <a:ea typeface="ＭＳ Ｐ明朝" panose="02020600040205080304" pitchFamily="18" charset="-128"/>
              </a:rPr>
              <a:t>前の中心部（役場所在地）であった川井集落に</a:t>
            </a:r>
            <a:r>
              <a:rPr lang="en-US" altLang="ja-JP" sz="1300" dirty="0">
                <a:solidFill>
                  <a:srgbClr val="000000"/>
                </a:solidFill>
                <a:latin typeface="ＭＳ Ｐ明朝" panose="02020600040205080304" pitchFamily="18" charset="-128"/>
                <a:ea typeface="ＭＳ Ｐ明朝" panose="02020600040205080304" pitchFamily="18" charset="-128"/>
              </a:rPr>
              <a:t>､</a:t>
            </a:r>
            <a:r>
              <a:rPr lang="ja-JP" altLang="en-US" sz="1300" dirty="0">
                <a:solidFill>
                  <a:srgbClr val="000000"/>
                </a:solidFill>
                <a:latin typeface="ＭＳ Ｐ明朝" panose="02020600040205080304" pitchFamily="18" charset="-128"/>
                <a:ea typeface="ＭＳ Ｐ明朝" panose="02020600040205080304" pitchFamily="18" charset="-128"/>
              </a:rPr>
              <a:t>商店</a:t>
            </a:r>
            <a:r>
              <a:rPr lang="en-US" altLang="ja-JP" sz="867" dirty="0">
                <a:solidFill>
                  <a:srgbClr val="000000"/>
                </a:solidFill>
                <a:latin typeface="ＭＳ Ｐ明朝" panose="02020600040205080304" pitchFamily="18" charset="-128"/>
                <a:ea typeface="ＭＳ Ｐ明朝" panose="02020600040205080304" pitchFamily="18" charset="-128"/>
              </a:rPr>
              <a:t>､</a:t>
            </a:r>
            <a:r>
              <a:rPr lang="ja-JP" altLang="en-US" sz="1300" dirty="0">
                <a:solidFill>
                  <a:srgbClr val="000000"/>
                </a:solidFill>
                <a:latin typeface="ＭＳ Ｐ明朝" panose="02020600040205080304" pitchFamily="18" charset="-128"/>
                <a:ea typeface="ＭＳ Ｐ明朝" panose="02020600040205080304" pitchFamily="18" charset="-128"/>
              </a:rPr>
              <a:t>診療所</a:t>
            </a:r>
            <a:r>
              <a:rPr lang="en-US" altLang="ja-JP" sz="867" dirty="0">
                <a:solidFill>
                  <a:srgbClr val="000000"/>
                </a:solidFill>
                <a:latin typeface="ＭＳ Ｐ明朝" panose="02020600040205080304" pitchFamily="18" charset="-128"/>
                <a:ea typeface="ＭＳ Ｐ明朝" panose="02020600040205080304" pitchFamily="18" charset="-128"/>
              </a:rPr>
              <a:t>､</a:t>
            </a:r>
            <a:r>
              <a:rPr lang="ja-JP" altLang="en-US" sz="1300" dirty="0">
                <a:solidFill>
                  <a:srgbClr val="000000"/>
                </a:solidFill>
                <a:latin typeface="ＭＳ Ｐ明朝" panose="02020600040205080304" pitchFamily="18" charset="-128"/>
                <a:ea typeface="ＭＳ Ｐ明朝" panose="02020600040205080304" pitchFamily="18" charset="-128"/>
              </a:rPr>
              <a:t>郵便局等が立地（支所等の施設は老朽化）</a:t>
            </a:r>
            <a:endParaRPr lang="en-US" altLang="ja-JP" sz="1300" dirty="0">
              <a:solidFill>
                <a:srgbClr val="000000"/>
              </a:solidFill>
              <a:latin typeface="ＭＳ Ｐ明朝" panose="02020600040205080304" pitchFamily="18" charset="-128"/>
              <a:ea typeface="ＭＳ Ｐ明朝" panose="02020600040205080304" pitchFamily="18" charset="-128"/>
            </a:endParaRPr>
          </a:p>
        </p:txBody>
      </p:sp>
      <p:pic>
        <p:nvPicPr>
          <p:cNvPr id="91" name="図 90"/>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bwMode="auto">
          <a:xfrm>
            <a:off x="2534325" y="1897051"/>
            <a:ext cx="4469712" cy="5654750"/>
          </a:xfrm>
          <a:prstGeom prst="rect">
            <a:avLst/>
          </a:prstGeom>
          <a:solidFill>
            <a:schemeClr val="bg2"/>
          </a:solidFill>
          <a:ln w="12700">
            <a:solidFill>
              <a:schemeClr val="tx1"/>
            </a:solidFill>
            <a:miter lim="800000"/>
            <a:headEnd/>
            <a:tailEnd/>
          </a:ln>
        </p:spPr>
      </p:pic>
      <p:pic>
        <p:nvPicPr>
          <p:cNvPr id="7" name="図 6"/>
          <p:cNvPicPr/>
          <p:nvPr/>
        </p:nvPicPr>
        <p:blipFill rotWithShape="1">
          <a:blip r:embed="rId4" cstate="email">
            <a:extLst>
              <a:ext uri="{28A0092B-C50C-407E-A947-70E740481C1C}">
                <a14:useLocalDpi xmlns:a14="http://schemas.microsoft.com/office/drawing/2010/main" val="0"/>
              </a:ext>
            </a:extLst>
          </a:blip>
          <a:srcRect/>
          <a:stretch/>
        </p:blipFill>
        <p:spPr bwMode="auto">
          <a:xfrm>
            <a:off x="38448" y="5732329"/>
            <a:ext cx="2402281" cy="1813340"/>
          </a:xfrm>
          <a:prstGeom prst="rect">
            <a:avLst/>
          </a:prstGeom>
          <a:ln>
            <a:noFill/>
          </a:ln>
          <a:extLst>
            <a:ext uri="{53640926-AAD7-44D8-BBD7-CCE9431645EC}">
              <a14:shadowObscured xmlns:a14="http://schemas.microsoft.com/office/drawing/2010/main"/>
            </a:ext>
          </a:extLst>
        </p:spPr>
      </p:pic>
      <p:sp>
        <p:nvSpPr>
          <p:cNvPr id="9" name="正方形/長方形 8"/>
          <p:cNvSpPr/>
          <p:nvPr/>
        </p:nvSpPr>
        <p:spPr>
          <a:xfrm>
            <a:off x="72009" y="837999"/>
            <a:ext cx="9704733" cy="857958"/>
          </a:xfrm>
          <a:prstGeom prst="rect">
            <a:avLst/>
          </a:prstGeom>
          <a:noFill/>
          <a:ln w="190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10" name="テキスト ボックス 9"/>
          <p:cNvSpPr txBox="1"/>
          <p:nvPr/>
        </p:nvSpPr>
        <p:spPr>
          <a:xfrm>
            <a:off x="102022" y="838000"/>
            <a:ext cx="9756000" cy="1118255"/>
          </a:xfrm>
          <a:prstGeom prst="rect">
            <a:avLst/>
          </a:prstGeom>
          <a:noFill/>
        </p:spPr>
        <p:txBody>
          <a:bodyPr wrap="square" rtlCol="0">
            <a:spAutoFit/>
          </a:bodyPr>
          <a:lstStyle/>
          <a:p>
            <a:pPr>
              <a:lnSpc>
                <a:spcPts val="1950"/>
              </a:lnSpc>
              <a:buFont typeface="Arial" pitchFamily="34" charset="0"/>
              <a:buChar char="•"/>
            </a:pPr>
            <a:r>
              <a:rPr lang="ja-JP" altLang="en-US" sz="1516" dirty="0">
                <a:solidFill>
                  <a:srgbClr val="000000"/>
                </a:solidFill>
                <a:latin typeface="ＭＳ Ｐ明朝" panose="02020600040205080304" pitchFamily="18" charset="-128"/>
                <a:ea typeface="ＭＳ Ｐ明朝" panose="02020600040205080304" pitchFamily="18" charset="-128"/>
              </a:rPr>
              <a:t> 高齢化が進む山間部の地域で、</a:t>
            </a:r>
            <a:r>
              <a:rPr lang="ja-JP" altLang="en-US" sz="1516" b="1" dirty="0">
                <a:solidFill>
                  <a:srgbClr val="000000"/>
                </a:solidFill>
                <a:latin typeface="+mn-ea"/>
                <a:ea typeface="+mn-ea"/>
              </a:rPr>
              <a:t>廃校となった中学校を活用し、行政、買物、医療等の日常生活サービス機能を集約</a:t>
            </a:r>
            <a:r>
              <a:rPr lang="ja-JP" altLang="en-US" sz="1516" dirty="0">
                <a:solidFill>
                  <a:srgbClr val="000000"/>
                </a:solidFill>
                <a:latin typeface="ＭＳ Ｐ明朝" panose="02020600040205080304" pitchFamily="18" charset="-128"/>
                <a:ea typeface="ＭＳ Ｐ明朝" panose="02020600040205080304" pitchFamily="18" charset="-128"/>
              </a:rPr>
              <a:t>。</a:t>
            </a:r>
            <a:endParaRPr lang="en-US" altLang="ja-JP" sz="1516" dirty="0">
              <a:solidFill>
                <a:srgbClr val="000000"/>
              </a:solidFill>
              <a:latin typeface="ＭＳ Ｐ明朝" panose="02020600040205080304" pitchFamily="18" charset="-128"/>
              <a:ea typeface="ＭＳ Ｐ明朝" panose="02020600040205080304" pitchFamily="18" charset="-128"/>
            </a:endParaRPr>
          </a:p>
          <a:p>
            <a:pPr>
              <a:lnSpc>
                <a:spcPts val="1950"/>
              </a:lnSpc>
              <a:buFont typeface="Arial" pitchFamily="34" charset="0"/>
              <a:buChar char="•"/>
            </a:pPr>
            <a:r>
              <a:rPr lang="en-US" altLang="ja-JP" sz="1516" dirty="0">
                <a:solidFill>
                  <a:srgbClr val="000000"/>
                </a:solidFill>
                <a:latin typeface="ＭＳ Ｐ明朝" panose="02020600040205080304" pitchFamily="18" charset="-128"/>
                <a:ea typeface="ＭＳ Ｐ明朝" panose="02020600040205080304" pitchFamily="18" charset="-128"/>
              </a:rPr>
              <a:t> </a:t>
            </a:r>
            <a:r>
              <a:rPr lang="ja-JP" altLang="en-US" sz="1516" dirty="0">
                <a:solidFill>
                  <a:srgbClr val="000000"/>
                </a:solidFill>
                <a:latin typeface="ＭＳ Ｐ明朝" panose="02020600040205080304" pitchFamily="18" charset="-128"/>
                <a:ea typeface="ＭＳ Ｐ明朝" panose="02020600040205080304" pitchFamily="18" charset="-128"/>
              </a:rPr>
              <a:t>住民有志により設立したＮＰＯ法人が、有償旅客運送による高齢者等の移動サービスや、安否確認、生活相談等の見守り、農林作業の手伝い等の事業を実施。</a:t>
            </a:r>
            <a:endParaRPr lang="en-US" altLang="ja-JP" sz="1516" dirty="0">
              <a:solidFill>
                <a:srgbClr val="000000"/>
              </a:solidFill>
              <a:latin typeface="ＭＳ Ｐ明朝" panose="02020600040205080304" pitchFamily="18" charset="-128"/>
              <a:ea typeface="ＭＳ Ｐ明朝" panose="02020600040205080304" pitchFamily="18" charset="-128"/>
            </a:endParaRPr>
          </a:p>
        </p:txBody>
      </p:sp>
      <p:sp>
        <p:nvSpPr>
          <p:cNvPr id="2" name="正方形/長方形 1"/>
          <p:cNvSpPr/>
          <p:nvPr/>
        </p:nvSpPr>
        <p:spPr>
          <a:xfrm>
            <a:off x="1258551" y="6945531"/>
            <a:ext cx="49522" cy="4952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cxnSp>
        <p:nvCxnSpPr>
          <p:cNvPr id="12" name="直線コネクタ 11"/>
          <p:cNvCxnSpPr/>
          <p:nvPr/>
        </p:nvCxnSpPr>
        <p:spPr>
          <a:xfrm flipV="1">
            <a:off x="1258685" y="1897052"/>
            <a:ext cx="1230095" cy="504439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rot="-300000">
            <a:off x="1288847" y="6919509"/>
            <a:ext cx="1210934" cy="70188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24" name="角丸四角形 23"/>
          <p:cNvSpPr/>
          <p:nvPr/>
        </p:nvSpPr>
        <p:spPr>
          <a:xfrm>
            <a:off x="7025942" y="1806936"/>
            <a:ext cx="2806250" cy="535667"/>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516" b="1" dirty="0">
              <a:solidFill>
                <a:srgbClr val="FFFFFF"/>
              </a:solidFill>
            </a:endParaRPr>
          </a:p>
        </p:txBody>
      </p:sp>
      <p:sp>
        <p:nvSpPr>
          <p:cNvPr id="25" name="テキスト ボックス 24"/>
          <p:cNvSpPr txBox="1"/>
          <p:nvPr/>
        </p:nvSpPr>
        <p:spPr>
          <a:xfrm>
            <a:off x="7007580" y="1789650"/>
            <a:ext cx="2867778" cy="558871"/>
          </a:xfrm>
          <a:prstGeom prst="rect">
            <a:avLst/>
          </a:prstGeom>
          <a:noFill/>
        </p:spPr>
        <p:txBody>
          <a:bodyPr wrap="square" rtlCol="0">
            <a:spAutoFit/>
          </a:bodyPr>
          <a:lstStyle/>
          <a:p>
            <a:r>
              <a:rPr lang="ja-JP" altLang="en-US" sz="1516" b="1" dirty="0">
                <a:solidFill>
                  <a:srgbClr val="FF0000"/>
                </a:solidFill>
                <a:latin typeface="ＭＳ Ｐ明朝" panose="02020600040205080304" pitchFamily="18" charset="-128"/>
                <a:ea typeface="ＭＳ Ｐ明朝" panose="02020600040205080304" pitchFamily="18" charset="-128"/>
              </a:rPr>
              <a:t>既存公共施設（旧中学校）を活用したサービス拠点の整備</a:t>
            </a:r>
          </a:p>
        </p:txBody>
      </p:sp>
      <p:sp>
        <p:nvSpPr>
          <p:cNvPr id="27" name="Text Box 82"/>
          <p:cNvSpPr txBox="1">
            <a:spLocks/>
          </p:cNvSpPr>
          <p:nvPr/>
        </p:nvSpPr>
        <p:spPr bwMode="auto">
          <a:xfrm>
            <a:off x="4668942" y="2459526"/>
            <a:ext cx="1082487" cy="238036"/>
          </a:xfrm>
          <a:prstGeom prst="rect">
            <a:avLst/>
          </a:prstGeom>
          <a:solidFill>
            <a:srgbClr val="FF99FF"/>
          </a:solidFill>
          <a:ln w="9525">
            <a:solidFill>
              <a:schemeClr val="tx1"/>
            </a:solidFill>
            <a:miter lim="800000"/>
            <a:headEnd/>
            <a:tailEnd/>
          </a:ln>
        </p:spPr>
        <p:txBody>
          <a:bodyPr vert="horz" wrap="none" lIns="99044" tIns="38994" rIns="99044" bIns="49522" numCol="1" anchor="t" anchorCtr="0" compatLnSpc="1">
            <a:prstTxWarp prst="textNoShape">
              <a:avLst/>
            </a:prstTxWarp>
          </a:bodyPr>
          <a:lstStyle/>
          <a:p>
            <a:pPr algn="ctr"/>
            <a:r>
              <a:rPr lang="ja-JP" altLang="en-US" sz="1083" b="1" dirty="0">
                <a:latin typeface="+mn-ea"/>
                <a:ea typeface="+mn-ea"/>
                <a:cs typeface="ＭＳ Ｐゴシック" pitchFamily="50" charset="-128"/>
              </a:rPr>
              <a:t>旧木屋平中学校</a:t>
            </a:r>
            <a:endParaRPr lang="ja-JP" altLang="en-US" sz="1083" dirty="0">
              <a:latin typeface="+mn-ea"/>
              <a:ea typeface="+mn-ea"/>
              <a:cs typeface="ＭＳ Ｐゴシック" pitchFamily="50" charset="-128"/>
            </a:endParaRPr>
          </a:p>
        </p:txBody>
      </p:sp>
      <p:sp>
        <p:nvSpPr>
          <p:cNvPr id="28" name="AutoShape 75"/>
          <p:cNvSpPr>
            <a:spLocks noChangeAspect="1"/>
          </p:cNvSpPr>
          <p:nvPr/>
        </p:nvSpPr>
        <p:spPr bwMode="auto">
          <a:xfrm rot="172680">
            <a:off x="4615546" y="2752123"/>
            <a:ext cx="928925" cy="430806"/>
          </a:xfrm>
          <a:prstGeom prst="roundRect">
            <a:avLst>
              <a:gd name="adj" fmla="val 38778"/>
            </a:avLst>
          </a:prstGeom>
          <a:noFill/>
          <a:ln w="31750">
            <a:solidFill>
              <a:srgbClr val="FF0000"/>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17" name="四角形吹き出し 16"/>
          <p:cNvSpPr/>
          <p:nvPr/>
        </p:nvSpPr>
        <p:spPr>
          <a:xfrm>
            <a:off x="7036635" y="2366157"/>
            <a:ext cx="2789410" cy="1811113"/>
          </a:xfrm>
          <a:prstGeom prst="wedgeRectCallout">
            <a:avLst>
              <a:gd name="adj1" fmla="val -103567"/>
              <a:gd name="adj2" fmla="val -23536"/>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pic>
        <p:nvPicPr>
          <p:cNvPr id="8" name="図 7"/>
          <p:cNvPicPr/>
          <p:nvPr/>
        </p:nvPicPr>
        <p:blipFill rotWithShape="1">
          <a:blip r:embed="rId5" cstate="email">
            <a:extLst>
              <a:ext uri="{28A0092B-C50C-407E-A947-70E740481C1C}">
                <a14:useLocalDpi xmlns:a14="http://schemas.microsoft.com/office/drawing/2010/main" val="0"/>
              </a:ext>
            </a:extLst>
          </a:blip>
          <a:srcRect/>
          <a:stretch/>
        </p:blipFill>
        <p:spPr bwMode="auto">
          <a:xfrm>
            <a:off x="7083358" y="2397923"/>
            <a:ext cx="2691418" cy="1752223"/>
          </a:xfrm>
          <a:prstGeom prst="rect">
            <a:avLst/>
          </a:prstGeom>
          <a:ln>
            <a:noFill/>
          </a:ln>
          <a:extLst>
            <a:ext uri="{53640926-AAD7-44D8-BBD7-CCE9431645EC}">
              <a14:shadowObscured xmlns:a14="http://schemas.microsoft.com/office/drawing/2010/main"/>
            </a:ext>
          </a:extLst>
        </p:spPr>
      </p:pic>
      <p:sp>
        <p:nvSpPr>
          <p:cNvPr id="26" name="テキスト ボックス 25"/>
          <p:cNvSpPr txBox="1"/>
          <p:nvPr/>
        </p:nvSpPr>
        <p:spPr>
          <a:xfrm>
            <a:off x="8397442" y="3856397"/>
            <a:ext cx="1520054" cy="374461"/>
          </a:xfrm>
          <a:prstGeom prst="rect">
            <a:avLst/>
          </a:prstGeom>
          <a:noFill/>
          <a:ln>
            <a:noFill/>
          </a:ln>
        </p:spPr>
        <p:txBody>
          <a:bodyPr wrap="square" rtlCol="0">
            <a:spAutoFit/>
          </a:bodyPr>
          <a:lstStyle/>
          <a:p>
            <a:pPr algn="ctr">
              <a:lnSpc>
                <a:spcPts val="2166"/>
              </a:lnSpc>
            </a:pPr>
            <a:r>
              <a:rPr lang="ja-JP" altLang="en-US" sz="1300" b="1" dirty="0">
                <a:solidFill>
                  <a:srgbClr val="000000"/>
                </a:solidFill>
                <a:uFill>
                  <a:solidFill>
                    <a:srgbClr val="000000"/>
                  </a:solidFill>
                </a:uFill>
                <a:latin typeface="ＭＳ Ｐ明朝" panose="02020600040205080304" pitchFamily="18" charset="-128"/>
                <a:ea typeface="ＭＳ Ｐ明朝" panose="02020600040205080304" pitchFamily="18" charset="-128"/>
              </a:rPr>
              <a:t>旧木屋平中学校</a:t>
            </a:r>
            <a:endParaRPr lang="en-US" altLang="ja-JP" sz="1300" b="1"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p:txBody>
      </p:sp>
      <p:sp>
        <p:nvSpPr>
          <p:cNvPr id="36" name="AutoShape 75"/>
          <p:cNvSpPr>
            <a:spLocks noChangeAspect="1"/>
          </p:cNvSpPr>
          <p:nvPr/>
        </p:nvSpPr>
        <p:spPr bwMode="auto">
          <a:xfrm rot="16200000">
            <a:off x="4022905" y="5999871"/>
            <a:ext cx="214637" cy="84491"/>
          </a:xfrm>
          <a:prstGeom prst="roundRect">
            <a:avLst>
              <a:gd name="adj" fmla="val 24360"/>
            </a:avLst>
          </a:prstGeom>
          <a:solidFill>
            <a:schemeClr val="bg2"/>
          </a:solidFill>
          <a:ln w="19050">
            <a:solidFill>
              <a:srgbClr val="000000"/>
            </a:solidFill>
            <a:prstDash val="solid"/>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37" name="AutoShape 75"/>
          <p:cNvSpPr>
            <a:spLocks noChangeAspect="1"/>
          </p:cNvSpPr>
          <p:nvPr/>
        </p:nvSpPr>
        <p:spPr bwMode="auto">
          <a:xfrm rot="16454927">
            <a:off x="4552149" y="5843722"/>
            <a:ext cx="496280" cy="210719"/>
          </a:xfrm>
          <a:prstGeom prst="roundRect">
            <a:avLst>
              <a:gd name="adj" fmla="val 24360"/>
            </a:avLst>
          </a:prstGeom>
          <a:solidFill>
            <a:schemeClr val="bg2"/>
          </a:solidFill>
          <a:ln w="19050">
            <a:solidFill>
              <a:srgbClr val="000000"/>
            </a:solidFill>
            <a:prstDash val="solid"/>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38" name="AutoShape 75"/>
          <p:cNvSpPr>
            <a:spLocks noChangeAspect="1"/>
          </p:cNvSpPr>
          <p:nvPr/>
        </p:nvSpPr>
        <p:spPr bwMode="auto">
          <a:xfrm rot="2352737">
            <a:off x="4849810" y="6474883"/>
            <a:ext cx="284066" cy="110803"/>
          </a:xfrm>
          <a:prstGeom prst="roundRect">
            <a:avLst>
              <a:gd name="adj" fmla="val 24360"/>
            </a:avLst>
          </a:prstGeom>
          <a:solidFill>
            <a:schemeClr val="bg2"/>
          </a:solidFill>
          <a:ln w="19050">
            <a:solidFill>
              <a:schemeClr val="tx1"/>
            </a:solidFill>
            <a:prstDash val="solid"/>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cxnSp>
        <p:nvCxnSpPr>
          <p:cNvPr id="39" name="AutoShape 79"/>
          <p:cNvCxnSpPr>
            <a:cxnSpLocks/>
            <a:stCxn id="37" idx="1"/>
          </p:cNvCxnSpPr>
          <p:nvPr/>
        </p:nvCxnSpPr>
        <p:spPr bwMode="auto">
          <a:xfrm flipH="1">
            <a:off x="4408867" y="6196539"/>
            <a:ext cx="373038" cy="488291"/>
          </a:xfrm>
          <a:prstGeom prst="straightConnector1">
            <a:avLst/>
          </a:prstGeom>
          <a:noFill/>
          <a:ln w="12700">
            <a:solidFill>
              <a:srgbClr val="000000"/>
            </a:solidFill>
            <a:round/>
            <a:headEnd/>
            <a:tailEnd/>
          </a:ln>
        </p:spPr>
      </p:cxnSp>
      <p:cxnSp>
        <p:nvCxnSpPr>
          <p:cNvPr id="45" name="AutoShape 79"/>
          <p:cNvCxnSpPr>
            <a:cxnSpLocks/>
          </p:cNvCxnSpPr>
          <p:nvPr/>
        </p:nvCxnSpPr>
        <p:spPr bwMode="auto">
          <a:xfrm flipH="1">
            <a:off x="5108331" y="6285293"/>
            <a:ext cx="275107" cy="291159"/>
          </a:xfrm>
          <a:prstGeom prst="straightConnector1">
            <a:avLst/>
          </a:prstGeom>
          <a:noFill/>
          <a:ln w="12700">
            <a:solidFill>
              <a:srgbClr val="000000"/>
            </a:solidFill>
            <a:round/>
            <a:headEnd/>
            <a:tailEnd/>
          </a:ln>
        </p:spPr>
      </p:cxnSp>
      <p:sp>
        <p:nvSpPr>
          <p:cNvPr id="48" name="Text Box 82"/>
          <p:cNvSpPr txBox="1">
            <a:spLocks/>
          </p:cNvSpPr>
          <p:nvPr/>
        </p:nvSpPr>
        <p:spPr bwMode="auto">
          <a:xfrm>
            <a:off x="5364534" y="6142043"/>
            <a:ext cx="1119780" cy="250362"/>
          </a:xfrm>
          <a:prstGeom prst="rect">
            <a:avLst/>
          </a:prstGeom>
          <a:solidFill>
            <a:srgbClr val="FFFF00"/>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国保歯科診療所</a:t>
            </a:r>
          </a:p>
        </p:txBody>
      </p:sp>
      <p:sp>
        <p:nvSpPr>
          <p:cNvPr id="50" name="Text Box 82"/>
          <p:cNvSpPr txBox="1">
            <a:spLocks/>
          </p:cNvSpPr>
          <p:nvPr/>
        </p:nvSpPr>
        <p:spPr bwMode="auto">
          <a:xfrm>
            <a:off x="2959618" y="6152086"/>
            <a:ext cx="1009940" cy="356460"/>
          </a:xfrm>
          <a:prstGeom prst="rect">
            <a:avLst/>
          </a:prstGeom>
          <a:solidFill>
            <a:srgbClr val="FFFF00"/>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pPr algn="ctr"/>
            <a:r>
              <a:rPr lang="ja-JP" altLang="en-US" sz="975" b="1" dirty="0" err="1">
                <a:solidFill>
                  <a:srgbClr val="000000"/>
                </a:solidFill>
                <a:latin typeface="ＭＳ Ｐ明朝" panose="02020600040205080304" pitchFamily="18" charset="-128"/>
                <a:ea typeface="ＭＳ Ｐ明朝" panose="02020600040205080304" pitchFamily="18" charset="-128"/>
                <a:cs typeface="ＭＳ Ｐゴシック" pitchFamily="50" charset="-128"/>
              </a:rPr>
              <a:t>こや</a:t>
            </a:r>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だいら薬局</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a:p>
            <a:pPr algn="ctr"/>
            <a:r>
              <a:rPr lang="ja-JP" altLang="en-US" sz="867"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ＮＰＯ運営）</a:t>
            </a:r>
          </a:p>
        </p:txBody>
      </p:sp>
      <p:cxnSp>
        <p:nvCxnSpPr>
          <p:cNvPr id="51" name="AutoShape 79"/>
          <p:cNvCxnSpPr>
            <a:cxnSpLocks/>
            <a:stCxn id="50" idx="3"/>
          </p:cNvCxnSpPr>
          <p:nvPr/>
        </p:nvCxnSpPr>
        <p:spPr bwMode="auto">
          <a:xfrm flipV="1">
            <a:off x="3969558" y="6015190"/>
            <a:ext cx="124605" cy="315126"/>
          </a:xfrm>
          <a:prstGeom prst="straightConnector1">
            <a:avLst/>
          </a:prstGeom>
          <a:noFill/>
          <a:ln w="12700">
            <a:solidFill>
              <a:srgbClr val="000000"/>
            </a:solidFill>
            <a:round/>
            <a:headEnd/>
            <a:tailEnd/>
          </a:ln>
        </p:spPr>
      </p:cxnSp>
      <p:sp>
        <p:nvSpPr>
          <p:cNvPr id="54" name="AutoShape 75"/>
          <p:cNvSpPr>
            <a:spLocks noChangeAspect="1"/>
          </p:cNvSpPr>
          <p:nvPr/>
        </p:nvSpPr>
        <p:spPr bwMode="auto">
          <a:xfrm rot="18736776">
            <a:off x="4095073" y="4464803"/>
            <a:ext cx="597559" cy="408240"/>
          </a:xfrm>
          <a:prstGeom prst="roundRect">
            <a:avLst>
              <a:gd name="adj" fmla="val 36554"/>
            </a:avLst>
          </a:prstGeom>
          <a:solidFill>
            <a:schemeClr val="bg2"/>
          </a:solidFill>
          <a:ln w="19050">
            <a:solidFill>
              <a:srgbClr val="000000"/>
            </a:solidFill>
            <a:prstDash val="solid"/>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55" name="AutoShape 75"/>
          <p:cNvSpPr>
            <a:spLocks noChangeAspect="1"/>
          </p:cNvSpPr>
          <p:nvPr/>
        </p:nvSpPr>
        <p:spPr bwMode="auto">
          <a:xfrm rot="18758543">
            <a:off x="3931624" y="4795050"/>
            <a:ext cx="273775" cy="443329"/>
          </a:xfrm>
          <a:prstGeom prst="roundRect">
            <a:avLst>
              <a:gd name="adj" fmla="val 30619"/>
            </a:avLst>
          </a:prstGeom>
          <a:solidFill>
            <a:schemeClr val="bg2"/>
          </a:solidFill>
          <a:ln w="19050">
            <a:solidFill>
              <a:srgbClr val="000000"/>
            </a:solidFill>
            <a:prstDash val="solid"/>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56" name="Text Box 82"/>
          <p:cNvSpPr txBox="1">
            <a:spLocks/>
          </p:cNvSpPr>
          <p:nvPr/>
        </p:nvSpPr>
        <p:spPr bwMode="auto">
          <a:xfrm>
            <a:off x="2559188" y="3813740"/>
            <a:ext cx="1417774" cy="827899"/>
          </a:xfrm>
          <a:prstGeom prst="rect">
            <a:avLst/>
          </a:prstGeom>
          <a:solidFill>
            <a:srgbClr val="FFFF00"/>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pPr algn="r"/>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美馬市木屋平総合支所</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a:p>
            <a:pPr algn="r"/>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川合公民館</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a:p>
            <a:pPr algn="r"/>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物産販売所</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a:p>
            <a:pPr algn="r"/>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ＮＰＯ法人こやだいら</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a:p>
            <a:pPr algn="r"/>
            <a:r>
              <a:rPr lang="ja-JP" altLang="en-US" sz="867"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過疎地有償旅客運送等）</a:t>
            </a:r>
            <a:endPar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p:txBody>
      </p:sp>
      <p:cxnSp>
        <p:nvCxnSpPr>
          <p:cNvPr id="57" name="AutoShape 79"/>
          <p:cNvCxnSpPr>
            <a:cxnSpLocks/>
            <a:stCxn id="54" idx="0"/>
            <a:endCxn id="56" idx="3"/>
          </p:cNvCxnSpPr>
          <p:nvPr/>
        </p:nvCxnSpPr>
        <p:spPr bwMode="auto">
          <a:xfrm flipH="1" flipV="1">
            <a:off x="3976962" y="4227690"/>
            <a:ext cx="265868" cy="303912"/>
          </a:xfrm>
          <a:prstGeom prst="straightConnector1">
            <a:avLst/>
          </a:prstGeom>
          <a:noFill/>
          <a:ln w="9525">
            <a:solidFill>
              <a:srgbClr val="000000"/>
            </a:solidFill>
            <a:round/>
            <a:headEnd/>
            <a:tailEnd/>
          </a:ln>
        </p:spPr>
      </p:cxnSp>
      <p:sp>
        <p:nvSpPr>
          <p:cNvPr id="61" name="Text Box 82"/>
          <p:cNvSpPr txBox="1">
            <a:spLocks/>
          </p:cNvSpPr>
          <p:nvPr/>
        </p:nvSpPr>
        <p:spPr bwMode="auto">
          <a:xfrm>
            <a:off x="2545646" y="5393780"/>
            <a:ext cx="1466180" cy="240901"/>
          </a:xfrm>
          <a:prstGeom prst="rect">
            <a:avLst/>
          </a:prstGeom>
          <a:solidFill>
            <a:schemeClr val="bg1"/>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pPr algn="r"/>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美馬市消防木屋平分署</a:t>
            </a:r>
          </a:p>
        </p:txBody>
      </p:sp>
      <p:sp>
        <p:nvSpPr>
          <p:cNvPr id="74" name="Text Box 82"/>
          <p:cNvSpPr txBox="1">
            <a:spLocks/>
          </p:cNvSpPr>
          <p:nvPr/>
        </p:nvSpPr>
        <p:spPr bwMode="auto">
          <a:xfrm>
            <a:off x="2883920" y="5765916"/>
            <a:ext cx="865394" cy="238590"/>
          </a:xfrm>
          <a:prstGeom prst="rect">
            <a:avLst/>
          </a:prstGeom>
          <a:solidFill>
            <a:schemeClr val="bg1"/>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pPr algn="ctr"/>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木屋平駐在所 </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p:txBody>
      </p:sp>
      <p:cxnSp>
        <p:nvCxnSpPr>
          <p:cNvPr id="75" name="AutoShape 79"/>
          <p:cNvCxnSpPr>
            <a:cxnSpLocks/>
            <a:stCxn id="74" idx="3"/>
          </p:cNvCxnSpPr>
          <p:nvPr/>
        </p:nvCxnSpPr>
        <p:spPr bwMode="auto">
          <a:xfrm flipV="1">
            <a:off x="3749314" y="5572097"/>
            <a:ext cx="372202" cy="313114"/>
          </a:xfrm>
          <a:prstGeom prst="straightConnector1">
            <a:avLst/>
          </a:prstGeom>
          <a:noFill/>
          <a:ln w="12700">
            <a:solidFill>
              <a:srgbClr val="000000"/>
            </a:solidFill>
            <a:round/>
            <a:headEnd/>
            <a:tailEnd type="oval" w="sm" len="sm"/>
          </a:ln>
        </p:spPr>
      </p:cxnSp>
      <p:sp>
        <p:nvSpPr>
          <p:cNvPr id="79" name="Text Box 82"/>
          <p:cNvSpPr txBox="1">
            <a:spLocks/>
          </p:cNvSpPr>
          <p:nvPr/>
        </p:nvSpPr>
        <p:spPr bwMode="auto">
          <a:xfrm>
            <a:off x="5410567" y="6983431"/>
            <a:ext cx="887935" cy="238590"/>
          </a:xfrm>
          <a:prstGeom prst="rect">
            <a:avLst/>
          </a:prstGeom>
          <a:solidFill>
            <a:srgbClr val="FFFF00"/>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pPr algn="ctr"/>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木屋平郵便局</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p:txBody>
      </p:sp>
      <p:cxnSp>
        <p:nvCxnSpPr>
          <p:cNvPr id="83" name="AutoShape 79"/>
          <p:cNvCxnSpPr>
            <a:cxnSpLocks/>
            <a:stCxn id="98" idx="1"/>
          </p:cNvCxnSpPr>
          <p:nvPr/>
        </p:nvCxnSpPr>
        <p:spPr bwMode="auto">
          <a:xfrm flipH="1" flipV="1">
            <a:off x="4605315" y="5086062"/>
            <a:ext cx="622043" cy="517865"/>
          </a:xfrm>
          <a:prstGeom prst="straightConnector1">
            <a:avLst/>
          </a:prstGeom>
          <a:noFill/>
          <a:ln w="12700">
            <a:solidFill>
              <a:srgbClr val="000000"/>
            </a:solidFill>
            <a:round/>
            <a:headEnd/>
            <a:tailEnd type="oval" w="sm" len="sm"/>
          </a:ln>
        </p:spPr>
      </p:cxnSp>
      <p:cxnSp>
        <p:nvCxnSpPr>
          <p:cNvPr id="99" name="AutoShape 79"/>
          <p:cNvCxnSpPr>
            <a:cxnSpLocks/>
            <a:stCxn id="101" idx="1"/>
          </p:cNvCxnSpPr>
          <p:nvPr/>
        </p:nvCxnSpPr>
        <p:spPr bwMode="auto">
          <a:xfrm flipH="1" flipV="1">
            <a:off x="4816112" y="4881632"/>
            <a:ext cx="708000" cy="161792"/>
          </a:xfrm>
          <a:prstGeom prst="straightConnector1">
            <a:avLst/>
          </a:prstGeom>
          <a:noFill/>
          <a:ln w="12700">
            <a:solidFill>
              <a:srgbClr val="000000"/>
            </a:solidFill>
            <a:round/>
            <a:headEnd/>
            <a:tailEnd type="oval" w="sm" len="sm"/>
          </a:ln>
        </p:spPr>
      </p:cxnSp>
      <p:sp>
        <p:nvSpPr>
          <p:cNvPr id="101" name="Text Box 82"/>
          <p:cNvSpPr txBox="1">
            <a:spLocks/>
          </p:cNvSpPr>
          <p:nvPr/>
        </p:nvSpPr>
        <p:spPr bwMode="auto">
          <a:xfrm>
            <a:off x="5524112" y="4915021"/>
            <a:ext cx="615528" cy="256805"/>
          </a:xfrm>
          <a:prstGeom prst="rect">
            <a:avLst/>
          </a:prstGeom>
          <a:solidFill>
            <a:schemeClr val="bg1"/>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商店（米）</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p:txBody>
      </p:sp>
      <p:cxnSp>
        <p:nvCxnSpPr>
          <p:cNvPr id="102" name="AutoShape 79"/>
          <p:cNvCxnSpPr>
            <a:cxnSpLocks/>
          </p:cNvCxnSpPr>
          <p:nvPr/>
        </p:nvCxnSpPr>
        <p:spPr bwMode="auto">
          <a:xfrm flipH="1" flipV="1">
            <a:off x="5377372" y="4230420"/>
            <a:ext cx="247969" cy="243300"/>
          </a:xfrm>
          <a:prstGeom prst="straightConnector1">
            <a:avLst/>
          </a:prstGeom>
          <a:noFill/>
          <a:ln w="12700">
            <a:solidFill>
              <a:srgbClr val="000000"/>
            </a:solidFill>
            <a:round/>
            <a:headEnd/>
            <a:tailEnd type="oval" w="sm" len="sm"/>
          </a:ln>
        </p:spPr>
      </p:cxnSp>
      <p:sp>
        <p:nvSpPr>
          <p:cNvPr id="104" name="Text Box 82"/>
          <p:cNvSpPr txBox="1">
            <a:spLocks/>
          </p:cNvSpPr>
          <p:nvPr/>
        </p:nvSpPr>
        <p:spPr bwMode="auto">
          <a:xfrm>
            <a:off x="5608452" y="4467622"/>
            <a:ext cx="575410" cy="256805"/>
          </a:xfrm>
          <a:prstGeom prst="rect">
            <a:avLst/>
          </a:prstGeom>
          <a:solidFill>
            <a:schemeClr val="bg1"/>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理髪店</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p:txBody>
      </p:sp>
      <p:cxnSp>
        <p:nvCxnSpPr>
          <p:cNvPr id="105" name="AutoShape 79"/>
          <p:cNvCxnSpPr>
            <a:cxnSpLocks/>
          </p:cNvCxnSpPr>
          <p:nvPr/>
        </p:nvCxnSpPr>
        <p:spPr bwMode="auto">
          <a:xfrm flipH="1" flipV="1">
            <a:off x="5608452" y="3489869"/>
            <a:ext cx="474334" cy="183639"/>
          </a:xfrm>
          <a:prstGeom prst="straightConnector1">
            <a:avLst/>
          </a:prstGeom>
          <a:noFill/>
          <a:ln w="12700">
            <a:solidFill>
              <a:srgbClr val="000000"/>
            </a:solidFill>
            <a:round/>
            <a:headEnd/>
            <a:tailEnd type="oval" w="sm" len="sm"/>
          </a:ln>
        </p:spPr>
      </p:cxnSp>
      <p:sp>
        <p:nvSpPr>
          <p:cNvPr id="107" name="Text Box 82"/>
          <p:cNvSpPr txBox="1">
            <a:spLocks/>
          </p:cNvSpPr>
          <p:nvPr/>
        </p:nvSpPr>
        <p:spPr bwMode="auto">
          <a:xfrm>
            <a:off x="6087634" y="3611724"/>
            <a:ext cx="419912" cy="214004"/>
          </a:xfrm>
          <a:prstGeom prst="rect">
            <a:avLst/>
          </a:prstGeom>
          <a:solidFill>
            <a:schemeClr val="bg1"/>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商店</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p:txBody>
      </p:sp>
      <p:cxnSp>
        <p:nvCxnSpPr>
          <p:cNvPr id="78" name="直線矢印コネクタ 77"/>
          <p:cNvCxnSpPr>
            <a:stCxn id="55" idx="0"/>
          </p:cNvCxnSpPr>
          <p:nvPr/>
        </p:nvCxnSpPr>
        <p:spPr>
          <a:xfrm flipV="1">
            <a:off x="3905455" y="3133926"/>
            <a:ext cx="771379" cy="1732630"/>
          </a:xfrm>
          <a:prstGeom prst="straightConnector1">
            <a:avLst/>
          </a:prstGeom>
          <a:ln w="19050">
            <a:solidFill>
              <a:srgbClr val="FF0000"/>
            </a:solidFill>
            <a:prstDash val="sysDash"/>
            <a:headEnd type="oval"/>
            <a:tailEnd type="triangle" w="med" len="lg"/>
          </a:ln>
        </p:spPr>
        <p:style>
          <a:lnRef idx="1">
            <a:schemeClr val="accent1"/>
          </a:lnRef>
          <a:fillRef idx="0">
            <a:schemeClr val="accent1"/>
          </a:fillRef>
          <a:effectRef idx="0">
            <a:schemeClr val="accent1"/>
          </a:effectRef>
          <a:fontRef idx="minor">
            <a:schemeClr val="tx1"/>
          </a:fontRef>
        </p:style>
      </p:cxnSp>
      <p:cxnSp>
        <p:nvCxnSpPr>
          <p:cNvPr id="125" name="直線矢印コネクタ 124"/>
          <p:cNvCxnSpPr/>
          <p:nvPr/>
        </p:nvCxnSpPr>
        <p:spPr>
          <a:xfrm flipV="1">
            <a:off x="4460031" y="3161736"/>
            <a:ext cx="417823" cy="1371364"/>
          </a:xfrm>
          <a:prstGeom prst="straightConnector1">
            <a:avLst/>
          </a:prstGeom>
          <a:ln w="19050">
            <a:solidFill>
              <a:srgbClr val="FF0000"/>
            </a:solidFill>
            <a:prstDash val="sysDash"/>
            <a:headEnd type="oval"/>
            <a:tailEnd type="triangle" w="med" len="lg"/>
          </a:ln>
        </p:spPr>
        <p:style>
          <a:lnRef idx="1">
            <a:schemeClr val="accent1"/>
          </a:lnRef>
          <a:fillRef idx="0">
            <a:schemeClr val="accent1"/>
          </a:fillRef>
          <a:effectRef idx="0">
            <a:schemeClr val="accent1"/>
          </a:effectRef>
          <a:fontRef idx="minor">
            <a:schemeClr val="tx1"/>
          </a:fontRef>
        </p:style>
      </p:cxnSp>
      <p:cxnSp>
        <p:nvCxnSpPr>
          <p:cNvPr id="127" name="直線矢印コネクタ 126"/>
          <p:cNvCxnSpPr>
            <a:stCxn id="36" idx="3"/>
          </p:cNvCxnSpPr>
          <p:nvPr/>
        </p:nvCxnSpPr>
        <p:spPr>
          <a:xfrm flipV="1">
            <a:off x="4130223" y="3154847"/>
            <a:ext cx="856868" cy="2779951"/>
          </a:xfrm>
          <a:prstGeom prst="straightConnector1">
            <a:avLst/>
          </a:prstGeom>
          <a:ln w="19050">
            <a:solidFill>
              <a:srgbClr val="FF0000"/>
            </a:solidFill>
            <a:prstDash val="sysDash"/>
            <a:headEnd type="oval"/>
            <a:tailEnd type="triangle" w="med" len="lg"/>
          </a:ln>
        </p:spPr>
        <p:style>
          <a:lnRef idx="1">
            <a:schemeClr val="accent1"/>
          </a:lnRef>
          <a:fillRef idx="0">
            <a:schemeClr val="accent1"/>
          </a:fillRef>
          <a:effectRef idx="0">
            <a:schemeClr val="accent1"/>
          </a:effectRef>
          <a:fontRef idx="minor">
            <a:schemeClr val="tx1"/>
          </a:fontRef>
        </p:style>
      </p:cxnSp>
      <p:cxnSp>
        <p:nvCxnSpPr>
          <p:cNvPr id="129" name="直線矢印コネクタ 128"/>
          <p:cNvCxnSpPr/>
          <p:nvPr/>
        </p:nvCxnSpPr>
        <p:spPr>
          <a:xfrm flipV="1">
            <a:off x="5036364" y="3161736"/>
            <a:ext cx="263305" cy="3323604"/>
          </a:xfrm>
          <a:prstGeom prst="straightConnector1">
            <a:avLst/>
          </a:prstGeom>
          <a:ln w="19050">
            <a:solidFill>
              <a:srgbClr val="FF0000"/>
            </a:solidFill>
            <a:prstDash val="sysDash"/>
            <a:headEnd type="oval"/>
            <a:tailEnd type="triangle" w="med" len="lg"/>
          </a:ln>
        </p:spPr>
        <p:style>
          <a:lnRef idx="1">
            <a:schemeClr val="accent1"/>
          </a:lnRef>
          <a:fillRef idx="0">
            <a:schemeClr val="accent1"/>
          </a:fillRef>
          <a:effectRef idx="0">
            <a:schemeClr val="accent1"/>
          </a:effectRef>
          <a:fontRef idx="minor">
            <a:schemeClr val="tx1"/>
          </a:fontRef>
        </p:style>
      </p:cxnSp>
      <p:sp>
        <p:nvSpPr>
          <p:cNvPr id="41" name="Text Box 82"/>
          <p:cNvSpPr txBox="1">
            <a:spLocks/>
          </p:cNvSpPr>
          <p:nvPr/>
        </p:nvSpPr>
        <p:spPr bwMode="auto">
          <a:xfrm>
            <a:off x="3189629" y="6702924"/>
            <a:ext cx="1276503" cy="250362"/>
          </a:xfrm>
          <a:prstGeom prst="rect">
            <a:avLst/>
          </a:prstGeom>
          <a:solidFill>
            <a:srgbClr val="FFFF00"/>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国保木屋平診療所</a:t>
            </a:r>
          </a:p>
        </p:txBody>
      </p:sp>
      <p:sp>
        <p:nvSpPr>
          <p:cNvPr id="98" name="Text Box 82"/>
          <p:cNvSpPr txBox="1">
            <a:spLocks/>
          </p:cNvSpPr>
          <p:nvPr/>
        </p:nvSpPr>
        <p:spPr bwMode="auto">
          <a:xfrm>
            <a:off x="5227358" y="5475525"/>
            <a:ext cx="436152" cy="256805"/>
          </a:xfrm>
          <a:prstGeom prst="rect">
            <a:avLst/>
          </a:prstGeom>
          <a:solidFill>
            <a:schemeClr val="bg1"/>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旅館</a:t>
            </a:r>
            <a:endParaRPr lang="en-US" altLang="ja-JP"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endParaRPr>
          </a:p>
        </p:txBody>
      </p:sp>
      <p:cxnSp>
        <p:nvCxnSpPr>
          <p:cNvPr id="132" name="直線矢印コネクタ 131"/>
          <p:cNvCxnSpPr>
            <a:endCxn id="28" idx="2"/>
          </p:cNvCxnSpPr>
          <p:nvPr/>
        </p:nvCxnSpPr>
        <p:spPr>
          <a:xfrm flipV="1">
            <a:off x="4790705" y="3182657"/>
            <a:ext cx="278488" cy="2612369"/>
          </a:xfrm>
          <a:prstGeom prst="straightConnector1">
            <a:avLst/>
          </a:prstGeom>
          <a:ln w="19050">
            <a:solidFill>
              <a:srgbClr val="FF0000"/>
            </a:solidFill>
            <a:prstDash val="sysDash"/>
            <a:headEnd type="oval"/>
            <a:tailEnd type="triangle" w="med" len="lg"/>
          </a:ln>
        </p:spPr>
        <p:style>
          <a:lnRef idx="1">
            <a:schemeClr val="accent1"/>
          </a:lnRef>
          <a:fillRef idx="0">
            <a:schemeClr val="accent1"/>
          </a:fillRef>
          <a:effectRef idx="0">
            <a:schemeClr val="accent1"/>
          </a:effectRef>
          <a:fontRef idx="minor">
            <a:schemeClr val="tx1"/>
          </a:fontRef>
        </p:style>
      </p:cxnSp>
      <p:sp>
        <p:nvSpPr>
          <p:cNvPr id="141" name="角丸四角形 140"/>
          <p:cNvSpPr/>
          <p:nvPr/>
        </p:nvSpPr>
        <p:spPr>
          <a:xfrm>
            <a:off x="38447" y="1773953"/>
            <a:ext cx="1719731" cy="347207"/>
          </a:xfrm>
          <a:prstGeom prst="roundRect">
            <a:avLst/>
          </a:prstGeom>
          <a:solidFill>
            <a:srgbClr val="FECC82"/>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b="1" dirty="0">
              <a:solidFill>
                <a:srgbClr val="FFFFFF"/>
              </a:solidFill>
            </a:endParaRPr>
          </a:p>
        </p:txBody>
      </p:sp>
      <p:sp>
        <p:nvSpPr>
          <p:cNvPr id="142" name="テキスト ボックス 141"/>
          <p:cNvSpPr txBox="1"/>
          <p:nvPr/>
        </p:nvSpPr>
        <p:spPr>
          <a:xfrm>
            <a:off x="122710" y="1823645"/>
            <a:ext cx="1569727" cy="325602"/>
          </a:xfrm>
          <a:prstGeom prst="rect">
            <a:avLst/>
          </a:prstGeom>
          <a:noFill/>
        </p:spPr>
        <p:txBody>
          <a:bodyPr wrap="square" rtlCol="0">
            <a:spAutoFit/>
          </a:bodyPr>
          <a:lstStyle/>
          <a:p>
            <a:pPr algn="ctr"/>
            <a:r>
              <a:rPr lang="ja-JP" altLang="en-US" sz="1516" b="1" dirty="0">
                <a:solidFill>
                  <a:srgbClr val="000000"/>
                </a:solidFill>
                <a:latin typeface="ＭＳ Ｐ明朝" panose="02020600040205080304" pitchFamily="18" charset="-128"/>
                <a:ea typeface="ＭＳ Ｐ明朝" panose="02020600040205080304" pitchFamily="18" charset="-128"/>
              </a:rPr>
              <a:t>地域の概要</a:t>
            </a:r>
          </a:p>
        </p:txBody>
      </p:sp>
      <p:sp>
        <p:nvSpPr>
          <p:cNvPr id="143" name="Text Box 82"/>
          <p:cNvSpPr txBox="1">
            <a:spLocks/>
          </p:cNvSpPr>
          <p:nvPr/>
        </p:nvSpPr>
        <p:spPr bwMode="auto">
          <a:xfrm>
            <a:off x="6024330" y="7175282"/>
            <a:ext cx="1033773" cy="238590"/>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pPr algn="ctr"/>
            <a:r>
              <a:rPr lang="en-US" altLang="ja-JP" sz="867" dirty="0">
                <a:solidFill>
                  <a:srgbClr val="FFFFFF"/>
                </a:solidFill>
                <a:latin typeface="Arial" pitchFamily="34" charset="0"/>
                <a:cs typeface="ＭＳ Ｐゴシック" pitchFamily="50" charset="-128"/>
              </a:rPr>
              <a:t>google</a:t>
            </a:r>
            <a:r>
              <a:rPr lang="ja-JP" altLang="en-US" sz="867" dirty="0">
                <a:solidFill>
                  <a:srgbClr val="FFFFFF"/>
                </a:solidFill>
                <a:latin typeface="Arial" pitchFamily="34" charset="0"/>
                <a:cs typeface="ＭＳ Ｐゴシック" pitchFamily="50" charset="-128"/>
              </a:rPr>
              <a:t>マップより</a:t>
            </a:r>
            <a:endParaRPr lang="en-US" altLang="ja-JP" sz="867" dirty="0">
              <a:solidFill>
                <a:srgbClr val="FFFFFF"/>
              </a:solidFill>
              <a:latin typeface="Arial" pitchFamily="34" charset="0"/>
              <a:cs typeface="ＭＳ Ｐゴシック" pitchFamily="50" charset="-128"/>
            </a:endParaRPr>
          </a:p>
        </p:txBody>
      </p:sp>
      <p:sp>
        <p:nvSpPr>
          <p:cNvPr id="157" name="角丸四角形 156"/>
          <p:cNvSpPr/>
          <p:nvPr/>
        </p:nvSpPr>
        <p:spPr>
          <a:xfrm>
            <a:off x="7043320" y="6279209"/>
            <a:ext cx="2763434" cy="1266461"/>
          </a:xfrm>
          <a:prstGeom prst="roundRect">
            <a:avLst>
              <a:gd name="adj" fmla="val 11041"/>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b="1" dirty="0">
              <a:solidFill>
                <a:srgbClr val="FFFFFF"/>
              </a:solidFill>
            </a:endParaRPr>
          </a:p>
        </p:txBody>
      </p:sp>
      <p:sp>
        <p:nvSpPr>
          <p:cNvPr id="158" name="テキスト ボックス 157"/>
          <p:cNvSpPr txBox="1"/>
          <p:nvPr/>
        </p:nvSpPr>
        <p:spPr>
          <a:xfrm>
            <a:off x="7008646" y="6306813"/>
            <a:ext cx="2932648" cy="1182375"/>
          </a:xfrm>
          <a:prstGeom prst="rect">
            <a:avLst/>
          </a:prstGeom>
          <a:noFill/>
          <a:ln>
            <a:noFill/>
          </a:ln>
        </p:spPr>
        <p:txBody>
          <a:bodyPr wrap="square" rtlCol="0">
            <a:spAutoFit/>
          </a:bodyPr>
          <a:lstStyle/>
          <a:p>
            <a:pPr>
              <a:lnSpc>
                <a:spcPts val="1733"/>
              </a:lnSpc>
            </a:pPr>
            <a:r>
              <a:rPr lang="ja-JP" altLang="en-US" sz="1192" dirty="0">
                <a:solidFill>
                  <a:srgbClr val="000000"/>
                </a:solidFill>
                <a:uFill>
                  <a:solidFill>
                    <a:srgbClr val="000000"/>
                  </a:solidFill>
                </a:uFill>
                <a:latin typeface="ＭＳ Ｐ明朝" panose="02020600040205080304" pitchFamily="18" charset="-128"/>
                <a:ea typeface="ＭＳ Ｐ明朝" panose="02020600040205080304" pitchFamily="18" charset="-128"/>
              </a:rPr>
              <a:t>○拠点形成に向けた検討経過等</a:t>
            </a:r>
            <a:endParaRPr lang="en-US" altLang="ja-JP" sz="1192"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733"/>
              </a:lnSpc>
            </a:pPr>
            <a:r>
              <a:rPr lang="en-US" altLang="ja-JP" sz="1192" dirty="0">
                <a:solidFill>
                  <a:srgbClr val="000000"/>
                </a:solidFill>
                <a:uFill>
                  <a:solidFill>
                    <a:srgbClr val="000000"/>
                  </a:solidFill>
                </a:uFill>
                <a:latin typeface="ＭＳ Ｐ明朝" panose="02020600040205080304" pitchFamily="18" charset="-128"/>
                <a:ea typeface="ＭＳ Ｐ明朝" panose="02020600040205080304" pitchFamily="18" charset="-128"/>
              </a:rPr>
              <a:t>H26.4 </a:t>
            </a:r>
            <a:r>
              <a:rPr lang="ja-JP" altLang="en-US" sz="1192" dirty="0">
                <a:solidFill>
                  <a:srgbClr val="000000"/>
                </a:solidFill>
                <a:uFill>
                  <a:solidFill>
                    <a:srgbClr val="000000"/>
                  </a:solidFill>
                </a:uFill>
                <a:latin typeface="ＭＳ Ｐ明朝" panose="02020600040205080304" pitchFamily="18" charset="-128"/>
                <a:ea typeface="ＭＳ Ｐ明朝" panose="02020600040205080304" pitchFamily="18" charset="-128"/>
              </a:rPr>
              <a:t>中学校機能を木屋平小学校に移転</a:t>
            </a:r>
            <a:endParaRPr lang="en-US" altLang="ja-JP" sz="1192"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733"/>
              </a:lnSpc>
            </a:pPr>
            <a:r>
              <a:rPr lang="en-US" altLang="ja-JP" sz="1192" dirty="0">
                <a:solidFill>
                  <a:srgbClr val="000000"/>
                </a:solidFill>
                <a:uFill>
                  <a:solidFill>
                    <a:srgbClr val="000000"/>
                  </a:solidFill>
                </a:uFill>
                <a:latin typeface="ＭＳ Ｐ明朝" panose="02020600040205080304" pitchFamily="18" charset="-128"/>
                <a:ea typeface="ＭＳ Ｐ明朝" panose="02020600040205080304" pitchFamily="18" charset="-128"/>
              </a:rPr>
              <a:t>H27.1 </a:t>
            </a:r>
            <a:r>
              <a:rPr lang="ja-JP" altLang="en-US" sz="1192" dirty="0">
                <a:solidFill>
                  <a:srgbClr val="000000"/>
                </a:solidFill>
                <a:uFill>
                  <a:solidFill>
                    <a:srgbClr val="000000"/>
                  </a:solidFill>
                </a:uFill>
                <a:latin typeface="ＭＳ Ｐ明朝" panose="02020600040205080304" pitchFamily="18" charset="-128"/>
                <a:ea typeface="ＭＳ Ｐ明朝" panose="02020600040205080304" pitchFamily="18" charset="-128"/>
              </a:rPr>
              <a:t>検討委員会（第三者委員会）を開催</a:t>
            </a:r>
            <a:endParaRPr lang="en-US" altLang="ja-JP" sz="1192"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733"/>
              </a:lnSpc>
            </a:pPr>
            <a:r>
              <a:rPr lang="ja-JP" altLang="en-US" sz="1192" dirty="0">
                <a:solidFill>
                  <a:srgbClr val="000000"/>
                </a:solidFill>
                <a:uFill>
                  <a:solidFill>
                    <a:srgbClr val="000000"/>
                  </a:solidFill>
                </a:uFill>
                <a:latin typeface="ＭＳ Ｐ明朝" panose="02020600040205080304" pitchFamily="18" charset="-128"/>
                <a:ea typeface="ＭＳ Ｐ明朝" panose="02020600040205080304" pitchFamily="18" charset="-128"/>
              </a:rPr>
              <a:t>　　→　住民意見を反映しながら計画検討</a:t>
            </a:r>
            <a:endParaRPr lang="en-US" altLang="ja-JP" sz="1192"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1733"/>
              </a:lnSpc>
            </a:pPr>
            <a:r>
              <a:rPr lang="en-US" altLang="ja-JP" sz="1192" b="1" dirty="0">
                <a:solidFill>
                  <a:srgbClr val="FF0000"/>
                </a:solidFill>
                <a:uFill>
                  <a:solidFill>
                    <a:srgbClr val="000000"/>
                  </a:solidFill>
                </a:uFill>
                <a:latin typeface="+mn-ea"/>
                <a:ea typeface="+mn-ea"/>
              </a:rPr>
              <a:t>H27</a:t>
            </a:r>
            <a:r>
              <a:rPr lang="ja-JP" altLang="en-US" sz="1192" b="1" dirty="0">
                <a:solidFill>
                  <a:srgbClr val="FF0000"/>
                </a:solidFill>
                <a:uFill>
                  <a:solidFill>
                    <a:srgbClr val="000000"/>
                  </a:solidFill>
                </a:uFill>
                <a:latin typeface="+mn-ea"/>
                <a:ea typeface="+mn-ea"/>
              </a:rPr>
              <a:t>～</a:t>
            </a:r>
            <a:r>
              <a:rPr lang="en-US" altLang="ja-JP" sz="1192" b="1" dirty="0">
                <a:solidFill>
                  <a:srgbClr val="FF0000"/>
                </a:solidFill>
                <a:uFill>
                  <a:solidFill>
                    <a:srgbClr val="000000"/>
                  </a:solidFill>
                </a:uFill>
                <a:latin typeface="+mn-ea"/>
                <a:ea typeface="+mn-ea"/>
              </a:rPr>
              <a:t>28</a:t>
            </a:r>
            <a:r>
              <a:rPr lang="ja-JP" altLang="en-US" sz="1192" b="1" dirty="0">
                <a:solidFill>
                  <a:srgbClr val="FF0000"/>
                </a:solidFill>
                <a:uFill>
                  <a:solidFill>
                    <a:srgbClr val="000000"/>
                  </a:solidFill>
                </a:uFill>
                <a:latin typeface="+mn-ea"/>
                <a:ea typeface="+mn-ea"/>
              </a:rPr>
              <a:t>年度 施設改修工事の実施</a:t>
            </a:r>
            <a:endParaRPr lang="en-US" altLang="ja-JP" sz="1192" b="1" dirty="0">
              <a:solidFill>
                <a:srgbClr val="FF0000"/>
              </a:solidFill>
              <a:uFill>
                <a:solidFill>
                  <a:srgbClr val="000000"/>
                </a:solidFill>
              </a:uFill>
              <a:latin typeface="+mn-ea"/>
              <a:ea typeface="+mn-ea"/>
            </a:endParaRPr>
          </a:p>
        </p:txBody>
      </p:sp>
      <p:sp>
        <p:nvSpPr>
          <p:cNvPr id="160" name="正方形/長方形 159"/>
          <p:cNvSpPr/>
          <p:nvPr/>
        </p:nvSpPr>
        <p:spPr>
          <a:xfrm>
            <a:off x="610555" y="6704734"/>
            <a:ext cx="1345240" cy="617285"/>
          </a:xfrm>
          <a:prstGeom prst="rect">
            <a:avLst/>
          </a:prstGeom>
        </p:spPr>
        <p:txBody>
          <a:bodyPr wrap="none">
            <a:spAutoFit/>
          </a:bodyPr>
          <a:lstStyle/>
          <a:p>
            <a:r>
              <a:rPr lang="ja-JP" altLang="en-US" sz="1137" b="1" dirty="0">
                <a:solidFill>
                  <a:srgbClr val="000000"/>
                </a:solidFill>
                <a:latin typeface="ＭＳ Ｐ明朝" panose="02020600040205080304" pitchFamily="18" charset="-128"/>
                <a:ea typeface="ＭＳ Ｐ明朝" panose="02020600040205080304" pitchFamily="18" charset="-128"/>
              </a:rPr>
              <a:t>徳島県</a:t>
            </a:r>
            <a:endParaRPr lang="en-US" altLang="ja-JP" sz="1137" b="1" dirty="0">
              <a:solidFill>
                <a:srgbClr val="000000"/>
              </a:solidFill>
              <a:latin typeface="ＭＳ Ｐ明朝" panose="02020600040205080304" pitchFamily="18" charset="-128"/>
              <a:ea typeface="ＭＳ Ｐ明朝" panose="02020600040205080304" pitchFamily="18" charset="-128"/>
            </a:endParaRPr>
          </a:p>
          <a:p>
            <a:r>
              <a:rPr lang="ja-JP" altLang="en-US" sz="1137" b="1" dirty="0">
                <a:solidFill>
                  <a:srgbClr val="000000"/>
                </a:solidFill>
                <a:latin typeface="ＭＳ Ｐ明朝" panose="02020600040205080304" pitchFamily="18" charset="-128"/>
                <a:ea typeface="ＭＳ Ｐ明朝" panose="02020600040205080304" pitchFamily="18" charset="-128"/>
              </a:rPr>
              <a:t>美馬市</a:t>
            </a:r>
            <a:endParaRPr lang="en-US" altLang="ja-JP" sz="1137" b="1" dirty="0">
              <a:solidFill>
                <a:srgbClr val="000000"/>
              </a:solidFill>
              <a:latin typeface="ＭＳ Ｐ明朝" panose="02020600040205080304" pitchFamily="18" charset="-128"/>
              <a:ea typeface="ＭＳ Ｐ明朝" panose="02020600040205080304" pitchFamily="18" charset="-128"/>
            </a:endParaRPr>
          </a:p>
          <a:p>
            <a:r>
              <a:rPr lang="ja-JP" altLang="en-US" sz="1137" b="1" dirty="0">
                <a:solidFill>
                  <a:srgbClr val="000000"/>
                </a:solidFill>
                <a:latin typeface="ＭＳ Ｐ明朝" panose="02020600040205080304" pitchFamily="18" charset="-128"/>
                <a:ea typeface="ＭＳ Ｐ明朝" panose="02020600040205080304" pitchFamily="18" charset="-128"/>
              </a:rPr>
              <a:t>木屋平地区</a:t>
            </a:r>
            <a:r>
              <a:rPr lang="ja-JP" altLang="ja-JP" sz="1137" b="1" dirty="0">
                <a:solidFill>
                  <a:srgbClr val="000000"/>
                </a:solidFill>
                <a:latin typeface="ＭＳ Ｐ明朝" panose="02020600040205080304" pitchFamily="18" charset="-128"/>
                <a:ea typeface="ＭＳ Ｐ明朝" panose="02020600040205080304" pitchFamily="18" charset="-128"/>
              </a:rPr>
              <a:t>の位置</a:t>
            </a:r>
            <a:endParaRPr lang="ja-JP" altLang="en-US" sz="1137" dirty="0">
              <a:solidFill>
                <a:srgbClr val="000000"/>
              </a:solidFill>
              <a:latin typeface="ＭＳ Ｐ明朝" panose="02020600040205080304" pitchFamily="18" charset="-128"/>
              <a:ea typeface="ＭＳ Ｐ明朝" panose="02020600040205080304" pitchFamily="18" charset="-128"/>
            </a:endParaRPr>
          </a:p>
        </p:txBody>
      </p:sp>
      <p:sp>
        <p:nvSpPr>
          <p:cNvPr id="170" name="テキスト ボックス 169"/>
          <p:cNvSpPr txBox="1"/>
          <p:nvPr/>
        </p:nvSpPr>
        <p:spPr>
          <a:xfrm>
            <a:off x="5685817" y="7256883"/>
            <a:ext cx="1643457" cy="374461"/>
          </a:xfrm>
          <a:prstGeom prst="rect">
            <a:avLst/>
          </a:prstGeom>
          <a:noFill/>
        </p:spPr>
        <p:txBody>
          <a:bodyPr wrap="square" rtlCol="0">
            <a:spAutoFit/>
          </a:bodyPr>
          <a:lstStyle/>
          <a:p>
            <a:pPr>
              <a:lnSpc>
                <a:spcPts val="2166"/>
              </a:lnSpc>
            </a:pPr>
            <a:r>
              <a:rPr lang="ja-JP" altLang="en-US" sz="1137" dirty="0">
                <a:solidFill>
                  <a:srgbClr val="000000"/>
                </a:solidFill>
                <a:latin typeface="ＭＳ Ｐ明朝" panose="02020600040205080304" pitchFamily="18" charset="-128"/>
                <a:ea typeface="ＭＳ Ｐ明朝" panose="02020600040205080304" pitchFamily="18" charset="-128"/>
              </a:rPr>
              <a:t>拠点周辺の位置図</a:t>
            </a:r>
            <a:endParaRPr lang="en-US" altLang="ja-JP" sz="1137" dirty="0">
              <a:solidFill>
                <a:srgbClr val="000000"/>
              </a:solidFill>
              <a:latin typeface="ＭＳ Ｐ明朝" panose="02020600040205080304" pitchFamily="18" charset="-128"/>
              <a:ea typeface="ＭＳ Ｐ明朝" panose="02020600040205080304" pitchFamily="18" charset="-128"/>
            </a:endParaRPr>
          </a:p>
        </p:txBody>
      </p:sp>
      <p:sp>
        <p:nvSpPr>
          <p:cNvPr id="172" name="Text Box 82"/>
          <p:cNvSpPr txBox="1">
            <a:spLocks/>
          </p:cNvSpPr>
          <p:nvPr/>
        </p:nvSpPr>
        <p:spPr bwMode="auto">
          <a:xfrm>
            <a:off x="1662868" y="7356473"/>
            <a:ext cx="908575" cy="219136"/>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pPr algn="ctr"/>
            <a:r>
              <a:rPr lang="en-US" altLang="ja-JP" sz="650" dirty="0">
                <a:solidFill>
                  <a:srgbClr val="000000"/>
                </a:solidFill>
                <a:latin typeface="Arial" pitchFamily="34" charset="0"/>
                <a:cs typeface="ＭＳ Ｐゴシック" pitchFamily="50" charset="-128"/>
              </a:rPr>
              <a:t>google</a:t>
            </a:r>
            <a:r>
              <a:rPr lang="ja-JP" altLang="en-US" sz="650" dirty="0">
                <a:solidFill>
                  <a:srgbClr val="000000"/>
                </a:solidFill>
                <a:latin typeface="Arial" pitchFamily="34" charset="0"/>
                <a:cs typeface="ＭＳ Ｐゴシック" pitchFamily="50" charset="-128"/>
              </a:rPr>
              <a:t>マップより</a:t>
            </a:r>
            <a:endParaRPr lang="en-US" altLang="ja-JP" sz="650" dirty="0">
              <a:solidFill>
                <a:srgbClr val="000000"/>
              </a:solidFill>
              <a:latin typeface="Arial" pitchFamily="34" charset="0"/>
              <a:cs typeface="ＭＳ Ｐゴシック" pitchFamily="50" charset="-128"/>
            </a:endParaRPr>
          </a:p>
        </p:txBody>
      </p:sp>
      <p:sp>
        <p:nvSpPr>
          <p:cNvPr id="175" name="正方形/長方形 174"/>
          <p:cNvSpPr/>
          <p:nvPr/>
        </p:nvSpPr>
        <p:spPr>
          <a:xfrm flipV="1">
            <a:off x="2693255" y="7225584"/>
            <a:ext cx="1462580" cy="6899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176" name="Text Box 90"/>
          <p:cNvSpPr txBox="1">
            <a:spLocks/>
          </p:cNvSpPr>
          <p:nvPr/>
        </p:nvSpPr>
        <p:spPr bwMode="auto">
          <a:xfrm>
            <a:off x="3181997" y="7003352"/>
            <a:ext cx="433680" cy="281313"/>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pPr algn="just"/>
            <a:r>
              <a:rPr lang="en-US" altLang="ja-JP" sz="975" b="1" dirty="0">
                <a:solidFill>
                  <a:srgbClr val="000000"/>
                </a:solidFill>
                <a:latin typeface="ＭＳ Ｐゴシック" pitchFamily="50" charset="-128"/>
                <a:cs typeface="ＭＳ Ｐゴシック" pitchFamily="50" charset="-128"/>
              </a:rPr>
              <a:t>100m</a:t>
            </a:r>
            <a:endParaRPr lang="ja-JP" altLang="ja-JP" sz="975" dirty="0">
              <a:solidFill>
                <a:srgbClr val="000000"/>
              </a:solidFill>
              <a:latin typeface="Arial" pitchFamily="34" charset="0"/>
              <a:cs typeface="ＭＳ Ｐゴシック" pitchFamily="50" charset="-128"/>
            </a:endParaRPr>
          </a:p>
        </p:txBody>
      </p:sp>
      <p:sp>
        <p:nvSpPr>
          <p:cNvPr id="177" name="正方形/長方形 176"/>
          <p:cNvSpPr/>
          <p:nvPr/>
        </p:nvSpPr>
        <p:spPr>
          <a:xfrm>
            <a:off x="59111" y="7487438"/>
            <a:ext cx="794238" cy="2729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rgbClr val="FFFFFF"/>
              </a:solidFill>
            </a:endParaRPr>
          </a:p>
        </p:txBody>
      </p:sp>
      <p:sp>
        <p:nvSpPr>
          <p:cNvPr id="178" name="Text Box 90"/>
          <p:cNvSpPr txBox="1">
            <a:spLocks/>
          </p:cNvSpPr>
          <p:nvPr/>
        </p:nvSpPr>
        <p:spPr bwMode="auto">
          <a:xfrm>
            <a:off x="215623" y="7288772"/>
            <a:ext cx="433680" cy="281313"/>
          </a:xfrm>
          <a:prstGeom prst="rect">
            <a:avLst/>
          </a:prstGeom>
          <a:noFill/>
          <a:ln w="6350">
            <a:noFill/>
            <a:miter lim="800000"/>
            <a:headEnd/>
            <a:tailEnd/>
          </a:ln>
        </p:spPr>
        <p:txBody>
          <a:bodyPr vert="horz" wrap="none" lIns="99044" tIns="49522" rIns="99044" bIns="49522" numCol="1" anchor="t" anchorCtr="0" compatLnSpc="1">
            <a:prstTxWarp prst="textNoShape">
              <a:avLst/>
            </a:prstTxWarp>
          </a:bodyPr>
          <a:lstStyle/>
          <a:p>
            <a:pPr algn="just"/>
            <a:r>
              <a:rPr lang="en-US" altLang="ja-JP" sz="975" b="1" dirty="0">
                <a:solidFill>
                  <a:srgbClr val="000000"/>
                </a:solidFill>
                <a:latin typeface="ＭＳ Ｐゴシック" pitchFamily="50" charset="-128"/>
                <a:cs typeface="ＭＳ Ｐゴシック" pitchFamily="50" charset="-128"/>
              </a:rPr>
              <a:t>10km</a:t>
            </a:r>
            <a:endParaRPr lang="ja-JP" altLang="ja-JP" sz="975" dirty="0">
              <a:solidFill>
                <a:srgbClr val="000000"/>
              </a:solidFill>
              <a:latin typeface="Arial" pitchFamily="34" charset="0"/>
              <a:cs typeface="ＭＳ Ｐゴシック" pitchFamily="50" charset="-128"/>
            </a:endParaRPr>
          </a:p>
        </p:txBody>
      </p:sp>
      <p:sp>
        <p:nvSpPr>
          <p:cNvPr id="85" name="AutoShape 75"/>
          <p:cNvSpPr>
            <a:spLocks noChangeAspect="1"/>
          </p:cNvSpPr>
          <p:nvPr/>
        </p:nvSpPr>
        <p:spPr bwMode="auto">
          <a:xfrm rot="172680">
            <a:off x="4572423" y="3688374"/>
            <a:ext cx="403720" cy="446248"/>
          </a:xfrm>
          <a:prstGeom prst="roundRect">
            <a:avLst>
              <a:gd name="adj" fmla="val 38778"/>
            </a:avLst>
          </a:prstGeom>
          <a:noFill/>
          <a:ln w="31750">
            <a:solidFill>
              <a:srgbClr val="0000CC"/>
            </a:solidFill>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cxnSp>
        <p:nvCxnSpPr>
          <p:cNvPr id="86" name="直線矢印コネクタ 85"/>
          <p:cNvCxnSpPr/>
          <p:nvPr/>
        </p:nvCxnSpPr>
        <p:spPr>
          <a:xfrm flipV="1">
            <a:off x="4038172" y="4010970"/>
            <a:ext cx="523303" cy="927003"/>
          </a:xfrm>
          <a:prstGeom prst="straightConnector1">
            <a:avLst/>
          </a:prstGeom>
          <a:ln w="19050">
            <a:solidFill>
              <a:srgbClr val="0000CC"/>
            </a:solidFill>
            <a:prstDash val="sysDash"/>
            <a:headEnd type="oval"/>
            <a:tailEnd type="triangle" w="med" len="lg"/>
          </a:ln>
        </p:spPr>
        <p:style>
          <a:lnRef idx="1">
            <a:schemeClr val="accent1"/>
          </a:lnRef>
          <a:fillRef idx="0">
            <a:schemeClr val="accent1"/>
          </a:fillRef>
          <a:effectRef idx="0">
            <a:schemeClr val="accent1"/>
          </a:effectRef>
          <a:fontRef idx="minor">
            <a:schemeClr val="tx1"/>
          </a:fontRef>
        </p:style>
      </p:cxnSp>
      <p:sp>
        <p:nvSpPr>
          <p:cNvPr id="87" name="Text Box 82"/>
          <p:cNvSpPr txBox="1">
            <a:spLocks/>
          </p:cNvSpPr>
          <p:nvPr/>
        </p:nvSpPr>
        <p:spPr bwMode="auto">
          <a:xfrm>
            <a:off x="5311322" y="3941505"/>
            <a:ext cx="1591198" cy="203075"/>
          </a:xfrm>
          <a:prstGeom prst="rect">
            <a:avLst/>
          </a:prstGeom>
          <a:solidFill>
            <a:srgbClr val="66CCFF"/>
          </a:solidFill>
          <a:ln w="9525">
            <a:solidFill>
              <a:schemeClr val="tx1"/>
            </a:solidFill>
            <a:miter lim="800000"/>
            <a:headEnd/>
            <a:tailEnd/>
          </a:ln>
        </p:spPr>
        <p:txBody>
          <a:bodyPr vert="horz" wrap="none" lIns="99044" tIns="38994" rIns="99044" bIns="49522" numCol="1" anchor="t" anchorCtr="0" compatLnSpc="1">
            <a:prstTxWarp prst="textNoShape">
              <a:avLst/>
            </a:prstTxWarp>
          </a:bodyPr>
          <a:lstStyle/>
          <a:p>
            <a:pPr algn="ctr"/>
            <a:r>
              <a:rPr lang="ja-JP" altLang="en-US" sz="1083" b="1" dirty="0">
                <a:latin typeface="ＭＳ Ｐ明朝" panose="02020600040205080304" pitchFamily="18" charset="-128"/>
                <a:ea typeface="ＭＳ Ｐ明朝" panose="02020600040205080304" pitchFamily="18" charset="-128"/>
                <a:cs typeface="ＭＳ Ｐゴシック" pitchFamily="50" charset="-128"/>
              </a:rPr>
              <a:t>旧木屋平中学校体育館</a:t>
            </a:r>
            <a:endParaRPr lang="ja-JP" altLang="en-US" sz="1083" dirty="0">
              <a:latin typeface="ＭＳ Ｐ明朝" panose="02020600040205080304" pitchFamily="18" charset="-128"/>
              <a:ea typeface="ＭＳ Ｐ明朝" panose="02020600040205080304" pitchFamily="18" charset="-128"/>
              <a:cs typeface="ＭＳ Ｐゴシック" pitchFamily="50" charset="-128"/>
            </a:endParaRPr>
          </a:p>
        </p:txBody>
      </p:sp>
      <p:sp>
        <p:nvSpPr>
          <p:cNvPr id="88" name="Text Box 82"/>
          <p:cNvSpPr txBox="1">
            <a:spLocks/>
          </p:cNvSpPr>
          <p:nvPr/>
        </p:nvSpPr>
        <p:spPr bwMode="auto">
          <a:xfrm>
            <a:off x="3082576" y="2606263"/>
            <a:ext cx="1162631" cy="211505"/>
          </a:xfrm>
          <a:prstGeom prst="rect">
            <a:avLst/>
          </a:prstGeom>
          <a:solidFill>
            <a:srgbClr val="92D050"/>
          </a:solidFill>
          <a:ln w="12700">
            <a:solidFill>
              <a:schemeClr val="tx1"/>
            </a:solidFill>
            <a:miter lim="800000"/>
            <a:headEnd/>
            <a:tailEnd/>
          </a:ln>
        </p:spPr>
        <p:txBody>
          <a:bodyPr vert="horz" wrap="none" lIns="99044" tIns="38994" rIns="99044" bIns="38994" numCol="1" anchor="t" anchorCtr="0" compatLnSpc="1">
            <a:prstTxWarp prst="textNoShape">
              <a:avLst/>
            </a:prstTxWarp>
          </a:bodyPr>
          <a:lstStyle/>
          <a:p>
            <a:pPr algn="ctr"/>
            <a:r>
              <a:rPr lang="ja-JP" altLang="en-US" sz="1083" b="1" dirty="0">
                <a:latin typeface="ＭＳ Ｐ明朝" panose="02020600040205080304" pitchFamily="18" charset="-128"/>
                <a:ea typeface="ＭＳ Ｐ明朝" panose="02020600040205080304" pitchFamily="18" charset="-128"/>
                <a:cs typeface="ＭＳ Ｐゴシック" pitchFamily="50" charset="-128"/>
              </a:rPr>
              <a:t>緊急用ヘリポート</a:t>
            </a:r>
          </a:p>
        </p:txBody>
      </p:sp>
      <p:sp>
        <p:nvSpPr>
          <p:cNvPr id="6" name="円/楕円 5"/>
          <p:cNvSpPr/>
          <p:nvPr/>
        </p:nvSpPr>
        <p:spPr>
          <a:xfrm>
            <a:off x="3595673" y="2892998"/>
            <a:ext cx="428472" cy="414728"/>
          </a:xfrm>
          <a:prstGeom prst="ellipse">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latin typeface="ＭＳ Ｐ明朝" panose="02020600040205080304" pitchFamily="18" charset="-128"/>
                <a:ea typeface="ＭＳ Ｐ明朝" panose="02020600040205080304" pitchFamily="18" charset="-128"/>
              </a:rPr>
              <a:t>Ｈ</a:t>
            </a:r>
          </a:p>
        </p:txBody>
      </p:sp>
      <p:sp>
        <p:nvSpPr>
          <p:cNvPr id="93" name="AutoShape 75"/>
          <p:cNvSpPr>
            <a:spLocks noChangeAspect="1"/>
          </p:cNvSpPr>
          <p:nvPr/>
        </p:nvSpPr>
        <p:spPr bwMode="auto">
          <a:xfrm rot="1768363">
            <a:off x="4703803" y="6768512"/>
            <a:ext cx="300947" cy="174241"/>
          </a:xfrm>
          <a:prstGeom prst="roundRect">
            <a:avLst>
              <a:gd name="adj" fmla="val 24360"/>
            </a:avLst>
          </a:prstGeom>
          <a:solidFill>
            <a:schemeClr val="bg2"/>
          </a:solidFill>
          <a:ln w="19050">
            <a:solidFill>
              <a:srgbClr val="000000"/>
            </a:solidFill>
            <a:prstDash val="solid"/>
            <a:round/>
            <a:headEnd/>
            <a:tailEnd/>
          </a:ln>
        </p:spPr>
        <p:txBody>
          <a:bodyPr vert="horz" wrap="square" lIns="99044" tIns="49522" rIns="99044" bIns="49522" numCol="1" anchor="ctr" anchorCtr="0" compatLnSpc="1">
            <a:prstTxWarp prst="textNoShape">
              <a:avLst/>
            </a:prstTxWarp>
          </a:bodyPr>
          <a:lstStyle/>
          <a:p>
            <a:endParaRPr lang="ja-JP" altLang="en-US">
              <a:solidFill>
                <a:srgbClr val="000000"/>
              </a:solidFill>
            </a:endParaRPr>
          </a:p>
        </p:txBody>
      </p:sp>
      <p:sp>
        <p:nvSpPr>
          <p:cNvPr id="84" name="テキスト ボックス 83"/>
          <p:cNvSpPr txBox="1"/>
          <p:nvPr/>
        </p:nvSpPr>
        <p:spPr>
          <a:xfrm>
            <a:off x="31837" y="4262700"/>
            <a:ext cx="2440362" cy="1502976"/>
          </a:xfrm>
          <a:prstGeom prst="rect">
            <a:avLst/>
          </a:prstGeom>
          <a:solidFill>
            <a:srgbClr val="66CCFF"/>
          </a:solidFill>
          <a:ln>
            <a:solidFill>
              <a:schemeClr val="tx1"/>
            </a:solidFill>
          </a:ln>
        </p:spPr>
        <p:txBody>
          <a:bodyPr wrap="square" rtlCol="0">
            <a:spAutoFit/>
          </a:bodyPr>
          <a:lstStyle/>
          <a:p>
            <a:pPr>
              <a:lnSpc>
                <a:spcPts val="2166"/>
              </a:lnSpc>
            </a:pPr>
            <a:r>
              <a:rPr lang="ja-JP" altLang="en-US" sz="1408" dirty="0">
                <a:solidFill>
                  <a:srgbClr val="000000"/>
                </a:solidFill>
                <a:uFill>
                  <a:solidFill>
                    <a:srgbClr val="000000"/>
                  </a:solidFill>
                </a:uFill>
                <a:latin typeface="ＭＳ Ｐ明朝" panose="02020600040205080304" pitchFamily="18" charset="-128"/>
                <a:ea typeface="ＭＳ Ｐ明朝" panose="02020600040205080304" pitchFamily="18" charset="-128"/>
              </a:rPr>
              <a:t>合併後に設立された「ＮＰＯ法人</a:t>
            </a:r>
            <a:r>
              <a:rPr lang="ja-JP" altLang="en-US" sz="1408" dirty="0" err="1">
                <a:solidFill>
                  <a:srgbClr val="000000"/>
                </a:solidFill>
                <a:uFill>
                  <a:solidFill>
                    <a:srgbClr val="000000"/>
                  </a:solidFill>
                </a:uFill>
                <a:latin typeface="ＭＳ Ｐ明朝" panose="02020600040205080304" pitchFamily="18" charset="-128"/>
                <a:ea typeface="ＭＳ Ｐ明朝" panose="02020600040205080304" pitchFamily="18" charset="-128"/>
              </a:rPr>
              <a:t>こや</a:t>
            </a:r>
            <a:r>
              <a:rPr lang="ja-JP" altLang="en-US" sz="1408" dirty="0">
                <a:solidFill>
                  <a:srgbClr val="000000"/>
                </a:solidFill>
                <a:uFill>
                  <a:solidFill>
                    <a:srgbClr val="000000"/>
                  </a:solidFill>
                </a:uFill>
                <a:latin typeface="ＭＳ Ｐ明朝" panose="02020600040205080304" pitchFamily="18" charset="-128"/>
                <a:ea typeface="ＭＳ Ｐ明朝" panose="02020600040205080304" pitchFamily="18" charset="-128"/>
              </a:rPr>
              <a:t>だいら」が、有償旅客</a:t>
            </a:r>
            <a:endParaRPr lang="en-US" altLang="ja-JP" sz="1408" dirty="0">
              <a:solidFill>
                <a:srgbClr val="000000"/>
              </a:solidFill>
              <a:uFill>
                <a:solidFill>
                  <a:srgbClr val="000000"/>
                </a:solidFill>
              </a:uFill>
              <a:latin typeface="ＭＳ Ｐ明朝" panose="02020600040205080304" pitchFamily="18" charset="-128"/>
              <a:ea typeface="ＭＳ Ｐ明朝" panose="02020600040205080304" pitchFamily="18" charset="-128"/>
            </a:endParaRPr>
          </a:p>
          <a:p>
            <a:pPr>
              <a:lnSpc>
                <a:spcPts val="2166"/>
              </a:lnSpc>
            </a:pPr>
            <a:r>
              <a:rPr lang="ja-JP" altLang="en-US" sz="1408" dirty="0">
                <a:solidFill>
                  <a:srgbClr val="000000"/>
                </a:solidFill>
                <a:uFill>
                  <a:solidFill>
                    <a:srgbClr val="000000"/>
                  </a:solidFill>
                </a:uFill>
                <a:latin typeface="ＭＳ Ｐ明朝" panose="02020600040205080304" pitchFamily="18" charset="-128"/>
                <a:ea typeface="ＭＳ Ｐ明朝" panose="02020600040205080304" pitchFamily="18" charset="-128"/>
              </a:rPr>
              <a:t>運送や高齢者生活支援、農林業作業支援等の事業を実施（黒字運営）</a:t>
            </a:r>
          </a:p>
        </p:txBody>
      </p:sp>
      <p:cxnSp>
        <p:nvCxnSpPr>
          <p:cNvPr id="89" name="直線矢印コネクタ 88"/>
          <p:cNvCxnSpPr/>
          <p:nvPr/>
        </p:nvCxnSpPr>
        <p:spPr>
          <a:xfrm flipV="1">
            <a:off x="4877854" y="3182658"/>
            <a:ext cx="308341" cy="3669289"/>
          </a:xfrm>
          <a:prstGeom prst="straightConnector1">
            <a:avLst/>
          </a:prstGeom>
          <a:ln w="19050">
            <a:solidFill>
              <a:srgbClr val="FF0000"/>
            </a:solidFill>
            <a:prstDash val="sysDash"/>
            <a:headEnd type="oval"/>
            <a:tailEnd type="triangle" w="med" len="lg"/>
          </a:ln>
        </p:spPr>
        <p:style>
          <a:lnRef idx="1">
            <a:schemeClr val="accent1"/>
          </a:lnRef>
          <a:fillRef idx="0">
            <a:schemeClr val="accent1"/>
          </a:fillRef>
          <a:effectRef idx="0">
            <a:schemeClr val="accent1"/>
          </a:effectRef>
          <a:fontRef idx="minor">
            <a:schemeClr val="tx1"/>
          </a:fontRef>
        </p:style>
      </p:cxnSp>
      <p:cxnSp>
        <p:nvCxnSpPr>
          <p:cNvPr id="131" name="AutoShape 79"/>
          <p:cNvCxnSpPr>
            <a:cxnSpLocks/>
          </p:cNvCxnSpPr>
          <p:nvPr/>
        </p:nvCxnSpPr>
        <p:spPr bwMode="auto">
          <a:xfrm flipH="1" flipV="1">
            <a:off x="4997730" y="6936027"/>
            <a:ext cx="410597" cy="174560"/>
          </a:xfrm>
          <a:prstGeom prst="straightConnector1">
            <a:avLst/>
          </a:prstGeom>
          <a:noFill/>
          <a:ln w="12700">
            <a:solidFill>
              <a:srgbClr val="000000"/>
            </a:solidFill>
            <a:round/>
            <a:headEnd/>
            <a:tailEnd/>
          </a:ln>
        </p:spPr>
      </p:cxnSp>
      <p:sp>
        <p:nvSpPr>
          <p:cNvPr id="77" name="Text Box 82"/>
          <p:cNvSpPr txBox="1">
            <a:spLocks/>
          </p:cNvSpPr>
          <p:nvPr/>
        </p:nvSpPr>
        <p:spPr bwMode="auto">
          <a:xfrm>
            <a:off x="2542846" y="5127789"/>
            <a:ext cx="1466180" cy="261951"/>
          </a:xfrm>
          <a:prstGeom prst="rect">
            <a:avLst/>
          </a:prstGeom>
          <a:solidFill>
            <a:srgbClr val="FFFF00"/>
          </a:solidFill>
          <a:ln w="9525">
            <a:solidFill>
              <a:schemeClr val="tx1"/>
            </a:solidFill>
            <a:miter lim="800000"/>
            <a:headEnd/>
            <a:tailEnd/>
          </a:ln>
        </p:spPr>
        <p:txBody>
          <a:bodyPr vert="horz" wrap="none" lIns="99044" tIns="49522" rIns="99044" bIns="49522" numCol="1" anchor="t" anchorCtr="0" compatLnSpc="1">
            <a:prstTxWarp prst="textNoShape">
              <a:avLst/>
            </a:prstTxWarp>
          </a:bodyPr>
          <a:lstStyle/>
          <a:p>
            <a:pPr algn="r"/>
            <a:r>
              <a:rPr lang="ja-JP" altLang="en-US" sz="975" b="1" dirty="0">
                <a:solidFill>
                  <a:srgbClr val="000000"/>
                </a:solidFill>
                <a:latin typeface="ＭＳ Ｐ明朝" panose="02020600040205080304" pitchFamily="18" charset="-128"/>
                <a:ea typeface="ＭＳ Ｐ明朝" panose="02020600040205080304" pitchFamily="18" charset="-128"/>
                <a:cs typeface="ＭＳ Ｐゴシック" pitchFamily="50" charset="-128"/>
              </a:rPr>
              <a:t>木屋平老人福祉センター</a:t>
            </a:r>
          </a:p>
        </p:txBody>
      </p:sp>
      <p:cxnSp>
        <p:nvCxnSpPr>
          <p:cNvPr id="80" name="AutoShape 79"/>
          <p:cNvCxnSpPr>
            <a:cxnSpLocks/>
          </p:cNvCxnSpPr>
          <p:nvPr/>
        </p:nvCxnSpPr>
        <p:spPr bwMode="auto">
          <a:xfrm flipH="1">
            <a:off x="3320472" y="4941215"/>
            <a:ext cx="530899" cy="181358"/>
          </a:xfrm>
          <a:prstGeom prst="straightConnector1">
            <a:avLst/>
          </a:prstGeom>
          <a:noFill/>
          <a:ln w="12700">
            <a:solidFill>
              <a:srgbClr val="000000"/>
            </a:solidFill>
            <a:round/>
            <a:headEnd/>
            <a:tailEnd/>
          </a:ln>
        </p:spPr>
      </p:cxnSp>
      <p:sp>
        <p:nvSpPr>
          <p:cNvPr id="92" name="テキスト ボックス 91"/>
          <p:cNvSpPr txBox="1"/>
          <p:nvPr/>
        </p:nvSpPr>
        <p:spPr>
          <a:xfrm>
            <a:off x="5423957" y="-72000"/>
            <a:ext cx="896401" cy="259045"/>
          </a:xfrm>
          <a:prstGeom prst="rect">
            <a:avLst/>
          </a:prstGeom>
          <a:noFill/>
        </p:spPr>
        <p:txBody>
          <a:bodyPr wrap="square" rtlCol="0">
            <a:spAutoFit/>
          </a:bodyPr>
          <a:lstStyle/>
          <a:p>
            <a:pPr algn="ctr">
              <a:lnSpc>
                <a:spcPts val="1300"/>
              </a:lnSpc>
            </a:pPr>
            <a:r>
              <a:rPr lang="ja-JP" altLang="en-US" sz="867" b="1" dirty="0">
                <a:solidFill>
                  <a:srgbClr val="4087C8"/>
                </a:solidFill>
              </a:rPr>
              <a:t>こ や だ  </a:t>
            </a:r>
            <a:r>
              <a:rPr lang="ja-JP" altLang="en-US" sz="867" b="1" dirty="0" err="1">
                <a:solidFill>
                  <a:srgbClr val="4087C8"/>
                </a:solidFill>
              </a:rPr>
              <a:t>いら</a:t>
            </a:r>
            <a:endParaRPr lang="en-US" altLang="ja-JP" sz="867" b="1" dirty="0">
              <a:solidFill>
                <a:srgbClr val="4087C8"/>
              </a:solidFill>
            </a:endParaRPr>
          </a:p>
        </p:txBody>
      </p:sp>
      <p:sp>
        <p:nvSpPr>
          <p:cNvPr id="94" name="テキスト ボックス 93"/>
          <p:cNvSpPr txBox="1"/>
          <p:nvPr/>
        </p:nvSpPr>
        <p:spPr>
          <a:xfrm>
            <a:off x="4464000" y="-72000"/>
            <a:ext cx="701965" cy="259045"/>
          </a:xfrm>
          <a:prstGeom prst="rect">
            <a:avLst/>
          </a:prstGeom>
          <a:noFill/>
        </p:spPr>
        <p:txBody>
          <a:bodyPr wrap="square" rtlCol="0">
            <a:spAutoFit/>
          </a:bodyPr>
          <a:lstStyle/>
          <a:p>
            <a:pPr algn="ctr">
              <a:lnSpc>
                <a:spcPts val="1300"/>
              </a:lnSpc>
            </a:pPr>
            <a:r>
              <a:rPr lang="ja-JP" altLang="en-US" sz="867" b="1" dirty="0">
                <a:solidFill>
                  <a:srgbClr val="4087C8"/>
                </a:solidFill>
              </a:rPr>
              <a:t>み　　</a:t>
            </a:r>
            <a:r>
              <a:rPr lang="ja-JP" altLang="en-US" sz="867" b="1" dirty="0" err="1">
                <a:solidFill>
                  <a:srgbClr val="4087C8"/>
                </a:solidFill>
              </a:rPr>
              <a:t>ま</a:t>
            </a:r>
            <a:endParaRPr lang="en-US" altLang="ja-JP" sz="867" b="1" dirty="0">
              <a:solidFill>
                <a:srgbClr val="4087C8"/>
              </a:solidFill>
            </a:endParaRPr>
          </a:p>
        </p:txBody>
      </p:sp>
      <p:sp>
        <p:nvSpPr>
          <p:cNvPr id="82" name="Rectangle 2"/>
          <p:cNvSpPr txBox="1">
            <a:spLocks noChangeArrowheads="1"/>
          </p:cNvSpPr>
          <p:nvPr/>
        </p:nvSpPr>
        <p:spPr bwMode="auto">
          <a:xfrm>
            <a:off x="4552883" y="632079"/>
            <a:ext cx="5655907" cy="145938"/>
          </a:xfrm>
          <a:prstGeom prst="rect">
            <a:avLst/>
          </a:prstGeom>
          <a:noFill/>
          <a:ln w="9525">
            <a:noFill/>
            <a:miter lim="800000"/>
            <a:headEnd/>
            <a:tailEnd/>
          </a:ln>
        </p:spPr>
        <p:txBody>
          <a:bodyPr vert="horz" wrap="square" lIns="99003" tIns="49501" rIns="99003" bIns="49501" numCol="1" anchor="ctr" anchorCtr="0" compatLnSpc="1">
            <a:prstTxWarp prst="textNoShape">
              <a:avLst/>
            </a:prstTxWarp>
          </a:bodyP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1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029"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04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058"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algn="ctr"/>
            <a:r>
              <a:rPr lang="ja-JP" altLang="en-US" sz="1200" kern="0" dirty="0"/>
              <a:t>≪</a:t>
            </a:r>
            <a:r>
              <a:rPr lang="en-US" altLang="ja-JP" sz="1200" kern="0" dirty="0"/>
              <a:t>『</a:t>
            </a:r>
            <a:r>
              <a:rPr lang="ja-JP" altLang="en-US" sz="1200" kern="0" dirty="0"/>
              <a:t>「小さな拠点」を核とした「ふるさと集落生活圏」形成推進事業</a:t>
            </a:r>
            <a:r>
              <a:rPr lang="en-US" altLang="ja-JP" sz="1200" kern="0" dirty="0"/>
              <a:t>』 </a:t>
            </a:r>
            <a:r>
              <a:rPr lang="ja-JP" altLang="en-US" sz="1200" kern="0" dirty="0"/>
              <a:t>活用事例≫</a:t>
            </a:r>
          </a:p>
        </p:txBody>
      </p:sp>
      <p:sp>
        <p:nvSpPr>
          <p:cNvPr id="76" name="Rectangle 2"/>
          <p:cNvSpPr txBox="1">
            <a:spLocks noChangeArrowheads="1"/>
          </p:cNvSpPr>
          <p:nvPr/>
        </p:nvSpPr>
        <p:spPr bwMode="auto">
          <a:xfrm>
            <a:off x="3" y="0"/>
            <a:ext cx="8984006" cy="516312"/>
          </a:xfrm>
          <a:prstGeom prst="rect">
            <a:avLst/>
          </a:prstGeom>
          <a:noFill/>
          <a:ln w="9525">
            <a:noFill/>
            <a:miter lim="800000"/>
            <a:headEnd/>
            <a:tailEnd/>
          </a:ln>
        </p:spPr>
        <p:txBody>
          <a:bodyPr vert="horz" wrap="square" lIns="99003" tIns="49501" rIns="99003" bIns="49501" numCol="1" anchor="ctr" anchorCtr="0" compatLnSpc="1">
            <a:prstTxWarp prst="textNoShape">
              <a:avLst/>
            </a:prstTxWarp>
          </a:bodyP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1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029"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044"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058"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r>
              <a:rPr lang="ja-JP" altLang="en-US" sz="2170" kern="0" dirty="0"/>
              <a:t>「小さな拠点」の取組事例⑤　</a:t>
            </a:r>
            <a:r>
              <a:rPr lang="zh-TW" altLang="en-US" sz="2170" kern="0" dirty="0"/>
              <a:t>（徳島県 美馬市 木屋平地区 ）</a:t>
            </a:r>
          </a:p>
        </p:txBody>
      </p:sp>
      <p:sp>
        <p:nvSpPr>
          <p:cNvPr id="3" name="フッター プレースホルダー 2">
            <a:extLst>
              <a:ext uri="{FF2B5EF4-FFF2-40B4-BE49-F238E27FC236}">
                <a16:creationId xmlns:a16="http://schemas.microsoft.com/office/drawing/2014/main" id="{1B2FC686-A6AA-1CD7-2D27-405E57B38EE9}"/>
              </a:ext>
            </a:extLst>
          </p:cNvPr>
          <p:cNvSpPr>
            <a:spLocks noGrp="1"/>
          </p:cNvSpPr>
          <p:nvPr>
            <p:ph type="ftr" sz="quarter" idx="11"/>
          </p:nvPr>
        </p:nvSpPr>
        <p:spPr/>
        <p:txBody>
          <a:bodyPr/>
          <a:lstStyle/>
          <a:p>
            <a:pPr>
              <a:defRPr/>
            </a:pPr>
            <a:endParaRPr lang="en-US" altLang="ja-JP" dirty="0"/>
          </a:p>
        </p:txBody>
      </p:sp>
      <p:sp>
        <p:nvSpPr>
          <p:cNvPr id="4" name="スライド番号プレースホルダー 3">
            <a:extLst>
              <a:ext uri="{FF2B5EF4-FFF2-40B4-BE49-F238E27FC236}">
                <a16:creationId xmlns:a16="http://schemas.microsoft.com/office/drawing/2014/main" id="{1D1B2CB0-D37E-15FC-46D5-F64EE6F54448}"/>
              </a:ext>
            </a:extLst>
          </p:cNvPr>
          <p:cNvSpPr>
            <a:spLocks noGrp="1"/>
          </p:cNvSpPr>
          <p:nvPr>
            <p:ph type="sldNum" sz="quarter" idx="12"/>
          </p:nvPr>
        </p:nvSpPr>
        <p:spPr/>
        <p:txBody>
          <a:bodyPr/>
          <a:lstStyle/>
          <a:p>
            <a:pPr>
              <a:defRPr/>
            </a:pPr>
            <a:fld id="{651FC12D-27C1-4F31-90C9-A93D49E44687}" type="slidenum">
              <a:rPr lang="en-US" altLang="ja-JP" smtClean="0"/>
              <a:pPr>
                <a:defRPr/>
              </a:pPr>
              <a:t>38</a:t>
            </a:fld>
            <a:endParaRPr lang="en-US" altLang="ja-JP" dirty="0"/>
          </a:p>
        </p:txBody>
      </p:sp>
    </p:spTree>
    <p:extLst>
      <p:ext uri="{BB962C8B-B14F-4D97-AF65-F5344CB8AC3E}">
        <p14:creationId xmlns:p14="http://schemas.microsoft.com/office/powerpoint/2010/main" val="1762106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6" name="タイトル 1"/>
          <p:cNvSpPr>
            <a:spLocks noGrp="1"/>
          </p:cNvSpPr>
          <p:nvPr>
            <p:ph type="title"/>
          </p:nvPr>
        </p:nvSpPr>
        <p:spPr>
          <a:xfrm>
            <a:off x="380939" y="135434"/>
            <a:ext cx="7451126" cy="476174"/>
          </a:xfrm>
        </p:spPr>
        <p:txBody>
          <a:bodyPr/>
          <a:lstStyle/>
          <a:p>
            <a:r>
              <a:rPr lang="ja-JP" altLang="en-US" sz="2000" dirty="0">
                <a:solidFill>
                  <a:schemeClr val="tx1"/>
                </a:solidFill>
              </a:rPr>
              <a:t>国土交通省における山村振興関係予算</a:t>
            </a:r>
          </a:p>
        </p:txBody>
      </p:sp>
      <p:sp>
        <p:nvSpPr>
          <p:cNvPr id="1198" name="テキスト ボックス 7"/>
          <p:cNvSpPr txBox="1">
            <a:spLocks noChangeAspect="1"/>
          </p:cNvSpPr>
          <p:nvPr/>
        </p:nvSpPr>
        <p:spPr>
          <a:xfrm>
            <a:off x="496773" y="1612221"/>
            <a:ext cx="4427274" cy="2339625"/>
          </a:xfrm>
          <a:prstGeom prst="rect">
            <a:avLst/>
          </a:prstGeom>
          <a:noFill/>
          <a:ln w="19050">
            <a:solidFill>
              <a:schemeClr val="tx1"/>
            </a:solidFill>
          </a:ln>
        </p:spPr>
        <p:txBody>
          <a:bodyPr wrap="square" rtlCol="0">
            <a:noAutofit/>
          </a:bodyPr>
          <a:lstStyle/>
          <a:p>
            <a:pPr defTabSz="914217" fontAlgn="auto">
              <a:lnSpc>
                <a:spcPts val="1300"/>
              </a:lnSpc>
              <a:spcBef>
                <a:spcPts val="0"/>
              </a:spcBef>
              <a:spcAft>
                <a:spcPts val="0"/>
              </a:spcAft>
            </a:pPr>
            <a:endParaRPr lang="en-US" altLang="ja-JP" sz="1200" b="1" dirty="0">
              <a:solidFill>
                <a:srgbClr val="000000"/>
              </a:solidFill>
              <a:latin typeface="ＭＳ Ｐゴシック"/>
              <a:ea typeface="ＭＳ Ｐゴシック"/>
            </a:endParaRPr>
          </a:p>
          <a:p>
            <a:pPr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a:rPr>
              <a:t>○ 道路整備の推進</a:t>
            </a:r>
            <a:r>
              <a:rPr lang="en-US" altLang="ja-JP" sz="1200" b="1" baseline="30000" dirty="0">
                <a:solidFill>
                  <a:srgbClr val="000000"/>
                </a:solidFill>
                <a:latin typeface="ＭＳ Ｐゴシック"/>
                <a:ea typeface="ＭＳ Ｐゴシック"/>
              </a:rPr>
              <a:t>※</a:t>
            </a:r>
          </a:p>
          <a:p>
            <a:pPr marL="87296" indent="-87296"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a:rPr>
              <a:t>　　</a:t>
            </a:r>
            <a:r>
              <a:rPr lang="ja-JP" altLang="en-US" sz="1000" dirty="0">
                <a:solidFill>
                  <a:srgbClr val="000000"/>
                </a:solidFill>
                <a:latin typeface="ＭＳ Ｐゴシック"/>
                <a:ea typeface="ＭＳ Ｐゴシック"/>
              </a:rPr>
              <a:t>都道府県による代行事業制度の活用を図る等、山村地域における道路整備を推進。</a:t>
            </a:r>
            <a:endParaRPr lang="en-US" altLang="ja-JP" sz="1000" dirty="0">
              <a:solidFill>
                <a:srgbClr val="000000"/>
              </a:solidFill>
              <a:latin typeface="ＭＳ Ｐゴシック"/>
              <a:ea typeface="ＭＳ Ｐゴシック"/>
            </a:endParaRPr>
          </a:p>
          <a:p>
            <a:pPr defTabSz="914217" fontAlgn="auto">
              <a:lnSpc>
                <a:spcPts val="1300"/>
              </a:lnSpc>
              <a:spcBef>
                <a:spcPts val="0"/>
              </a:spcBef>
              <a:spcAft>
                <a:spcPts val="0"/>
              </a:spcAft>
            </a:pPr>
            <a:r>
              <a:rPr lang="en-US" altLang="ja-JP" sz="1200" dirty="0">
                <a:solidFill>
                  <a:srgbClr val="000000"/>
                </a:solidFill>
                <a:latin typeface="ＭＳ ゴシック" panose="020B0609070205080204" pitchFamily="49" charset="-128"/>
                <a:ea typeface="ＭＳ ゴシック" panose="020B0609070205080204" pitchFamily="49" charset="-128"/>
              </a:rPr>
              <a:t>   </a:t>
            </a:r>
            <a:r>
              <a:rPr lang="ja-JP" altLang="en-US" sz="1200" dirty="0">
                <a:solidFill>
                  <a:srgbClr val="000000"/>
                </a:solidFill>
                <a:latin typeface="ＭＳ ゴシック" panose="020B0609070205080204" pitchFamily="49" charset="-128"/>
                <a:ea typeface="ＭＳ ゴシック" panose="020B0609070205080204" pitchFamily="49" charset="-128"/>
              </a:rPr>
              <a:t>･</a:t>
            </a:r>
            <a:r>
              <a:rPr lang="ja-JP" altLang="en-US" sz="1200" dirty="0">
                <a:solidFill>
                  <a:srgbClr val="000000"/>
                </a:solidFill>
                <a:latin typeface="ＭＳ Ｐゴシック"/>
                <a:ea typeface="ＭＳ Ｐゴシック" charset="-128"/>
              </a:rPr>
              <a:t>Ｒ６</a:t>
            </a:r>
            <a:r>
              <a:rPr lang="ja-JP" altLang="en-US" sz="1200" dirty="0">
                <a:solidFill>
                  <a:srgbClr val="000000"/>
                </a:solidFill>
                <a:latin typeface="ＭＳ ゴシック" panose="020B0609070205080204" pitchFamily="49" charset="-128"/>
                <a:ea typeface="ＭＳ ゴシック" panose="020B0609070205080204" pitchFamily="49" charset="-128"/>
              </a:rPr>
              <a:t>当初予算額　   　</a:t>
            </a:r>
            <a:r>
              <a:rPr lang="en-US" altLang="ja-JP" sz="1200" dirty="0">
                <a:solidFill>
                  <a:srgbClr val="000000"/>
                </a:solidFill>
                <a:latin typeface="ＭＳ ゴシック" panose="020B0609070205080204" pitchFamily="49" charset="-128"/>
                <a:ea typeface="ＭＳ ゴシック" panose="020B0609070205080204" pitchFamily="49" charset="-128"/>
              </a:rPr>
              <a:t>2</a:t>
            </a:r>
            <a:r>
              <a:rPr lang="ja-JP" altLang="en-US" sz="1200" dirty="0">
                <a:solidFill>
                  <a:srgbClr val="000000"/>
                </a:solidFill>
                <a:latin typeface="ＭＳ ゴシック" panose="020B0609070205080204" pitchFamily="49" charset="-128"/>
                <a:ea typeface="ＭＳ ゴシック" panose="020B0609070205080204" pitchFamily="49" charset="-128"/>
              </a:rPr>
              <a:t>兆</a:t>
            </a:r>
            <a:r>
              <a:rPr lang="en-US" altLang="ja-JP" sz="1200" dirty="0">
                <a:solidFill>
                  <a:srgbClr val="000000"/>
                </a:solidFill>
                <a:latin typeface="ＭＳ ゴシック" panose="020B0609070205080204" pitchFamily="49" charset="-128"/>
                <a:ea typeface="ＭＳ ゴシック" panose="020B0609070205080204" pitchFamily="49" charset="-128"/>
              </a:rPr>
              <a:t>1,183</a:t>
            </a:r>
            <a:r>
              <a:rPr lang="ja-JP" altLang="en-US" sz="1200" dirty="0">
                <a:solidFill>
                  <a:srgbClr val="000000"/>
                </a:solidFill>
                <a:latin typeface="ＭＳ ゴシック" panose="020B0609070205080204" pitchFamily="49" charset="-128"/>
                <a:ea typeface="ＭＳ ゴシック" panose="020B0609070205080204" pitchFamily="49" charset="-128"/>
              </a:rPr>
              <a:t>億円の内数 </a:t>
            </a:r>
            <a:endParaRPr lang="en-US" altLang="ja-JP" sz="1200" dirty="0">
              <a:solidFill>
                <a:srgbClr val="000000"/>
              </a:solidFill>
              <a:latin typeface="ＭＳ ゴシック" panose="020B0609070205080204" pitchFamily="49" charset="-128"/>
              <a:ea typeface="ＭＳ ゴシック" panose="020B0609070205080204" pitchFamily="49" charset="-128"/>
            </a:endParaRPr>
          </a:p>
          <a:p>
            <a:pPr defTabSz="914217" fontAlgn="auto">
              <a:lnSpc>
                <a:spcPts val="1300"/>
              </a:lnSpc>
              <a:spcBef>
                <a:spcPts val="0"/>
              </a:spcBef>
              <a:spcAft>
                <a:spcPts val="0"/>
              </a:spcAft>
            </a:pPr>
            <a:r>
              <a:rPr lang="ja-JP" altLang="en-US" sz="1200" dirty="0">
                <a:solidFill>
                  <a:srgbClr val="000000"/>
                </a:solidFill>
                <a:latin typeface="ＭＳ ゴシック" panose="020B0609070205080204" pitchFamily="49" charset="-128"/>
                <a:ea typeface="ＭＳ ゴシック" panose="020B0609070205080204" pitchFamily="49" charset="-128"/>
              </a:rPr>
              <a:t>　  </a:t>
            </a:r>
            <a:r>
              <a:rPr lang="ja-JP" altLang="en-US" sz="1200" dirty="0">
                <a:solidFill>
                  <a:srgbClr val="000000"/>
                </a:solidFill>
                <a:latin typeface="ＭＳ Ｐゴシック"/>
                <a:ea typeface="ＭＳ Ｐゴシック" charset="-128"/>
              </a:rPr>
              <a:t>Ｒ５</a:t>
            </a:r>
            <a:r>
              <a:rPr lang="ja-JP" altLang="en-US" sz="1200" dirty="0">
                <a:solidFill>
                  <a:srgbClr val="000000"/>
                </a:solidFill>
                <a:latin typeface="ＭＳ ゴシック" panose="020B0609070205080204" pitchFamily="49" charset="-128"/>
                <a:ea typeface="ＭＳ ゴシック" panose="020B0609070205080204" pitchFamily="49" charset="-128"/>
              </a:rPr>
              <a:t>予算額　　　　   </a:t>
            </a:r>
            <a:r>
              <a:rPr lang="en-US" altLang="ja-JP" sz="1200" dirty="0">
                <a:solidFill>
                  <a:srgbClr val="000000"/>
                </a:solidFill>
                <a:latin typeface="ＭＳ ゴシック" panose="020B0609070205080204" pitchFamily="49" charset="-128"/>
                <a:ea typeface="ＭＳ ゴシック" panose="020B0609070205080204" pitchFamily="49" charset="-128"/>
              </a:rPr>
              <a:t>2</a:t>
            </a:r>
            <a:r>
              <a:rPr lang="ja-JP" altLang="en-US" sz="1200" dirty="0">
                <a:solidFill>
                  <a:srgbClr val="000000"/>
                </a:solidFill>
                <a:latin typeface="ＭＳ ゴシック" panose="020B0609070205080204" pitchFamily="49" charset="-128"/>
                <a:ea typeface="ＭＳ ゴシック" panose="020B0609070205080204" pitchFamily="49" charset="-128"/>
              </a:rPr>
              <a:t>兆</a:t>
            </a:r>
            <a:r>
              <a:rPr lang="en-US" altLang="ja-JP" sz="1200" dirty="0">
                <a:solidFill>
                  <a:srgbClr val="000000"/>
                </a:solidFill>
                <a:latin typeface="ＭＳ ゴシック" panose="020B0609070205080204" pitchFamily="49" charset="-128"/>
                <a:ea typeface="ＭＳ ゴシック" panose="020B0609070205080204" pitchFamily="49" charset="-128"/>
              </a:rPr>
              <a:t>1,183</a:t>
            </a:r>
            <a:r>
              <a:rPr lang="ja-JP" altLang="en-US" sz="1200" dirty="0">
                <a:solidFill>
                  <a:srgbClr val="000000"/>
                </a:solidFill>
                <a:latin typeface="ＭＳ ゴシック" panose="020B0609070205080204" pitchFamily="49" charset="-128"/>
                <a:ea typeface="ＭＳ ゴシック" panose="020B0609070205080204" pitchFamily="49" charset="-128"/>
              </a:rPr>
              <a:t>億円の内数</a:t>
            </a:r>
            <a:endParaRPr lang="en-US" altLang="ja-JP" sz="1200" dirty="0">
              <a:solidFill>
                <a:srgbClr val="000000"/>
              </a:solidFill>
              <a:latin typeface="ＭＳ ゴシック" panose="020B0609070205080204" pitchFamily="49" charset="-128"/>
              <a:ea typeface="ＭＳ ゴシック" panose="020B0609070205080204" pitchFamily="49" charset="-128"/>
            </a:endParaRPr>
          </a:p>
          <a:p>
            <a:pPr defTabSz="914217" fontAlgn="auto">
              <a:lnSpc>
                <a:spcPts val="1300"/>
              </a:lnSpc>
              <a:spcBef>
                <a:spcPts val="0"/>
              </a:spcBef>
              <a:spcAft>
                <a:spcPts val="0"/>
              </a:spcAft>
            </a:pPr>
            <a:r>
              <a:rPr lang="ja-JP" altLang="en-US" sz="1200" dirty="0">
                <a:solidFill>
                  <a:srgbClr val="000000"/>
                </a:solidFill>
                <a:latin typeface="ＭＳ ゴシック" panose="020B0609070205080204" pitchFamily="49" charset="-128"/>
                <a:ea typeface="ＭＳ ゴシック" panose="020B0609070205080204" pitchFamily="49" charset="-128"/>
              </a:rPr>
              <a:t>　　　このほか補正予算　　 </a:t>
            </a:r>
            <a:r>
              <a:rPr lang="en-US" altLang="ja-JP" sz="1200" dirty="0">
                <a:solidFill>
                  <a:srgbClr val="000000"/>
                </a:solidFill>
                <a:latin typeface="ＭＳ ゴシック" panose="020B0609070205080204" pitchFamily="49" charset="-128"/>
                <a:ea typeface="ＭＳ ゴシック" panose="020B0609070205080204" pitchFamily="49" charset="-128"/>
              </a:rPr>
              <a:t>4,330</a:t>
            </a:r>
            <a:r>
              <a:rPr lang="ja-JP" altLang="en-US" sz="1200" dirty="0">
                <a:solidFill>
                  <a:srgbClr val="000000"/>
                </a:solidFill>
                <a:latin typeface="ＭＳ ゴシック" panose="020B0609070205080204" pitchFamily="49" charset="-128"/>
                <a:ea typeface="ＭＳ ゴシック" panose="020B0609070205080204" pitchFamily="49" charset="-128"/>
              </a:rPr>
              <a:t>億円の内数</a:t>
            </a:r>
            <a:endParaRPr lang="en-US" altLang="ja-JP" sz="1200" b="1" dirty="0">
              <a:solidFill>
                <a:srgbClr val="000000"/>
              </a:solidFill>
              <a:latin typeface="ＭＳ Ｐゴシック"/>
              <a:ea typeface="ＭＳ Ｐゴシック"/>
            </a:endParaRPr>
          </a:p>
          <a:p>
            <a:pPr defTabSz="914217" fontAlgn="auto">
              <a:lnSpc>
                <a:spcPts val="500"/>
              </a:lnSpc>
              <a:spcBef>
                <a:spcPts val="0"/>
              </a:spcBef>
              <a:spcAft>
                <a:spcPts val="0"/>
              </a:spcAft>
            </a:pPr>
            <a:endParaRPr lang="en-US" altLang="ja-JP" sz="1200" b="1" dirty="0">
              <a:solidFill>
                <a:srgbClr val="000000"/>
              </a:solidFill>
              <a:latin typeface="ＭＳ Ｐゴシック"/>
              <a:ea typeface="ＭＳ Ｐゴシック"/>
            </a:endParaRPr>
          </a:p>
          <a:p>
            <a:pPr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a:rPr>
              <a:t>〇 生活交通の確保・維持・改善</a:t>
            </a:r>
            <a:endParaRPr lang="en-US" altLang="ja-JP" sz="1200" b="1" u="sng" dirty="0">
              <a:solidFill>
                <a:srgbClr val="000000"/>
              </a:solidFill>
              <a:latin typeface="ＭＳ Ｐゴシック"/>
              <a:ea typeface="ＭＳ Ｐゴシック"/>
            </a:endParaRPr>
          </a:p>
          <a:p>
            <a:pPr marL="93644" indent="-93644" defTabSz="914217" fontAlgn="auto">
              <a:lnSpc>
                <a:spcPts val="1300"/>
              </a:lnSpc>
              <a:spcBef>
                <a:spcPts val="0"/>
              </a:spcBef>
              <a:spcAft>
                <a:spcPts val="0"/>
              </a:spcAft>
            </a:pPr>
            <a:r>
              <a:rPr lang="ja-JP" altLang="en-US" sz="1200" dirty="0">
                <a:solidFill>
                  <a:srgbClr val="000000"/>
                </a:solidFill>
                <a:latin typeface="ＭＳ Ｐゴシック"/>
                <a:ea typeface="ＭＳ Ｐゴシック"/>
              </a:rPr>
              <a:t>　　</a:t>
            </a:r>
            <a:r>
              <a:rPr lang="ja-JP" altLang="en-US" sz="1000" dirty="0">
                <a:solidFill>
                  <a:srgbClr val="000000"/>
                </a:solidFill>
                <a:latin typeface="ＭＳ Ｐゴシック"/>
                <a:ea typeface="ＭＳ Ｐゴシック"/>
              </a:rPr>
              <a:t>振興山村等におけるデマンドタクシー、コミュニティバス等の運行費用の支援等。</a:t>
            </a:r>
            <a:r>
              <a:rPr lang="zh-TW" altLang="en-US" sz="1000" dirty="0">
                <a:solidFill>
                  <a:srgbClr val="000000"/>
                </a:solidFill>
                <a:latin typeface="ＭＳ Ｐゴシック"/>
                <a:ea typeface="ＭＳ Ｐゴシック"/>
              </a:rPr>
              <a:t>（地域公共交通確保維持改善事業</a:t>
            </a:r>
            <a:r>
              <a:rPr lang="ja-JP" altLang="en-US" sz="1000" dirty="0">
                <a:solidFill>
                  <a:srgbClr val="000000"/>
                </a:solidFill>
                <a:latin typeface="ＭＳ Ｐゴシック"/>
                <a:ea typeface="ＭＳ Ｐゴシック"/>
              </a:rPr>
              <a:t>等）</a:t>
            </a:r>
            <a:endParaRPr lang="en-US" altLang="ja-JP" sz="1000" dirty="0">
              <a:solidFill>
                <a:srgbClr val="000000"/>
              </a:solidFill>
              <a:latin typeface="ＭＳ Ｐゴシック"/>
              <a:ea typeface="ＭＳ Ｐゴシック"/>
            </a:endParaRPr>
          </a:p>
          <a:p>
            <a:pPr marL="177764" indent="-177764" defTabSz="914217" fontAlgn="auto">
              <a:lnSpc>
                <a:spcPts val="1300"/>
              </a:lnSpc>
              <a:spcBef>
                <a:spcPts val="0"/>
              </a:spcBef>
              <a:spcAft>
                <a:spcPts val="0"/>
              </a:spcAft>
            </a:pPr>
            <a:r>
              <a:rPr lang="ja-JP" altLang="en-US" sz="1200" dirty="0">
                <a:solidFill>
                  <a:srgbClr val="000000"/>
                </a:solidFill>
                <a:latin typeface="ＭＳ Ｐゴシック"/>
                <a:ea typeface="ＭＳ Ｐゴシック"/>
              </a:rPr>
              <a:t>    ・Ｒ６当初予算額　          </a:t>
            </a:r>
            <a:r>
              <a:rPr lang="en-US" altLang="ja-JP" sz="1200" dirty="0">
                <a:solidFill>
                  <a:srgbClr val="000000"/>
                </a:solidFill>
                <a:latin typeface="ＭＳ Ｐゴシック"/>
                <a:ea typeface="ＭＳ Ｐゴシック"/>
              </a:rPr>
              <a:t>208</a:t>
            </a:r>
            <a:r>
              <a:rPr lang="ja-JP" altLang="en-US" sz="1200" dirty="0">
                <a:solidFill>
                  <a:srgbClr val="000000"/>
                </a:solidFill>
                <a:latin typeface="ＭＳ Ｐゴシック"/>
                <a:ea typeface="ＭＳ Ｐゴシック"/>
              </a:rPr>
              <a:t>億円の内数</a:t>
            </a:r>
            <a:endParaRPr lang="en-US" altLang="ja-JP" sz="1200" dirty="0">
              <a:solidFill>
                <a:srgbClr val="000000"/>
              </a:solidFill>
              <a:latin typeface="ＭＳ Ｐゴシック"/>
              <a:ea typeface="ＭＳ Ｐゴシック"/>
            </a:endParaRPr>
          </a:p>
          <a:p>
            <a:pPr marL="177764" defTabSz="914217" fontAlgn="auto">
              <a:lnSpc>
                <a:spcPts val="1300"/>
              </a:lnSpc>
              <a:spcBef>
                <a:spcPts val="0"/>
              </a:spcBef>
              <a:spcAft>
                <a:spcPts val="0"/>
              </a:spcAft>
            </a:pPr>
            <a:r>
              <a:rPr lang="ja-JP" altLang="en-US" sz="1200" dirty="0">
                <a:solidFill>
                  <a:srgbClr val="000000"/>
                </a:solidFill>
                <a:latin typeface="ＭＳ Ｐゴシック"/>
                <a:ea typeface="ＭＳ Ｐゴシック"/>
              </a:rPr>
              <a:t> </a:t>
            </a:r>
            <a:r>
              <a:rPr lang="en-US" altLang="ja-JP" sz="1200" dirty="0">
                <a:solidFill>
                  <a:srgbClr val="000000"/>
                </a:solidFill>
                <a:latin typeface="ＭＳ Ｐゴシック"/>
                <a:ea typeface="ＭＳ Ｐゴシック"/>
              </a:rPr>
              <a:t> </a:t>
            </a:r>
            <a:r>
              <a:rPr lang="ja-JP" altLang="en-US" sz="1200" dirty="0">
                <a:solidFill>
                  <a:srgbClr val="000000"/>
                </a:solidFill>
                <a:latin typeface="ＭＳ Ｐゴシック"/>
                <a:ea typeface="ＭＳ Ｐゴシック"/>
              </a:rPr>
              <a:t>Ｒ５予算額  </a:t>
            </a:r>
            <a:r>
              <a:rPr lang="ja-JP" altLang="en-US" sz="500" dirty="0">
                <a:solidFill>
                  <a:srgbClr val="000000"/>
                </a:solidFill>
                <a:latin typeface="ＭＳ Ｐゴシック"/>
                <a:ea typeface="ＭＳ Ｐゴシック"/>
              </a:rPr>
              <a:t> 　　　　　　　                      　</a:t>
            </a:r>
            <a:r>
              <a:rPr lang="en-US" altLang="ja-JP" sz="1200" dirty="0">
                <a:solidFill>
                  <a:srgbClr val="000000"/>
                </a:solidFill>
                <a:latin typeface="ＭＳ Ｐゴシック"/>
                <a:ea typeface="ＭＳ Ｐゴシック"/>
              </a:rPr>
              <a:t>207</a:t>
            </a:r>
            <a:r>
              <a:rPr lang="ja-JP" altLang="en-US" sz="1200" dirty="0">
                <a:solidFill>
                  <a:srgbClr val="000000"/>
                </a:solidFill>
                <a:latin typeface="ＭＳ Ｐゴシック"/>
                <a:ea typeface="ＭＳ Ｐゴシック"/>
              </a:rPr>
              <a:t>億円の内数</a:t>
            </a:r>
            <a:endParaRPr lang="en-US" altLang="ja-JP" sz="1200" dirty="0">
              <a:solidFill>
                <a:srgbClr val="000000"/>
              </a:solidFill>
              <a:latin typeface="ＭＳ Ｐゴシック"/>
              <a:ea typeface="ＭＳ Ｐゴシック"/>
            </a:endParaRPr>
          </a:p>
          <a:p>
            <a:pPr marL="177764" defTabSz="914217" fontAlgn="auto">
              <a:lnSpc>
                <a:spcPts val="1300"/>
              </a:lnSpc>
              <a:spcBef>
                <a:spcPts val="0"/>
              </a:spcBef>
              <a:spcAft>
                <a:spcPts val="0"/>
              </a:spcAft>
            </a:pPr>
            <a:r>
              <a:rPr lang="ja-JP" altLang="en-US" sz="1200" dirty="0">
                <a:solidFill>
                  <a:srgbClr val="000000"/>
                </a:solidFill>
                <a:latin typeface="ＭＳ Ｐゴシック"/>
                <a:ea typeface="ＭＳ Ｐゴシック"/>
              </a:rPr>
              <a:t>　　このほか補正予算　 　</a:t>
            </a:r>
            <a:r>
              <a:rPr lang="en-US" altLang="ja-JP" sz="1200" dirty="0">
                <a:solidFill>
                  <a:srgbClr val="000000"/>
                </a:solidFill>
                <a:latin typeface="ＭＳ Ｐゴシック"/>
                <a:ea typeface="ＭＳ Ｐゴシック"/>
              </a:rPr>
              <a:t>279</a:t>
            </a:r>
            <a:r>
              <a:rPr lang="ja-JP" altLang="en-US" sz="1200" dirty="0">
                <a:solidFill>
                  <a:srgbClr val="000000"/>
                </a:solidFill>
                <a:latin typeface="ＭＳ Ｐゴシック"/>
                <a:ea typeface="ＭＳ Ｐゴシック"/>
              </a:rPr>
              <a:t>億円の内数</a:t>
            </a:r>
            <a:endParaRPr lang="en-US" altLang="ja-JP" sz="1200" dirty="0">
              <a:solidFill>
                <a:srgbClr val="000000"/>
              </a:solidFill>
              <a:latin typeface="ＭＳ Ｐゴシック"/>
              <a:ea typeface="ＭＳ Ｐゴシック"/>
            </a:endParaRPr>
          </a:p>
        </p:txBody>
      </p:sp>
      <p:sp>
        <p:nvSpPr>
          <p:cNvPr id="1199" name="角丸四角形 2"/>
          <p:cNvSpPr/>
          <p:nvPr/>
        </p:nvSpPr>
        <p:spPr>
          <a:xfrm>
            <a:off x="402781" y="1022192"/>
            <a:ext cx="9085202" cy="428185"/>
          </a:xfrm>
          <a:prstGeom prst="roundRect">
            <a:avLst/>
          </a:prstGeom>
          <a:solidFill>
            <a:srgbClr val="00FF00">
              <a:alpha val="40000"/>
            </a:srgbClr>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17" fontAlgn="auto">
              <a:spcBef>
                <a:spcPct val="20000"/>
              </a:spcBef>
              <a:spcAft>
                <a:spcPts val="0"/>
              </a:spcAft>
              <a:defRPr/>
            </a:pPr>
            <a:r>
              <a:rPr lang="ja-JP" altLang="en-US" sz="1300" b="1" dirty="0">
                <a:solidFill>
                  <a:srgbClr val="000000"/>
                </a:solidFill>
                <a:latin typeface="ＭＳ ゴシック" panose="020B0609070205080204" pitchFamily="49" charset="-128"/>
                <a:ea typeface="ＭＳ ゴシック" panose="020B0609070205080204" pitchFamily="49" charset="-128"/>
              </a:rPr>
              <a:t>国土交通省は、振興山村等の条件不利地域を対象に、各地方公共団体の山村振興施策に係る取り組みに対して積極的に支援。　</a:t>
            </a:r>
            <a:r>
              <a:rPr lang="ja-JP" altLang="en-US" sz="1300" dirty="0">
                <a:solidFill>
                  <a:srgbClr val="000000"/>
                </a:solidFill>
                <a:latin typeface="ＭＳ ゴシック" panose="020B0609070205080204" pitchFamily="49" charset="-128"/>
                <a:ea typeface="ＭＳ ゴシック" panose="020B0609070205080204" pitchFamily="49" charset="-128"/>
              </a:rPr>
              <a:t>　</a:t>
            </a:r>
          </a:p>
        </p:txBody>
      </p:sp>
      <p:sp>
        <p:nvSpPr>
          <p:cNvPr id="1200" name="テキスト ボックス 17"/>
          <p:cNvSpPr txBox="1"/>
          <p:nvPr/>
        </p:nvSpPr>
        <p:spPr>
          <a:xfrm>
            <a:off x="593136" y="1514999"/>
            <a:ext cx="2199176" cy="276955"/>
          </a:xfrm>
          <a:prstGeom prst="rect">
            <a:avLst/>
          </a:prstGeom>
          <a:solidFill>
            <a:srgbClr val="CCFFFF"/>
          </a:solidFill>
          <a:ln w="19050">
            <a:solidFill>
              <a:schemeClr val="tx1"/>
            </a:solidFill>
          </a:ln>
        </p:spPr>
        <p:txBody>
          <a:bodyPr wrap="square" rtlCol="0">
            <a:spAutoFit/>
          </a:bodyPr>
          <a:lstStyle/>
          <a:p>
            <a:pPr algn="ctr" defTabSz="914217"/>
            <a:r>
              <a:rPr lang="ja-JP" altLang="en-US" sz="1200" b="1" dirty="0">
                <a:solidFill>
                  <a:srgbClr val="000000"/>
                </a:solidFill>
                <a:ea typeface="ＭＳ Ｐゴシック" charset="-128"/>
              </a:rPr>
              <a:t>交通施策</a:t>
            </a:r>
          </a:p>
        </p:txBody>
      </p:sp>
      <p:sp>
        <p:nvSpPr>
          <p:cNvPr id="1203" name="テキスト ボックス 3"/>
          <p:cNvSpPr txBox="1">
            <a:spLocks noChangeAspect="1"/>
          </p:cNvSpPr>
          <p:nvPr/>
        </p:nvSpPr>
        <p:spPr>
          <a:xfrm>
            <a:off x="5024202" y="6327730"/>
            <a:ext cx="4343924" cy="791961"/>
          </a:xfrm>
          <a:prstGeom prst="rect">
            <a:avLst/>
          </a:prstGeom>
          <a:noFill/>
          <a:ln w="19050">
            <a:solidFill>
              <a:schemeClr val="tx1"/>
            </a:solidFill>
            <a:prstDash val="sysDash"/>
          </a:ln>
        </p:spPr>
        <p:txBody>
          <a:bodyPr wrap="square" rtlCol="0">
            <a:noAutofit/>
          </a:bodyPr>
          <a:lstStyle/>
          <a:p>
            <a:pPr marL="180939" indent="-180939" defTabSz="914217"/>
            <a:r>
              <a:rPr lang="en-US" altLang="ja-JP" sz="1100" dirty="0">
                <a:solidFill>
                  <a:srgbClr val="000000"/>
                </a:solidFill>
                <a:latin typeface="ＭＳ Ｐゴシック"/>
                <a:ea typeface="ＭＳ Ｐゴシック"/>
              </a:rPr>
              <a:t>※</a:t>
            </a:r>
            <a:r>
              <a:rPr lang="ja-JP" altLang="en-US" sz="1100" dirty="0">
                <a:solidFill>
                  <a:srgbClr val="000000"/>
                </a:solidFill>
                <a:latin typeface="ＭＳ Ｐゴシック"/>
                <a:ea typeface="ＭＳ Ｐゴシック"/>
              </a:rPr>
              <a:t>他に、社会資本整備総合交付金</a:t>
            </a:r>
            <a:r>
              <a:rPr lang="ja-JP" altLang="en-US" sz="1100" dirty="0">
                <a:solidFill>
                  <a:srgbClr val="000000"/>
                </a:solidFill>
                <a:latin typeface="ＭＳ Ｐゴシック"/>
                <a:ea typeface="ＭＳ Ｐゴシック" charset="-128"/>
              </a:rPr>
              <a:t>令和６年度当初予算：</a:t>
            </a:r>
            <a:r>
              <a:rPr lang="en-US" altLang="ja-JP" sz="1100" dirty="0">
                <a:solidFill>
                  <a:srgbClr val="000000"/>
                </a:solidFill>
                <a:latin typeface="ＭＳ Ｐゴシック"/>
                <a:ea typeface="ＭＳ Ｐゴシック" charset="-128"/>
              </a:rPr>
              <a:t>5,065</a:t>
            </a:r>
            <a:r>
              <a:rPr lang="ja-JP" altLang="en-US" sz="1100" dirty="0">
                <a:solidFill>
                  <a:srgbClr val="000000"/>
                </a:solidFill>
                <a:latin typeface="ＭＳ Ｐゴシック"/>
                <a:ea typeface="ＭＳ Ｐゴシック" charset="-128"/>
              </a:rPr>
              <a:t>億円</a:t>
            </a:r>
            <a:r>
              <a:rPr lang="ja-JP" altLang="en-US" sz="1100" dirty="0">
                <a:solidFill>
                  <a:srgbClr val="000000"/>
                </a:solidFill>
                <a:latin typeface="ＭＳ Ｐゴシック"/>
                <a:ea typeface="ＭＳ Ｐゴシック"/>
              </a:rPr>
              <a:t>（令和５年度当初：</a:t>
            </a:r>
            <a:r>
              <a:rPr lang="en-US" altLang="ja-JP" sz="1100" dirty="0">
                <a:solidFill>
                  <a:srgbClr val="000000"/>
                </a:solidFill>
                <a:latin typeface="ＭＳ Ｐゴシック"/>
                <a:ea typeface="ＭＳ Ｐゴシック"/>
              </a:rPr>
              <a:t>5,492</a:t>
            </a:r>
            <a:r>
              <a:rPr lang="ja-JP" altLang="en-US" sz="1100" dirty="0">
                <a:solidFill>
                  <a:srgbClr val="000000"/>
                </a:solidFill>
                <a:latin typeface="ＭＳ Ｐゴシック"/>
                <a:ea typeface="ＭＳ Ｐゴシック"/>
              </a:rPr>
              <a:t>億円、令和５年度補正：</a:t>
            </a:r>
            <a:r>
              <a:rPr lang="en-US" altLang="ja-JP" sz="1100" dirty="0">
                <a:solidFill>
                  <a:srgbClr val="000000"/>
                </a:solidFill>
                <a:latin typeface="ＭＳ Ｐゴシック"/>
                <a:ea typeface="ＭＳ Ｐゴシック"/>
              </a:rPr>
              <a:t>542</a:t>
            </a:r>
            <a:r>
              <a:rPr lang="ja-JP" altLang="en-US" sz="1100" dirty="0">
                <a:solidFill>
                  <a:srgbClr val="000000"/>
                </a:solidFill>
                <a:latin typeface="ＭＳ Ｐゴシック"/>
                <a:ea typeface="ＭＳ Ｐゴシック"/>
              </a:rPr>
              <a:t>億円）、防災・安全交付金</a:t>
            </a:r>
            <a:r>
              <a:rPr lang="ja-JP" altLang="en-US" sz="1100" dirty="0">
                <a:solidFill>
                  <a:srgbClr val="000000"/>
                </a:solidFill>
                <a:latin typeface="ＭＳ Ｐゴシック"/>
                <a:ea typeface="ＭＳ Ｐゴシック" charset="-128"/>
              </a:rPr>
              <a:t>令和６年度当初予算：</a:t>
            </a:r>
            <a:r>
              <a:rPr lang="en-US" altLang="ja-JP" sz="1100" dirty="0">
                <a:solidFill>
                  <a:srgbClr val="000000"/>
                </a:solidFill>
                <a:latin typeface="ＭＳ Ｐゴシック"/>
                <a:ea typeface="ＭＳ Ｐゴシック" charset="-128"/>
              </a:rPr>
              <a:t>8,707</a:t>
            </a:r>
            <a:r>
              <a:rPr lang="ja-JP" altLang="en-US" sz="1100" dirty="0">
                <a:solidFill>
                  <a:srgbClr val="000000"/>
                </a:solidFill>
                <a:latin typeface="ＭＳ Ｐゴシック"/>
                <a:ea typeface="ＭＳ Ｐゴシック" charset="-128"/>
              </a:rPr>
              <a:t>億円</a:t>
            </a:r>
            <a:r>
              <a:rPr lang="ja-JP" altLang="en-US" sz="1100" dirty="0">
                <a:solidFill>
                  <a:srgbClr val="000000"/>
                </a:solidFill>
                <a:latin typeface="ＭＳ Ｐゴシック"/>
                <a:ea typeface="ＭＳ Ｐゴシック"/>
              </a:rPr>
              <a:t>（令和５年度当初：</a:t>
            </a:r>
            <a:r>
              <a:rPr lang="en-US" altLang="ja-JP" sz="1100" dirty="0">
                <a:solidFill>
                  <a:srgbClr val="000000"/>
                </a:solidFill>
                <a:latin typeface="ＭＳ Ｐゴシック"/>
                <a:ea typeface="ＭＳ Ｐゴシック"/>
              </a:rPr>
              <a:t>8,515</a:t>
            </a:r>
            <a:r>
              <a:rPr lang="ja-JP" altLang="en-US" sz="1100" dirty="0">
                <a:solidFill>
                  <a:srgbClr val="000000"/>
                </a:solidFill>
                <a:latin typeface="ＭＳ Ｐゴシック"/>
                <a:ea typeface="ＭＳ Ｐゴシック"/>
              </a:rPr>
              <a:t>億円、令和５年度補正：</a:t>
            </a:r>
            <a:r>
              <a:rPr lang="en-US" altLang="ja-JP" sz="1100" dirty="0">
                <a:solidFill>
                  <a:srgbClr val="000000"/>
                </a:solidFill>
                <a:latin typeface="ＭＳ Ｐゴシック"/>
                <a:ea typeface="ＭＳ Ｐゴシック"/>
              </a:rPr>
              <a:t>2,954</a:t>
            </a:r>
            <a:r>
              <a:rPr lang="ja-JP" altLang="en-US" sz="1100" dirty="0">
                <a:solidFill>
                  <a:srgbClr val="000000"/>
                </a:solidFill>
                <a:latin typeface="ＭＳ Ｐゴシック"/>
                <a:ea typeface="ＭＳ Ｐゴシック"/>
              </a:rPr>
              <a:t>億円）によっても支援。</a:t>
            </a:r>
          </a:p>
        </p:txBody>
      </p:sp>
      <p:sp>
        <p:nvSpPr>
          <p:cNvPr id="1201" name="テキスト ボックス 29"/>
          <p:cNvSpPr txBox="1">
            <a:spLocks noChangeAspect="1"/>
          </p:cNvSpPr>
          <p:nvPr/>
        </p:nvSpPr>
        <p:spPr>
          <a:xfrm>
            <a:off x="488426" y="4095840"/>
            <a:ext cx="4427274" cy="1301867"/>
          </a:xfrm>
          <a:prstGeom prst="rect">
            <a:avLst/>
          </a:prstGeom>
          <a:noFill/>
          <a:ln w="19050">
            <a:solidFill>
              <a:schemeClr val="tx1"/>
            </a:solidFill>
          </a:ln>
        </p:spPr>
        <p:txBody>
          <a:bodyPr wrap="square" rtlCol="0">
            <a:noAutofit/>
          </a:bodyPr>
          <a:lstStyle/>
          <a:p>
            <a:pPr defTabSz="914217" fontAlgn="auto">
              <a:lnSpc>
                <a:spcPts val="1300"/>
              </a:lnSpc>
              <a:spcBef>
                <a:spcPts val="0"/>
              </a:spcBef>
              <a:spcAft>
                <a:spcPts val="0"/>
              </a:spcAft>
            </a:pPr>
            <a:endParaRPr lang="en-US" altLang="ja-JP" sz="1200" b="1" dirty="0">
              <a:solidFill>
                <a:srgbClr val="000000"/>
              </a:solidFill>
              <a:latin typeface="ＭＳ Ｐゴシック"/>
              <a:ea typeface="ＭＳ Ｐゴシック"/>
            </a:endParaRPr>
          </a:p>
          <a:p>
            <a:pPr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a:rPr>
              <a:t>○ 治水対策等の推進</a:t>
            </a:r>
            <a:r>
              <a:rPr lang="en-US" altLang="ja-JP" sz="1200" b="1" baseline="30000" dirty="0">
                <a:solidFill>
                  <a:srgbClr val="000000"/>
                </a:solidFill>
                <a:latin typeface="ＭＳ Ｐゴシック"/>
                <a:ea typeface="ＭＳ Ｐゴシック" charset="-128"/>
              </a:rPr>
              <a:t>※</a:t>
            </a:r>
          </a:p>
          <a:p>
            <a:pPr marL="88882" indent="88882" defTabSz="914217" fontAlgn="auto">
              <a:lnSpc>
                <a:spcPts val="1200"/>
              </a:lnSpc>
              <a:spcBef>
                <a:spcPts val="0"/>
              </a:spcBef>
              <a:spcAft>
                <a:spcPts val="0"/>
              </a:spcAft>
            </a:pPr>
            <a:r>
              <a:rPr lang="ja-JP" altLang="en-US" sz="1000" dirty="0">
                <a:solidFill>
                  <a:srgbClr val="000000"/>
                </a:solidFill>
                <a:latin typeface="ＭＳ Ｐゴシック"/>
                <a:ea typeface="ＭＳ Ｐゴシック"/>
              </a:rPr>
              <a:t>土砂災害、洪水、津波などによる被害を防止するため、治水、砂防、海岸保全等の推進、またダムによる洪水調節機能の強化と安定的な水資源の確保。</a:t>
            </a:r>
            <a:r>
              <a:rPr lang="ja-JP" altLang="en-US" sz="1200" dirty="0">
                <a:solidFill>
                  <a:srgbClr val="000000"/>
                </a:solidFill>
                <a:latin typeface="ＭＳ Ｐゴシック"/>
                <a:ea typeface="ＭＳ Ｐゴシック"/>
              </a:rPr>
              <a:t>　　</a:t>
            </a:r>
            <a:endParaRPr lang="en-US" altLang="ja-JP" sz="1200" dirty="0">
              <a:solidFill>
                <a:srgbClr val="000000"/>
              </a:solidFill>
              <a:latin typeface="ＭＳ Ｐゴシック"/>
              <a:ea typeface="ＭＳ Ｐゴシック"/>
            </a:endParaRPr>
          </a:p>
          <a:p>
            <a:pPr marL="88882" indent="88882" defTabSz="914217" fontAlgn="auto">
              <a:lnSpc>
                <a:spcPts val="1300"/>
              </a:lnSpc>
              <a:spcBef>
                <a:spcPts val="0"/>
              </a:spcBef>
              <a:spcAft>
                <a:spcPts val="0"/>
              </a:spcAft>
            </a:pPr>
            <a:r>
              <a:rPr lang="ja-JP" altLang="en-US" sz="1200" dirty="0">
                <a:solidFill>
                  <a:srgbClr val="000000"/>
                </a:solidFill>
                <a:latin typeface="ＭＳ Ｐゴシック"/>
                <a:ea typeface="ＭＳ Ｐゴシック"/>
              </a:rPr>
              <a:t>・Ｒ６当初予算額 　　  　　　　</a:t>
            </a:r>
            <a:r>
              <a:rPr lang="en-US" altLang="ja-JP" sz="1200" dirty="0">
                <a:solidFill>
                  <a:srgbClr val="000000"/>
                </a:solidFill>
                <a:latin typeface="ＭＳ Ｐゴシック"/>
                <a:ea typeface="ＭＳ Ｐゴシック"/>
              </a:rPr>
              <a:t>8,844</a:t>
            </a:r>
            <a:r>
              <a:rPr lang="ja-JP" altLang="en-US" sz="1200" dirty="0">
                <a:solidFill>
                  <a:srgbClr val="000000"/>
                </a:solidFill>
                <a:latin typeface="ＭＳ Ｐゴシック"/>
                <a:ea typeface="ＭＳ Ｐゴシック"/>
              </a:rPr>
              <a:t>億円の内数 </a:t>
            </a:r>
            <a:endParaRPr lang="en-US" altLang="ja-JP" sz="1200" dirty="0">
              <a:solidFill>
                <a:srgbClr val="000000"/>
              </a:solidFill>
              <a:latin typeface="ＭＳ Ｐゴシック"/>
              <a:ea typeface="ＭＳ Ｐゴシック"/>
            </a:endParaRPr>
          </a:p>
          <a:p>
            <a:pPr marL="88882" indent="88882" defTabSz="914217" fontAlgn="auto">
              <a:lnSpc>
                <a:spcPts val="1300"/>
              </a:lnSpc>
              <a:spcBef>
                <a:spcPts val="0"/>
              </a:spcBef>
              <a:spcAft>
                <a:spcPts val="0"/>
              </a:spcAft>
            </a:pPr>
            <a:r>
              <a:rPr lang="ja-JP" altLang="en-US" sz="1200" dirty="0">
                <a:solidFill>
                  <a:srgbClr val="000000"/>
                </a:solidFill>
                <a:latin typeface="ＭＳ Ｐゴシック"/>
                <a:ea typeface="ＭＳ Ｐゴシック"/>
              </a:rPr>
              <a:t>  Ｒ５予算額   　　</a:t>
            </a:r>
            <a:r>
              <a:rPr lang="en-US" altLang="ja-JP" sz="1200" dirty="0">
                <a:solidFill>
                  <a:srgbClr val="000000"/>
                </a:solidFill>
                <a:latin typeface="ＭＳ Ｐゴシック"/>
                <a:ea typeface="ＭＳ Ｐゴシック" charset="-128"/>
              </a:rPr>
              <a:t>        </a:t>
            </a:r>
            <a:r>
              <a:rPr lang="ja-JP" altLang="en-US" sz="1200" dirty="0">
                <a:solidFill>
                  <a:srgbClr val="000000"/>
                </a:solidFill>
                <a:latin typeface="ＭＳ Ｐゴシック"/>
                <a:ea typeface="ＭＳ Ｐゴシック" charset="-128"/>
              </a:rPr>
              <a:t>　　   </a:t>
            </a:r>
            <a:r>
              <a:rPr lang="en-US" altLang="ja-JP" sz="1200" dirty="0">
                <a:solidFill>
                  <a:srgbClr val="000000"/>
                </a:solidFill>
                <a:latin typeface="ＭＳ Ｐゴシック"/>
                <a:ea typeface="ＭＳ Ｐゴシック" charset="-128"/>
              </a:rPr>
              <a:t>8,840</a:t>
            </a:r>
            <a:r>
              <a:rPr lang="ja-JP" altLang="en-US" sz="1200" dirty="0">
                <a:solidFill>
                  <a:srgbClr val="000000"/>
                </a:solidFill>
                <a:latin typeface="ＭＳ Ｐゴシック"/>
                <a:ea typeface="ＭＳ Ｐゴシック"/>
              </a:rPr>
              <a:t>億円の内数</a:t>
            </a:r>
            <a:endParaRPr lang="en-US" altLang="ja-JP" sz="1200" dirty="0">
              <a:solidFill>
                <a:srgbClr val="000000"/>
              </a:solidFill>
              <a:latin typeface="ＭＳ Ｐゴシック"/>
              <a:ea typeface="ＭＳ Ｐゴシック"/>
            </a:endParaRPr>
          </a:p>
          <a:p>
            <a:pPr marL="88882" indent="88882" defTabSz="914217" fontAlgn="auto">
              <a:lnSpc>
                <a:spcPts val="1300"/>
              </a:lnSpc>
              <a:spcBef>
                <a:spcPts val="0"/>
              </a:spcBef>
              <a:spcAft>
                <a:spcPts val="0"/>
              </a:spcAft>
            </a:pPr>
            <a:r>
              <a:rPr lang="ja-JP" altLang="en-US" sz="1200" dirty="0">
                <a:solidFill>
                  <a:srgbClr val="000000"/>
                </a:solidFill>
                <a:latin typeface="ＭＳ Ｐゴシック"/>
                <a:ea typeface="ＭＳ Ｐゴシック" charset="-128"/>
              </a:rPr>
              <a:t>　　このほか補正予算　 　    </a:t>
            </a:r>
            <a:r>
              <a:rPr lang="en-US" altLang="ja-JP" sz="1200" dirty="0">
                <a:solidFill>
                  <a:srgbClr val="000000"/>
                </a:solidFill>
                <a:latin typeface="ＭＳ Ｐゴシック"/>
                <a:ea typeface="ＭＳ Ｐゴシック" charset="-128"/>
              </a:rPr>
              <a:t>3,277</a:t>
            </a:r>
            <a:r>
              <a:rPr lang="ja-JP" altLang="en-US" sz="1200" dirty="0">
                <a:solidFill>
                  <a:srgbClr val="000000"/>
                </a:solidFill>
                <a:latin typeface="ＭＳ Ｐゴシック"/>
                <a:ea typeface="ＭＳ Ｐゴシック" charset="-128"/>
              </a:rPr>
              <a:t>億円の内数</a:t>
            </a:r>
            <a:endParaRPr lang="en-US" altLang="ja-JP" sz="1200" dirty="0">
              <a:solidFill>
                <a:srgbClr val="000000"/>
              </a:solidFill>
              <a:latin typeface="ＭＳ Ｐゴシック"/>
              <a:ea typeface="ＭＳ Ｐゴシック" charset="-128"/>
            </a:endParaRPr>
          </a:p>
          <a:p>
            <a:pPr marL="88882" indent="88882" defTabSz="914217" fontAlgn="auto">
              <a:lnSpc>
                <a:spcPts val="1300"/>
              </a:lnSpc>
              <a:spcBef>
                <a:spcPts val="0"/>
              </a:spcBef>
              <a:spcAft>
                <a:spcPts val="0"/>
              </a:spcAft>
            </a:pPr>
            <a:endParaRPr lang="en-US" altLang="ja-JP" sz="1200" dirty="0">
              <a:solidFill>
                <a:srgbClr val="000000"/>
              </a:solidFill>
              <a:latin typeface="ＭＳ Ｐゴシック"/>
              <a:ea typeface="ＭＳ Ｐゴシック"/>
            </a:endParaRPr>
          </a:p>
          <a:p>
            <a:pPr marL="88882" indent="88882" defTabSz="914217" fontAlgn="auto">
              <a:lnSpc>
                <a:spcPts val="1300"/>
              </a:lnSpc>
              <a:spcBef>
                <a:spcPts val="0"/>
              </a:spcBef>
              <a:spcAft>
                <a:spcPts val="0"/>
              </a:spcAft>
            </a:pPr>
            <a:r>
              <a:rPr lang="ja-JP" altLang="en-US" sz="1200" dirty="0">
                <a:solidFill>
                  <a:srgbClr val="000000"/>
                </a:solidFill>
                <a:latin typeface="ＭＳ Ｐゴシック"/>
                <a:ea typeface="ＭＳ Ｐゴシック" charset="-128"/>
              </a:rPr>
              <a:t>　</a:t>
            </a:r>
            <a:endParaRPr lang="en-US" altLang="ja-JP" sz="1200" dirty="0">
              <a:solidFill>
                <a:srgbClr val="000000"/>
              </a:solidFill>
              <a:latin typeface="ＭＳ Ｐゴシック"/>
              <a:ea typeface="ＭＳ Ｐゴシック" charset="-128"/>
            </a:endParaRPr>
          </a:p>
          <a:p>
            <a:pPr marL="88882" indent="88882" defTabSz="914217" fontAlgn="auto">
              <a:lnSpc>
                <a:spcPts val="1300"/>
              </a:lnSpc>
              <a:spcBef>
                <a:spcPts val="0"/>
              </a:spcBef>
              <a:spcAft>
                <a:spcPts val="0"/>
              </a:spcAft>
            </a:pPr>
            <a:endParaRPr lang="en-US" altLang="ja-JP" sz="1200" dirty="0">
              <a:solidFill>
                <a:srgbClr val="000000"/>
              </a:solidFill>
              <a:latin typeface="ＭＳ Ｐゴシック"/>
              <a:ea typeface="ＭＳ Ｐゴシック"/>
            </a:endParaRPr>
          </a:p>
          <a:p>
            <a:pPr marL="88882" indent="88882" defTabSz="914217" fontAlgn="auto">
              <a:lnSpc>
                <a:spcPts val="1300"/>
              </a:lnSpc>
              <a:spcBef>
                <a:spcPts val="0"/>
              </a:spcBef>
              <a:spcAft>
                <a:spcPts val="0"/>
              </a:spcAft>
            </a:pPr>
            <a:endParaRPr lang="en-US" altLang="ja-JP" sz="1200" dirty="0">
              <a:solidFill>
                <a:srgbClr val="000000"/>
              </a:solidFill>
              <a:latin typeface="ＭＳ Ｐゴシック"/>
              <a:ea typeface="ＭＳ Ｐゴシック"/>
            </a:endParaRPr>
          </a:p>
          <a:p>
            <a:pPr marL="88882" indent="88882" defTabSz="914217" fontAlgn="auto">
              <a:lnSpc>
                <a:spcPts val="1300"/>
              </a:lnSpc>
              <a:spcBef>
                <a:spcPts val="0"/>
              </a:spcBef>
              <a:spcAft>
                <a:spcPts val="0"/>
              </a:spcAft>
            </a:pPr>
            <a:endParaRPr lang="en-US" altLang="ja-JP" sz="1200" dirty="0">
              <a:solidFill>
                <a:srgbClr val="000000"/>
              </a:solidFill>
              <a:latin typeface="ＭＳ ゴシック" panose="020B0609070205080204" pitchFamily="49" charset="-128"/>
              <a:ea typeface="ＭＳ ゴシック" panose="020B0609070205080204" pitchFamily="49" charset="-128"/>
            </a:endParaRPr>
          </a:p>
        </p:txBody>
      </p:sp>
      <p:sp>
        <p:nvSpPr>
          <p:cNvPr id="1205" name="テキスト ボックス 14"/>
          <p:cNvSpPr txBox="1"/>
          <p:nvPr/>
        </p:nvSpPr>
        <p:spPr>
          <a:xfrm>
            <a:off x="573328" y="4023845"/>
            <a:ext cx="2159654" cy="276955"/>
          </a:xfrm>
          <a:prstGeom prst="rect">
            <a:avLst/>
          </a:prstGeom>
          <a:solidFill>
            <a:srgbClr val="CCFFFF"/>
          </a:solidFill>
          <a:ln w="19050">
            <a:solidFill>
              <a:schemeClr val="tx1"/>
            </a:solidFill>
          </a:ln>
        </p:spPr>
        <p:txBody>
          <a:bodyPr wrap="square" rtlCol="0">
            <a:spAutoFit/>
          </a:bodyPr>
          <a:lstStyle/>
          <a:p>
            <a:pPr algn="ctr" defTabSz="914217"/>
            <a:r>
              <a:rPr lang="ja-JP" altLang="en-US" sz="1200" b="1" dirty="0">
                <a:solidFill>
                  <a:srgbClr val="000000"/>
                </a:solidFill>
                <a:ea typeface="ＭＳ Ｐゴシック" charset="-128"/>
              </a:rPr>
              <a:t>国土保全対策</a:t>
            </a:r>
          </a:p>
        </p:txBody>
      </p:sp>
      <p:sp>
        <p:nvSpPr>
          <p:cNvPr id="1197" name="テキスト ボックス 4"/>
          <p:cNvSpPr txBox="1">
            <a:spLocks noChangeAspect="1"/>
          </p:cNvSpPr>
          <p:nvPr/>
        </p:nvSpPr>
        <p:spPr>
          <a:xfrm>
            <a:off x="488426" y="5535769"/>
            <a:ext cx="4427290" cy="1553593"/>
          </a:xfrm>
          <a:prstGeom prst="rect">
            <a:avLst/>
          </a:prstGeom>
          <a:solidFill>
            <a:schemeClr val="bg1"/>
          </a:solidFill>
          <a:ln w="19050">
            <a:solidFill>
              <a:schemeClr val="tx1"/>
            </a:solidFill>
          </a:ln>
        </p:spPr>
        <p:txBody>
          <a:bodyPr wrap="square" rtlCol="0">
            <a:noAutofit/>
          </a:bodyPr>
          <a:lstStyle/>
          <a:p>
            <a:pPr defTabSz="914217" fontAlgn="auto">
              <a:lnSpc>
                <a:spcPts val="1400"/>
              </a:lnSpc>
              <a:spcBef>
                <a:spcPts val="0"/>
              </a:spcBef>
              <a:spcAft>
                <a:spcPts val="0"/>
              </a:spcAft>
            </a:pPr>
            <a:endParaRPr lang="en-US" altLang="ja-JP" sz="1200" b="1" dirty="0">
              <a:solidFill>
                <a:srgbClr val="000000"/>
              </a:solidFill>
              <a:latin typeface="ＭＳ Ｐゴシック"/>
              <a:ea typeface="ＭＳ Ｐゴシック"/>
            </a:endParaRPr>
          </a:p>
          <a:p>
            <a:pPr marL="266647" indent="-266647" defTabSz="914217" fontAlgn="auto">
              <a:lnSpc>
                <a:spcPts val="1400"/>
              </a:lnSpc>
              <a:spcBef>
                <a:spcPts val="0"/>
              </a:spcBef>
              <a:spcAft>
                <a:spcPts val="0"/>
              </a:spcAft>
            </a:pPr>
            <a:r>
              <a:rPr lang="ja-JP" altLang="en-US" sz="1200" b="1" dirty="0">
                <a:solidFill>
                  <a:srgbClr val="000000"/>
                </a:solidFill>
                <a:latin typeface="ＭＳ Ｐゴシック"/>
                <a:ea typeface="ＭＳ Ｐゴシック"/>
              </a:rPr>
              <a:t>○ 地域の実情に応じた定住促進の推進</a:t>
            </a:r>
            <a:endParaRPr lang="en-US" altLang="ja-JP" sz="1200" b="1" dirty="0">
              <a:solidFill>
                <a:srgbClr val="000000"/>
              </a:solidFill>
              <a:latin typeface="ＭＳ Ｐゴシック"/>
              <a:ea typeface="ＭＳ Ｐゴシック"/>
            </a:endParaRPr>
          </a:p>
          <a:p>
            <a:pPr marL="93644" indent="-93644" defTabSz="914217" fontAlgn="auto">
              <a:lnSpc>
                <a:spcPts val="1400"/>
              </a:lnSpc>
              <a:spcBef>
                <a:spcPts val="0"/>
              </a:spcBef>
              <a:spcAft>
                <a:spcPts val="0"/>
              </a:spcAft>
            </a:pPr>
            <a:r>
              <a:rPr lang="ja-JP" altLang="en-US" sz="1200" dirty="0">
                <a:solidFill>
                  <a:srgbClr val="000000"/>
                </a:solidFill>
                <a:latin typeface="ＭＳ Ｐゴシック"/>
                <a:ea typeface="ＭＳ Ｐゴシック" charset="-128"/>
              </a:rPr>
              <a:t>　　</a:t>
            </a:r>
            <a:r>
              <a:rPr lang="ja-JP" altLang="en-US" sz="1000" dirty="0">
                <a:solidFill>
                  <a:srgbClr val="000000"/>
                </a:solidFill>
                <a:latin typeface="ＭＳ Ｐゴシック"/>
                <a:ea typeface="ＭＳ Ｐゴシック"/>
              </a:rPr>
              <a:t>地方定住促進に資する地域優良賃貸住宅の整備・家賃低廉化に対する支援。</a:t>
            </a:r>
            <a:endParaRPr lang="en-US" altLang="ja-JP" sz="1000" dirty="0">
              <a:solidFill>
                <a:srgbClr val="000000"/>
              </a:solidFill>
              <a:latin typeface="ＭＳ Ｐゴシック"/>
              <a:ea typeface="ＭＳ Ｐゴシック"/>
            </a:endParaRPr>
          </a:p>
          <a:p>
            <a:pPr marL="176178" indent="-82533" defTabSz="914217" fontAlgn="auto">
              <a:lnSpc>
                <a:spcPts val="1400"/>
              </a:lnSpc>
              <a:spcBef>
                <a:spcPts val="0"/>
              </a:spcBef>
              <a:spcAft>
                <a:spcPts val="0"/>
              </a:spcAft>
            </a:pPr>
            <a:r>
              <a:rPr lang="ja-JP" altLang="en-US" sz="1200" dirty="0">
                <a:solidFill>
                  <a:srgbClr val="000000"/>
                </a:solidFill>
                <a:latin typeface="ＭＳ Ｐゴシック"/>
                <a:ea typeface="ＭＳ Ｐゴシック"/>
              </a:rPr>
              <a:t>・Ｒ６当初予算額　社会資本整備総合交付金</a:t>
            </a:r>
            <a:r>
              <a:rPr lang="en-US" altLang="ja-JP" sz="1200" dirty="0">
                <a:solidFill>
                  <a:srgbClr val="000000"/>
                </a:solidFill>
                <a:latin typeface="ＭＳ Ｐゴシック"/>
                <a:ea typeface="ＭＳ Ｐゴシック"/>
              </a:rPr>
              <a:t>(5,065</a:t>
            </a:r>
            <a:r>
              <a:rPr lang="ja-JP" altLang="en-US" sz="1200" dirty="0">
                <a:solidFill>
                  <a:srgbClr val="000000"/>
                </a:solidFill>
                <a:latin typeface="ＭＳ Ｐゴシック"/>
                <a:ea typeface="ＭＳ Ｐゴシック"/>
              </a:rPr>
              <a:t>億円</a:t>
            </a:r>
            <a:r>
              <a:rPr lang="en-US" altLang="ja-JP" sz="1200" dirty="0">
                <a:solidFill>
                  <a:srgbClr val="000000"/>
                </a:solidFill>
                <a:latin typeface="ＭＳ Ｐゴシック"/>
                <a:ea typeface="ＭＳ Ｐゴシック"/>
              </a:rPr>
              <a:t>)</a:t>
            </a:r>
            <a:r>
              <a:rPr lang="ja-JP" altLang="en-US" sz="1200" dirty="0">
                <a:solidFill>
                  <a:srgbClr val="000000"/>
                </a:solidFill>
                <a:latin typeface="ＭＳ Ｐゴシック"/>
                <a:ea typeface="ＭＳ Ｐゴシック"/>
              </a:rPr>
              <a:t>及び防災・安全交付金</a:t>
            </a:r>
            <a:r>
              <a:rPr lang="en-US" altLang="ja-JP" sz="1200" dirty="0">
                <a:solidFill>
                  <a:srgbClr val="000000"/>
                </a:solidFill>
                <a:latin typeface="ＭＳ Ｐゴシック"/>
                <a:ea typeface="ＭＳ Ｐゴシック"/>
              </a:rPr>
              <a:t>(8,707</a:t>
            </a:r>
            <a:r>
              <a:rPr lang="ja-JP" altLang="en-US" sz="1200" dirty="0">
                <a:solidFill>
                  <a:srgbClr val="000000"/>
                </a:solidFill>
                <a:latin typeface="ＭＳ Ｐゴシック"/>
                <a:ea typeface="ＭＳ Ｐゴシック"/>
              </a:rPr>
              <a:t>億円</a:t>
            </a:r>
            <a:r>
              <a:rPr lang="en-US" altLang="ja-JP" sz="1200" dirty="0">
                <a:solidFill>
                  <a:srgbClr val="000000"/>
                </a:solidFill>
                <a:latin typeface="ＭＳ Ｐゴシック"/>
                <a:ea typeface="ＭＳ Ｐゴシック"/>
              </a:rPr>
              <a:t>)</a:t>
            </a:r>
            <a:r>
              <a:rPr lang="ja-JP" altLang="en-US" sz="1200" dirty="0">
                <a:solidFill>
                  <a:srgbClr val="000000"/>
                </a:solidFill>
                <a:latin typeface="ＭＳ Ｐゴシック"/>
                <a:ea typeface="ＭＳ Ｐゴシック"/>
              </a:rPr>
              <a:t>の内数　</a:t>
            </a:r>
            <a:endParaRPr lang="en-US" altLang="ja-JP" sz="1200" dirty="0">
              <a:solidFill>
                <a:srgbClr val="000000"/>
              </a:solidFill>
              <a:latin typeface="ＭＳ Ｐゴシック"/>
              <a:ea typeface="ＭＳ Ｐゴシック"/>
            </a:endParaRPr>
          </a:p>
          <a:p>
            <a:pPr marL="176178" defTabSz="914217" fontAlgn="auto">
              <a:lnSpc>
                <a:spcPts val="1400"/>
              </a:lnSpc>
              <a:spcBef>
                <a:spcPts val="0"/>
              </a:spcBef>
              <a:spcAft>
                <a:spcPts val="0"/>
              </a:spcAft>
            </a:pPr>
            <a:r>
              <a:rPr lang="ja-JP" altLang="en-US" sz="1200" dirty="0">
                <a:solidFill>
                  <a:srgbClr val="000000"/>
                </a:solidFill>
                <a:latin typeface="ＭＳ Ｐゴシック"/>
                <a:ea typeface="ＭＳ Ｐゴシック"/>
              </a:rPr>
              <a:t>Ｒ５予算額　社会資本整備総合交付金</a:t>
            </a:r>
            <a:r>
              <a:rPr lang="en-US" altLang="ja-JP" sz="1200" dirty="0">
                <a:solidFill>
                  <a:srgbClr val="000000"/>
                </a:solidFill>
                <a:latin typeface="ＭＳ Ｐゴシック"/>
                <a:ea typeface="ＭＳ Ｐゴシック"/>
              </a:rPr>
              <a:t>(5,492</a:t>
            </a:r>
            <a:r>
              <a:rPr lang="ja-JP" altLang="en-US" sz="1200" dirty="0">
                <a:solidFill>
                  <a:srgbClr val="000000"/>
                </a:solidFill>
                <a:latin typeface="ＭＳ Ｐゴシック"/>
                <a:ea typeface="ＭＳ Ｐゴシック"/>
              </a:rPr>
              <a:t>億円</a:t>
            </a:r>
            <a:r>
              <a:rPr lang="en-US" altLang="ja-JP" sz="1200" dirty="0">
                <a:solidFill>
                  <a:srgbClr val="000000"/>
                </a:solidFill>
                <a:latin typeface="ＭＳ Ｐゴシック"/>
                <a:ea typeface="ＭＳ Ｐゴシック"/>
              </a:rPr>
              <a:t>)</a:t>
            </a:r>
            <a:r>
              <a:rPr lang="ja-JP" altLang="en-US" sz="1200" dirty="0">
                <a:solidFill>
                  <a:srgbClr val="000000"/>
                </a:solidFill>
                <a:latin typeface="ＭＳ Ｐゴシック"/>
                <a:ea typeface="ＭＳ Ｐゴシック"/>
              </a:rPr>
              <a:t>及び防災・安全交付金</a:t>
            </a:r>
            <a:r>
              <a:rPr lang="en-US" altLang="ja-JP" sz="1200" dirty="0">
                <a:solidFill>
                  <a:srgbClr val="000000"/>
                </a:solidFill>
                <a:latin typeface="ＭＳ Ｐゴシック"/>
                <a:ea typeface="ＭＳ Ｐゴシック"/>
              </a:rPr>
              <a:t>(8,315</a:t>
            </a:r>
            <a:r>
              <a:rPr lang="ja-JP" altLang="en-US" sz="1200" dirty="0">
                <a:solidFill>
                  <a:srgbClr val="000000"/>
                </a:solidFill>
                <a:latin typeface="ＭＳ Ｐゴシック"/>
                <a:ea typeface="ＭＳ Ｐゴシック"/>
              </a:rPr>
              <a:t>億円</a:t>
            </a:r>
            <a:r>
              <a:rPr lang="en-US" altLang="ja-JP" sz="1200" dirty="0">
                <a:solidFill>
                  <a:srgbClr val="000000"/>
                </a:solidFill>
                <a:latin typeface="ＭＳ Ｐゴシック"/>
                <a:ea typeface="ＭＳ Ｐゴシック"/>
              </a:rPr>
              <a:t>)</a:t>
            </a:r>
            <a:r>
              <a:rPr lang="ja-JP" altLang="en-US" sz="1200" dirty="0">
                <a:solidFill>
                  <a:srgbClr val="000000"/>
                </a:solidFill>
                <a:latin typeface="ＭＳ Ｐゴシック"/>
                <a:ea typeface="ＭＳ Ｐゴシック"/>
              </a:rPr>
              <a:t>の内数</a:t>
            </a:r>
            <a:endParaRPr lang="en-US" altLang="ja-JP" sz="1200" dirty="0">
              <a:solidFill>
                <a:srgbClr val="000000"/>
              </a:solidFill>
              <a:latin typeface="ＭＳ Ｐゴシック"/>
              <a:ea typeface="ＭＳ Ｐゴシック"/>
            </a:endParaRPr>
          </a:p>
        </p:txBody>
      </p:sp>
      <p:sp>
        <p:nvSpPr>
          <p:cNvPr id="1210" name="大かっこ 18"/>
          <p:cNvSpPr/>
          <p:nvPr/>
        </p:nvSpPr>
        <p:spPr>
          <a:xfrm>
            <a:off x="704415" y="6698742"/>
            <a:ext cx="4103798" cy="276955"/>
          </a:xfrm>
          <a:prstGeom prst="bracketPair">
            <a:avLst>
              <a:gd name="adj" fmla="val 14021"/>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defTabSz="914217"/>
            <a:endParaRPr lang="ja-JP" altLang="en-US">
              <a:solidFill>
                <a:srgbClr val="000000"/>
              </a:solidFill>
              <a:latin typeface="Arial"/>
              <a:ea typeface="ＭＳ Ｐゴシック"/>
            </a:endParaRPr>
          </a:p>
        </p:txBody>
      </p:sp>
      <p:grpSp>
        <p:nvGrpSpPr>
          <p:cNvPr id="3" name="グループ化 2"/>
          <p:cNvGrpSpPr/>
          <p:nvPr/>
        </p:nvGrpSpPr>
        <p:grpSpPr>
          <a:xfrm>
            <a:off x="4927838" y="1503968"/>
            <a:ext cx="4427290" cy="4751766"/>
            <a:chOff x="144016" y="3645024"/>
            <a:chExt cx="4428000" cy="4752528"/>
          </a:xfrm>
        </p:grpSpPr>
        <p:sp>
          <p:nvSpPr>
            <p:cNvPr id="1202" name="テキスト ボックス 32"/>
            <p:cNvSpPr txBox="1">
              <a:spLocks noChangeAspect="1"/>
            </p:cNvSpPr>
            <p:nvPr/>
          </p:nvSpPr>
          <p:spPr>
            <a:xfrm>
              <a:off x="144016" y="3753296"/>
              <a:ext cx="4428000" cy="4644256"/>
            </a:xfrm>
            <a:prstGeom prst="rect">
              <a:avLst/>
            </a:prstGeom>
            <a:solidFill>
              <a:schemeClr val="bg1"/>
            </a:solidFill>
            <a:ln w="19050">
              <a:solidFill>
                <a:schemeClr val="tx1"/>
              </a:solidFill>
            </a:ln>
          </p:spPr>
          <p:txBody>
            <a:bodyPr wrap="square" rtlCol="0">
              <a:noAutofit/>
            </a:bodyPr>
            <a:lstStyle/>
            <a:p>
              <a:pPr defTabSz="914217" fontAlgn="auto">
                <a:lnSpc>
                  <a:spcPts val="1300"/>
                </a:lnSpc>
                <a:spcBef>
                  <a:spcPts val="0"/>
                </a:spcBef>
                <a:spcAft>
                  <a:spcPts val="0"/>
                </a:spcAft>
              </a:pPr>
              <a:endParaRPr lang="en-US" altLang="ja-JP" sz="1200" b="1" dirty="0">
                <a:solidFill>
                  <a:srgbClr val="000000"/>
                </a:solidFill>
                <a:latin typeface="ＭＳ Ｐゴシック"/>
                <a:ea typeface="ＭＳ Ｐゴシック"/>
              </a:endParaRPr>
            </a:p>
            <a:p>
              <a:pPr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a:rPr>
                <a:t>○ 都市公園・緑地等整備の推進</a:t>
              </a:r>
              <a:endParaRPr lang="en-US" altLang="ja-JP" sz="1200" b="1" dirty="0">
                <a:solidFill>
                  <a:srgbClr val="000000"/>
                </a:solidFill>
                <a:latin typeface="ＭＳ Ｐゴシック"/>
                <a:ea typeface="ＭＳ Ｐゴシック"/>
              </a:endParaRPr>
            </a:p>
            <a:p>
              <a:pPr marL="180939"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a:rPr>
                <a:t>　</a:t>
              </a:r>
              <a:r>
                <a:rPr lang="ja-JP" altLang="en-US" sz="1000" dirty="0">
                  <a:solidFill>
                    <a:srgbClr val="000000"/>
                  </a:solidFill>
                  <a:latin typeface="ＭＳ Ｐゴシック"/>
                  <a:ea typeface="ＭＳ Ｐゴシック"/>
                </a:rPr>
                <a:t>都市計画区域外の農山漁村地域における生活環境を改善するため、「特定地区公園</a:t>
              </a:r>
              <a:r>
                <a:rPr lang="en-US" altLang="ja-JP" sz="1000" dirty="0">
                  <a:solidFill>
                    <a:srgbClr val="000000"/>
                  </a:solidFill>
                  <a:latin typeface="ＭＳ Ｐゴシック"/>
                  <a:ea typeface="ＭＳ Ｐゴシック"/>
                </a:rPr>
                <a:t>(</a:t>
              </a:r>
              <a:r>
                <a:rPr lang="ja-JP" altLang="en-US" sz="1000" dirty="0">
                  <a:solidFill>
                    <a:srgbClr val="000000"/>
                  </a:solidFill>
                  <a:latin typeface="ＭＳ Ｐゴシック"/>
                  <a:ea typeface="ＭＳ Ｐゴシック"/>
                </a:rPr>
                <a:t>ｶﾝﾄﾘｰﾊﾟｰｸ</a:t>
              </a:r>
              <a:r>
                <a:rPr lang="en-US" altLang="ja-JP" sz="1000" dirty="0">
                  <a:solidFill>
                    <a:srgbClr val="000000"/>
                  </a:solidFill>
                  <a:latin typeface="ＭＳ Ｐゴシック"/>
                  <a:ea typeface="ＭＳ Ｐゴシック"/>
                </a:rPr>
                <a:t>)</a:t>
              </a:r>
              <a:r>
                <a:rPr lang="ja-JP" altLang="en-US" sz="1000" dirty="0">
                  <a:solidFill>
                    <a:srgbClr val="000000"/>
                  </a:solidFill>
                  <a:latin typeface="ＭＳ Ｐゴシック"/>
                  <a:ea typeface="ＭＳ Ｐゴシック"/>
                </a:rPr>
                <a:t>」の整備を推進。</a:t>
              </a:r>
              <a:r>
                <a:rPr lang="ja-JP" altLang="en-US" sz="1200" dirty="0">
                  <a:solidFill>
                    <a:srgbClr val="000000"/>
                  </a:solidFill>
                  <a:latin typeface="ＭＳ Ｐゴシック"/>
                  <a:ea typeface="ＭＳ Ｐゴシック"/>
                </a:rPr>
                <a:t>　　</a:t>
              </a:r>
              <a:r>
                <a:rPr lang="en-US" altLang="ja-JP" sz="1200" dirty="0">
                  <a:solidFill>
                    <a:srgbClr val="000000"/>
                  </a:solidFill>
                  <a:latin typeface="ＭＳ Ｐゴシック"/>
                  <a:ea typeface="ＭＳ Ｐゴシック"/>
                </a:rPr>
                <a:t> </a:t>
              </a:r>
            </a:p>
            <a:p>
              <a:pPr marL="176178" indent="-82533" defTabSz="914217" fontAlgn="auto">
                <a:lnSpc>
                  <a:spcPts val="1400"/>
                </a:lnSpc>
                <a:spcBef>
                  <a:spcPts val="0"/>
                </a:spcBef>
                <a:spcAft>
                  <a:spcPts val="0"/>
                </a:spcAft>
              </a:pPr>
              <a:r>
                <a:rPr lang="ja-JP" altLang="en-US" sz="1200" dirty="0">
                  <a:solidFill>
                    <a:srgbClr val="000000"/>
                  </a:solidFill>
                  <a:latin typeface="ＭＳ Ｐゴシック"/>
                  <a:ea typeface="ＭＳ Ｐゴシック" charset="-128"/>
                </a:rPr>
                <a:t>・Ｒ６当初予算額 社会資本整備総合交付金</a:t>
              </a:r>
              <a:r>
                <a:rPr lang="en-US" altLang="ja-JP" sz="1200" dirty="0">
                  <a:solidFill>
                    <a:srgbClr val="000000"/>
                  </a:solidFill>
                  <a:latin typeface="ＭＳ Ｐゴシック"/>
                  <a:ea typeface="ＭＳ Ｐゴシック" charset="-128"/>
                </a:rPr>
                <a:t>((5,065</a:t>
              </a:r>
              <a:r>
                <a:rPr lang="ja-JP" altLang="en-US" sz="1200" dirty="0">
                  <a:solidFill>
                    <a:srgbClr val="000000"/>
                  </a:solidFill>
                  <a:latin typeface="ＭＳ Ｐゴシック"/>
                  <a:ea typeface="ＭＳ Ｐゴシック" charset="-128"/>
                </a:rPr>
                <a:t>億円</a:t>
              </a:r>
              <a:r>
                <a:rPr lang="en-US" altLang="ja-JP" sz="1200" dirty="0">
                  <a:solidFill>
                    <a:srgbClr val="000000"/>
                  </a:solidFill>
                  <a:latin typeface="ＭＳ Ｐゴシック"/>
                  <a:ea typeface="ＭＳ Ｐゴシック" charset="-128"/>
                </a:rPr>
                <a:t>)</a:t>
              </a:r>
              <a:r>
                <a:rPr lang="ja-JP" altLang="en-US" sz="1200" dirty="0">
                  <a:solidFill>
                    <a:srgbClr val="000000"/>
                  </a:solidFill>
                  <a:latin typeface="ＭＳ Ｐゴシック"/>
                  <a:ea typeface="ＭＳ Ｐゴシック" charset="-128"/>
                </a:rPr>
                <a:t>及び防災・安全交付金</a:t>
              </a:r>
              <a:r>
                <a:rPr lang="en-US" altLang="ja-JP" sz="1200" dirty="0">
                  <a:solidFill>
                    <a:srgbClr val="000000"/>
                  </a:solidFill>
                  <a:latin typeface="ＭＳ Ｐゴシック"/>
                  <a:ea typeface="ＭＳ Ｐゴシック" charset="-128"/>
                </a:rPr>
                <a:t>(8,707</a:t>
              </a:r>
              <a:r>
                <a:rPr lang="ja-JP" altLang="en-US" sz="1200" dirty="0">
                  <a:solidFill>
                    <a:srgbClr val="000000"/>
                  </a:solidFill>
                  <a:latin typeface="ＭＳ Ｐゴシック"/>
                  <a:ea typeface="ＭＳ Ｐゴシック" charset="-128"/>
                </a:rPr>
                <a:t>億円</a:t>
              </a:r>
              <a:r>
                <a:rPr lang="en-US" altLang="ja-JP" sz="1200" dirty="0">
                  <a:solidFill>
                    <a:srgbClr val="000000"/>
                  </a:solidFill>
                  <a:latin typeface="ＭＳ Ｐゴシック"/>
                  <a:ea typeface="ＭＳ Ｐゴシック" charset="-128"/>
                </a:rPr>
                <a:t>)</a:t>
              </a:r>
              <a:r>
                <a:rPr lang="ja-JP" altLang="en-US" sz="1200" dirty="0">
                  <a:solidFill>
                    <a:srgbClr val="000000"/>
                  </a:solidFill>
                  <a:latin typeface="ＭＳ Ｐゴシック"/>
                  <a:ea typeface="ＭＳ Ｐゴシック" charset="-128"/>
                </a:rPr>
                <a:t>の内数　</a:t>
              </a:r>
              <a:endParaRPr lang="en-US" altLang="ja-JP" sz="1200" dirty="0">
                <a:solidFill>
                  <a:srgbClr val="000000"/>
                </a:solidFill>
                <a:latin typeface="ＭＳ Ｐゴシック"/>
                <a:ea typeface="ＭＳ Ｐゴシック" charset="-128"/>
              </a:endParaRPr>
            </a:p>
            <a:p>
              <a:pPr marL="176178" defTabSz="914217" fontAlgn="auto">
                <a:lnSpc>
                  <a:spcPts val="1400"/>
                </a:lnSpc>
                <a:spcBef>
                  <a:spcPts val="0"/>
                </a:spcBef>
                <a:spcAft>
                  <a:spcPts val="0"/>
                </a:spcAft>
              </a:pPr>
              <a:r>
                <a:rPr lang="ja-JP" altLang="en-US" sz="1200" dirty="0">
                  <a:solidFill>
                    <a:srgbClr val="000000"/>
                  </a:solidFill>
                  <a:latin typeface="ＭＳ Ｐゴシック"/>
                  <a:ea typeface="ＭＳ Ｐゴシック" charset="-128"/>
                </a:rPr>
                <a:t>Ｒ５予算額 　　  社会資本整備総合交付金</a:t>
              </a:r>
              <a:r>
                <a:rPr lang="en-US" altLang="ja-JP" sz="1200" dirty="0">
                  <a:solidFill>
                    <a:srgbClr val="000000"/>
                  </a:solidFill>
                  <a:latin typeface="ＭＳ Ｐゴシック"/>
                  <a:ea typeface="ＭＳ Ｐゴシック" charset="-128"/>
                </a:rPr>
                <a:t>(5,492</a:t>
              </a:r>
              <a:r>
                <a:rPr lang="ja-JP" altLang="en-US" sz="1200" dirty="0">
                  <a:solidFill>
                    <a:srgbClr val="000000"/>
                  </a:solidFill>
                  <a:latin typeface="ＭＳ Ｐゴシック"/>
                  <a:ea typeface="ＭＳ Ｐゴシック" charset="-128"/>
                </a:rPr>
                <a:t>億円</a:t>
              </a:r>
              <a:r>
                <a:rPr lang="en-US" altLang="ja-JP" sz="1200" dirty="0">
                  <a:solidFill>
                    <a:srgbClr val="000000"/>
                  </a:solidFill>
                  <a:latin typeface="ＭＳ Ｐゴシック"/>
                  <a:ea typeface="ＭＳ Ｐゴシック" charset="-128"/>
                </a:rPr>
                <a:t>)</a:t>
              </a:r>
              <a:r>
                <a:rPr lang="ja-JP" altLang="en-US" sz="1200" dirty="0">
                  <a:solidFill>
                    <a:srgbClr val="000000"/>
                  </a:solidFill>
                  <a:latin typeface="ＭＳ Ｐゴシック"/>
                  <a:ea typeface="ＭＳ Ｐゴシック" charset="-128"/>
                </a:rPr>
                <a:t>及び防災・安全交付金</a:t>
              </a:r>
              <a:r>
                <a:rPr lang="en-US" altLang="ja-JP" sz="1200" dirty="0">
                  <a:solidFill>
                    <a:srgbClr val="000000"/>
                  </a:solidFill>
                  <a:latin typeface="ＭＳ Ｐゴシック"/>
                  <a:ea typeface="ＭＳ Ｐゴシック" charset="-128"/>
                </a:rPr>
                <a:t>(8,315</a:t>
              </a:r>
              <a:r>
                <a:rPr lang="ja-JP" altLang="en-US" sz="1200" dirty="0">
                  <a:solidFill>
                    <a:srgbClr val="000000"/>
                  </a:solidFill>
                  <a:latin typeface="ＭＳ Ｐゴシック"/>
                  <a:ea typeface="ＭＳ Ｐゴシック" charset="-128"/>
                </a:rPr>
                <a:t>億円</a:t>
              </a:r>
              <a:r>
                <a:rPr lang="en-US" altLang="ja-JP" sz="1200" dirty="0">
                  <a:solidFill>
                    <a:srgbClr val="000000"/>
                  </a:solidFill>
                  <a:latin typeface="ＭＳ Ｐゴシック"/>
                  <a:ea typeface="ＭＳ Ｐゴシック" charset="-128"/>
                </a:rPr>
                <a:t>)</a:t>
              </a:r>
              <a:r>
                <a:rPr lang="ja-JP" altLang="en-US" sz="1200" dirty="0">
                  <a:solidFill>
                    <a:srgbClr val="000000"/>
                  </a:solidFill>
                  <a:latin typeface="ＭＳ Ｐゴシック"/>
                  <a:ea typeface="ＭＳ Ｐゴシック" charset="-128"/>
                </a:rPr>
                <a:t>の内数</a:t>
              </a:r>
              <a:endParaRPr lang="en-US" altLang="ja-JP" sz="1200" dirty="0">
                <a:solidFill>
                  <a:srgbClr val="000000"/>
                </a:solidFill>
                <a:latin typeface="ＭＳ Ｐゴシック"/>
                <a:ea typeface="ＭＳ Ｐゴシック" charset="-128"/>
              </a:endParaRPr>
            </a:p>
            <a:p>
              <a:pPr marL="271409" defTabSz="914217" fontAlgn="auto">
                <a:lnSpc>
                  <a:spcPts val="1400"/>
                </a:lnSpc>
                <a:spcBef>
                  <a:spcPts val="0"/>
                </a:spcBef>
                <a:spcAft>
                  <a:spcPts val="0"/>
                </a:spcAft>
              </a:pPr>
              <a:r>
                <a:rPr lang="ja-JP" altLang="en-US" sz="1200" dirty="0">
                  <a:solidFill>
                    <a:srgbClr val="000000"/>
                  </a:solidFill>
                  <a:latin typeface="ＭＳ Ｐゴシック"/>
                  <a:ea typeface="ＭＳ Ｐゴシック" charset="-128"/>
                </a:rPr>
                <a:t>このほか補正予算　社会資本整備総合交付金（</a:t>
              </a:r>
              <a:r>
                <a:rPr lang="en-US" altLang="ja-JP" sz="1200" dirty="0">
                  <a:solidFill>
                    <a:srgbClr val="000000"/>
                  </a:solidFill>
                  <a:latin typeface="ＭＳ Ｐゴシック"/>
                  <a:ea typeface="ＭＳ Ｐゴシック" charset="-128"/>
                </a:rPr>
                <a:t>542</a:t>
              </a:r>
              <a:r>
                <a:rPr lang="ja-JP" altLang="en-US" sz="1200" dirty="0">
                  <a:solidFill>
                    <a:srgbClr val="000000"/>
                  </a:solidFill>
                  <a:latin typeface="ＭＳ Ｐゴシック"/>
                  <a:ea typeface="ＭＳ Ｐゴシック" charset="-128"/>
                </a:rPr>
                <a:t>億円）及び防災・安全交付金（</a:t>
              </a:r>
              <a:r>
                <a:rPr lang="en-US" altLang="ja-JP" sz="1200" dirty="0">
                  <a:solidFill>
                    <a:srgbClr val="000000"/>
                  </a:solidFill>
                  <a:latin typeface="ＭＳ Ｐゴシック"/>
                  <a:ea typeface="ＭＳ Ｐゴシック" charset="-128"/>
                </a:rPr>
                <a:t>2,954</a:t>
              </a:r>
              <a:r>
                <a:rPr lang="ja-JP" altLang="en-US" sz="1200" dirty="0">
                  <a:solidFill>
                    <a:srgbClr val="000000"/>
                  </a:solidFill>
                  <a:latin typeface="ＭＳ Ｐゴシック"/>
                  <a:ea typeface="ＭＳ Ｐゴシック" charset="-128"/>
                </a:rPr>
                <a:t>億円）の内数</a:t>
              </a:r>
              <a:endParaRPr lang="en-US" altLang="ja-JP" sz="1200" dirty="0">
                <a:solidFill>
                  <a:srgbClr val="000000"/>
                </a:solidFill>
                <a:latin typeface="ＭＳ Ｐゴシック"/>
                <a:ea typeface="ＭＳ Ｐゴシック" charset="-128"/>
              </a:endParaRPr>
            </a:p>
            <a:p>
              <a:pPr defTabSz="914217" fontAlgn="auto">
                <a:lnSpc>
                  <a:spcPts val="1400"/>
                </a:lnSpc>
                <a:spcBef>
                  <a:spcPts val="0"/>
                </a:spcBef>
                <a:spcAft>
                  <a:spcPts val="0"/>
                </a:spcAft>
              </a:pPr>
              <a:r>
                <a:rPr lang="ja-JP" altLang="en-US" sz="1200" b="1" dirty="0">
                  <a:solidFill>
                    <a:srgbClr val="000000"/>
                  </a:solidFill>
                  <a:latin typeface="ＭＳ Ｐゴシック"/>
                  <a:ea typeface="ＭＳ Ｐゴシック"/>
                </a:rPr>
                <a:t>○ 上下水道一体効率化・基盤強化推進事業</a:t>
              </a:r>
            </a:p>
            <a:p>
              <a:pPr marL="177764" defTabSz="914217" fontAlgn="auto">
                <a:lnSpc>
                  <a:spcPts val="1400"/>
                </a:lnSpc>
                <a:spcBef>
                  <a:spcPts val="0"/>
                </a:spcBef>
                <a:spcAft>
                  <a:spcPts val="0"/>
                </a:spcAft>
              </a:pPr>
              <a:r>
                <a:rPr lang="ja-JP" altLang="en-US" sz="1050" dirty="0">
                  <a:solidFill>
                    <a:srgbClr val="000000"/>
                  </a:solidFill>
                  <a:latin typeface="ＭＳ Ｐゴシック"/>
                  <a:ea typeface="ＭＳ Ｐゴシック"/>
                </a:rPr>
                <a:t>　</a:t>
              </a:r>
              <a:r>
                <a:rPr lang="ja-JP" altLang="en-US" sz="1000" dirty="0">
                  <a:solidFill>
                    <a:srgbClr val="000000"/>
                  </a:solidFill>
                  <a:latin typeface="ＭＳ Ｐゴシック"/>
                  <a:ea typeface="ＭＳ Ｐゴシック"/>
                </a:rPr>
                <a:t>上下水道一体での効率化・基盤強化の取組を強力に進め、 効率的で持続的な 上下水道事業を実現する。 </a:t>
              </a:r>
            </a:p>
            <a:p>
              <a:pPr defTabSz="914217" fontAlgn="auto">
                <a:lnSpc>
                  <a:spcPts val="1400"/>
                </a:lnSpc>
                <a:spcBef>
                  <a:spcPts val="0"/>
                </a:spcBef>
                <a:spcAft>
                  <a:spcPts val="0"/>
                </a:spcAft>
              </a:pPr>
              <a:r>
                <a:rPr lang="ja-JP" altLang="en-US" sz="1100" dirty="0">
                  <a:solidFill>
                    <a:srgbClr val="000000"/>
                  </a:solidFill>
                  <a:latin typeface="ＭＳ Ｐゴシック"/>
                  <a:ea typeface="ＭＳ Ｐゴシック"/>
                </a:rPr>
                <a:t>　  ・（新規）Ｒ６当初予算額　   </a:t>
              </a:r>
              <a:r>
                <a:rPr lang="en-US" altLang="ja-JP" sz="1100" dirty="0">
                  <a:solidFill>
                    <a:srgbClr val="000000"/>
                  </a:solidFill>
                  <a:latin typeface="ＭＳ Ｐゴシック"/>
                  <a:ea typeface="ＭＳ Ｐゴシック"/>
                </a:rPr>
                <a:t>30</a:t>
              </a:r>
              <a:r>
                <a:rPr lang="ja-JP" altLang="en-US" sz="1100" dirty="0">
                  <a:solidFill>
                    <a:srgbClr val="000000"/>
                  </a:solidFill>
                  <a:latin typeface="ＭＳ Ｐゴシック"/>
                  <a:ea typeface="ＭＳ Ｐゴシック"/>
                </a:rPr>
                <a:t>億円の内</a:t>
              </a:r>
              <a:r>
                <a:rPr lang="ja-JP" altLang="en-US" sz="1050" dirty="0">
                  <a:solidFill>
                    <a:srgbClr val="000000"/>
                  </a:solidFill>
                  <a:latin typeface="ＭＳ Ｐゴシック"/>
                  <a:ea typeface="ＭＳ Ｐゴシック"/>
                </a:rPr>
                <a:t>数</a:t>
              </a:r>
              <a:endParaRPr lang="en-US" altLang="ja-JP" sz="1200" dirty="0">
                <a:solidFill>
                  <a:srgbClr val="000000"/>
                </a:solidFill>
                <a:latin typeface="ＭＳ Ｐゴシック"/>
                <a:ea typeface="ＭＳ Ｐゴシック"/>
              </a:endParaRPr>
            </a:p>
            <a:p>
              <a:pPr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charset="-128"/>
                </a:rPr>
                <a:t>○ 水道施設の整備</a:t>
              </a:r>
              <a:endParaRPr lang="en-US" altLang="ja-JP" sz="1200" b="1" dirty="0">
                <a:solidFill>
                  <a:srgbClr val="000000"/>
                </a:solidFill>
                <a:latin typeface="ＭＳ Ｐゴシック"/>
                <a:ea typeface="ＭＳ Ｐゴシック" charset="-128"/>
              </a:endParaRPr>
            </a:p>
            <a:p>
              <a:pPr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charset="-128"/>
                </a:rPr>
                <a:t>　　</a:t>
              </a:r>
              <a:r>
                <a:rPr lang="ja-JP" altLang="en-US" sz="1000" dirty="0">
                  <a:solidFill>
                    <a:srgbClr val="000000"/>
                  </a:solidFill>
                  <a:latin typeface="ＭＳ Ｐゴシック"/>
                  <a:ea typeface="ＭＳ Ｐゴシック" charset="-128"/>
                </a:rPr>
                <a:t>安全で質が高く災害に強い持続的な水道の確保。</a:t>
              </a:r>
              <a:endParaRPr lang="en-US" altLang="ja-JP" sz="1000" dirty="0">
                <a:solidFill>
                  <a:srgbClr val="000000"/>
                </a:solidFill>
                <a:latin typeface="ＭＳ Ｐゴシック"/>
                <a:ea typeface="ＭＳ Ｐゴシック" charset="-128"/>
              </a:endParaRPr>
            </a:p>
            <a:p>
              <a:pPr marL="180939" indent="-180939" defTabSz="914217" fontAlgn="auto">
                <a:lnSpc>
                  <a:spcPts val="1300"/>
                </a:lnSpc>
                <a:spcBef>
                  <a:spcPts val="0"/>
                </a:spcBef>
                <a:spcAft>
                  <a:spcPts val="0"/>
                </a:spcAft>
              </a:pPr>
              <a:r>
                <a:rPr lang="ja-JP" altLang="en-US" sz="1200" dirty="0">
                  <a:solidFill>
                    <a:srgbClr val="000000"/>
                  </a:solidFill>
                  <a:latin typeface="ＭＳ Ｐゴシック"/>
                  <a:ea typeface="ＭＳ Ｐゴシック" charset="-128"/>
                </a:rPr>
                <a:t>　  ・Ｒ６当初予算額　       　 </a:t>
              </a:r>
              <a:r>
                <a:rPr lang="en-US" altLang="ja-JP" sz="1200" dirty="0">
                  <a:solidFill>
                    <a:srgbClr val="000000"/>
                  </a:solidFill>
                  <a:latin typeface="ＭＳ Ｐゴシック"/>
                  <a:ea typeface="ＭＳ Ｐゴシック" charset="-128"/>
                </a:rPr>
                <a:t>171</a:t>
              </a:r>
              <a:r>
                <a:rPr lang="ja-JP" altLang="en-US" sz="1200" dirty="0">
                  <a:solidFill>
                    <a:srgbClr val="000000"/>
                  </a:solidFill>
                  <a:latin typeface="ＭＳ Ｐゴシック"/>
                  <a:ea typeface="ＭＳ Ｐゴシック" charset="-128"/>
                </a:rPr>
                <a:t>億円の内数</a:t>
              </a:r>
              <a:endParaRPr lang="en-US" altLang="ja-JP" sz="1200" dirty="0">
                <a:solidFill>
                  <a:srgbClr val="000000"/>
                </a:solidFill>
                <a:latin typeface="ＭＳ Ｐゴシック"/>
                <a:ea typeface="ＭＳ Ｐゴシック" charset="-128"/>
              </a:endParaRPr>
            </a:p>
            <a:p>
              <a:pPr marL="266647" indent="-266647" defTabSz="914217" fontAlgn="auto">
                <a:lnSpc>
                  <a:spcPts val="1300"/>
                </a:lnSpc>
                <a:spcBef>
                  <a:spcPts val="0"/>
                </a:spcBef>
                <a:spcAft>
                  <a:spcPts val="0"/>
                </a:spcAft>
              </a:pPr>
              <a:r>
                <a:rPr lang="ja-JP" altLang="en-US" sz="1200" dirty="0">
                  <a:solidFill>
                    <a:srgbClr val="000000"/>
                  </a:solidFill>
                  <a:latin typeface="ＭＳ Ｐゴシック"/>
                  <a:ea typeface="ＭＳ Ｐゴシック" charset="-128"/>
                </a:rPr>
                <a:t>　   </a:t>
              </a:r>
              <a:r>
                <a:rPr lang="en-US" altLang="ja-JP" sz="1200" dirty="0">
                  <a:solidFill>
                    <a:srgbClr val="000000"/>
                  </a:solidFill>
                  <a:latin typeface="ＭＳ Ｐゴシック"/>
                  <a:ea typeface="ＭＳ Ｐゴシック" charset="-128"/>
                </a:rPr>
                <a:t> </a:t>
              </a:r>
              <a:r>
                <a:rPr lang="ja-JP" altLang="en-US" sz="1200" dirty="0">
                  <a:solidFill>
                    <a:srgbClr val="000000"/>
                  </a:solidFill>
                  <a:latin typeface="ＭＳ Ｐゴシック"/>
                  <a:ea typeface="ＭＳ Ｐゴシック" charset="-128"/>
                </a:rPr>
                <a:t>Ｒ５予算額                　 </a:t>
              </a:r>
              <a:r>
                <a:rPr lang="en-US" altLang="ja-JP" sz="1200" dirty="0">
                  <a:solidFill>
                    <a:srgbClr val="000000"/>
                  </a:solidFill>
                  <a:latin typeface="ＭＳ Ｐゴシック"/>
                  <a:ea typeface="ＭＳ Ｐゴシック" charset="-128"/>
                </a:rPr>
                <a:t>170</a:t>
              </a:r>
              <a:r>
                <a:rPr lang="ja-JP" altLang="en-US" sz="1200" dirty="0">
                  <a:solidFill>
                    <a:srgbClr val="000000"/>
                  </a:solidFill>
                  <a:latin typeface="ＭＳ Ｐゴシック"/>
                  <a:ea typeface="ＭＳ Ｐゴシック" charset="-128"/>
                </a:rPr>
                <a:t>億円の内数</a:t>
              </a:r>
              <a:endParaRPr lang="en-US" altLang="ja-JP" sz="1200" dirty="0">
                <a:solidFill>
                  <a:srgbClr val="000000"/>
                </a:solidFill>
                <a:latin typeface="ＭＳ Ｐゴシック"/>
                <a:ea typeface="ＭＳ Ｐゴシック" charset="-128"/>
              </a:endParaRPr>
            </a:p>
            <a:p>
              <a:pPr marL="266647" indent="-266647" defTabSz="914217" fontAlgn="auto">
                <a:lnSpc>
                  <a:spcPts val="1300"/>
                </a:lnSpc>
                <a:spcBef>
                  <a:spcPts val="0"/>
                </a:spcBef>
                <a:spcAft>
                  <a:spcPts val="0"/>
                </a:spcAft>
              </a:pPr>
              <a:r>
                <a:rPr lang="ja-JP" altLang="en-US" sz="1200" dirty="0">
                  <a:solidFill>
                    <a:srgbClr val="000000"/>
                  </a:solidFill>
                  <a:latin typeface="ＭＳ Ｐゴシック"/>
                  <a:ea typeface="ＭＳ Ｐゴシック" charset="-128"/>
                </a:rPr>
                <a:t>　　　　このほか補正予算　　 </a:t>
              </a:r>
              <a:r>
                <a:rPr lang="en-US" altLang="ja-JP" sz="1200" dirty="0">
                  <a:solidFill>
                    <a:srgbClr val="000000"/>
                  </a:solidFill>
                  <a:latin typeface="ＭＳ Ｐゴシック"/>
                  <a:ea typeface="ＭＳ Ｐゴシック" charset="-128"/>
                </a:rPr>
                <a:t>371</a:t>
              </a:r>
              <a:r>
                <a:rPr lang="ja-JP" altLang="en-US" sz="1200" dirty="0">
                  <a:solidFill>
                    <a:srgbClr val="000000"/>
                  </a:solidFill>
                  <a:latin typeface="ＭＳ Ｐゴシック"/>
                  <a:ea typeface="ＭＳ Ｐゴシック" charset="-128"/>
                </a:rPr>
                <a:t>億円の内数</a:t>
              </a:r>
              <a:endParaRPr lang="en-US" altLang="ja-JP" sz="1200" dirty="0">
                <a:solidFill>
                  <a:srgbClr val="000000"/>
                </a:solidFill>
                <a:latin typeface="ＭＳ Ｐゴシック"/>
                <a:ea typeface="ＭＳ Ｐゴシック" charset="-128"/>
              </a:endParaRPr>
            </a:p>
            <a:p>
              <a:pPr marL="266647" indent="-266647" defTabSz="914217" fontAlgn="auto">
                <a:lnSpc>
                  <a:spcPts val="1300"/>
                </a:lnSpc>
                <a:spcBef>
                  <a:spcPts val="0"/>
                </a:spcBef>
                <a:spcAft>
                  <a:spcPts val="0"/>
                </a:spcAft>
              </a:pPr>
              <a:r>
                <a:rPr lang="en-US" altLang="ja-JP" sz="1200" dirty="0">
                  <a:solidFill>
                    <a:srgbClr val="000000"/>
                  </a:solidFill>
                  <a:latin typeface="ＭＳ Ｐゴシック"/>
                  <a:ea typeface="ＭＳ Ｐゴシック" charset="-128"/>
                </a:rPr>
                <a:t>	</a:t>
              </a:r>
              <a:r>
                <a:rPr lang="ja-JP" altLang="en-US" sz="1200" dirty="0">
                  <a:solidFill>
                    <a:srgbClr val="000000"/>
                  </a:solidFill>
                  <a:latin typeface="ＭＳ Ｐゴシック"/>
                  <a:ea typeface="ＭＳ Ｐゴシック" charset="-128"/>
                </a:rPr>
                <a:t>　　</a:t>
              </a:r>
              <a:r>
                <a:rPr lang="en-US" altLang="ja-JP" sz="1000" dirty="0">
                  <a:solidFill>
                    <a:srgbClr val="000000"/>
                  </a:solidFill>
                  <a:latin typeface="ＭＳ Ｐゴシック"/>
                  <a:ea typeface="ＭＳ Ｐゴシック" charset="-128"/>
                </a:rPr>
                <a:t>※R5</a:t>
              </a:r>
              <a:r>
                <a:rPr lang="ja-JP" altLang="en-US" sz="1000" dirty="0">
                  <a:solidFill>
                    <a:srgbClr val="000000"/>
                  </a:solidFill>
                  <a:latin typeface="ＭＳ Ｐゴシック"/>
                  <a:ea typeface="ＭＳ Ｐゴシック" charset="-128"/>
                </a:rPr>
                <a:t>は厚生労働省の予算額</a:t>
              </a:r>
              <a:endParaRPr lang="en-US" altLang="ja-JP" sz="1000" dirty="0">
                <a:solidFill>
                  <a:srgbClr val="000000"/>
                </a:solidFill>
                <a:latin typeface="ＭＳ Ｐゴシック"/>
                <a:ea typeface="ＭＳ Ｐゴシック" charset="-128"/>
              </a:endParaRPr>
            </a:p>
            <a:p>
              <a:pPr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a:rPr>
                <a:t>○ 下水道事業の推進</a:t>
              </a:r>
              <a:r>
                <a:rPr lang="en-US" altLang="ja-JP" sz="1200" b="1" baseline="30000" dirty="0">
                  <a:solidFill>
                    <a:srgbClr val="000000"/>
                  </a:solidFill>
                  <a:latin typeface="ＭＳ Ｐゴシック"/>
                  <a:ea typeface="ＭＳ Ｐゴシック" charset="-128"/>
                </a:rPr>
                <a:t>※</a:t>
              </a:r>
              <a:endParaRPr lang="en-US" altLang="ja-JP" sz="1200" b="1" dirty="0">
                <a:solidFill>
                  <a:srgbClr val="000000"/>
                </a:solidFill>
                <a:latin typeface="ＭＳ Ｐゴシック"/>
                <a:ea typeface="ＭＳ Ｐゴシック"/>
              </a:endParaRPr>
            </a:p>
            <a:p>
              <a:pPr marL="180939" indent="-3174" defTabSz="914217" fontAlgn="auto">
                <a:lnSpc>
                  <a:spcPts val="1300"/>
                </a:lnSpc>
                <a:spcBef>
                  <a:spcPts val="0"/>
                </a:spcBef>
                <a:spcAft>
                  <a:spcPts val="0"/>
                </a:spcAft>
              </a:pPr>
              <a:r>
                <a:rPr lang="ja-JP" altLang="en-US" sz="1000" dirty="0">
                  <a:solidFill>
                    <a:srgbClr val="000000"/>
                  </a:solidFill>
                  <a:latin typeface="ＭＳ Ｐゴシック"/>
                  <a:ea typeface="ＭＳ Ｐゴシック"/>
                </a:rPr>
                <a:t>　地域の実情に応じた下水道区域の見直し等を図りつつ、</a:t>
              </a:r>
              <a:r>
                <a:rPr lang="en-US" altLang="ja-JP" sz="1000" dirty="0">
                  <a:solidFill>
                    <a:srgbClr val="000000"/>
                  </a:solidFill>
                  <a:latin typeface="ＭＳ Ｐゴシック"/>
                  <a:ea typeface="ＭＳ Ｐゴシック"/>
                </a:rPr>
                <a:t> </a:t>
              </a:r>
              <a:r>
                <a:rPr lang="ja-JP" altLang="en-US" sz="1000" dirty="0">
                  <a:solidFill>
                    <a:srgbClr val="000000"/>
                  </a:solidFill>
                  <a:latin typeface="ＭＳ Ｐゴシック"/>
                  <a:ea typeface="ＭＳ Ｐゴシック"/>
                </a:rPr>
                <a:t>汚水処理施設の整備を推進。</a:t>
              </a:r>
              <a:endParaRPr lang="en-US" altLang="ja-JP" sz="1000" dirty="0">
                <a:solidFill>
                  <a:srgbClr val="000000"/>
                </a:solidFill>
                <a:latin typeface="ＭＳ Ｐゴシック"/>
                <a:ea typeface="ＭＳ Ｐゴシック"/>
              </a:endParaRPr>
            </a:p>
            <a:p>
              <a:pPr marL="266647" indent="-266647" defTabSz="914217" fontAlgn="auto">
                <a:lnSpc>
                  <a:spcPts val="1300"/>
                </a:lnSpc>
                <a:spcBef>
                  <a:spcPts val="0"/>
                </a:spcBef>
                <a:spcAft>
                  <a:spcPts val="0"/>
                </a:spcAft>
              </a:pPr>
              <a:r>
                <a:rPr lang="ja-JP" altLang="en-US" sz="1200" dirty="0">
                  <a:solidFill>
                    <a:srgbClr val="000000"/>
                  </a:solidFill>
                  <a:latin typeface="ＭＳ Ｐゴシック"/>
                  <a:ea typeface="ＭＳ Ｐゴシック"/>
                </a:rPr>
                <a:t>　  ・Ｒ６当初予算額　       　　</a:t>
              </a:r>
              <a:r>
                <a:rPr lang="en-US" altLang="ja-JP" sz="1200" dirty="0">
                  <a:solidFill>
                    <a:srgbClr val="000000"/>
                  </a:solidFill>
                  <a:latin typeface="ＭＳ Ｐゴシック"/>
                  <a:ea typeface="ＭＳ Ｐゴシック"/>
                </a:rPr>
                <a:t>926</a:t>
              </a:r>
              <a:r>
                <a:rPr lang="ja-JP" altLang="en-US" sz="1200" dirty="0">
                  <a:solidFill>
                    <a:srgbClr val="000000"/>
                  </a:solidFill>
                  <a:latin typeface="ＭＳ Ｐゴシック"/>
                  <a:ea typeface="ＭＳ Ｐゴシック"/>
                </a:rPr>
                <a:t>億円の内数</a:t>
              </a:r>
              <a:endParaRPr lang="en-US" altLang="ja-JP" sz="1200" dirty="0">
                <a:solidFill>
                  <a:srgbClr val="000000"/>
                </a:solidFill>
                <a:latin typeface="ＭＳ Ｐゴシック"/>
                <a:ea typeface="ＭＳ Ｐゴシック"/>
              </a:endParaRPr>
            </a:p>
            <a:p>
              <a:pPr marL="266647" indent="-266647" defTabSz="914217" fontAlgn="auto">
                <a:lnSpc>
                  <a:spcPts val="1300"/>
                </a:lnSpc>
                <a:spcBef>
                  <a:spcPts val="0"/>
                </a:spcBef>
                <a:spcAft>
                  <a:spcPts val="0"/>
                </a:spcAft>
              </a:pPr>
              <a:r>
                <a:rPr lang="ja-JP" altLang="en-US" sz="1200" dirty="0">
                  <a:solidFill>
                    <a:srgbClr val="000000"/>
                  </a:solidFill>
                  <a:latin typeface="ＭＳ Ｐゴシック"/>
                  <a:ea typeface="ＭＳ Ｐゴシック"/>
                </a:rPr>
                <a:t>　   </a:t>
              </a:r>
              <a:r>
                <a:rPr lang="en-US" altLang="ja-JP" sz="1200" dirty="0">
                  <a:solidFill>
                    <a:srgbClr val="000000"/>
                  </a:solidFill>
                  <a:latin typeface="ＭＳ Ｐゴシック"/>
                  <a:ea typeface="ＭＳ Ｐゴシック"/>
                </a:rPr>
                <a:t> </a:t>
              </a:r>
              <a:r>
                <a:rPr lang="ja-JP" altLang="en-US" sz="1200" dirty="0">
                  <a:solidFill>
                    <a:srgbClr val="000000"/>
                  </a:solidFill>
                  <a:latin typeface="ＭＳ Ｐゴシック"/>
                  <a:ea typeface="ＭＳ Ｐゴシック"/>
                </a:rPr>
                <a:t>Ｒ５予算額                　　</a:t>
              </a:r>
              <a:r>
                <a:rPr lang="en-US" altLang="ja-JP" sz="1200" dirty="0">
                  <a:solidFill>
                    <a:srgbClr val="000000"/>
                  </a:solidFill>
                  <a:latin typeface="ＭＳ Ｐゴシック"/>
                  <a:ea typeface="ＭＳ Ｐゴシック"/>
                </a:rPr>
                <a:t>773</a:t>
              </a:r>
              <a:r>
                <a:rPr lang="ja-JP" altLang="en-US" sz="1200" dirty="0">
                  <a:solidFill>
                    <a:srgbClr val="000000"/>
                  </a:solidFill>
                  <a:latin typeface="ＭＳ Ｐゴシック"/>
                  <a:ea typeface="ＭＳ Ｐゴシック"/>
                </a:rPr>
                <a:t>億円</a:t>
              </a:r>
              <a:r>
                <a:rPr lang="ja-JP" altLang="en-US" sz="1200" dirty="0">
                  <a:solidFill>
                    <a:srgbClr val="000000"/>
                  </a:solidFill>
                  <a:latin typeface="ＭＳ Ｐゴシック"/>
                  <a:ea typeface="ＭＳ Ｐゴシック" charset="-128"/>
                </a:rPr>
                <a:t>の内数</a:t>
              </a:r>
              <a:endParaRPr lang="en-US" altLang="ja-JP" sz="1200" dirty="0">
                <a:solidFill>
                  <a:srgbClr val="000000"/>
                </a:solidFill>
                <a:latin typeface="ＭＳ Ｐゴシック"/>
                <a:ea typeface="ＭＳ Ｐゴシック" charset="-128"/>
              </a:endParaRPr>
            </a:p>
            <a:p>
              <a:pPr defTabSz="914217" fontAlgn="auto">
                <a:lnSpc>
                  <a:spcPts val="1300"/>
                </a:lnSpc>
                <a:spcBef>
                  <a:spcPts val="0"/>
                </a:spcBef>
                <a:spcAft>
                  <a:spcPts val="0"/>
                </a:spcAft>
              </a:pPr>
              <a:r>
                <a:rPr lang="ja-JP" altLang="en-US" sz="1200" b="1" dirty="0">
                  <a:solidFill>
                    <a:srgbClr val="000000"/>
                  </a:solidFill>
                  <a:latin typeface="ＭＳ Ｐゴシック"/>
                  <a:ea typeface="ＭＳ Ｐゴシック" charset="-128"/>
                </a:rPr>
                <a:t>　　　　</a:t>
              </a:r>
              <a:r>
                <a:rPr lang="ja-JP" altLang="en-US" sz="1200" dirty="0">
                  <a:solidFill>
                    <a:srgbClr val="000000"/>
                  </a:solidFill>
                  <a:latin typeface="ＭＳ Ｐゴシック"/>
                  <a:ea typeface="ＭＳ Ｐゴシック" charset="-128"/>
                </a:rPr>
                <a:t>このほか補正予算　　　</a:t>
              </a:r>
              <a:r>
                <a:rPr lang="en-US" altLang="ja-JP" sz="1200" dirty="0">
                  <a:solidFill>
                    <a:srgbClr val="000000"/>
                  </a:solidFill>
                  <a:latin typeface="ＭＳ Ｐゴシック"/>
                  <a:ea typeface="ＭＳ Ｐゴシック" charset="-128"/>
                </a:rPr>
                <a:t>107</a:t>
              </a:r>
              <a:r>
                <a:rPr lang="ja-JP" altLang="en-US" sz="1200" dirty="0">
                  <a:solidFill>
                    <a:srgbClr val="000000"/>
                  </a:solidFill>
                  <a:latin typeface="ＭＳ Ｐゴシック"/>
                  <a:ea typeface="ＭＳ Ｐゴシック" charset="-128"/>
                </a:rPr>
                <a:t>億円の内数</a:t>
              </a:r>
              <a:endParaRPr lang="en-US" altLang="ja-JP" sz="1200" dirty="0">
                <a:solidFill>
                  <a:srgbClr val="000000"/>
                </a:solidFill>
                <a:latin typeface="ＭＳ Ｐゴシック"/>
                <a:ea typeface="ＭＳ Ｐゴシック" charset="-128"/>
              </a:endParaRPr>
            </a:p>
            <a:p>
              <a:pPr defTabSz="914217" fontAlgn="auto">
                <a:lnSpc>
                  <a:spcPts val="1300"/>
                </a:lnSpc>
                <a:spcBef>
                  <a:spcPts val="0"/>
                </a:spcBef>
                <a:spcAft>
                  <a:spcPts val="0"/>
                </a:spcAft>
              </a:pPr>
              <a:endParaRPr lang="en-US" altLang="ja-JP" sz="1200" b="1" dirty="0">
                <a:solidFill>
                  <a:srgbClr val="000000"/>
                </a:solidFill>
                <a:latin typeface="ＭＳ Ｐゴシック"/>
                <a:ea typeface="ＭＳ Ｐゴシック" charset="-128"/>
              </a:endParaRPr>
            </a:p>
            <a:p>
              <a:pPr marL="266647" indent="-266647" defTabSz="914217" fontAlgn="auto">
                <a:lnSpc>
                  <a:spcPts val="1300"/>
                </a:lnSpc>
                <a:spcBef>
                  <a:spcPts val="0"/>
                </a:spcBef>
                <a:spcAft>
                  <a:spcPts val="0"/>
                </a:spcAft>
              </a:pPr>
              <a:endParaRPr lang="en-US" altLang="ja-JP" sz="1200" dirty="0">
                <a:solidFill>
                  <a:srgbClr val="000000"/>
                </a:solidFill>
                <a:latin typeface="ＭＳ Ｐゴシック"/>
                <a:ea typeface="ＭＳ Ｐゴシック" charset="-128"/>
              </a:endParaRPr>
            </a:p>
          </p:txBody>
        </p:sp>
        <p:sp>
          <p:nvSpPr>
            <p:cNvPr id="1209" name="テキスト ボックス 28"/>
            <p:cNvSpPr txBox="1"/>
            <p:nvPr/>
          </p:nvSpPr>
          <p:spPr>
            <a:xfrm>
              <a:off x="251752" y="3645024"/>
              <a:ext cx="2160008" cy="276999"/>
            </a:xfrm>
            <a:prstGeom prst="rect">
              <a:avLst/>
            </a:prstGeom>
            <a:solidFill>
              <a:srgbClr val="CCFFFF"/>
            </a:solidFill>
            <a:ln w="19050">
              <a:solidFill>
                <a:schemeClr val="tx1"/>
              </a:solidFill>
            </a:ln>
          </p:spPr>
          <p:txBody>
            <a:bodyPr wrap="square" rtlCol="0">
              <a:spAutoFit/>
            </a:bodyPr>
            <a:lstStyle/>
            <a:p>
              <a:pPr algn="ctr" defTabSz="914217"/>
              <a:r>
                <a:rPr lang="ja-JP" altLang="en-US" sz="1200" b="1" dirty="0">
                  <a:solidFill>
                    <a:srgbClr val="000000"/>
                  </a:solidFill>
                  <a:ea typeface="ＭＳ Ｐゴシック" charset="-128"/>
                </a:rPr>
                <a:t>社会、生活環境施策</a:t>
              </a:r>
            </a:p>
          </p:txBody>
        </p:sp>
      </p:grpSp>
      <p:sp>
        <p:nvSpPr>
          <p:cNvPr id="18" name="テキスト ボックス 17"/>
          <p:cNvSpPr txBox="1"/>
          <p:nvPr/>
        </p:nvSpPr>
        <p:spPr>
          <a:xfrm>
            <a:off x="560422" y="5474805"/>
            <a:ext cx="2199176" cy="276955"/>
          </a:xfrm>
          <a:prstGeom prst="rect">
            <a:avLst/>
          </a:prstGeom>
          <a:solidFill>
            <a:srgbClr val="CCFFFF"/>
          </a:solidFill>
          <a:ln w="19050">
            <a:solidFill>
              <a:schemeClr val="tx1"/>
            </a:solidFill>
          </a:ln>
        </p:spPr>
        <p:txBody>
          <a:bodyPr wrap="square" rtlCol="0">
            <a:spAutoFit/>
          </a:bodyPr>
          <a:lstStyle/>
          <a:p>
            <a:pPr algn="ctr" defTabSz="914217"/>
            <a:r>
              <a:rPr lang="ja-JP" altLang="en-US" sz="1200" b="1" dirty="0">
                <a:solidFill>
                  <a:srgbClr val="000000"/>
                </a:solidFill>
                <a:ea typeface="ＭＳ Ｐゴシック" charset="-128"/>
              </a:rPr>
              <a:t>集落整備施策</a:t>
            </a:r>
          </a:p>
        </p:txBody>
      </p:sp>
      <p:sp>
        <p:nvSpPr>
          <p:cNvPr id="19" name="大かっこ 18"/>
          <p:cNvSpPr/>
          <p:nvPr/>
        </p:nvSpPr>
        <p:spPr>
          <a:xfrm>
            <a:off x="848408" y="2511918"/>
            <a:ext cx="2951855" cy="299017"/>
          </a:xfrm>
          <a:prstGeom prst="bracketPair">
            <a:avLst>
              <a:gd name="adj" fmla="val 15605"/>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defTabSz="914217"/>
            <a:endParaRPr lang="ja-JP" altLang="en-US">
              <a:solidFill>
                <a:srgbClr val="000000"/>
              </a:solidFill>
              <a:latin typeface="Arial"/>
              <a:ea typeface="ＭＳ Ｐゴシック"/>
            </a:endParaRPr>
          </a:p>
        </p:txBody>
      </p:sp>
      <p:sp>
        <p:nvSpPr>
          <p:cNvPr id="20" name="大かっこ 19"/>
          <p:cNvSpPr/>
          <p:nvPr/>
        </p:nvSpPr>
        <p:spPr>
          <a:xfrm>
            <a:off x="776411" y="3550885"/>
            <a:ext cx="2663869" cy="299017"/>
          </a:xfrm>
          <a:prstGeom prst="bracketPair">
            <a:avLst>
              <a:gd name="adj" fmla="val 10297"/>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defTabSz="914217"/>
            <a:endParaRPr lang="ja-JP" altLang="en-US">
              <a:solidFill>
                <a:srgbClr val="000000"/>
              </a:solidFill>
              <a:latin typeface="Arial"/>
              <a:ea typeface="ＭＳ Ｐゴシック"/>
            </a:endParaRPr>
          </a:p>
        </p:txBody>
      </p:sp>
      <p:sp>
        <p:nvSpPr>
          <p:cNvPr id="21" name="大かっこ 20"/>
          <p:cNvSpPr/>
          <p:nvPr/>
        </p:nvSpPr>
        <p:spPr>
          <a:xfrm>
            <a:off x="776411" y="4959798"/>
            <a:ext cx="2951855" cy="323727"/>
          </a:xfrm>
          <a:prstGeom prst="bracketPair">
            <a:avLst>
              <a:gd name="adj" fmla="val 13725"/>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defTabSz="914217"/>
            <a:endParaRPr lang="ja-JP" altLang="en-US">
              <a:solidFill>
                <a:srgbClr val="000000"/>
              </a:solidFill>
              <a:latin typeface="Arial"/>
              <a:ea typeface="ＭＳ Ｐゴシック"/>
            </a:endParaRPr>
          </a:p>
        </p:txBody>
      </p:sp>
      <p:sp>
        <p:nvSpPr>
          <p:cNvPr id="22" name="大かっこ 21"/>
          <p:cNvSpPr/>
          <p:nvPr/>
        </p:nvSpPr>
        <p:spPr>
          <a:xfrm>
            <a:off x="5240192" y="4599815"/>
            <a:ext cx="2663869" cy="287985"/>
          </a:xfrm>
          <a:prstGeom prst="bracketPair">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defTabSz="914217"/>
            <a:endParaRPr lang="ja-JP" altLang="en-US">
              <a:solidFill>
                <a:srgbClr val="000000"/>
              </a:solidFill>
              <a:latin typeface="Arial"/>
              <a:ea typeface="ＭＳ Ｐゴシック"/>
            </a:endParaRPr>
          </a:p>
        </p:txBody>
      </p:sp>
      <p:sp>
        <p:nvSpPr>
          <p:cNvPr id="23" name="大かっこ 22"/>
          <p:cNvSpPr/>
          <p:nvPr/>
        </p:nvSpPr>
        <p:spPr>
          <a:xfrm>
            <a:off x="5240192" y="5751760"/>
            <a:ext cx="2735865" cy="341271"/>
          </a:xfrm>
          <a:prstGeom prst="bracketPair">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defTabSz="914217"/>
            <a:endParaRPr lang="ja-JP" altLang="en-US">
              <a:solidFill>
                <a:srgbClr val="000000"/>
              </a:solidFill>
              <a:latin typeface="Arial"/>
              <a:ea typeface="ＭＳ Ｐゴシック"/>
            </a:endParaRPr>
          </a:p>
        </p:txBody>
      </p:sp>
      <p:sp>
        <p:nvSpPr>
          <p:cNvPr id="24" name="大かっこ 23"/>
          <p:cNvSpPr/>
          <p:nvPr/>
        </p:nvSpPr>
        <p:spPr>
          <a:xfrm>
            <a:off x="5096199" y="2727907"/>
            <a:ext cx="4175795" cy="659001"/>
          </a:xfrm>
          <a:prstGeom prst="bracketPair">
            <a:avLst>
              <a:gd name="adj" fmla="val 9923"/>
            </a:avLst>
          </a:prstGeom>
          <a:ln>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algn="ctr" defTabSz="914217"/>
            <a:endParaRPr lang="ja-JP" altLang="en-US">
              <a:solidFill>
                <a:srgbClr val="000000"/>
              </a:solidFill>
              <a:latin typeface="Arial"/>
              <a:ea typeface="ＭＳ Ｐゴシック"/>
            </a:endParaRPr>
          </a:p>
        </p:txBody>
      </p:sp>
      <p:sp>
        <p:nvSpPr>
          <p:cNvPr id="2" name="フッター プレースホルダー 1">
            <a:extLst>
              <a:ext uri="{FF2B5EF4-FFF2-40B4-BE49-F238E27FC236}">
                <a16:creationId xmlns:a16="http://schemas.microsoft.com/office/drawing/2014/main" id="{D9155AB5-885B-FBC7-03E7-EA254DE82004}"/>
              </a:ext>
            </a:extLst>
          </p:cNvPr>
          <p:cNvSpPr>
            <a:spLocks noGrp="1"/>
          </p:cNvSpPr>
          <p:nvPr>
            <p:ph type="ftr" sz="quarter" idx="11"/>
          </p:nvPr>
        </p:nvSpPr>
        <p:spPr/>
        <p:txBody>
          <a:bodyPr/>
          <a:lstStyle/>
          <a:p>
            <a:pPr>
              <a:defRPr/>
            </a:pPr>
            <a:endParaRPr lang="en-US" altLang="ja-JP" dirty="0"/>
          </a:p>
        </p:txBody>
      </p:sp>
      <p:sp>
        <p:nvSpPr>
          <p:cNvPr id="4" name="スライド番号プレースホルダー 3">
            <a:extLst>
              <a:ext uri="{FF2B5EF4-FFF2-40B4-BE49-F238E27FC236}">
                <a16:creationId xmlns:a16="http://schemas.microsoft.com/office/drawing/2014/main" id="{B2A2E33E-7904-186F-97A6-229E0749A998}"/>
              </a:ext>
            </a:extLst>
          </p:cNvPr>
          <p:cNvSpPr>
            <a:spLocks noGrp="1"/>
          </p:cNvSpPr>
          <p:nvPr>
            <p:ph type="sldNum" sz="quarter" idx="12"/>
          </p:nvPr>
        </p:nvSpPr>
        <p:spPr/>
        <p:txBody>
          <a:bodyPr/>
          <a:lstStyle/>
          <a:p>
            <a:pPr>
              <a:defRPr/>
            </a:pPr>
            <a:fld id="{651FC12D-27C1-4F31-90C9-A93D49E44687}" type="slidenum">
              <a:rPr lang="en-US" altLang="ja-JP" smtClean="0"/>
              <a:pPr>
                <a:defRPr/>
              </a:pPr>
              <a:t>3</a:t>
            </a:fld>
            <a:endParaRPr lang="en-US" altLang="ja-JP" dirty="0"/>
          </a:p>
        </p:txBody>
      </p:sp>
    </p:spTree>
    <p:extLst>
      <p:ext uri="{BB962C8B-B14F-4D97-AF65-F5344CB8AC3E}">
        <p14:creationId xmlns:p14="http://schemas.microsoft.com/office/powerpoint/2010/main" val="9414294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8" name="タイトル 1"/>
          <p:cNvSpPr>
            <a:spLocks noGrp="1"/>
          </p:cNvSpPr>
          <p:nvPr>
            <p:ph type="ctrTitle"/>
          </p:nvPr>
        </p:nvSpPr>
        <p:spPr/>
        <p:txBody>
          <a:bodyPr/>
          <a:lstStyle/>
          <a:p>
            <a:r>
              <a:rPr lang="ja-JP" altLang="en-US" sz="2400" dirty="0"/>
              <a:t>　</a:t>
            </a:r>
            <a:endParaRPr lang="ja-JP" altLang="en-US" dirty="0">
              <a:solidFill>
                <a:srgbClr val="FF0000"/>
              </a:solidFill>
            </a:endParaRPr>
          </a:p>
        </p:txBody>
      </p:sp>
      <p:sp>
        <p:nvSpPr>
          <p:cNvPr id="2139" name="Rectangle 8"/>
          <p:cNvSpPr>
            <a:spLocks noChangeArrowheads="1"/>
          </p:cNvSpPr>
          <p:nvPr/>
        </p:nvSpPr>
        <p:spPr>
          <a:xfrm>
            <a:off x="2144345" y="197525"/>
            <a:ext cx="184701" cy="507750"/>
          </a:xfrm>
          <a:prstGeom prst="rect">
            <a:avLst/>
          </a:prstGeom>
          <a:noFill/>
          <a:ln w="9525">
            <a:noFill/>
            <a:miter lim="800000"/>
            <a:headEnd/>
            <a:tailEnd/>
          </a:ln>
        </p:spPr>
        <p:txBody>
          <a:bodyPr wrap="none" anchor="ctr">
            <a:spAutoFit/>
          </a:bodyPr>
          <a:lstStyle/>
          <a:p>
            <a:pPr eaLnBrk="0" hangingPunct="0"/>
            <a:br>
              <a:rPr lang="ja-JP" altLang="ja-JP" sz="900" dirty="0"/>
            </a:br>
            <a:endParaRPr lang="ja-JP" altLang="ja-JP" dirty="0"/>
          </a:p>
        </p:txBody>
      </p:sp>
      <p:sp>
        <p:nvSpPr>
          <p:cNvPr id="2140" name="タイトル 1"/>
          <p:cNvSpPr txBox="1"/>
          <p:nvPr/>
        </p:nvSpPr>
        <p:spPr>
          <a:xfrm>
            <a:off x="-24753" y="2414566"/>
            <a:ext cx="9929165" cy="1611001"/>
          </a:xfrm>
          <a:prstGeom prst="rect">
            <a:avLst/>
          </a:prstGeom>
          <a:noFill/>
          <a:ln w="9525">
            <a:noFill/>
            <a:miter lim="800000"/>
            <a:headEnd/>
            <a:tailEnd/>
          </a:ln>
        </p:spPr>
        <p:txBody>
          <a:bodyPr vert="horz" wrap="square" lIns="91425" tIns="45713" rIns="91425" bIns="45713" numCol="1" anchor="ctr" anchorCtr="0" compatLnSpc="1">
            <a:prstTxWarp prst="textNoShape">
              <a:avLst/>
            </a:prstTxWarp>
            <a:noAutofit/>
          </a:bodyP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algn="ctr"/>
            <a:r>
              <a:rPr lang="ja-JP" altLang="en-US" sz="3000" dirty="0">
                <a:solidFill>
                  <a:srgbClr val="0000FF"/>
                </a:solidFill>
                <a:latin typeface="ＤＦ特太ゴシック体" panose="020B0509000000000000" pitchFamily="49" charset="-128"/>
                <a:ea typeface="ＤＦ特太ゴシック体" panose="020B0509000000000000" pitchFamily="49" charset="-128"/>
              </a:rPr>
              <a:t>　　</a:t>
            </a:r>
            <a:r>
              <a:rPr lang="ja-JP" altLang="en-US" sz="3000" dirty="0">
                <a:solidFill>
                  <a:schemeClr val="accent2"/>
                </a:solidFill>
                <a:latin typeface="ＤＦ特太ゴシック体" panose="020B0509000000000000" pitchFamily="49" charset="-128"/>
                <a:ea typeface="ＤＦ特太ゴシック体" panose="020B0509000000000000" pitchFamily="49" charset="-128"/>
              </a:rPr>
              <a:t>４．二地域居住に関連する制度・施策等について</a:t>
            </a:r>
          </a:p>
        </p:txBody>
      </p:sp>
    </p:spTree>
    <p:extLst>
      <p:ext uri="{BB962C8B-B14F-4D97-AF65-F5344CB8AC3E}">
        <p14:creationId xmlns:p14="http://schemas.microsoft.com/office/powerpoint/2010/main" val="380911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6D244027-7C9E-FE59-9546-551D6727D963}"/>
              </a:ext>
            </a:extLst>
          </p:cNvPr>
          <p:cNvSpPr/>
          <p:nvPr/>
        </p:nvSpPr>
        <p:spPr>
          <a:xfrm>
            <a:off x="354076" y="4363275"/>
            <a:ext cx="4517011" cy="2736976"/>
          </a:xfrm>
          <a:prstGeom prst="rect">
            <a:avLst/>
          </a:prstGeom>
          <a:solidFill>
            <a:srgbClr val="008EEE">
              <a:alpha val="10000"/>
            </a:srgbClr>
          </a:solidFill>
          <a:ln>
            <a:noFill/>
          </a:ln>
        </p:spPr>
        <p:txBody>
          <a:bodyPr wrap="square" bIns="0" anchor="t">
            <a:noAutofit/>
          </a:bodyPr>
          <a:lstStyle/>
          <a:p>
            <a:pPr marL="179964" indent="-179964" defTabSz="914217">
              <a:spcAft>
                <a:spcPts val="600"/>
              </a:spcAft>
              <a:defRPr/>
            </a:pPr>
            <a:endParaRPr lang="ja-JP" altLang="en-US" sz="1400" dirty="0">
              <a:solidFill>
                <a:srgbClr val="000000"/>
              </a:solidFill>
              <a:latin typeface="メイリオ" panose="020B0604030504040204" pitchFamily="50" charset="-128"/>
              <a:ea typeface="メイリオ" panose="020B0604030504040204" pitchFamily="50" charset="-128"/>
            </a:endParaRPr>
          </a:p>
        </p:txBody>
      </p:sp>
      <p:sp>
        <p:nvSpPr>
          <p:cNvPr id="28" name="タイトル 19"/>
          <p:cNvSpPr>
            <a:spLocks noGrp="1"/>
          </p:cNvSpPr>
          <p:nvPr>
            <p:ph type="title"/>
          </p:nvPr>
        </p:nvSpPr>
        <p:spPr>
          <a:xfrm>
            <a:off x="199678" y="86033"/>
            <a:ext cx="7796201" cy="481449"/>
          </a:xfrm>
        </p:spPr>
        <p:txBody>
          <a:bodyPr/>
          <a:lstStyle/>
          <a:p>
            <a:pPr fontAlgn="auto">
              <a:spcAft>
                <a:spcPts val="0"/>
              </a:spcAft>
              <a:defRPr/>
            </a:pPr>
            <a:r>
              <a:rPr lang="ja-JP" altLang="en-US" sz="2400" dirty="0">
                <a:latin typeface="HGP創英角ｺﾞｼｯｸUB" panose="020B0900000000000000" pitchFamily="50" charset="-128"/>
                <a:ea typeface="HGP創英角ｺﾞｼｯｸUB" panose="020B0900000000000000" pitchFamily="50" charset="-128"/>
              </a:rPr>
              <a:t>移住・二地域居住等への関心</a:t>
            </a:r>
          </a:p>
        </p:txBody>
      </p:sp>
      <p:sp>
        <p:nvSpPr>
          <p:cNvPr id="4" name="正方形/長方形 3">
            <a:extLst>
              <a:ext uri="{FF2B5EF4-FFF2-40B4-BE49-F238E27FC236}">
                <a16:creationId xmlns:a16="http://schemas.microsoft.com/office/drawing/2014/main" id="{0D5589F6-71A3-3C52-F639-8C3CD690EB2A}"/>
              </a:ext>
            </a:extLst>
          </p:cNvPr>
          <p:cNvSpPr/>
          <p:nvPr/>
        </p:nvSpPr>
        <p:spPr>
          <a:xfrm>
            <a:off x="424303" y="855514"/>
            <a:ext cx="9055807" cy="1346900"/>
          </a:xfrm>
          <a:prstGeom prst="rect">
            <a:avLst/>
          </a:prstGeom>
          <a:solidFill>
            <a:srgbClr val="FFF6D6"/>
          </a:solidFill>
          <a:ln>
            <a:solidFill>
              <a:schemeClr val="tx1"/>
            </a:solidFill>
          </a:ln>
        </p:spPr>
        <p:txBody>
          <a:bodyPr wrap="square" bIns="0" anchor="t" anchorCtr="0">
            <a:noAutofit/>
          </a:bodyPr>
          <a:lstStyle/>
          <a:p>
            <a:pPr defTabSz="914217">
              <a:defRPr/>
            </a:pPr>
            <a:r>
              <a:rPr lang="ja-JP" altLang="en-US" sz="1400" dirty="0">
                <a:solidFill>
                  <a:srgbClr val="000000"/>
                </a:solidFill>
                <a:latin typeface="メイリオ" panose="020B0604030504040204" pitchFamily="50" charset="-128"/>
                <a:ea typeface="メイリオ" panose="020B0604030504040204" pitchFamily="50" charset="-128"/>
              </a:rPr>
              <a:t>○コロナ禍以降、東京圏在住者の地方移住への関心が高まっており、</a:t>
            </a:r>
            <a:r>
              <a:rPr lang="en-US" altLang="ja-JP" sz="1400" dirty="0">
                <a:solidFill>
                  <a:srgbClr val="000000"/>
                </a:solidFill>
                <a:latin typeface="メイリオ" panose="020B0604030504040204" pitchFamily="50" charset="-128"/>
                <a:ea typeface="メイリオ" panose="020B0604030504040204" pitchFamily="50" charset="-128"/>
              </a:rPr>
              <a:t>20</a:t>
            </a:r>
            <a:r>
              <a:rPr lang="ja-JP" altLang="en-US" sz="1400" dirty="0">
                <a:solidFill>
                  <a:srgbClr val="000000"/>
                </a:solidFill>
                <a:latin typeface="メイリオ" panose="020B0604030504040204" pitchFamily="50" charset="-128"/>
                <a:ea typeface="メイリオ" panose="020B0604030504040204" pitchFamily="50" charset="-128"/>
              </a:rPr>
              <a:t>歳代の約半数が関心あり</a:t>
            </a:r>
            <a:endParaRPr lang="en-US" altLang="ja-JP" sz="14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400" dirty="0">
                <a:solidFill>
                  <a:srgbClr val="000000"/>
                </a:solidFill>
                <a:latin typeface="メイリオ" panose="020B0604030504040204" pitchFamily="50" charset="-128"/>
                <a:ea typeface="メイリオ" panose="020B0604030504040204" pitchFamily="50" charset="-128"/>
              </a:rPr>
              <a:t>（令和</a:t>
            </a:r>
            <a:r>
              <a:rPr lang="en-US" altLang="ja-JP" sz="1400" dirty="0">
                <a:solidFill>
                  <a:srgbClr val="000000"/>
                </a:solidFill>
                <a:latin typeface="メイリオ" panose="020B0604030504040204" pitchFamily="50" charset="-128"/>
                <a:ea typeface="メイリオ" panose="020B0604030504040204" pitchFamily="50" charset="-128"/>
              </a:rPr>
              <a:t>5</a:t>
            </a:r>
            <a:r>
              <a:rPr lang="ja-JP" altLang="en-US" sz="1400" dirty="0">
                <a:solidFill>
                  <a:srgbClr val="000000"/>
                </a:solidFill>
                <a:latin typeface="メイリオ" panose="020B0604030504040204" pitchFamily="50" charset="-128"/>
                <a:ea typeface="メイリオ" panose="020B0604030504040204" pitchFamily="50" charset="-128"/>
              </a:rPr>
              <a:t>年４月内閣府調査）。</a:t>
            </a:r>
            <a:endParaRPr lang="en-US" altLang="ja-JP" sz="14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400" dirty="0">
                <a:solidFill>
                  <a:srgbClr val="000000"/>
                </a:solidFill>
                <a:latin typeface="メイリオ" panose="020B0604030504040204" pitchFamily="50" charset="-128"/>
                <a:ea typeface="メイリオ" panose="020B0604030504040204" pitchFamily="50" charset="-128"/>
              </a:rPr>
              <a:t>○二地域居住等を実施していない人のうち、約</a:t>
            </a:r>
            <a:r>
              <a:rPr lang="en-US" altLang="ja-JP" sz="1400" dirty="0">
                <a:solidFill>
                  <a:srgbClr val="000000"/>
                </a:solidFill>
                <a:latin typeface="メイリオ" panose="020B0604030504040204" pitchFamily="50" charset="-128"/>
                <a:ea typeface="メイリオ" panose="020B0604030504040204" pitchFamily="50" charset="-128"/>
              </a:rPr>
              <a:t>3</a:t>
            </a:r>
            <a:r>
              <a:rPr lang="ja-JP" altLang="en-US" sz="1400" dirty="0">
                <a:solidFill>
                  <a:srgbClr val="000000"/>
                </a:solidFill>
                <a:latin typeface="メイリオ" panose="020B0604030504040204" pitchFamily="50" charset="-128"/>
                <a:ea typeface="メイリオ" panose="020B0604030504040204" pitchFamily="50" charset="-128"/>
              </a:rPr>
              <a:t>割が関心あり。二地域居住の実施者の世帯年収は中間層が</a:t>
            </a:r>
            <a:endParaRPr lang="en-US" altLang="ja-JP" sz="14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400" dirty="0">
                <a:solidFill>
                  <a:srgbClr val="000000"/>
                </a:solidFill>
                <a:latin typeface="メイリオ" panose="020B0604030504040204" pitchFamily="50" charset="-128"/>
                <a:ea typeface="メイリオ" panose="020B0604030504040204" pitchFamily="50" charset="-128"/>
              </a:rPr>
              <a:t>　ボリュームゾーン（令和４年度国土交通省調査） 。</a:t>
            </a:r>
            <a:endParaRPr lang="en-US" altLang="ja-JP" sz="14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400" dirty="0">
                <a:solidFill>
                  <a:srgbClr val="000000"/>
                </a:solidFill>
                <a:latin typeface="メイリオ" panose="020B0604030504040204" pitchFamily="50" charset="-128"/>
                <a:ea typeface="メイリオ" panose="020B0604030504040204" pitchFamily="50" charset="-128"/>
              </a:rPr>
              <a:t>○地方移住に当たっては、住まいのほか、移住先でのなりわい（仕事）や、買物や公共交通等の利便性、</a:t>
            </a:r>
            <a:endParaRPr lang="en-US" altLang="ja-JP" sz="14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400" dirty="0">
                <a:solidFill>
                  <a:srgbClr val="000000"/>
                </a:solidFill>
                <a:latin typeface="メイリオ" panose="020B0604030504040204" pitchFamily="50" charset="-128"/>
                <a:ea typeface="メイリオ" panose="020B0604030504040204" pitchFamily="50" charset="-128"/>
              </a:rPr>
              <a:t>　人間関係や地域コミュニティを懸念として挙げる人が多い。</a:t>
            </a:r>
          </a:p>
          <a:p>
            <a:pPr defTabSz="914217">
              <a:defRPr/>
            </a:pPr>
            <a:endParaRPr lang="en-US" altLang="ja-JP" sz="1400" dirty="0">
              <a:solidFill>
                <a:srgbClr val="000000"/>
              </a:solidFill>
              <a:latin typeface="メイリオ" panose="020B0604030504040204" pitchFamily="50" charset="-128"/>
              <a:ea typeface="メイリオ" panose="020B0604030504040204" pitchFamily="50" charset="-128"/>
            </a:endParaRPr>
          </a:p>
        </p:txBody>
      </p:sp>
      <p:grpSp>
        <p:nvGrpSpPr>
          <p:cNvPr id="19" name="グループ化 18">
            <a:extLst>
              <a:ext uri="{FF2B5EF4-FFF2-40B4-BE49-F238E27FC236}">
                <a16:creationId xmlns:a16="http://schemas.microsoft.com/office/drawing/2014/main" id="{DC7CB822-CC93-1B6D-F136-9A916F2FD520}"/>
              </a:ext>
            </a:extLst>
          </p:cNvPr>
          <p:cNvGrpSpPr/>
          <p:nvPr/>
        </p:nvGrpSpPr>
        <p:grpSpPr>
          <a:xfrm>
            <a:off x="361192" y="2282235"/>
            <a:ext cx="4517011" cy="2053983"/>
            <a:chOff x="68248" y="2052359"/>
            <a:chExt cx="4464000" cy="1956940"/>
          </a:xfrm>
        </p:grpSpPr>
        <p:sp>
          <p:nvSpPr>
            <p:cNvPr id="6" name="正方形/長方形 5">
              <a:extLst>
                <a:ext uri="{FF2B5EF4-FFF2-40B4-BE49-F238E27FC236}">
                  <a16:creationId xmlns:a16="http://schemas.microsoft.com/office/drawing/2014/main" id="{00E0A207-0441-2FE4-A36C-37154A7009D0}"/>
                </a:ext>
              </a:extLst>
            </p:cNvPr>
            <p:cNvSpPr/>
            <p:nvPr/>
          </p:nvSpPr>
          <p:spPr>
            <a:xfrm>
              <a:off x="68248" y="2052360"/>
              <a:ext cx="4464000" cy="1956939"/>
            </a:xfrm>
            <a:prstGeom prst="rect">
              <a:avLst/>
            </a:prstGeom>
            <a:solidFill>
              <a:srgbClr val="008EEE">
                <a:alpha val="10000"/>
              </a:srgbClr>
            </a:solidFill>
            <a:ln>
              <a:noFill/>
            </a:ln>
          </p:spPr>
          <p:txBody>
            <a:bodyPr wrap="square" bIns="0" anchor="t">
              <a:noAutofit/>
            </a:bodyPr>
            <a:lstStyle/>
            <a:p>
              <a:pPr marL="179964" indent="-179964" defTabSz="914217">
                <a:spcAft>
                  <a:spcPts val="600"/>
                </a:spcAft>
                <a:defRPr/>
              </a:pPr>
              <a:endParaRPr lang="ja-JP" altLang="en-US" sz="1400" dirty="0">
                <a:solidFill>
                  <a:srgbClr val="000000"/>
                </a:solidFill>
                <a:latin typeface="メイリオ" panose="020B0604030504040204" pitchFamily="50" charset="-128"/>
                <a:ea typeface="メイリオ" panose="020B0604030504040204" pitchFamily="50" charset="-128"/>
              </a:endParaRPr>
            </a:p>
          </p:txBody>
        </p:sp>
        <p:sp>
          <p:nvSpPr>
            <p:cNvPr id="7" name="正方形/長方形 6">
              <a:extLst>
                <a:ext uri="{FF2B5EF4-FFF2-40B4-BE49-F238E27FC236}">
                  <a16:creationId xmlns:a16="http://schemas.microsoft.com/office/drawing/2014/main" id="{F5A7E8D1-0005-416D-09CA-24CFBC8AA076}"/>
                </a:ext>
              </a:extLst>
            </p:cNvPr>
            <p:cNvSpPr/>
            <p:nvPr/>
          </p:nvSpPr>
          <p:spPr>
            <a:xfrm>
              <a:off x="114230" y="2052359"/>
              <a:ext cx="2952000" cy="266400"/>
            </a:xfrm>
            <a:prstGeom prst="rect">
              <a:avLst/>
            </a:prstGeom>
            <a:solidFill>
              <a:srgbClr val="008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defRPr/>
              </a:pPr>
              <a:r>
                <a:rPr lang="ja-JP" altLang="en-US" sz="1550" b="1" dirty="0">
                  <a:solidFill>
                    <a:srgbClr val="FFFFFF"/>
                  </a:solidFill>
                  <a:latin typeface="メイリオ" panose="020B0604030504040204" pitchFamily="50" charset="-128"/>
                  <a:ea typeface="メイリオ" panose="020B0604030504040204" pitchFamily="50" charset="-128"/>
                </a:rPr>
                <a:t>地方移住への関心（</a:t>
              </a:r>
              <a:r>
                <a:rPr lang="en-US" altLang="ja-JP" sz="1550" b="1" dirty="0">
                  <a:solidFill>
                    <a:srgbClr val="FFFFFF"/>
                  </a:solidFill>
                  <a:latin typeface="メイリオ" panose="020B0604030504040204" pitchFamily="50" charset="-128"/>
                  <a:ea typeface="メイリオ" panose="020B0604030504040204" pitchFamily="50" charset="-128"/>
                </a:rPr>
                <a:t>20</a:t>
              </a:r>
              <a:r>
                <a:rPr lang="ja-JP" altLang="en-US" sz="1550" b="1" dirty="0">
                  <a:solidFill>
                    <a:srgbClr val="FFFFFF"/>
                  </a:solidFill>
                  <a:latin typeface="メイリオ" panose="020B0604030504040204" pitchFamily="50" charset="-128"/>
                  <a:ea typeface="メイリオ" panose="020B0604030504040204" pitchFamily="50" charset="-128"/>
                </a:rPr>
                <a:t>歳代）</a:t>
              </a:r>
            </a:p>
          </p:txBody>
        </p:sp>
      </p:grpSp>
      <p:sp>
        <p:nvSpPr>
          <p:cNvPr id="10" name="正方形/長方形 9">
            <a:extLst>
              <a:ext uri="{FF2B5EF4-FFF2-40B4-BE49-F238E27FC236}">
                <a16:creationId xmlns:a16="http://schemas.microsoft.com/office/drawing/2014/main" id="{E5C0CE67-EC12-CF65-2D01-340F79B5C14C}"/>
              </a:ext>
            </a:extLst>
          </p:cNvPr>
          <p:cNvSpPr/>
          <p:nvPr/>
        </p:nvSpPr>
        <p:spPr>
          <a:xfrm>
            <a:off x="4955896" y="2297852"/>
            <a:ext cx="4567579" cy="4802397"/>
          </a:xfrm>
          <a:prstGeom prst="rect">
            <a:avLst/>
          </a:prstGeom>
          <a:solidFill>
            <a:srgbClr val="008EEE">
              <a:alpha val="10000"/>
            </a:srgbClr>
          </a:solidFill>
          <a:ln>
            <a:noFill/>
          </a:ln>
        </p:spPr>
        <p:txBody>
          <a:bodyPr wrap="square" bIns="0" anchor="t">
            <a:noAutofit/>
          </a:bodyPr>
          <a:lstStyle/>
          <a:p>
            <a:pPr marL="179964" indent="-179964" defTabSz="914217">
              <a:spcAft>
                <a:spcPts val="600"/>
              </a:spcAft>
              <a:defRPr/>
            </a:pPr>
            <a:endParaRPr lang="ja-JP" altLang="en-US" sz="1400" dirty="0">
              <a:solidFill>
                <a:srgbClr val="000000"/>
              </a:solidFill>
              <a:latin typeface="メイリオ" panose="020B0604030504040204" pitchFamily="50" charset="-128"/>
              <a:ea typeface="メイリオ" panose="020B0604030504040204" pitchFamily="50" charset="-128"/>
            </a:endParaRPr>
          </a:p>
        </p:txBody>
      </p:sp>
      <p:sp>
        <p:nvSpPr>
          <p:cNvPr id="82" name="テキスト ボックス 81">
            <a:extLst>
              <a:ext uri="{FF2B5EF4-FFF2-40B4-BE49-F238E27FC236}">
                <a16:creationId xmlns:a16="http://schemas.microsoft.com/office/drawing/2014/main" id="{8CE1F219-4458-B658-953B-FCE5B4D5AB33}"/>
              </a:ext>
            </a:extLst>
          </p:cNvPr>
          <p:cNvSpPr txBox="1"/>
          <p:nvPr/>
        </p:nvSpPr>
        <p:spPr>
          <a:xfrm>
            <a:off x="4967055" y="6103675"/>
            <a:ext cx="4499279" cy="230795"/>
          </a:xfrm>
          <a:prstGeom prst="rect">
            <a:avLst/>
          </a:prstGeom>
          <a:noFill/>
        </p:spPr>
        <p:txBody>
          <a:bodyPr wrap="square">
            <a:spAutoFit/>
          </a:bodyPr>
          <a:lstStyle/>
          <a:p>
            <a:pPr defTabSz="914217">
              <a:defRPr/>
            </a:pPr>
            <a:r>
              <a:rPr lang="ja-JP" altLang="en-US" sz="900" dirty="0">
                <a:solidFill>
                  <a:srgbClr val="000000"/>
                </a:solidFill>
                <a:latin typeface="ＭＳ Ｐゴシック"/>
                <a:ea typeface="ＭＳ Ｐゴシック"/>
              </a:rPr>
              <a:t>（出典）国土交通省「二地域居住に関するアンケート」（インターネット調査（令和</a:t>
            </a:r>
            <a:r>
              <a:rPr lang="en-US" altLang="ja-JP" sz="900" dirty="0">
                <a:solidFill>
                  <a:srgbClr val="000000"/>
                </a:solidFill>
                <a:latin typeface="ＭＳ Ｐゴシック"/>
                <a:ea typeface="ＭＳ Ｐゴシック"/>
              </a:rPr>
              <a:t>4</a:t>
            </a:r>
            <a:r>
              <a:rPr lang="ja-JP" altLang="en-US" sz="900" dirty="0">
                <a:solidFill>
                  <a:srgbClr val="000000"/>
                </a:solidFill>
                <a:latin typeface="ＭＳ Ｐゴシック"/>
                <a:ea typeface="ＭＳ Ｐゴシック"/>
              </a:rPr>
              <a:t>年</a:t>
            </a:r>
            <a:r>
              <a:rPr lang="en-US" altLang="ja-JP" sz="900" dirty="0">
                <a:solidFill>
                  <a:srgbClr val="000000"/>
                </a:solidFill>
                <a:latin typeface="ＭＳ Ｐゴシック"/>
                <a:ea typeface="ＭＳ Ｐゴシック"/>
              </a:rPr>
              <a:t>8</a:t>
            </a:r>
            <a:r>
              <a:rPr lang="ja-JP" altLang="en-US" sz="900" dirty="0">
                <a:solidFill>
                  <a:srgbClr val="000000"/>
                </a:solidFill>
                <a:latin typeface="ＭＳ Ｐゴシック"/>
                <a:ea typeface="ＭＳ Ｐゴシック"/>
              </a:rPr>
              <a:t>月））</a:t>
            </a:r>
          </a:p>
        </p:txBody>
      </p:sp>
      <p:sp>
        <p:nvSpPr>
          <p:cNvPr id="15" name="テキスト ボックス 14">
            <a:extLst>
              <a:ext uri="{FF2B5EF4-FFF2-40B4-BE49-F238E27FC236}">
                <a16:creationId xmlns:a16="http://schemas.microsoft.com/office/drawing/2014/main" id="{14D5C629-8B7D-15EC-28B5-C49F7D06AC29}"/>
              </a:ext>
            </a:extLst>
          </p:cNvPr>
          <p:cNvSpPr txBox="1"/>
          <p:nvPr/>
        </p:nvSpPr>
        <p:spPr>
          <a:xfrm>
            <a:off x="4943815" y="6275560"/>
            <a:ext cx="4499279" cy="892409"/>
          </a:xfrm>
          <a:prstGeom prst="rect">
            <a:avLst/>
          </a:prstGeom>
          <a:noFill/>
        </p:spPr>
        <p:txBody>
          <a:bodyPr wrap="square">
            <a:spAutoFit/>
          </a:bodyPr>
          <a:lstStyle/>
          <a:p>
            <a:pPr defTabSz="914217">
              <a:defRPr/>
            </a:pPr>
            <a:r>
              <a:rPr lang="en-US" altLang="ja-JP" sz="900" dirty="0">
                <a:solidFill>
                  <a:srgbClr val="000000"/>
                </a:solidFill>
                <a:latin typeface="ＭＳ Ｐゴシック"/>
                <a:ea typeface="ＭＳ Ｐゴシック"/>
              </a:rPr>
              <a:t>※</a:t>
            </a:r>
            <a:r>
              <a:rPr lang="ja-JP" altLang="en-US" sz="900" dirty="0">
                <a:solidFill>
                  <a:srgbClr val="000000"/>
                </a:solidFill>
                <a:latin typeface="ＭＳ Ｐゴシック"/>
                <a:ea typeface="ＭＳ Ｐゴシック"/>
              </a:rPr>
              <a:t>本アンケートは、</a:t>
            </a:r>
            <a:r>
              <a:rPr lang="en-US" altLang="ja-JP" sz="900" dirty="0">
                <a:solidFill>
                  <a:srgbClr val="000000"/>
                </a:solidFill>
                <a:latin typeface="ＭＳ Ｐゴシック"/>
                <a:ea typeface="ＭＳ Ｐゴシック"/>
              </a:rPr>
              <a:t>18</a:t>
            </a:r>
            <a:r>
              <a:rPr lang="ja-JP" altLang="en-US" sz="900" dirty="0">
                <a:solidFill>
                  <a:srgbClr val="000000"/>
                </a:solidFill>
                <a:latin typeface="ＭＳ Ｐゴシック"/>
                <a:ea typeface="ＭＳ Ｐゴシック"/>
              </a:rPr>
              <a:t>歳以上の全世代に対して実施しており、全体の回答者は約</a:t>
            </a:r>
            <a:r>
              <a:rPr lang="en-US" altLang="ja-JP" sz="900" dirty="0">
                <a:solidFill>
                  <a:srgbClr val="000000"/>
                </a:solidFill>
                <a:latin typeface="ＭＳ Ｐゴシック"/>
                <a:ea typeface="ＭＳ Ｐゴシック"/>
              </a:rPr>
              <a:t>12</a:t>
            </a:r>
            <a:r>
              <a:rPr lang="ja-JP" altLang="en-US" sz="900" dirty="0">
                <a:solidFill>
                  <a:srgbClr val="000000"/>
                </a:solidFill>
                <a:latin typeface="ＭＳ Ｐゴシック"/>
                <a:ea typeface="ＭＳ Ｐゴシック"/>
              </a:rPr>
              <a:t>万人。</a:t>
            </a:r>
            <a:endParaRPr lang="en-US" altLang="ja-JP" sz="900" dirty="0">
              <a:solidFill>
                <a:srgbClr val="000000"/>
              </a:solidFill>
              <a:latin typeface="ＭＳ Ｐゴシック"/>
              <a:ea typeface="ＭＳ Ｐゴシック"/>
            </a:endParaRPr>
          </a:p>
          <a:p>
            <a:pPr defTabSz="914217">
              <a:defRPr/>
            </a:pPr>
            <a:r>
              <a:rPr lang="en-US" altLang="ja-JP" sz="900" b="1" u="sng" dirty="0">
                <a:solidFill>
                  <a:srgbClr val="000000"/>
                </a:solidFill>
                <a:latin typeface="ＭＳ Ｐゴシック"/>
                <a:ea typeface="ＭＳ Ｐゴシック"/>
              </a:rPr>
              <a:t>※</a:t>
            </a:r>
            <a:r>
              <a:rPr lang="ja-JP" altLang="en-US" sz="900" b="1" u="sng" dirty="0">
                <a:solidFill>
                  <a:srgbClr val="000000"/>
                </a:solidFill>
                <a:latin typeface="ＭＳ Ｐゴシック"/>
                <a:ea typeface="ＭＳ Ｐゴシック"/>
              </a:rPr>
              <a:t>「現在、二地域居住等を行っている地域はありますか」という質問に「ある」と答えた回答　　</a:t>
            </a:r>
            <a:endParaRPr lang="en-US" altLang="ja-JP" sz="900" b="1" u="sng" dirty="0">
              <a:solidFill>
                <a:srgbClr val="000000"/>
              </a:solidFill>
              <a:latin typeface="ＭＳ Ｐゴシック"/>
              <a:ea typeface="ＭＳ Ｐゴシック"/>
            </a:endParaRPr>
          </a:p>
          <a:p>
            <a:pPr defTabSz="914217">
              <a:defRPr/>
            </a:pPr>
            <a:r>
              <a:rPr lang="ja-JP" altLang="en-US" sz="900" b="1" dirty="0">
                <a:solidFill>
                  <a:srgbClr val="000000"/>
                </a:solidFill>
                <a:latin typeface="ＭＳ Ｐゴシック"/>
                <a:ea typeface="ＭＳ Ｐゴシック"/>
              </a:rPr>
              <a:t>　</a:t>
            </a:r>
            <a:r>
              <a:rPr lang="ja-JP" altLang="en-US" sz="900" b="1" u="sng" dirty="0">
                <a:solidFill>
                  <a:srgbClr val="000000"/>
                </a:solidFill>
                <a:latin typeface="ＭＳ Ｐゴシック"/>
                <a:ea typeface="ＭＳ Ｐゴシック"/>
              </a:rPr>
              <a:t>者は全体の</a:t>
            </a:r>
            <a:r>
              <a:rPr lang="en-US" altLang="ja-JP" sz="900" b="1" u="sng" dirty="0">
                <a:solidFill>
                  <a:srgbClr val="000000"/>
                </a:solidFill>
                <a:latin typeface="ＭＳ Ｐゴシック"/>
                <a:ea typeface="ＭＳ Ｐゴシック"/>
              </a:rPr>
              <a:t>6.7%</a:t>
            </a:r>
            <a:r>
              <a:rPr lang="ja-JP" altLang="en-US" sz="900" b="1" u="sng" dirty="0">
                <a:solidFill>
                  <a:srgbClr val="000000"/>
                </a:solidFill>
                <a:latin typeface="ＭＳ Ｐゴシック"/>
                <a:ea typeface="ＭＳ Ｐゴシック"/>
              </a:rPr>
              <a:t>。</a:t>
            </a:r>
          </a:p>
          <a:p>
            <a:pPr marL="92057" indent="-92057" defTabSz="914217">
              <a:defRPr/>
            </a:pPr>
            <a:r>
              <a:rPr lang="en-US" altLang="ja-JP" sz="900" dirty="0">
                <a:solidFill>
                  <a:srgbClr val="000000"/>
                </a:solidFill>
                <a:latin typeface="ＭＳ Ｐゴシック"/>
                <a:ea typeface="ＭＳ Ｐゴシック"/>
              </a:rPr>
              <a:t>※</a:t>
            </a:r>
            <a:r>
              <a:rPr lang="ja-JP" altLang="en-US" sz="900" dirty="0">
                <a:solidFill>
                  <a:srgbClr val="000000"/>
                </a:solidFill>
                <a:latin typeface="ＭＳ Ｐゴシック"/>
                <a:ea typeface="ＭＳ Ｐゴシック"/>
              </a:rPr>
              <a:t>上記のグラフは、この質問に「ない」と答えた回答者に対する「二地域居住等を行いたいと思いますか」という質問への回答の分布を表している。</a:t>
            </a:r>
          </a:p>
          <a:p>
            <a:pPr defTabSz="914217">
              <a:defRPr/>
            </a:pPr>
            <a:endParaRPr lang="ja-JP" altLang="en-US" sz="700" dirty="0">
              <a:solidFill>
                <a:srgbClr val="000000"/>
              </a:solidFill>
              <a:latin typeface="ＭＳ Ｐゴシック"/>
              <a:ea typeface="ＭＳ Ｐゴシック"/>
            </a:endParaRPr>
          </a:p>
        </p:txBody>
      </p:sp>
      <p:pic>
        <p:nvPicPr>
          <p:cNvPr id="2" name="図 1">
            <a:extLst>
              <a:ext uri="{FF2B5EF4-FFF2-40B4-BE49-F238E27FC236}">
                <a16:creationId xmlns:a16="http://schemas.microsoft.com/office/drawing/2014/main" id="{F7798D8C-D221-FCAD-1DD3-924974B8CFAF}"/>
              </a:ext>
            </a:extLst>
          </p:cNvPr>
          <p:cNvPicPr>
            <a:picLocks noChangeAspect="1"/>
          </p:cNvPicPr>
          <p:nvPr/>
        </p:nvPicPr>
        <p:blipFill rotWithShape="1">
          <a:blip r:embed="rId3"/>
          <a:srcRect l="2236" t="5127" r="-1" b="15989"/>
          <a:stretch/>
        </p:blipFill>
        <p:spPr>
          <a:xfrm>
            <a:off x="5019354" y="2733541"/>
            <a:ext cx="4468631" cy="3326154"/>
          </a:xfrm>
          <a:prstGeom prst="rect">
            <a:avLst/>
          </a:prstGeom>
        </p:spPr>
      </p:pic>
      <p:sp>
        <p:nvSpPr>
          <p:cNvPr id="59" name="テキスト ボックス 9">
            <a:extLst>
              <a:ext uri="{FF2B5EF4-FFF2-40B4-BE49-F238E27FC236}">
                <a16:creationId xmlns:a16="http://schemas.microsoft.com/office/drawing/2014/main" id="{85FCDBB3-8BAC-7E6C-1045-CD670D6A32E1}"/>
              </a:ext>
            </a:extLst>
          </p:cNvPr>
          <p:cNvSpPr txBox="1"/>
          <p:nvPr/>
        </p:nvSpPr>
        <p:spPr>
          <a:xfrm>
            <a:off x="388413" y="3959422"/>
            <a:ext cx="4488841" cy="415431"/>
          </a:xfrm>
          <a:prstGeom prst="rect">
            <a:avLst/>
          </a:prstGeom>
          <a:noFill/>
        </p:spPr>
        <p:txBody>
          <a:bodyPr wrap="square" rtlCol="0">
            <a:spAutoFit/>
          </a:bodyPr>
          <a:lstStyle/>
          <a:p>
            <a:pPr marL="206000" indent="-206000" defTabSz="602807">
              <a:defRPr/>
            </a:pPr>
            <a:r>
              <a:rPr lang="ja-JP" altLang="en-US" sz="700" dirty="0">
                <a:solidFill>
                  <a:srgbClr val="000000"/>
                </a:solidFill>
              </a:rPr>
              <a:t>（出典）内閣府「第６回 新型コロナウイルス感染症の影響下における生活意識・行動の変化に関する調査」</a:t>
            </a:r>
            <a:endParaRPr lang="en-US" altLang="ja-JP" sz="700" dirty="0">
              <a:solidFill>
                <a:srgbClr val="000000"/>
              </a:solidFill>
            </a:endParaRPr>
          </a:p>
          <a:p>
            <a:pPr marL="206000" indent="-206000" defTabSz="602807">
              <a:defRPr/>
            </a:pPr>
            <a:r>
              <a:rPr lang="en-US" altLang="ja-JP" sz="700" dirty="0">
                <a:solidFill>
                  <a:srgbClr val="000000"/>
                </a:solidFill>
              </a:rPr>
              <a:t>         </a:t>
            </a:r>
            <a:r>
              <a:rPr lang="ja-JP" altLang="en-US" sz="700" dirty="0">
                <a:solidFill>
                  <a:srgbClr val="000000"/>
                </a:solidFill>
              </a:rPr>
              <a:t>（令和５年４月）</a:t>
            </a:r>
            <a:endParaRPr lang="en-US" altLang="ja-JP" sz="700" dirty="0">
              <a:solidFill>
                <a:srgbClr val="000000"/>
              </a:solidFill>
            </a:endParaRPr>
          </a:p>
          <a:p>
            <a:pPr marL="206000" indent="-206000" defTabSz="602807">
              <a:defRPr/>
            </a:pPr>
            <a:r>
              <a:rPr lang="en-US" altLang="ja-JP" sz="700" dirty="0">
                <a:solidFill>
                  <a:srgbClr val="000000"/>
                </a:solidFill>
                <a:latin typeface="ＭＳ ゴシック" panose="020B0609070205080204" pitchFamily="49" charset="-128"/>
                <a:ea typeface="ＭＳ ゴシック" panose="020B0609070205080204" pitchFamily="49" charset="-128"/>
              </a:rPr>
              <a:t>(</a:t>
            </a:r>
            <a:r>
              <a:rPr lang="ja-JP" altLang="en-US" sz="700" dirty="0">
                <a:solidFill>
                  <a:srgbClr val="000000"/>
                </a:solidFill>
                <a:latin typeface="ＭＳ ゴシック" panose="020B0609070205080204" pitchFamily="49" charset="-128"/>
                <a:ea typeface="ＭＳ ゴシック" panose="020B0609070205080204" pitchFamily="49" charset="-128"/>
              </a:rPr>
              <a:t>備考</a:t>
            </a:r>
            <a:r>
              <a:rPr lang="en-US" altLang="ja-JP" sz="700" dirty="0">
                <a:solidFill>
                  <a:srgbClr val="000000"/>
                </a:solidFill>
                <a:latin typeface="ＭＳ ゴシック" panose="020B0609070205080204" pitchFamily="49" charset="-128"/>
                <a:ea typeface="ＭＳ ゴシック" panose="020B0609070205080204" pitchFamily="49" charset="-128"/>
              </a:rPr>
              <a:t>)</a:t>
            </a:r>
            <a:r>
              <a:rPr lang="ja-JP" altLang="en-US" sz="700" dirty="0">
                <a:solidFill>
                  <a:srgbClr val="000000"/>
                </a:solidFill>
                <a:latin typeface="ＭＳ ゴシック" panose="020B0609070205080204" pitchFamily="49" charset="-128"/>
                <a:ea typeface="ＭＳ ゴシック" panose="020B0609070205080204" pitchFamily="49" charset="-128"/>
              </a:rPr>
              <a:t>東京圏：東京都、埼玉県、千葉県、神奈川県。</a:t>
            </a:r>
            <a:endParaRPr lang="en-US" altLang="ja-JP" sz="700" dirty="0">
              <a:solidFill>
                <a:srgbClr val="FF0000"/>
              </a:solidFill>
            </a:endParaRPr>
          </a:p>
        </p:txBody>
      </p:sp>
      <p:pic>
        <p:nvPicPr>
          <p:cNvPr id="72" name="図 71">
            <a:extLst>
              <a:ext uri="{FF2B5EF4-FFF2-40B4-BE49-F238E27FC236}">
                <a16:creationId xmlns:a16="http://schemas.microsoft.com/office/drawing/2014/main" id="{D47B22CA-EAB5-45D8-C8D1-4F9DA5B4BE52}"/>
              </a:ext>
            </a:extLst>
          </p:cNvPr>
          <p:cNvPicPr>
            <a:picLocks noChangeAspect="1"/>
          </p:cNvPicPr>
          <p:nvPr/>
        </p:nvPicPr>
        <p:blipFill rotWithShape="1">
          <a:blip r:embed="rId4"/>
          <a:srcRect l="-806" r="806"/>
          <a:stretch/>
        </p:blipFill>
        <p:spPr>
          <a:xfrm>
            <a:off x="380939" y="2675861"/>
            <a:ext cx="4463285" cy="1247423"/>
          </a:xfrm>
          <a:prstGeom prst="rect">
            <a:avLst/>
          </a:prstGeom>
        </p:spPr>
      </p:pic>
      <p:sp>
        <p:nvSpPr>
          <p:cNvPr id="73" name="正方形/長方形 72">
            <a:extLst>
              <a:ext uri="{FF2B5EF4-FFF2-40B4-BE49-F238E27FC236}">
                <a16:creationId xmlns:a16="http://schemas.microsoft.com/office/drawing/2014/main" id="{AA2BD2D8-6042-9819-BE8C-609FBF7379EE}"/>
              </a:ext>
            </a:extLst>
          </p:cNvPr>
          <p:cNvSpPr/>
          <p:nvPr/>
        </p:nvSpPr>
        <p:spPr>
          <a:xfrm>
            <a:off x="4955895" y="2320553"/>
            <a:ext cx="2951527" cy="283312"/>
          </a:xfrm>
          <a:prstGeom prst="rect">
            <a:avLst/>
          </a:prstGeom>
          <a:solidFill>
            <a:srgbClr val="008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defRPr/>
            </a:pPr>
            <a:r>
              <a:rPr lang="ja-JP" altLang="en-US" sz="1550" b="1" dirty="0">
                <a:solidFill>
                  <a:srgbClr val="FFFFFF"/>
                </a:solidFill>
                <a:latin typeface="メイリオ" panose="020B0604030504040204" pitchFamily="50" charset="-128"/>
                <a:ea typeface="メイリオ" panose="020B0604030504040204" pitchFamily="50" charset="-128"/>
              </a:rPr>
              <a:t>二地域居住等への関心</a:t>
            </a:r>
          </a:p>
        </p:txBody>
      </p:sp>
      <p:sp>
        <p:nvSpPr>
          <p:cNvPr id="3" name="正方形/長方形 2">
            <a:extLst>
              <a:ext uri="{FF2B5EF4-FFF2-40B4-BE49-F238E27FC236}">
                <a16:creationId xmlns:a16="http://schemas.microsoft.com/office/drawing/2014/main" id="{B53A971C-B8E4-D298-E742-B703F7B6EB82}"/>
              </a:ext>
            </a:extLst>
          </p:cNvPr>
          <p:cNvSpPr/>
          <p:nvPr/>
        </p:nvSpPr>
        <p:spPr>
          <a:xfrm>
            <a:off x="402432" y="4387735"/>
            <a:ext cx="2987055" cy="298188"/>
          </a:xfrm>
          <a:prstGeom prst="rect">
            <a:avLst/>
          </a:prstGeom>
          <a:solidFill>
            <a:srgbClr val="008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217">
              <a:defRPr/>
            </a:pPr>
            <a:r>
              <a:rPr lang="ja-JP" altLang="en-US" sz="1550" b="1" dirty="0">
                <a:solidFill>
                  <a:srgbClr val="FFFFFF"/>
                </a:solidFill>
                <a:latin typeface="メイリオ" panose="020B0604030504040204" pitchFamily="50" charset="-128"/>
                <a:ea typeface="メイリオ" panose="020B0604030504040204" pitchFamily="50" charset="-128"/>
              </a:rPr>
              <a:t>地方移住に当たっての懸念</a:t>
            </a:r>
          </a:p>
        </p:txBody>
      </p:sp>
      <p:sp>
        <p:nvSpPr>
          <p:cNvPr id="12" name="正方形/長方形 11">
            <a:extLst>
              <a:ext uri="{FF2B5EF4-FFF2-40B4-BE49-F238E27FC236}">
                <a16:creationId xmlns:a16="http://schemas.microsoft.com/office/drawing/2014/main" id="{AC465E29-74A4-1F78-EB15-783AB62D2BA8}"/>
              </a:ext>
            </a:extLst>
          </p:cNvPr>
          <p:cNvSpPr/>
          <p:nvPr/>
        </p:nvSpPr>
        <p:spPr>
          <a:xfrm>
            <a:off x="402432" y="6633301"/>
            <a:ext cx="4369040" cy="415431"/>
          </a:xfrm>
          <a:prstGeom prst="rect">
            <a:avLst/>
          </a:prstGeom>
        </p:spPr>
        <p:txBody>
          <a:bodyPr wrap="square">
            <a:spAutoFit/>
          </a:bodyPr>
          <a:lstStyle/>
          <a:p>
            <a:pPr defTabSz="914217">
              <a:defRPr/>
            </a:pPr>
            <a:r>
              <a:rPr lang="ja-JP" altLang="en-US" sz="700" dirty="0">
                <a:solidFill>
                  <a:srgbClr val="000000"/>
                </a:solidFill>
                <a:latin typeface="ＭＳ Ｐゴシック"/>
                <a:ea typeface="ＭＳ Ｐゴシック"/>
              </a:rPr>
              <a:t>（出典）内閣府「第６回 新型コロナウイルス感染症の影響下における 生活意識・行動の変化に関する調査」</a:t>
            </a:r>
            <a:endParaRPr lang="en-US" altLang="ja-JP" sz="700" dirty="0">
              <a:solidFill>
                <a:srgbClr val="000000"/>
              </a:solidFill>
              <a:latin typeface="ＭＳ Ｐゴシック"/>
              <a:ea typeface="ＭＳ Ｐゴシック"/>
            </a:endParaRPr>
          </a:p>
          <a:p>
            <a:pPr defTabSz="914217">
              <a:defRPr/>
            </a:pPr>
            <a:r>
              <a:rPr lang="ja-JP" altLang="en-US" sz="700" dirty="0">
                <a:solidFill>
                  <a:srgbClr val="000000"/>
                </a:solidFill>
                <a:latin typeface="ＭＳ Ｐゴシック"/>
                <a:ea typeface="ＭＳ Ｐゴシック"/>
              </a:rPr>
              <a:t>　　　　　（令和５年４月）</a:t>
            </a:r>
            <a:endParaRPr lang="en-US" altLang="ja-JP" sz="700" dirty="0">
              <a:solidFill>
                <a:srgbClr val="000000"/>
              </a:solidFill>
              <a:latin typeface="ＭＳ Ｐゴシック"/>
              <a:ea typeface="ＭＳ Ｐゴシック"/>
            </a:endParaRPr>
          </a:p>
          <a:p>
            <a:pPr defTabSz="914217">
              <a:defRPr/>
            </a:pPr>
            <a:r>
              <a:rPr lang="ja-JP" altLang="en-US" sz="700" dirty="0">
                <a:solidFill>
                  <a:srgbClr val="000000"/>
                </a:solidFill>
                <a:latin typeface="ＭＳ Ｐゴシック"/>
                <a:ea typeface="ＭＳ Ｐゴシック"/>
              </a:rPr>
              <a:t>（備考）</a:t>
            </a:r>
            <a:r>
              <a:rPr lang="ja-JP" altLang="en-US" sz="700" dirty="0">
                <a:solidFill>
                  <a:srgbClr val="000000"/>
                </a:solidFill>
              </a:rPr>
              <a:t>東京圏在住で地方移住に関心がある人</a:t>
            </a:r>
            <a:endParaRPr lang="en-US" altLang="ja-JP" sz="700" dirty="0">
              <a:solidFill>
                <a:srgbClr val="000000"/>
              </a:solidFill>
              <a:latin typeface="ＭＳ Ｐゴシック"/>
              <a:ea typeface="ＭＳ Ｐゴシック"/>
            </a:endParaRPr>
          </a:p>
        </p:txBody>
      </p:sp>
      <p:pic>
        <p:nvPicPr>
          <p:cNvPr id="1026" name="Picture 2">
            <a:extLst>
              <a:ext uri="{FF2B5EF4-FFF2-40B4-BE49-F238E27FC236}">
                <a16:creationId xmlns:a16="http://schemas.microsoft.com/office/drawing/2014/main" id="{58929FA2-10FE-47C2-098D-D5783BB31781}"/>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24303" y="4731817"/>
            <a:ext cx="4419920" cy="1901486"/>
          </a:xfrm>
          <a:prstGeom prst="rect">
            <a:avLst/>
          </a:prstGeom>
          <a:noFill/>
          <a:extLst>
            <a:ext uri="{909E8E84-426E-40DD-AFC4-6F175D3DCCD1}">
              <a14:hiddenFill xmlns:a14="http://schemas.microsoft.com/office/drawing/2010/main">
                <a:solidFill>
                  <a:srgbClr val="FFFFFF"/>
                </a:solidFill>
              </a14:hiddenFill>
            </a:ext>
          </a:extLst>
        </p:spPr>
      </p:pic>
      <p:sp>
        <p:nvSpPr>
          <p:cNvPr id="11" name="テキスト ボックス 10">
            <a:extLst>
              <a:ext uri="{FF2B5EF4-FFF2-40B4-BE49-F238E27FC236}">
                <a16:creationId xmlns:a16="http://schemas.microsoft.com/office/drawing/2014/main" id="{B1242C80-56B0-6C92-F5CF-DA829937A0DE}"/>
              </a:ext>
            </a:extLst>
          </p:cNvPr>
          <p:cNvSpPr txBox="1"/>
          <p:nvPr/>
        </p:nvSpPr>
        <p:spPr>
          <a:xfrm>
            <a:off x="4088250" y="6203688"/>
            <a:ext cx="770757" cy="200023"/>
          </a:xfrm>
          <a:prstGeom prst="rect">
            <a:avLst/>
          </a:prstGeom>
          <a:noFill/>
        </p:spPr>
        <p:txBody>
          <a:bodyPr wrap="square">
            <a:spAutoFit/>
          </a:bodyPr>
          <a:lstStyle/>
          <a:p>
            <a:pPr defTabSz="914217">
              <a:defRPr/>
            </a:pPr>
            <a:r>
              <a:rPr lang="en-US" altLang="ja-JP" sz="700" dirty="0">
                <a:solidFill>
                  <a:srgbClr val="000000"/>
                </a:solidFill>
                <a:latin typeface="ＭＳ Ｐゴシック"/>
                <a:ea typeface="ＭＳ Ｐゴシック"/>
              </a:rPr>
              <a:t>※</a:t>
            </a:r>
            <a:r>
              <a:rPr lang="ja-JP" altLang="en-US" sz="700" dirty="0">
                <a:solidFill>
                  <a:srgbClr val="000000"/>
                </a:solidFill>
                <a:latin typeface="ＭＳ Ｐゴシック"/>
                <a:ea typeface="ＭＳ Ｐゴシック"/>
              </a:rPr>
              <a:t>令和５年３月</a:t>
            </a:r>
          </a:p>
        </p:txBody>
      </p:sp>
      <p:sp>
        <p:nvSpPr>
          <p:cNvPr id="9" name="スライド番号プレースホルダー 2">
            <a:extLst>
              <a:ext uri="{FF2B5EF4-FFF2-40B4-BE49-F238E27FC236}">
                <a16:creationId xmlns:a16="http://schemas.microsoft.com/office/drawing/2014/main" id="{0606ED01-5D32-F5E8-44FB-D307A6D492BC}"/>
              </a:ext>
            </a:extLst>
          </p:cNvPr>
          <p:cNvSpPr>
            <a:spLocks noGrp="1"/>
          </p:cNvSpPr>
          <p:nvPr>
            <p:ph type="sldNum" sz="quarter" idx="12"/>
          </p:nvPr>
        </p:nvSpPr>
        <p:spPr>
          <a:xfrm>
            <a:off x="7593383" y="7257989"/>
            <a:ext cx="2311030" cy="538868"/>
          </a:xfrm>
        </p:spPr>
        <p:txBody>
          <a:bodyPr/>
          <a:lstStyle/>
          <a:p>
            <a:pPr>
              <a:defRPr/>
            </a:pPr>
            <a:fld id="{06FFE511-5094-4685-A035-FB392A6605D8}" type="slidenum">
              <a:rPr lang="en-US" altLang="ja-JP" smtClean="0"/>
              <a:pPr>
                <a:defRPr/>
              </a:pPr>
              <a:t>40</a:t>
            </a:fld>
            <a:endParaRPr lang="en-US" altLang="ja-JP" dirty="0"/>
          </a:p>
        </p:txBody>
      </p:sp>
    </p:spTree>
    <p:extLst>
      <p:ext uri="{BB962C8B-B14F-4D97-AF65-F5344CB8AC3E}">
        <p14:creationId xmlns:p14="http://schemas.microsoft.com/office/powerpoint/2010/main" val="20622830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55662" y="135434"/>
            <a:ext cx="8243086" cy="476174"/>
          </a:xfrm>
        </p:spPr>
        <p:txBody>
          <a:bodyPr/>
          <a:lstStyle/>
          <a:p>
            <a:r>
              <a:rPr lang="ja-JP" altLang="en-US" sz="2400" dirty="0"/>
              <a:t>国土形成計画における移住・二地域居住等に関する記載</a:t>
            </a:r>
          </a:p>
        </p:txBody>
      </p:sp>
      <p:sp>
        <p:nvSpPr>
          <p:cNvPr id="13" name="コンテンツ プレースホルダー 2"/>
          <p:cNvSpPr>
            <a:spLocks noGrp="1"/>
          </p:cNvSpPr>
          <p:nvPr>
            <p:ph idx="1"/>
          </p:nvPr>
        </p:nvSpPr>
        <p:spPr>
          <a:xfrm>
            <a:off x="560423" y="1172864"/>
            <a:ext cx="8783567" cy="6162320"/>
          </a:xfrm>
        </p:spPr>
        <p:txBody>
          <a:bodyPr/>
          <a:lstStyle/>
          <a:p>
            <a:pPr marL="0" indent="0">
              <a:buNone/>
            </a:pPr>
            <a:r>
              <a:rPr lang="ja-JP" altLang="en-US" sz="1600" b="1" dirty="0">
                <a:latin typeface="Meiryo UI" panose="020B0604030504040204" pitchFamily="50" charset="-128"/>
                <a:ea typeface="Meiryo UI" panose="020B0604030504040204" pitchFamily="50" charset="-128"/>
              </a:rPr>
              <a:t>第２章 目指す国土の姿</a:t>
            </a:r>
            <a:endParaRPr lang="en-US" altLang="ja-JP" sz="1600" b="1" dirty="0">
              <a:latin typeface="Meiryo UI" panose="020B0604030504040204" pitchFamily="50" charset="-128"/>
              <a:ea typeface="Meiryo UI" panose="020B0604030504040204" pitchFamily="50" charset="-128"/>
            </a:endParaRPr>
          </a:p>
          <a:p>
            <a:pPr marL="0" indent="0">
              <a:buNone/>
            </a:pPr>
            <a:r>
              <a:rPr lang="ja-JP" altLang="en-US" sz="1600" b="1" dirty="0">
                <a:latin typeface="Meiryo UI" panose="020B0604030504040204" pitchFamily="50" charset="-128"/>
                <a:ea typeface="Meiryo UI" panose="020B0604030504040204" pitchFamily="50" charset="-128"/>
              </a:rPr>
              <a:t>第１節 国土づくりの目標</a:t>
            </a:r>
          </a:p>
          <a:p>
            <a:pPr marL="0" indent="0">
              <a:buNone/>
            </a:pPr>
            <a:r>
              <a:rPr lang="ja-JP" altLang="en-US" sz="1600" b="1" dirty="0">
                <a:latin typeface="Meiryo UI" panose="020B0604030504040204" pitchFamily="50" charset="-128"/>
                <a:ea typeface="Meiryo UI" panose="020B0604030504040204" pitchFamily="50" charset="-128"/>
              </a:rPr>
              <a:t>１．新時代に地域力をつなぐ国土 ～列島を支える新たな地域マネジメントの構築～</a:t>
            </a:r>
            <a:endParaRPr lang="en-US" altLang="ja-JP" sz="1600" b="1" dirty="0">
              <a:latin typeface="Meiryo UI" panose="020B0604030504040204" pitchFamily="50" charset="-128"/>
              <a:ea typeface="Meiryo UI" panose="020B0604030504040204" pitchFamily="50" charset="-128"/>
            </a:endParaRPr>
          </a:p>
          <a:p>
            <a:pPr marL="0" indent="0">
              <a:buNone/>
            </a:pPr>
            <a:r>
              <a:rPr lang="ja-JP" altLang="en-US" sz="1600" dirty="0">
                <a:latin typeface="Meiryo UI" panose="020B0604030504040204" pitchFamily="50" charset="-128"/>
                <a:ea typeface="Meiryo UI" panose="020B0604030504040204" pitchFamily="50" charset="-128"/>
              </a:rPr>
              <a:t>　国土全体にわたって新時代を拓く地域力を結集し、未来へとつなぐ、「新時代に地域力をつなぐ国土」の形成を通じて、地方に活力を取り戻し、安全・安心で、個性豊かな地域を全国に広げ、未来を担う若者世代を含めて人々を惹きつける地方の魅力を高めて、地方への人の流れを創出・拡大することにより、地方の人口減少・流出の流れを変え、国土の多様性（ダイバーシティ）、包摂性（インクルージョン）、持続性（サステナビリティ）、強靱性（レジリエンス）の向上につなげ、未来に希望を持てる国土へと刷新する。</a:t>
            </a:r>
            <a:endParaRPr lang="en-US" altLang="ja-JP" sz="1600" dirty="0">
              <a:latin typeface="Meiryo UI" panose="020B0604030504040204" pitchFamily="50" charset="-128"/>
              <a:ea typeface="Meiryo UI" panose="020B0604030504040204" pitchFamily="50" charset="-128"/>
            </a:endParaRPr>
          </a:p>
          <a:p>
            <a:pPr marL="0" indent="0">
              <a:buNone/>
            </a:pPr>
            <a:endParaRPr lang="en-US" altLang="ja-JP" sz="1600" dirty="0">
              <a:latin typeface="Meiryo UI" panose="020B0604030504040204" pitchFamily="50" charset="-128"/>
              <a:ea typeface="Meiryo UI" panose="020B0604030504040204" pitchFamily="50" charset="-128"/>
            </a:endParaRPr>
          </a:p>
          <a:p>
            <a:pPr marL="0" indent="0">
              <a:buNone/>
            </a:pPr>
            <a:endParaRPr lang="en-US" altLang="ja-JP" sz="1600" dirty="0">
              <a:latin typeface="Meiryo UI" panose="020B0604030504040204" pitchFamily="50" charset="-128"/>
              <a:ea typeface="Meiryo UI" panose="020B0604030504040204" pitchFamily="50" charset="-128"/>
            </a:endParaRPr>
          </a:p>
          <a:p>
            <a:pPr marL="0" indent="0">
              <a:buNone/>
            </a:pPr>
            <a:r>
              <a:rPr lang="ja-JP" altLang="en-US" sz="1600" b="1" dirty="0">
                <a:latin typeface="Meiryo UI" panose="020B0604030504040204" pitchFamily="50" charset="-128"/>
                <a:ea typeface="Meiryo UI" panose="020B0604030504040204" pitchFamily="50" charset="-128"/>
              </a:rPr>
              <a:t>第２節 国土構造の基本構想</a:t>
            </a:r>
            <a:endParaRPr lang="en-US" altLang="ja-JP" sz="1600" b="1" dirty="0">
              <a:latin typeface="Meiryo UI" panose="020B0604030504040204" pitchFamily="50" charset="-128"/>
              <a:ea typeface="Meiryo UI" panose="020B0604030504040204" pitchFamily="50" charset="-128"/>
            </a:endParaRPr>
          </a:p>
          <a:p>
            <a:pPr marL="0" indent="0">
              <a:buNone/>
            </a:pPr>
            <a:r>
              <a:rPr lang="ja-JP" altLang="en-US" sz="1600" b="1" dirty="0">
                <a:latin typeface="Meiryo UI" panose="020B0604030504040204" pitchFamily="50" charset="-128"/>
                <a:ea typeface="Meiryo UI" panose="020B0604030504040204" pitchFamily="50" charset="-128"/>
              </a:rPr>
              <a:t>５．東京一極集中の是正／（東京一極集中の是正に向けた方向性）</a:t>
            </a:r>
          </a:p>
          <a:p>
            <a:pPr marL="0" indent="0">
              <a:buNone/>
            </a:pPr>
            <a:r>
              <a:rPr lang="ja-JP" altLang="en-US" sz="1600" b="1" dirty="0">
                <a:latin typeface="Meiryo UI" panose="020B0604030504040204" pitchFamily="50" charset="-128"/>
                <a:ea typeface="Meiryo UI" panose="020B0604030504040204" pitchFamily="50" charset="-128"/>
              </a:rPr>
              <a:t>①地方への人の流れの創出・拡大、新たな地方・田園回帰の定着</a:t>
            </a:r>
          </a:p>
          <a:p>
            <a:pPr marL="0" indent="0">
              <a:buNone/>
            </a:pPr>
            <a:r>
              <a:rPr lang="ja-JP" altLang="en-US" sz="1600" dirty="0">
                <a:latin typeface="Meiryo UI" panose="020B0604030504040204" pitchFamily="50" charset="-128"/>
                <a:ea typeface="Meiryo UI" panose="020B0604030504040204" pitchFamily="50" charset="-128"/>
              </a:rPr>
              <a:t>　地方創生テレワークや副業・兼業による転職なき移住など、場所に縛られない暮らし方・働き方による地方への人の流れの創出・拡大を図る。</a:t>
            </a:r>
          </a:p>
          <a:p>
            <a:pPr marL="0" indent="0">
              <a:buNone/>
            </a:pPr>
            <a:r>
              <a:rPr lang="ja-JP" altLang="en-US" sz="1600" dirty="0">
                <a:latin typeface="Meiryo UI" panose="020B0604030504040204" pitchFamily="50" charset="-128"/>
                <a:ea typeface="Meiryo UI" panose="020B0604030504040204" pitchFamily="50" charset="-128"/>
              </a:rPr>
              <a:t>　これらの取組によって、地方において、若者世代、特に女性が働きたいと思えるような、稼げる仕事、やりたいと思える仕事の創出を図る。加えて、若者世代を始めとした地方移住や二地域居住等のニーズの高まりを踏まえ、こうしたニーズに応じた積極的な採用を行う企業の採用活動を支援するとともに、若者世代や女性に開かれた魅力的な地域づくりを推進する。</a:t>
            </a:r>
            <a:endParaRPr lang="en-US" altLang="ja-JP" sz="1600" dirty="0">
              <a:latin typeface="Meiryo UI" panose="020B0604030504040204" pitchFamily="50" charset="-128"/>
              <a:ea typeface="Meiryo UI" panose="020B0604030504040204" pitchFamily="50" charset="-128"/>
            </a:endParaRPr>
          </a:p>
        </p:txBody>
      </p:sp>
      <p:cxnSp>
        <p:nvCxnSpPr>
          <p:cNvPr id="4" name="直線コネクタ 3"/>
          <p:cNvCxnSpPr/>
          <p:nvPr/>
        </p:nvCxnSpPr>
        <p:spPr>
          <a:xfrm>
            <a:off x="1352383" y="2799407"/>
            <a:ext cx="575971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 name="直線コネクタ 6"/>
          <p:cNvCxnSpPr>
            <a:cxnSpLocks/>
          </p:cNvCxnSpPr>
          <p:nvPr/>
        </p:nvCxnSpPr>
        <p:spPr>
          <a:xfrm>
            <a:off x="776411" y="5058133"/>
            <a:ext cx="842358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a:cxnSpLocks/>
          </p:cNvCxnSpPr>
          <p:nvPr/>
        </p:nvCxnSpPr>
        <p:spPr>
          <a:xfrm>
            <a:off x="632418" y="5319283"/>
            <a:ext cx="2159894"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コンテンツ プレースホルダー 2"/>
          <p:cNvSpPr txBox="1">
            <a:spLocks/>
          </p:cNvSpPr>
          <p:nvPr/>
        </p:nvSpPr>
        <p:spPr>
          <a:xfrm>
            <a:off x="5960156" y="783506"/>
            <a:ext cx="3563317" cy="247574"/>
          </a:xfrm>
          <a:prstGeom prst="rect">
            <a:avLst/>
          </a:prstGeom>
          <a:noFill/>
          <a:ln>
            <a:noFill/>
          </a:ln>
        </p:spPr>
        <p:txBody>
          <a:bodyPr vert="horz" wrap="square" lIns="91425" tIns="45713" rIns="91425" bIns="45713" numCol="1" anchor="t" anchorCtr="0" compatLnSpc="1">
            <a:prstTxWarp prst="textNoShape">
              <a:avLst/>
            </a:prstTxWarp>
          </a:bodyPr>
          <a:lstStyle>
            <a:lvl1pPr marL="316531" indent="-316531" algn="l" rtl="0" eaLnBrk="1" fontAlgn="base" hangingPunct="1">
              <a:spcBef>
                <a:spcPct val="20000"/>
              </a:spcBef>
              <a:spcAft>
                <a:spcPct val="0"/>
              </a:spcAft>
              <a:buChar char="•"/>
              <a:defRPr kumimoji="1" sz="2954">
                <a:solidFill>
                  <a:schemeClr val="tx1"/>
                </a:solidFill>
                <a:latin typeface="+mn-lt"/>
                <a:ea typeface="+mn-ea"/>
                <a:cs typeface="+mn-cs"/>
              </a:defRPr>
            </a:lvl1pPr>
            <a:lvl2pPr marL="685817" indent="-263776" algn="l" rtl="0" eaLnBrk="1" fontAlgn="base" hangingPunct="1">
              <a:spcBef>
                <a:spcPct val="20000"/>
              </a:spcBef>
              <a:spcAft>
                <a:spcPct val="0"/>
              </a:spcAft>
              <a:buChar char="–"/>
              <a:defRPr kumimoji="1" sz="2585">
                <a:solidFill>
                  <a:schemeClr val="tx1"/>
                </a:solidFill>
                <a:latin typeface="+mn-lt"/>
                <a:ea typeface="+mn-ea"/>
              </a:defRPr>
            </a:lvl2pPr>
            <a:lvl3pPr marL="1055103" indent="-211021" algn="l" rtl="0" eaLnBrk="1" fontAlgn="base" hangingPunct="1">
              <a:spcBef>
                <a:spcPct val="20000"/>
              </a:spcBef>
              <a:spcAft>
                <a:spcPct val="0"/>
              </a:spcAft>
              <a:buChar char="•"/>
              <a:defRPr kumimoji="1" sz="2215">
                <a:solidFill>
                  <a:schemeClr val="tx1"/>
                </a:solidFill>
                <a:latin typeface="+mn-lt"/>
                <a:ea typeface="+mn-ea"/>
              </a:defRPr>
            </a:lvl3pPr>
            <a:lvl4pPr marL="1477145" indent="-211021" algn="l" rtl="0" eaLnBrk="1" fontAlgn="base" hangingPunct="1">
              <a:spcBef>
                <a:spcPct val="20000"/>
              </a:spcBef>
              <a:spcAft>
                <a:spcPct val="0"/>
              </a:spcAft>
              <a:buChar char="–"/>
              <a:defRPr kumimoji="1" sz="1846">
                <a:solidFill>
                  <a:schemeClr val="tx1"/>
                </a:solidFill>
                <a:latin typeface="+mn-lt"/>
                <a:ea typeface="+mn-ea"/>
              </a:defRPr>
            </a:lvl4pPr>
            <a:lvl5pPr marL="1899186" indent="-211021" algn="l" rtl="0" eaLnBrk="1" fontAlgn="base" hangingPunct="1">
              <a:spcBef>
                <a:spcPct val="20000"/>
              </a:spcBef>
              <a:spcAft>
                <a:spcPct val="0"/>
              </a:spcAft>
              <a:buChar char="»"/>
              <a:defRPr kumimoji="1" sz="1846">
                <a:solidFill>
                  <a:schemeClr val="tx1"/>
                </a:solidFill>
                <a:latin typeface="+mn-lt"/>
                <a:ea typeface="+mn-ea"/>
              </a:defRPr>
            </a:lvl5pPr>
            <a:lvl6pPr marL="2321227" indent="-211021" algn="l" rtl="0" eaLnBrk="1" fontAlgn="base" hangingPunct="1">
              <a:spcBef>
                <a:spcPct val="20000"/>
              </a:spcBef>
              <a:spcAft>
                <a:spcPct val="0"/>
              </a:spcAft>
              <a:buChar char="»"/>
              <a:defRPr kumimoji="1" sz="1846">
                <a:solidFill>
                  <a:schemeClr val="tx1"/>
                </a:solidFill>
                <a:latin typeface="+mn-lt"/>
                <a:ea typeface="+mn-ea"/>
              </a:defRPr>
            </a:lvl6pPr>
            <a:lvl7pPr marL="2743269" indent="-211021" algn="l" rtl="0" eaLnBrk="1" fontAlgn="base" hangingPunct="1">
              <a:spcBef>
                <a:spcPct val="20000"/>
              </a:spcBef>
              <a:spcAft>
                <a:spcPct val="0"/>
              </a:spcAft>
              <a:buChar char="»"/>
              <a:defRPr kumimoji="1" sz="1846">
                <a:solidFill>
                  <a:schemeClr val="tx1"/>
                </a:solidFill>
                <a:latin typeface="+mn-lt"/>
                <a:ea typeface="+mn-ea"/>
              </a:defRPr>
            </a:lvl7pPr>
            <a:lvl8pPr marL="3165310" indent="-211021" algn="l" rtl="0" eaLnBrk="1" fontAlgn="base" hangingPunct="1">
              <a:spcBef>
                <a:spcPct val="20000"/>
              </a:spcBef>
              <a:spcAft>
                <a:spcPct val="0"/>
              </a:spcAft>
              <a:buChar char="»"/>
              <a:defRPr kumimoji="1" sz="1846">
                <a:solidFill>
                  <a:schemeClr val="tx1"/>
                </a:solidFill>
                <a:latin typeface="+mn-lt"/>
                <a:ea typeface="+mn-ea"/>
              </a:defRPr>
            </a:lvl8pPr>
            <a:lvl9pPr marL="3587351" indent="-211021" algn="l" rtl="0" eaLnBrk="1" fontAlgn="base" hangingPunct="1">
              <a:spcBef>
                <a:spcPct val="20000"/>
              </a:spcBef>
              <a:spcAft>
                <a:spcPct val="0"/>
              </a:spcAft>
              <a:buChar char="»"/>
              <a:defRPr kumimoji="1" sz="1846">
                <a:solidFill>
                  <a:schemeClr val="tx1"/>
                </a:solidFill>
                <a:latin typeface="+mn-lt"/>
                <a:ea typeface="+mn-ea"/>
              </a:defRPr>
            </a:lvl9pPr>
          </a:lstStyle>
          <a:p>
            <a:pPr marL="0" indent="0" defTabSz="914217">
              <a:buNone/>
              <a:defRPr/>
            </a:pPr>
            <a:r>
              <a:rPr lang="en-US" altLang="ja-JP" sz="1200" kern="0" dirty="0">
                <a:solidFill>
                  <a:srgbClr val="000000"/>
                </a:solidFill>
                <a:latin typeface="Meiryo UI" panose="020B0604030504040204" pitchFamily="50" charset="-128"/>
                <a:ea typeface="Meiryo UI" panose="020B0604030504040204" pitchFamily="50" charset="-128"/>
              </a:rPr>
              <a:t>〔</a:t>
            </a:r>
            <a:r>
              <a:rPr lang="ja-JP" altLang="en-US" sz="1200" kern="0" dirty="0">
                <a:solidFill>
                  <a:srgbClr val="000000"/>
                </a:solidFill>
                <a:latin typeface="Meiryo UI" panose="020B0604030504040204" pitchFamily="50" charset="-128"/>
                <a:ea typeface="Meiryo UI" panose="020B0604030504040204" pitchFamily="50" charset="-128"/>
              </a:rPr>
              <a:t>国土形成計画</a:t>
            </a:r>
            <a:r>
              <a:rPr lang="en-US" altLang="ja-JP" sz="1200" kern="0" dirty="0">
                <a:solidFill>
                  <a:srgbClr val="000000"/>
                </a:solidFill>
                <a:latin typeface="Meiryo UI" panose="020B0604030504040204" pitchFamily="50" charset="-128"/>
                <a:ea typeface="Meiryo UI" panose="020B0604030504040204" pitchFamily="50" charset="-128"/>
              </a:rPr>
              <a:t>(</a:t>
            </a:r>
            <a:r>
              <a:rPr lang="ja-JP" altLang="en-US" sz="1200" kern="0" dirty="0">
                <a:solidFill>
                  <a:srgbClr val="000000"/>
                </a:solidFill>
                <a:latin typeface="Meiryo UI" panose="020B0604030504040204" pitchFamily="50" charset="-128"/>
                <a:ea typeface="Meiryo UI" panose="020B0604030504040204" pitchFamily="50" charset="-128"/>
              </a:rPr>
              <a:t>令和</a:t>
            </a:r>
            <a:r>
              <a:rPr lang="en-US" altLang="ja-JP" sz="1200" kern="0" dirty="0">
                <a:solidFill>
                  <a:srgbClr val="000000"/>
                </a:solidFill>
                <a:latin typeface="Meiryo UI" panose="020B0604030504040204" pitchFamily="50" charset="-128"/>
                <a:ea typeface="Meiryo UI" panose="020B0604030504040204" pitchFamily="50" charset="-128"/>
              </a:rPr>
              <a:t>5</a:t>
            </a:r>
            <a:r>
              <a:rPr lang="ja-JP" altLang="en-US" sz="1200" kern="0" dirty="0">
                <a:solidFill>
                  <a:srgbClr val="000000"/>
                </a:solidFill>
                <a:latin typeface="Meiryo UI" panose="020B0604030504040204" pitchFamily="50" charset="-128"/>
                <a:ea typeface="Meiryo UI" panose="020B0604030504040204" pitchFamily="50" charset="-128"/>
              </a:rPr>
              <a:t>年</a:t>
            </a:r>
            <a:r>
              <a:rPr lang="en-US" altLang="ja-JP" sz="1200" kern="0" dirty="0">
                <a:solidFill>
                  <a:srgbClr val="000000"/>
                </a:solidFill>
                <a:latin typeface="Meiryo UI" panose="020B0604030504040204" pitchFamily="50" charset="-128"/>
                <a:ea typeface="Meiryo UI" panose="020B0604030504040204" pitchFamily="50" charset="-128"/>
              </a:rPr>
              <a:t>7</a:t>
            </a:r>
            <a:r>
              <a:rPr lang="ja-JP" altLang="en-US" sz="1200" kern="0" dirty="0">
                <a:solidFill>
                  <a:srgbClr val="000000"/>
                </a:solidFill>
                <a:latin typeface="Meiryo UI" panose="020B0604030504040204" pitchFamily="50" charset="-128"/>
                <a:ea typeface="Meiryo UI" panose="020B0604030504040204" pitchFamily="50" charset="-128"/>
              </a:rPr>
              <a:t>月</a:t>
            </a:r>
            <a:r>
              <a:rPr lang="en-US" altLang="ja-JP" sz="1200" kern="0" dirty="0">
                <a:solidFill>
                  <a:srgbClr val="000000"/>
                </a:solidFill>
                <a:latin typeface="Meiryo UI" panose="020B0604030504040204" pitchFamily="50" charset="-128"/>
                <a:ea typeface="Meiryo UI" panose="020B0604030504040204" pitchFamily="50" charset="-128"/>
              </a:rPr>
              <a:t>28</a:t>
            </a:r>
            <a:r>
              <a:rPr lang="ja-JP" altLang="en-US" sz="1200" kern="0" dirty="0">
                <a:solidFill>
                  <a:srgbClr val="000000"/>
                </a:solidFill>
                <a:latin typeface="Meiryo UI" panose="020B0604030504040204" pitchFamily="50" charset="-128"/>
                <a:ea typeface="Meiryo UI" panose="020B0604030504040204" pitchFamily="50" charset="-128"/>
              </a:rPr>
              <a:t>日閣議決定</a:t>
            </a:r>
            <a:r>
              <a:rPr lang="en-US" altLang="ja-JP" sz="1200" kern="0" dirty="0">
                <a:solidFill>
                  <a:srgbClr val="000000"/>
                </a:solidFill>
                <a:latin typeface="Meiryo UI" panose="020B0604030504040204" pitchFamily="50" charset="-128"/>
                <a:ea typeface="Meiryo UI" panose="020B0604030504040204" pitchFamily="50" charset="-128"/>
              </a:rPr>
              <a:t>)</a:t>
            </a:r>
            <a:r>
              <a:rPr lang="ja-JP" altLang="en-US" sz="1200" kern="0" dirty="0">
                <a:solidFill>
                  <a:srgbClr val="000000"/>
                </a:solidFill>
                <a:latin typeface="Meiryo UI" panose="020B0604030504040204" pitchFamily="50" charset="-128"/>
                <a:ea typeface="Meiryo UI" panose="020B0604030504040204" pitchFamily="50" charset="-128"/>
              </a:rPr>
              <a:t>抜粋</a:t>
            </a:r>
            <a:r>
              <a:rPr lang="en-US" altLang="ja-JP" sz="1200" kern="0" dirty="0">
                <a:solidFill>
                  <a:srgbClr val="000000"/>
                </a:solidFill>
                <a:latin typeface="Meiryo UI" panose="020B0604030504040204" pitchFamily="50" charset="-128"/>
                <a:ea typeface="Meiryo UI" panose="020B0604030504040204" pitchFamily="50" charset="-128"/>
              </a:rPr>
              <a:t>〕</a:t>
            </a:r>
          </a:p>
        </p:txBody>
      </p:sp>
      <p:cxnSp>
        <p:nvCxnSpPr>
          <p:cNvPr id="3" name="直線コネクタ 2">
            <a:extLst>
              <a:ext uri="{FF2B5EF4-FFF2-40B4-BE49-F238E27FC236}">
                <a16:creationId xmlns:a16="http://schemas.microsoft.com/office/drawing/2014/main" id="{62361E83-C823-D34E-6786-3E9A65C4092C}"/>
              </a:ext>
            </a:extLst>
          </p:cNvPr>
          <p:cNvCxnSpPr>
            <a:cxnSpLocks/>
          </p:cNvCxnSpPr>
          <p:nvPr/>
        </p:nvCxnSpPr>
        <p:spPr>
          <a:xfrm>
            <a:off x="632419" y="6069723"/>
            <a:ext cx="8495582"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5856086A-4FBA-8332-DE73-29EEA0A11202}"/>
              </a:ext>
            </a:extLst>
          </p:cNvPr>
          <p:cNvCxnSpPr>
            <a:cxnSpLocks/>
          </p:cNvCxnSpPr>
          <p:nvPr/>
        </p:nvCxnSpPr>
        <p:spPr>
          <a:xfrm>
            <a:off x="623912" y="6311108"/>
            <a:ext cx="303235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CB93B24B-D5B8-1359-37FE-665B0F98F2CE}"/>
              </a:ext>
            </a:extLst>
          </p:cNvPr>
          <p:cNvCxnSpPr>
            <a:cxnSpLocks/>
          </p:cNvCxnSpPr>
          <p:nvPr/>
        </p:nvCxnSpPr>
        <p:spPr>
          <a:xfrm>
            <a:off x="3733345" y="5823258"/>
            <a:ext cx="5466652"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8" name="スライド番号プレースホルダー 7">
            <a:extLst>
              <a:ext uri="{FF2B5EF4-FFF2-40B4-BE49-F238E27FC236}">
                <a16:creationId xmlns:a16="http://schemas.microsoft.com/office/drawing/2014/main" id="{A704650B-FAAC-3979-A4B1-426F78DCF4F5}"/>
              </a:ext>
            </a:extLst>
          </p:cNvPr>
          <p:cNvSpPr>
            <a:spLocks noGrp="1"/>
          </p:cNvSpPr>
          <p:nvPr>
            <p:ph type="sldNum" sz="quarter" idx="12"/>
          </p:nvPr>
        </p:nvSpPr>
        <p:spPr/>
        <p:txBody>
          <a:bodyPr/>
          <a:lstStyle/>
          <a:p>
            <a:pPr>
              <a:defRPr/>
            </a:pPr>
            <a:fld id="{651FC12D-27C1-4F31-90C9-A93D49E44687}" type="slidenum">
              <a:rPr lang="en-US" altLang="ja-JP" smtClean="0"/>
              <a:pPr>
                <a:defRPr/>
              </a:pPr>
              <a:t>41</a:t>
            </a:fld>
            <a:endParaRPr lang="en-US" altLang="ja-JP" dirty="0"/>
          </a:p>
        </p:txBody>
      </p:sp>
    </p:spTree>
    <p:extLst>
      <p:ext uri="{BB962C8B-B14F-4D97-AF65-F5344CB8AC3E}">
        <p14:creationId xmlns:p14="http://schemas.microsoft.com/office/powerpoint/2010/main" val="16564064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9">
            <a:extLst>
              <a:ext uri="{FF2B5EF4-FFF2-40B4-BE49-F238E27FC236}">
                <a16:creationId xmlns:a16="http://schemas.microsoft.com/office/drawing/2014/main" id="{DB516D75-F978-32F4-638F-A4BBAB6E736D}"/>
              </a:ext>
            </a:extLst>
          </p:cNvPr>
          <p:cNvSpPr txBox="1">
            <a:spLocks/>
          </p:cNvSpPr>
          <p:nvPr/>
        </p:nvSpPr>
        <p:spPr>
          <a:xfrm>
            <a:off x="5884" y="135434"/>
            <a:ext cx="7955101" cy="476174"/>
          </a:xfrm>
          <a:prstGeom prst="rect">
            <a:avLst/>
          </a:prstGeom>
          <a:noFill/>
          <a:ln>
            <a:noFill/>
          </a:ln>
        </p:spPr>
        <p:txBody>
          <a:bodyPr vert="horz" wrap="square" lIns="91425" tIns="45713" rIns="91425" bIns="45713" numCol="1" anchor="ctr" anchorCtr="0" compatLnSpc="1">
            <a:prstTxWarp prst="textNoShape">
              <a:avLst/>
            </a:prstTxWarp>
          </a:bodyPr>
          <a:lstStyle>
            <a:lvl1pPr algn="l" rtl="0" eaLnBrk="1" fontAlgn="base" hangingPunct="1">
              <a:spcBef>
                <a:spcPct val="0"/>
              </a:spcBef>
              <a:spcAft>
                <a:spcPct val="0"/>
              </a:spcAft>
              <a:defRPr kumimoji="1" sz="2585">
                <a:solidFill>
                  <a:srgbClr val="4087C8"/>
                </a:solidFill>
                <a:latin typeface="+mj-lt"/>
                <a:ea typeface="+mj-ea"/>
                <a:cs typeface="+mj-cs"/>
              </a:defRPr>
            </a:lvl1pPr>
            <a:lvl2pPr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5pPr>
            <a:lvl6pPr marL="422041"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6pPr>
            <a:lvl7pPr marL="844083"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7pPr>
            <a:lvl8pPr marL="1266124"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8pPr>
            <a:lvl9pPr marL="1688165"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9pPr>
          </a:lstStyle>
          <a:p>
            <a:pPr defTabSz="914217" fontAlgn="auto">
              <a:spcAft>
                <a:spcPts val="0"/>
              </a:spcAft>
              <a:defRPr/>
            </a:pPr>
            <a:r>
              <a:rPr lang="ja-JP" altLang="en-US" sz="2000" kern="0" dirty="0">
                <a:latin typeface="HGP創英角ｺﾞｼｯｸUB" panose="020B0900000000000000" pitchFamily="50" charset="-128"/>
                <a:ea typeface="HGP創英角ｺﾞｼｯｸUB" panose="020B0900000000000000" pitchFamily="50" charset="-128"/>
              </a:rPr>
              <a:t>国土審議会 推進部会 移住・二地域居住等促進専門委員会　委員名簿</a:t>
            </a:r>
          </a:p>
        </p:txBody>
      </p:sp>
      <p:sp>
        <p:nvSpPr>
          <p:cNvPr id="19" name="テキスト ボックス 18">
            <a:extLst>
              <a:ext uri="{FF2B5EF4-FFF2-40B4-BE49-F238E27FC236}">
                <a16:creationId xmlns:a16="http://schemas.microsoft.com/office/drawing/2014/main" id="{5D7639A9-DBDD-9899-92E5-86376F702ED0}"/>
              </a:ext>
            </a:extLst>
          </p:cNvPr>
          <p:cNvSpPr txBox="1"/>
          <p:nvPr/>
        </p:nvSpPr>
        <p:spPr>
          <a:xfrm>
            <a:off x="1208392" y="999530"/>
            <a:ext cx="7631624" cy="5654938"/>
          </a:xfrm>
          <a:prstGeom prst="rect">
            <a:avLst/>
          </a:prstGeom>
          <a:noFill/>
        </p:spPr>
        <p:txBody>
          <a:bodyPr wrap="square">
            <a:spAutoFit/>
          </a:bodyPr>
          <a:lstStyle/>
          <a:p>
            <a:pPr defTabSz="914217">
              <a:lnSpc>
                <a:spcPct val="200000"/>
              </a:lnSpc>
              <a:defRPr/>
            </a:pPr>
            <a:r>
              <a:rPr lang="ja-JP" altLang="en-US" dirty="0">
                <a:solidFill>
                  <a:srgbClr val="000000"/>
                </a:solidFill>
                <a:latin typeface="ＭＳ Ｐゴシック"/>
                <a:ea typeface="ＭＳ Ｐゴシック"/>
              </a:rPr>
              <a:t>　 石山　アンジュ　　  </a:t>
            </a:r>
            <a:r>
              <a:rPr lang="ja-JP" altLang="en-US" sz="1400" dirty="0">
                <a:solidFill>
                  <a:srgbClr val="000000"/>
                </a:solidFill>
                <a:latin typeface="ＭＳ Ｐゴシック"/>
                <a:ea typeface="ＭＳ Ｐゴシック"/>
              </a:rPr>
              <a:t>一般社団法人シェアリングエコノミー協会代表理事</a:t>
            </a:r>
          </a:p>
          <a:p>
            <a:pPr defTabSz="914217">
              <a:lnSpc>
                <a:spcPct val="200000"/>
              </a:lnSpc>
              <a:defRPr/>
            </a:pPr>
            <a:r>
              <a:rPr lang="ja-JP" altLang="en-US" dirty="0">
                <a:solidFill>
                  <a:srgbClr val="000000"/>
                </a:solidFill>
                <a:latin typeface="ＭＳ Ｐゴシック"/>
                <a:ea typeface="ＭＳ Ｐゴシック"/>
              </a:rPr>
              <a:t>　 井上　岳一　　　　　</a:t>
            </a:r>
            <a:r>
              <a:rPr lang="ja-JP" altLang="en-US" sz="1400" dirty="0">
                <a:solidFill>
                  <a:srgbClr val="000000"/>
                </a:solidFill>
                <a:latin typeface="ＭＳ Ｐゴシック"/>
                <a:ea typeface="ＭＳ Ｐゴシック"/>
              </a:rPr>
              <a:t>株式会社日本総合研究所創発戦略センター エクスパート</a:t>
            </a:r>
            <a:endParaRPr lang="en-US" altLang="ja-JP" sz="1400" dirty="0">
              <a:solidFill>
                <a:srgbClr val="000000"/>
              </a:solidFill>
              <a:latin typeface="ＭＳ Ｐゴシック"/>
              <a:ea typeface="ＭＳ Ｐゴシック"/>
            </a:endParaRPr>
          </a:p>
          <a:p>
            <a:pPr defTabSz="914217">
              <a:lnSpc>
                <a:spcPct val="200000"/>
              </a:lnSpc>
              <a:defRPr/>
            </a:pPr>
            <a:r>
              <a:rPr lang="ja-JP" altLang="en-US" dirty="0">
                <a:solidFill>
                  <a:srgbClr val="000000"/>
                </a:solidFill>
                <a:latin typeface="ＭＳ Ｐゴシック"/>
                <a:ea typeface="ＭＳ Ｐゴシック"/>
              </a:rPr>
              <a:t>◎小田切　徳美</a:t>
            </a:r>
            <a:r>
              <a:rPr lang="ja-JP" altLang="en-US" sz="2000" dirty="0">
                <a:solidFill>
                  <a:srgbClr val="000000"/>
                </a:solidFill>
                <a:latin typeface="ＭＳ Ｐゴシック"/>
                <a:ea typeface="ＭＳ Ｐゴシック"/>
              </a:rPr>
              <a:t>　　 </a:t>
            </a:r>
            <a:r>
              <a:rPr lang="ja-JP" altLang="en-US" sz="1400" dirty="0">
                <a:solidFill>
                  <a:srgbClr val="000000"/>
                </a:solidFill>
                <a:latin typeface="ＭＳ Ｐゴシック"/>
                <a:ea typeface="ＭＳ Ｐゴシック"/>
              </a:rPr>
              <a:t>　明治大学農学部教授</a:t>
            </a:r>
          </a:p>
          <a:p>
            <a:pPr defTabSz="914217">
              <a:lnSpc>
                <a:spcPct val="200000"/>
              </a:lnSpc>
              <a:defRPr/>
            </a:pPr>
            <a:r>
              <a:rPr lang="ja-JP" altLang="en-US" dirty="0">
                <a:solidFill>
                  <a:srgbClr val="000000"/>
                </a:solidFill>
                <a:latin typeface="ＭＳ Ｐゴシック"/>
                <a:ea typeface="ＭＳ Ｐゴシック"/>
              </a:rPr>
              <a:t>　 加藤　史子　　　　　</a:t>
            </a:r>
            <a:r>
              <a:rPr lang="en-US" altLang="ja-JP" sz="1400" dirty="0" err="1">
                <a:solidFill>
                  <a:srgbClr val="000000"/>
                </a:solidFill>
                <a:latin typeface="ＭＳ Ｐゴシック"/>
                <a:ea typeface="ＭＳ Ｐゴシック"/>
              </a:rPr>
              <a:t>WAmazing</a:t>
            </a:r>
            <a:r>
              <a:rPr lang="ja-JP" altLang="en-US" sz="1400" dirty="0">
                <a:solidFill>
                  <a:srgbClr val="000000"/>
                </a:solidFill>
                <a:latin typeface="ＭＳ Ｐゴシック"/>
                <a:ea typeface="ＭＳ Ｐゴシック"/>
              </a:rPr>
              <a:t>株式会社代表取締役</a:t>
            </a:r>
            <a:r>
              <a:rPr lang="en-US" altLang="ja-JP" sz="1400" dirty="0">
                <a:solidFill>
                  <a:srgbClr val="000000"/>
                </a:solidFill>
                <a:latin typeface="ＭＳ Ｐゴシック"/>
                <a:ea typeface="ＭＳ Ｐゴシック"/>
              </a:rPr>
              <a:t>CEO</a:t>
            </a:r>
          </a:p>
          <a:p>
            <a:pPr defTabSz="914217">
              <a:lnSpc>
                <a:spcPct val="200000"/>
              </a:lnSpc>
              <a:defRPr/>
            </a:pPr>
            <a:r>
              <a:rPr lang="ja-JP" altLang="en-US" dirty="0">
                <a:solidFill>
                  <a:srgbClr val="000000"/>
                </a:solidFill>
                <a:latin typeface="ＭＳ Ｐゴシック"/>
                <a:ea typeface="ＭＳ Ｐゴシック"/>
              </a:rPr>
              <a:t>　 越　直美　　　　　　 </a:t>
            </a:r>
            <a:r>
              <a:rPr lang="ja-JP" altLang="en-US" sz="1400" dirty="0">
                <a:solidFill>
                  <a:srgbClr val="000000"/>
                </a:solidFill>
                <a:latin typeface="ＭＳ Ｐゴシック"/>
                <a:ea typeface="ＭＳ Ｐゴシック"/>
              </a:rPr>
              <a:t>三浦法律事務所弁護士</a:t>
            </a:r>
          </a:p>
          <a:p>
            <a:pPr defTabSz="914217">
              <a:lnSpc>
                <a:spcPct val="200000"/>
              </a:lnSpc>
              <a:defRPr/>
            </a:pPr>
            <a:r>
              <a:rPr lang="ja-JP" altLang="en-US" dirty="0">
                <a:solidFill>
                  <a:srgbClr val="000000"/>
                </a:solidFill>
                <a:latin typeface="ＭＳ Ｐゴシック"/>
                <a:ea typeface="ＭＳ Ｐゴシック"/>
              </a:rPr>
              <a:t>　 高瀬　直史　</a:t>
            </a:r>
            <a:r>
              <a:rPr lang="ja-JP" altLang="en-US" sz="2000" dirty="0">
                <a:solidFill>
                  <a:srgbClr val="000000"/>
                </a:solidFill>
                <a:latin typeface="ＭＳ Ｐゴシック"/>
                <a:ea typeface="ＭＳ Ｐゴシック"/>
              </a:rPr>
              <a:t>　</a:t>
            </a:r>
            <a:r>
              <a:rPr lang="ja-JP" altLang="en-US" dirty="0">
                <a:solidFill>
                  <a:srgbClr val="000000"/>
                </a:solidFill>
                <a:latin typeface="ＭＳ Ｐゴシック"/>
                <a:ea typeface="ＭＳ Ｐゴシック"/>
              </a:rPr>
              <a:t>　　</a:t>
            </a:r>
            <a:r>
              <a:rPr lang="ja-JP" altLang="en-US" sz="1400" dirty="0">
                <a:solidFill>
                  <a:srgbClr val="000000"/>
                </a:solidFill>
                <a:latin typeface="ＭＳ Ｐゴシック"/>
                <a:ea typeface="ＭＳ Ｐゴシック"/>
              </a:rPr>
              <a:t>　株式会社 </a:t>
            </a:r>
            <a:r>
              <a:rPr lang="en-US" altLang="ja-JP" sz="1400" dirty="0">
                <a:solidFill>
                  <a:srgbClr val="000000"/>
                </a:solidFill>
                <a:latin typeface="ＭＳ Ｐゴシック"/>
                <a:ea typeface="ＭＳ Ｐゴシック"/>
              </a:rPr>
              <a:t>SHIMANTO TOWN STORY</a:t>
            </a:r>
            <a:r>
              <a:rPr lang="ja-JP" altLang="en-US" sz="1400" dirty="0">
                <a:solidFill>
                  <a:srgbClr val="000000"/>
                </a:solidFill>
                <a:latin typeface="ＭＳ Ｐゴシック"/>
                <a:ea typeface="ＭＳ Ｐゴシック"/>
              </a:rPr>
              <a:t>代表取締役</a:t>
            </a:r>
          </a:p>
          <a:p>
            <a:pPr defTabSz="914217">
              <a:lnSpc>
                <a:spcPct val="200000"/>
              </a:lnSpc>
              <a:defRPr/>
            </a:pPr>
            <a:r>
              <a:rPr lang="ja-JP" altLang="en-US" dirty="0">
                <a:solidFill>
                  <a:srgbClr val="000000"/>
                </a:solidFill>
                <a:latin typeface="ＭＳ Ｐゴシック"/>
                <a:ea typeface="ＭＳ Ｐゴシック"/>
              </a:rPr>
              <a:t>　 谷邉　浩也　　　　　</a:t>
            </a:r>
            <a:r>
              <a:rPr lang="ja-JP" altLang="en-US" sz="1400" dirty="0">
                <a:solidFill>
                  <a:srgbClr val="000000"/>
                </a:solidFill>
                <a:latin typeface="ＭＳ Ｐゴシック"/>
                <a:ea typeface="ＭＳ Ｐゴシック"/>
              </a:rPr>
              <a:t>有限会社シンエイ地所代表取締役</a:t>
            </a:r>
          </a:p>
          <a:p>
            <a:pPr defTabSz="914217">
              <a:lnSpc>
                <a:spcPct val="200000"/>
              </a:lnSpc>
              <a:defRPr/>
            </a:pPr>
            <a:r>
              <a:rPr lang="ja-JP" altLang="en-US" dirty="0">
                <a:solidFill>
                  <a:srgbClr val="000000"/>
                </a:solidFill>
                <a:latin typeface="ＭＳ Ｐゴシック"/>
                <a:ea typeface="ＭＳ Ｐゴシック"/>
              </a:rPr>
              <a:t>　 原田　文代　　　　  </a:t>
            </a:r>
            <a:r>
              <a:rPr lang="ja-JP" altLang="en-US" sz="1400" dirty="0">
                <a:solidFill>
                  <a:srgbClr val="000000"/>
                </a:solidFill>
                <a:latin typeface="ＭＳ Ｐゴシック"/>
                <a:ea typeface="ＭＳ Ｐゴシック"/>
              </a:rPr>
              <a:t>株式会社日本政策投資銀行常務執行役員</a:t>
            </a:r>
          </a:p>
          <a:p>
            <a:pPr defTabSz="914217">
              <a:lnSpc>
                <a:spcPct val="200000"/>
              </a:lnSpc>
              <a:defRPr/>
            </a:pPr>
            <a:r>
              <a:rPr lang="ja-JP" altLang="en-US" dirty="0">
                <a:solidFill>
                  <a:srgbClr val="000000"/>
                </a:solidFill>
                <a:latin typeface="ＭＳ Ｐゴシック"/>
                <a:ea typeface="ＭＳ Ｐゴシック"/>
              </a:rPr>
              <a:t>　 堀口　正裕　　　</a:t>
            </a:r>
            <a:r>
              <a:rPr lang="en-US" altLang="ja-JP" dirty="0">
                <a:solidFill>
                  <a:srgbClr val="000000"/>
                </a:solidFill>
                <a:latin typeface="ＭＳ Ｐゴシック"/>
                <a:ea typeface="ＭＳ Ｐゴシック"/>
              </a:rPr>
              <a:t>   </a:t>
            </a:r>
            <a:r>
              <a:rPr lang="ja-JP" altLang="en-US" dirty="0">
                <a:solidFill>
                  <a:srgbClr val="000000"/>
                </a:solidFill>
                <a:latin typeface="ＭＳ Ｐゴシック"/>
                <a:ea typeface="ＭＳ Ｐゴシック"/>
              </a:rPr>
              <a:t> </a:t>
            </a:r>
            <a:r>
              <a:rPr lang="en-US" altLang="ja-JP" sz="1400" dirty="0">
                <a:solidFill>
                  <a:srgbClr val="000000"/>
                </a:solidFill>
                <a:latin typeface="ＭＳ Ｐゴシック"/>
                <a:ea typeface="ＭＳ Ｐゴシック"/>
              </a:rPr>
              <a:t>TURNS</a:t>
            </a:r>
            <a:r>
              <a:rPr lang="ja-JP" altLang="en-US" sz="1400" dirty="0">
                <a:solidFill>
                  <a:srgbClr val="000000"/>
                </a:solidFill>
                <a:latin typeface="ＭＳ Ｐゴシック"/>
                <a:ea typeface="ＭＳ Ｐゴシック"/>
              </a:rPr>
              <a:t>プロデューサー</a:t>
            </a:r>
            <a:r>
              <a:rPr lang="en-US" altLang="ja-JP" sz="1400" dirty="0">
                <a:solidFill>
                  <a:srgbClr val="000000"/>
                </a:solidFill>
                <a:latin typeface="ＭＳ Ｐゴシック"/>
                <a:ea typeface="ＭＳ Ｐゴシック"/>
              </a:rPr>
              <a:t>/</a:t>
            </a:r>
            <a:r>
              <a:rPr lang="ja-JP" altLang="en-US" sz="1400" dirty="0">
                <a:solidFill>
                  <a:srgbClr val="000000"/>
                </a:solidFill>
                <a:latin typeface="ＭＳ Ｐゴシック"/>
                <a:ea typeface="ＭＳ Ｐゴシック"/>
              </a:rPr>
              <a:t>株式会社第一プログレス代表取締役社長</a:t>
            </a:r>
          </a:p>
          <a:p>
            <a:pPr defTabSz="914217">
              <a:lnSpc>
                <a:spcPct val="200000"/>
              </a:lnSpc>
              <a:defRPr/>
            </a:pPr>
            <a:r>
              <a:rPr lang="ja-JP" altLang="en-US" dirty="0">
                <a:solidFill>
                  <a:srgbClr val="000000"/>
                </a:solidFill>
                <a:latin typeface="ＭＳ Ｐゴシック"/>
                <a:ea typeface="ＭＳ Ｐゴシック"/>
              </a:rPr>
              <a:t>　 森田　創　　　　　 　</a:t>
            </a:r>
            <a:r>
              <a:rPr lang="ja-JP" altLang="en-US" sz="1400" dirty="0">
                <a:solidFill>
                  <a:srgbClr val="000000"/>
                </a:solidFill>
                <a:latin typeface="ＭＳ Ｐゴシック"/>
                <a:ea typeface="ＭＳ Ｐゴシック"/>
              </a:rPr>
              <a:t>合同会社うさぎ企画代表社員　</a:t>
            </a:r>
          </a:p>
        </p:txBody>
      </p:sp>
      <p:sp>
        <p:nvSpPr>
          <p:cNvPr id="4" name="テキスト ボックス 3">
            <a:extLst>
              <a:ext uri="{FF2B5EF4-FFF2-40B4-BE49-F238E27FC236}">
                <a16:creationId xmlns:a16="http://schemas.microsoft.com/office/drawing/2014/main" id="{938A327D-5934-9420-0B61-F332DC006EFA}"/>
              </a:ext>
            </a:extLst>
          </p:cNvPr>
          <p:cNvSpPr txBox="1"/>
          <p:nvPr/>
        </p:nvSpPr>
        <p:spPr>
          <a:xfrm>
            <a:off x="7316108" y="6616154"/>
            <a:ext cx="2532642" cy="261610"/>
          </a:xfrm>
          <a:prstGeom prst="rect">
            <a:avLst/>
          </a:prstGeom>
          <a:noFill/>
        </p:spPr>
        <p:txBody>
          <a:bodyPr wrap="square" rtlCol="0">
            <a:spAutoFit/>
          </a:bodyPr>
          <a:lstStyle/>
          <a:p>
            <a:pPr defTabSz="914217">
              <a:defRPr/>
            </a:pPr>
            <a:r>
              <a:rPr lang="ja-JP" altLang="en-US" sz="1100" dirty="0">
                <a:solidFill>
                  <a:srgbClr val="000000"/>
                </a:solidFill>
                <a:latin typeface="ＭＳ Ｐゴシック"/>
                <a:ea typeface="ＭＳ Ｐゴシック"/>
              </a:rPr>
              <a:t>（</a:t>
            </a:r>
            <a:r>
              <a:rPr lang="ja-JP" altLang="en-US" sz="1100" dirty="0">
                <a:solidFill>
                  <a:srgbClr val="000000"/>
                </a:solidFill>
              </a:rPr>
              <a:t>◎：委員長　</a:t>
            </a:r>
            <a:r>
              <a:rPr lang="en-US" altLang="ja-JP" sz="1100" dirty="0">
                <a:solidFill>
                  <a:srgbClr val="000000"/>
                </a:solidFill>
                <a:latin typeface="ＭＳ Ｐゴシック"/>
                <a:ea typeface="ＭＳ Ｐゴシック"/>
              </a:rPr>
              <a:t>50</a:t>
            </a:r>
            <a:r>
              <a:rPr lang="ja-JP" altLang="en-US" sz="1100" dirty="0">
                <a:solidFill>
                  <a:srgbClr val="000000"/>
                </a:solidFill>
                <a:latin typeface="ＭＳ Ｐゴシック"/>
                <a:ea typeface="ＭＳ Ｐゴシック"/>
              </a:rPr>
              <a:t>音順、敬称略）</a:t>
            </a:r>
          </a:p>
        </p:txBody>
      </p:sp>
      <p:sp>
        <p:nvSpPr>
          <p:cNvPr id="7" name="テキスト ボックス 9">
            <a:extLst>
              <a:ext uri="{FF2B5EF4-FFF2-40B4-BE49-F238E27FC236}">
                <a16:creationId xmlns:a16="http://schemas.microsoft.com/office/drawing/2014/main" id="{23CD7375-1962-B7CC-213C-2A222E6D4672}"/>
              </a:ext>
            </a:extLst>
          </p:cNvPr>
          <p:cNvSpPr txBox="1"/>
          <p:nvPr/>
        </p:nvSpPr>
        <p:spPr>
          <a:xfrm>
            <a:off x="6513779" y="717330"/>
            <a:ext cx="3743816" cy="276955"/>
          </a:xfrm>
          <a:prstGeom prst="rect">
            <a:avLst/>
          </a:prstGeom>
          <a:noFill/>
        </p:spPr>
        <p:txBody>
          <a:bodyPr wrap="square" rtlCol="0">
            <a:spAutoFit/>
          </a:bodyPr>
          <a:lstStyle/>
          <a:p>
            <a:pPr marL="206000" indent="-206000" defTabSz="602807">
              <a:defRPr/>
            </a:pPr>
            <a:r>
              <a:rPr lang="en-US" altLang="ja-JP" sz="1200" dirty="0">
                <a:solidFill>
                  <a:srgbClr val="000000"/>
                </a:solidFill>
                <a:latin typeface="BIZ UDPゴシック" panose="020B0400000000000000" pitchFamily="50" charset="-128"/>
                <a:ea typeface="BIZ UDPゴシック" panose="020B0400000000000000" pitchFamily="50" charset="-128"/>
                <a:cs typeface="Times New Roman" panose="02020603050405020304" pitchFamily="18" charset="0"/>
              </a:rPr>
              <a:t>R</a:t>
            </a:r>
            <a:r>
              <a:rPr lang="ja-JP" altLang="en-US" sz="1200" dirty="0">
                <a:solidFill>
                  <a:srgbClr val="000000"/>
                </a:solidFill>
                <a:latin typeface="BIZ UDPゴシック" panose="020B0400000000000000" pitchFamily="50" charset="-128"/>
                <a:ea typeface="BIZ UDPゴシック" panose="020B0400000000000000" pitchFamily="50" charset="-128"/>
                <a:cs typeface="Times New Roman" panose="02020603050405020304" pitchFamily="18" charset="0"/>
              </a:rPr>
              <a:t>６</a:t>
            </a:r>
            <a:r>
              <a:rPr lang="en-US" altLang="ja-JP" sz="1200" dirty="0">
                <a:solidFill>
                  <a:srgbClr val="000000"/>
                </a:solidFill>
                <a:latin typeface="BIZ UDPゴシック" panose="020B0400000000000000" pitchFamily="50" charset="-128"/>
                <a:ea typeface="BIZ UDPゴシック" panose="020B0400000000000000" pitchFamily="50" charset="-128"/>
                <a:cs typeface="Times New Roman" panose="02020603050405020304" pitchFamily="18" charset="0"/>
              </a:rPr>
              <a:t>.1.19</a:t>
            </a:r>
            <a:r>
              <a:rPr lang="ja-JP" altLang="en-US" sz="1200" dirty="0">
                <a:solidFill>
                  <a:srgbClr val="000000"/>
                </a:solidFill>
                <a:latin typeface="BIZ UDPゴシック" panose="020B0400000000000000" pitchFamily="50" charset="-128"/>
                <a:ea typeface="BIZ UDPゴシック" panose="020B0400000000000000" pitchFamily="50" charset="-128"/>
                <a:cs typeface="Times New Roman" panose="02020603050405020304" pitchFamily="18" charset="0"/>
              </a:rPr>
              <a:t>　国土審議会　第２回推進部会資料より</a:t>
            </a:r>
            <a:endParaRPr lang="en-US" altLang="ja-JP" sz="1200" dirty="0">
              <a:solidFill>
                <a:srgbClr val="FF0000"/>
              </a:solidFill>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E0235D74-1917-2EEC-43EC-97A06AC47DCA}"/>
              </a:ext>
            </a:extLst>
          </p:cNvPr>
          <p:cNvSpPr>
            <a:spLocks noGrp="1"/>
          </p:cNvSpPr>
          <p:nvPr>
            <p:ph type="sldNum" sz="quarter" idx="12"/>
          </p:nvPr>
        </p:nvSpPr>
        <p:spPr/>
        <p:txBody>
          <a:bodyPr/>
          <a:lstStyle/>
          <a:p>
            <a:pPr>
              <a:defRPr/>
            </a:pPr>
            <a:fld id="{651FC12D-27C1-4F31-90C9-A93D49E44687}" type="slidenum">
              <a:rPr lang="en-US" altLang="ja-JP" smtClean="0"/>
              <a:pPr>
                <a:defRPr/>
              </a:pPr>
              <a:t>42</a:t>
            </a:fld>
            <a:endParaRPr lang="en-US" altLang="ja-JP" dirty="0"/>
          </a:p>
        </p:txBody>
      </p:sp>
    </p:spTree>
    <p:extLst>
      <p:ext uri="{BB962C8B-B14F-4D97-AF65-F5344CB8AC3E}">
        <p14:creationId xmlns:p14="http://schemas.microsoft.com/office/powerpoint/2010/main" val="172435796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正方形/長方形 41"/>
          <p:cNvSpPr/>
          <p:nvPr/>
        </p:nvSpPr>
        <p:spPr>
          <a:xfrm>
            <a:off x="6477804" y="3001047"/>
            <a:ext cx="3021166" cy="2717564"/>
          </a:xfrm>
          <a:prstGeom prst="rect">
            <a:avLst/>
          </a:prstGeom>
          <a:solidFill>
            <a:srgbClr val="008EEE">
              <a:alpha val="10000"/>
            </a:srgbClr>
          </a:solidFill>
          <a:ln>
            <a:noFill/>
          </a:ln>
        </p:spPr>
        <p:txBody>
          <a:bodyPr wrap="square" bIns="0" anchor="t">
            <a:noAutofit/>
          </a:bodyPr>
          <a:lstStyle/>
          <a:p>
            <a:pPr marL="179964" indent="-179964" defTabSz="914217">
              <a:spcAft>
                <a:spcPts val="600"/>
              </a:spcAft>
              <a:defRPr/>
            </a:pPr>
            <a:endParaRPr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00" name="角丸四角形 50">
            <a:extLst>
              <a:ext uri="{FF2B5EF4-FFF2-40B4-BE49-F238E27FC236}">
                <a16:creationId xmlns:a16="http://schemas.microsoft.com/office/drawing/2014/main" id="{EF940815-AD64-6AEC-63D7-C70DFC44AA06}"/>
              </a:ext>
            </a:extLst>
          </p:cNvPr>
          <p:cNvSpPr/>
          <p:nvPr/>
        </p:nvSpPr>
        <p:spPr>
          <a:xfrm>
            <a:off x="6501706" y="3892012"/>
            <a:ext cx="2904734" cy="1809217"/>
          </a:xfrm>
          <a:prstGeom prst="roundRect">
            <a:avLst>
              <a:gd name="adj" fmla="val 51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sz="1100">
              <a:solidFill>
                <a:srgbClr val="000000"/>
              </a:solidFill>
              <a:latin typeface="BIZ UDPゴシック" panose="020B0400000000000000" pitchFamily="50" charset="-128"/>
              <a:ea typeface="BIZ UDPゴシック" panose="020B0400000000000000" pitchFamily="50" charset="-128"/>
            </a:endParaRPr>
          </a:p>
        </p:txBody>
      </p:sp>
      <p:sp>
        <p:nvSpPr>
          <p:cNvPr id="43" name="正方形/長方形 42"/>
          <p:cNvSpPr/>
          <p:nvPr/>
        </p:nvSpPr>
        <p:spPr>
          <a:xfrm>
            <a:off x="3486456" y="3001047"/>
            <a:ext cx="2951527" cy="2717564"/>
          </a:xfrm>
          <a:prstGeom prst="rect">
            <a:avLst/>
          </a:prstGeom>
          <a:solidFill>
            <a:srgbClr val="008EEE">
              <a:alpha val="10000"/>
            </a:srgbClr>
          </a:solidFill>
          <a:ln>
            <a:noFill/>
          </a:ln>
        </p:spPr>
        <p:txBody>
          <a:bodyPr wrap="square" bIns="0" anchor="t">
            <a:noAutofit/>
          </a:bodyPr>
          <a:lstStyle/>
          <a:p>
            <a:pPr marL="179964" indent="-179964" defTabSz="914217">
              <a:spcAft>
                <a:spcPts val="600"/>
              </a:spcAft>
              <a:defRPr/>
            </a:pPr>
            <a:endParaRPr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99" name="角丸四角形 50">
            <a:extLst>
              <a:ext uri="{FF2B5EF4-FFF2-40B4-BE49-F238E27FC236}">
                <a16:creationId xmlns:a16="http://schemas.microsoft.com/office/drawing/2014/main" id="{34EAD0E5-19A6-819E-048F-1CADA1C0B828}"/>
              </a:ext>
            </a:extLst>
          </p:cNvPr>
          <p:cNvSpPr/>
          <p:nvPr/>
        </p:nvSpPr>
        <p:spPr>
          <a:xfrm>
            <a:off x="3517777" y="3879460"/>
            <a:ext cx="2904734" cy="1809217"/>
          </a:xfrm>
          <a:prstGeom prst="roundRect">
            <a:avLst>
              <a:gd name="adj" fmla="val 51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sz="1100">
              <a:solidFill>
                <a:srgbClr val="000000"/>
              </a:solidFill>
              <a:latin typeface="BIZ UDPゴシック" panose="020B0400000000000000" pitchFamily="50" charset="-128"/>
              <a:ea typeface="BIZ UDPゴシック" panose="020B0400000000000000" pitchFamily="50" charset="-128"/>
            </a:endParaRPr>
          </a:p>
        </p:txBody>
      </p:sp>
      <p:sp>
        <p:nvSpPr>
          <p:cNvPr id="30" name="正方形/長方形 29"/>
          <p:cNvSpPr/>
          <p:nvPr/>
        </p:nvSpPr>
        <p:spPr>
          <a:xfrm>
            <a:off x="405442" y="1720956"/>
            <a:ext cx="9093529" cy="1069596"/>
          </a:xfrm>
          <a:prstGeom prst="rect">
            <a:avLst/>
          </a:prstGeom>
          <a:solidFill>
            <a:srgbClr val="FFF6D6"/>
          </a:solidFill>
          <a:ln>
            <a:solidFill>
              <a:schemeClr val="tx1"/>
            </a:solidFill>
          </a:ln>
        </p:spPr>
        <p:txBody>
          <a:bodyPr wrap="square" bIns="0" anchor="t" anchorCtr="0">
            <a:noAutofit/>
          </a:bodyPr>
          <a:lstStyle/>
          <a:p>
            <a:pPr marL="179964" indent="-457109" defTabSz="914217">
              <a:defRPr/>
            </a:pPr>
            <a:endParaRPr lang="en-US" altLang="ja-JP" sz="1400" dirty="0">
              <a:solidFill>
                <a:srgbClr val="000000"/>
              </a:solidFill>
              <a:latin typeface="BIZ UDPゴシック" panose="020B0400000000000000" pitchFamily="50" charset="-128"/>
              <a:ea typeface="BIZ UDPゴシック" panose="020B0400000000000000" pitchFamily="50" charset="-128"/>
            </a:endParaRPr>
          </a:p>
        </p:txBody>
      </p:sp>
      <p:sp>
        <p:nvSpPr>
          <p:cNvPr id="44" name="正方形/長方形 43"/>
          <p:cNvSpPr/>
          <p:nvPr/>
        </p:nvSpPr>
        <p:spPr>
          <a:xfrm>
            <a:off x="496571" y="3001049"/>
            <a:ext cx="2951527" cy="2718259"/>
          </a:xfrm>
          <a:prstGeom prst="rect">
            <a:avLst/>
          </a:prstGeom>
          <a:solidFill>
            <a:srgbClr val="008EEE">
              <a:alpha val="10000"/>
            </a:srgbClr>
          </a:solidFill>
          <a:ln>
            <a:noFill/>
          </a:ln>
        </p:spPr>
        <p:txBody>
          <a:bodyPr wrap="square" bIns="0" anchor="t">
            <a:noAutofit/>
          </a:bodyPr>
          <a:lstStyle/>
          <a:p>
            <a:pPr marL="179964" indent="-179964" defTabSz="914217">
              <a:spcAft>
                <a:spcPts val="600"/>
              </a:spcAft>
              <a:defRPr/>
            </a:pPr>
            <a:endParaRPr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45" name="テキスト ボックス 44"/>
          <p:cNvSpPr txBox="1"/>
          <p:nvPr/>
        </p:nvSpPr>
        <p:spPr>
          <a:xfrm>
            <a:off x="6535295" y="3120210"/>
            <a:ext cx="2871147" cy="927893"/>
          </a:xfrm>
          <a:prstGeom prst="rect">
            <a:avLst/>
          </a:prstGeom>
          <a:noFill/>
        </p:spPr>
        <p:txBody>
          <a:bodyPr wrap="square" lIns="35994" tIns="35994" rIns="35994" bIns="35994" rtlCol="0">
            <a:noAutofit/>
          </a:bodyPr>
          <a:lstStyle/>
          <a:p>
            <a:pPr marL="171416" indent="-171416" defTabSz="914217">
              <a:lnSpc>
                <a:spcPts val="1200"/>
              </a:lnSpc>
              <a:buFont typeface="Wingdings" panose="05000000000000000000" pitchFamily="2" charset="2"/>
              <a:buChar char="l"/>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地域住民とのコミュニケーション不足</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171416" indent="-171416" defTabSz="914217">
              <a:lnSpc>
                <a:spcPts val="1200"/>
              </a:lnSpc>
              <a:buFont typeface="Wingdings" panose="05000000000000000000" pitchFamily="2" charset="2"/>
              <a:buChar char="l"/>
              <a:defRPr/>
            </a:pPr>
            <a:r>
              <a:rPr lang="ja-JP" altLang="en-US" sz="1100" b="1" dirty="0">
                <a:solidFill>
                  <a:srgbClr val="000000"/>
                </a:solidFill>
                <a:latin typeface="BIZ UDPゴシック" panose="020B0400000000000000" pitchFamily="50" charset="-128"/>
                <a:ea typeface="BIZ UDPゴシック" panose="020B0400000000000000" pitchFamily="50" charset="-128"/>
              </a:rPr>
              <a:t>二地域居住者等と地域住民を繋ぐ人材の不足</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171416" indent="-171416" defTabSz="914217">
              <a:lnSpc>
                <a:spcPts val="1200"/>
              </a:lnSpc>
              <a:buFont typeface="Wingdings" panose="05000000000000000000" pitchFamily="2" charset="2"/>
              <a:buChar char="l"/>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受け入れる側の自治体の情報発信不足</a:t>
            </a:r>
          </a:p>
        </p:txBody>
      </p:sp>
      <p:sp>
        <p:nvSpPr>
          <p:cNvPr id="46" name="正方形/長方形 45">
            <a:extLst>
              <a:ext uri="{FF2B5EF4-FFF2-40B4-BE49-F238E27FC236}">
                <a16:creationId xmlns:a16="http://schemas.microsoft.com/office/drawing/2014/main" id="{97525752-627C-B6AE-173F-E7BF5BFF98E9}"/>
              </a:ext>
            </a:extLst>
          </p:cNvPr>
          <p:cNvSpPr/>
          <p:nvPr/>
        </p:nvSpPr>
        <p:spPr>
          <a:xfrm>
            <a:off x="496571" y="2823411"/>
            <a:ext cx="2951527" cy="251960"/>
          </a:xfrm>
          <a:prstGeom prst="rect">
            <a:avLst/>
          </a:prstGeom>
          <a:solidFill>
            <a:srgbClr val="008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r>
              <a:rPr lang="ja-JP" altLang="en-US" sz="1400" b="1" dirty="0">
                <a:solidFill>
                  <a:srgbClr val="FFFFFF"/>
                </a:solidFill>
                <a:latin typeface="BIZ UDPゴシック" panose="020B0400000000000000" pitchFamily="50" charset="-128"/>
                <a:ea typeface="BIZ UDPゴシック" panose="020B0400000000000000" pitchFamily="50" charset="-128"/>
              </a:rPr>
              <a:t>住まい（住環境）</a:t>
            </a:r>
            <a:endParaRPr lang="en-US" altLang="ja-JP" sz="1400" b="1" dirty="0">
              <a:solidFill>
                <a:srgbClr val="FFFFFF"/>
              </a:solidFill>
              <a:latin typeface="BIZ UDPゴシック" panose="020B0400000000000000" pitchFamily="50" charset="-128"/>
              <a:ea typeface="BIZ UDPゴシック" panose="020B0400000000000000" pitchFamily="50" charset="-128"/>
            </a:endParaRPr>
          </a:p>
        </p:txBody>
      </p:sp>
      <p:sp>
        <p:nvSpPr>
          <p:cNvPr id="47" name="正方形/長方形 46">
            <a:extLst>
              <a:ext uri="{FF2B5EF4-FFF2-40B4-BE49-F238E27FC236}">
                <a16:creationId xmlns:a16="http://schemas.microsoft.com/office/drawing/2014/main" id="{97525752-627C-B6AE-173F-E7BF5BFF98E9}"/>
              </a:ext>
            </a:extLst>
          </p:cNvPr>
          <p:cNvSpPr/>
          <p:nvPr/>
        </p:nvSpPr>
        <p:spPr>
          <a:xfrm>
            <a:off x="3486456" y="2823411"/>
            <a:ext cx="2951527" cy="251960"/>
          </a:xfrm>
          <a:prstGeom prst="rect">
            <a:avLst/>
          </a:prstGeom>
          <a:solidFill>
            <a:srgbClr val="008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r>
              <a:rPr lang="ja-JP" altLang="en-US" sz="1200" b="1" dirty="0">
                <a:solidFill>
                  <a:srgbClr val="FFFFFF"/>
                </a:solidFill>
                <a:latin typeface="BIZ UDPゴシック" panose="020B0400000000000000" pitchFamily="50" charset="-128"/>
                <a:ea typeface="BIZ UDPゴシック" panose="020B0400000000000000" pitchFamily="50" charset="-128"/>
              </a:rPr>
              <a:t>なりわい</a:t>
            </a:r>
            <a:r>
              <a:rPr lang="en-US" altLang="ja-JP" sz="1200" b="1" dirty="0">
                <a:solidFill>
                  <a:srgbClr val="FFFFFF"/>
                </a:solidFill>
                <a:latin typeface="BIZ UDPゴシック" panose="020B0400000000000000" pitchFamily="50" charset="-128"/>
                <a:ea typeface="BIZ UDPゴシック" panose="020B0400000000000000" pitchFamily="50" charset="-128"/>
              </a:rPr>
              <a:t>(</a:t>
            </a:r>
            <a:r>
              <a:rPr lang="ja-JP" altLang="en-US" sz="1200" b="1" dirty="0">
                <a:solidFill>
                  <a:srgbClr val="FFFFFF"/>
                </a:solidFill>
                <a:latin typeface="BIZ UDPゴシック" panose="020B0400000000000000" pitchFamily="50" charset="-128"/>
                <a:ea typeface="BIZ UDPゴシック" panose="020B0400000000000000" pitchFamily="50" charset="-128"/>
              </a:rPr>
              <a:t>仕事</a:t>
            </a:r>
            <a:r>
              <a:rPr lang="en-US" altLang="ja-JP" sz="1200" b="1" dirty="0">
                <a:solidFill>
                  <a:srgbClr val="FFFFFF"/>
                </a:solidFill>
                <a:latin typeface="BIZ UDPゴシック" panose="020B0400000000000000" pitchFamily="50" charset="-128"/>
                <a:ea typeface="BIZ UDPゴシック" panose="020B0400000000000000" pitchFamily="50" charset="-128"/>
              </a:rPr>
              <a:t>)</a:t>
            </a:r>
            <a:r>
              <a:rPr lang="ja-JP" altLang="en-US" sz="1200" b="1" dirty="0">
                <a:solidFill>
                  <a:srgbClr val="FFFFFF"/>
                </a:solidFill>
                <a:latin typeface="BIZ UDPゴシック" panose="020B0400000000000000" pitchFamily="50" charset="-128"/>
                <a:ea typeface="BIZ UDPゴシック" panose="020B0400000000000000" pitchFamily="50" charset="-128"/>
              </a:rPr>
              <a:t>の確保・新しい働き方</a:t>
            </a:r>
            <a:endParaRPr lang="en-US" altLang="ja-JP" sz="1200" b="1" dirty="0">
              <a:solidFill>
                <a:srgbClr val="FFFFFF"/>
              </a:solidFill>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97525752-627C-B6AE-173F-E7BF5BFF98E9}"/>
              </a:ext>
            </a:extLst>
          </p:cNvPr>
          <p:cNvSpPr/>
          <p:nvPr/>
        </p:nvSpPr>
        <p:spPr>
          <a:xfrm>
            <a:off x="6477804" y="2823413"/>
            <a:ext cx="3021226" cy="229588"/>
          </a:xfrm>
          <a:prstGeom prst="rect">
            <a:avLst/>
          </a:prstGeom>
          <a:solidFill>
            <a:srgbClr val="008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r>
              <a:rPr lang="ja-JP" altLang="en-US" sz="1400" b="1" dirty="0">
                <a:solidFill>
                  <a:srgbClr val="FFFFFF"/>
                </a:solidFill>
                <a:latin typeface="BIZ UDPゴシック" panose="020B0400000000000000" pitchFamily="50" charset="-128"/>
                <a:ea typeface="BIZ UDPゴシック" panose="020B0400000000000000" pitchFamily="50" charset="-128"/>
              </a:rPr>
              <a:t>コミュニティ（地域づくりへの参加）</a:t>
            </a:r>
            <a:endParaRPr lang="en-US" altLang="ja-JP" sz="1400" b="1" dirty="0">
              <a:solidFill>
                <a:srgbClr val="FFFFFF"/>
              </a:solidFill>
              <a:latin typeface="BIZ UDPゴシック" panose="020B0400000000000000" pitchFamily="50" charset="-128"/>
              <a:ea typeface="BIZ UDPゴシック" panose="020B0400000000000000" pitchFamily="50" charset="-128"/>
            </a:endParaRPr>
          </a:p>
        </p:txBody>
      </p:sp>
      <p:sp>
        <p:nvSpPr>
          <p:cNvPr id="49" name="テキスト ボックス 48"/>
          <p:cNvSpPr txBox="1"/>
          <p:nvPr/>
        </p:nvSpPr>
        <p:spPr>
          <a:xfrm>
            <a:off x="3425371" y="3120210"/>
            <a:ext cx="3106711" cy="881063"/>
          </a:xfrm>
          <a:prstGeom prst="rect">
            <a:avLst/>
          </a:prstGeom>
          <a:noFill/>
        </p:spPr>
        <p:txBody>
          <a:bodyPr wrap="square" lIns="35994" tIns="35994" rIns="35994" bIns="35994" rtlCol="0">
            <a:noAutofit/>
          </a:bodyPr>
          <a:lstStyle/>
          <a:p>
            <a:pPr marL="171416" indent="-171416" defTabSz="914217">
              <a:lnSpc>
                <a:spcPts val="1200"/>
              </a:lnSpc>
              <a:spcBef>
                <a:spcPts val="300"/>
              </a:spcBef>
              <a:buFont typeface="Wingdings" panose="05000000000000000000" pitchFamily="2" charset="2"/>
              <a:buChar char="l"/>
              <a:defRPr/>
            </a:pPr>
            <a:r>
              <a:rPr lang="ja-JP" altLang="en-US" sz="1100" b="1" dirty="0">
                <a:solidFill>
                  <a:srgbClr val="000000"/>
                </a:solidFill>
                <a:latin typeface="BIZ UDPゴシック" panose="020B0400000000000000" pitchFamily="50" charset="-128"/>
                <a:ea typeface="BIZ UDPゴシック" panose="020B0400000000000000" pitchFamily="50" charset="-128"/>
              </a:rPr>
              <a:t>テレワークに対応した仕事環境がほしい</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171416" indent="-171416" defTabSz="914217">
              <a:lnSpc>
                <a:spcPts val="1200"/>
              </a:lnSpc>
              <a:spcBef>
                <a:spcPts val="300"/>
              </a:spcBef>
              <a:buFont typeface="Wingdings" panose="05000000000000000000" pitchFamily="2" charset="2"/>
              <a:buChar char="l"/>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副業・兼業などの新しい働き方を地方でしたい</a:t>
            </a:r>
          </a:p>
        </p:txBody>
      </p:sp>
      <p:sp>
        <p:nvSpPr>
          <p:cNvPr id="50" name="テキスト ボックス 49"/>
          <p:cNvSpPr txBox="1"/>
          <p:nvPr/>
        </p:nvSpPr>
        <p:spPr>
          <a:xfrm>
            <a:off x="588824" y="3120212"/>
            <a:ext cx="2873185" cy="702744"/>
          </a:xfrm>
          <a:prstGeom prst="rect">
            <a:avLst/>
          </a:prstGeom>
          <a:noFill/>
        </p:spPr>
        <p:txBody>
          <a:bodyPr wrap="square" lIns="35994" tIns="35994" rIns="35994" bIns="35994" rtlCol="0">
            <a:noAutofit/>
          </a:bodyPr>
          <a:lstStyle/>
          <a:p>
            <a:pPr marL="171416" indent="-171416" defTabSz="914217">
              <a:lnSpc>
                <a:spcPts val="1200"/>
              </a:lnSpc>
              <a:spcBef>
                <a:spcPts val="300"/>
              </a:spcBef>
              <a:buFont typeface="Wingdings" panose="05000000000000000000" pitchFamily="2" charset="2"/>
              <a:buChar char="l"/>
              <a:defRPr/>
            </a:pPr>
            <a:r>
              <a:rPr lang="ja-JP" altLang="en-US" sz="900" b="1" dirty="0">
                <a:solidFill>
                  <a:srgbClr val="000000"/>
                </a:solidFill>
                <a:latin typeface="BIZ UDPゴシック" panose="020B0400000000000000" pitchFamily="50" charset="-128"/>
                <a:ea typeface="BIZ UDPゴシック" panose="020B0400000000000000" pitchFamily="50" charset="-128"/>
              </a:rPr>
              <a:t>住みたいのに住まいがない</a:t>
            </a:r>
            <a:endParaRPr lang="en-US" altLang="ja-JP" sz="900" b="1" dirty="0">
              <a:solidFill>
                <a:srgbClr val="000000"/>
              </a:solidFill>
              <a:latin typeface="BIZ UDPゴシック" panose="020B0400000000000000" pitchFamily="50" charset="-128"/>
              <a:ea typeface="BIZ UDPゴシック" panose="020B0400000000000000" pitchFamily="50" charset="-128"/>
            </a:endParaRPr>
          </a:p>
          <a:p>
            <a:pPr marL="171416" indent="-171416" defTabSz="914217">
              <a:lnSpc>
                <a:spcPts val="1200"/>
              </a:lnSpc>
              <a:spcBef>
                <a:spcPts val="300"/>
              </a:spcBef>
              <a:buFont typeface="Wingdings" panose="05000000000000000000" pitchFamily="2" charset="2"/>
              <a:buChar char="l"/>
              <a:defRPr/>
            </a:pPr>
            <a:r>
              <a:rPr lang="ja-JP" altLang="en-US" sz="900" b="1" dirty="0">
                <a:solidFill>
                  <a:srgbClr val="000000"/>
                </a:solidFill>
                <a:latin typeface="BIZ UDPゴシック" panose="020B0400000000000000" pitchFamily="50" charset="-128"/>
                <a:ea typeface="BIZ UDPゴシック" panose="020B0400000000000000" pitchFamily="50" charset="-128"/>
              </a:rPr>
              <a:t>貸す側・借りる側への公的支援があると助かる</a:t>
            </a:r>
            <a:endParaRPr lang="en-US" altLang="ja-JP" sz="900" b="1" dirty="0">
              <a:solidFill>
                <a:srgbClr val="000000"/>
              </a:solidFill>
              <a:latin typeface="BIZ UDPゴシック" panose="020B0400000000000000" pitchFamily="50" charset="-128"/>
              <a:ea typeface="BIZ UDPゴシック" panose="020B0400000000000000" pitchFamily="50" charset="-128"/>
            </a:endParaRPr>
          </a:p>
          <a:p>
            <a:pPr marL="171416" indent="-171416" defTabSz="914217">
              <a:lnSpc>
                <a:spcPts val="1200"/>
              </a:lnSpc>
              <a:spcBef>
                <a:spcPts val="300"/>
              </a:spcBef>
              <a:buFont typeface="Wingdings" panose="05000000000000000000" pitchFamily="2" charset="2"/>
              <a:buChar char="l"/>
              <a:defRPr/>
            </a:pPr>
            <a:r>
              <a:rPr lang="ja-JP" altLang="en-US" sz="900" b="1" dirty="0">
                <a:solidFill>
                  <a:srgbClr val="000000"/>
                </a:solidFill>
                <a:latin typeface="BIZ UDPゴシック" panose="020B0400000000000000" pitchFamily="50" charset="-128"/>
                <a:ea typeface="BIZ UDPゴシック" panose="020B0400000000000000" pitchFamily="50" charset="-128"/>
              </a:rPr>
              <a:t>いきなり移住は難しいので居住体験したい</a:t>
            </a:r>
            <a:endParaRPr lang="en-US" altLang="ja-JP" sz="900" b="1" dirty="0">
              <a:solidFill>
                <a:srgbClr val="000000"/>
              </a:solidFill>
              <a:latin typeface="BIZ UDPゴシック" panose="020B0400000000000000" pitchFamily="50" charset="-128"/>
              <a:ea typeface="BIZ UDPゴシック" panose="020B0400000000000000" pitchFamily="50" charset="-128"/>
            </a:endParaRPr>
          </a:p>
          <a:p>
            <a:pPr marL="171416" indent="-171416" defTabSz="914217">
              <a:lnSpc>
                <a:spcPts val="1200"/>
              </a:lnSpc>
              <a:spcBef>
                <a:spcPts val="300"/>
              </a:spcBef>
              <a:buFont typeface="Wingdings" panose="05000000000000000000" pitchFamily="2" charset="2"/>
              <a:buChar char="l"/>
              <a:defRPr/>
            </a:pPr>
            <a:r>
              <a:rPr lang="ja-JP" altLang="en-US" sz="900" b="1" dirty="0">
                <a:solidFill>
                  <a:srgbClr val="000000"/>
                </a:solidFill>
                <a:latin typeface="BIZ UDPゴシック" panose="020B0400000000000000" pitchFamily="50" charset="-128"/>
                <a:ea typeface="BIZ UDPゴシック" panose="020B0400000000000000" pitchFamily="50" charset="-128"/>
              </a:rPr>
              <a:t>子育て・移動など生活利便性等の住生活環境の充実</a:t>
            </a:r>
            <a:endParaRPr lang="en-US" altLang="ja-JP" sz="900" b="1" dirty="0">
              <a:solidFill>
                <a:srgbClr val="000000"/>
              </a:solidFill>
              <a:latin typeface="BIZ UDPゴシック" panose="020B0400000000000000" pitchFamily="50" charset="-128"/>
              <a:ea typeface="BIZ UDPゴシック" panose="020B0400000000000000" pitchFamily="50" charset="-128"/>
            </a:endParaRPr>
          </a:p>
        </p:txBody>
      </p:sp>
      <p:sp>
        <p:nvSpPr>
          <p:cNvPr id="51" name="角丸四角形 50"/>
          <p:cNvSpPr/>
          <p:nvPr/>
        </p:nvSpPr>
        <p:spPr>
          <a:xfrm>
            <a:off x="528128" y="3873067"/>
            <a:ext cx="2904734" cy="1809217"/>
          </a:xfrm>
          <a:prstGeom prst="roundRect">
            <a:avLst>
              <a:gd name="adj" fmla="val 518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53" name="テキスト ボックス 52"/>
          <p:cNvSpPr txBox="1"/>
          <p:nvPr/>
        </p:nvSpPr>
        <p:spPr>
          <a:xfrm>
            <a:off x="497973" y="3880148"/>
            <a:ext cx="2889166" cy="1010248"/>
          </a:xfrm>
          <a:prstGeom prst="rect">
            <a:avLst/>
          </a:prstGeom>
          <a:noFill/>
        </p:spPr>
        <p:txBody>
          <a:bodyPr wrap="square" lIns="35994" tIns="35994" rIns="35994" bIns="35994" rtlCol="0">
            <a:noAutofit/>
          </a:bodyPr>
          <a:lstStyle/>
          <a:p>
            <a:pPr marL="179964" indent="-179964" defTabSz="914217">
              <a:lnSpc>
                <a:spcPts val="1100"/>
              </a:lnSpc>
              <a:spcBef>
                <a:spcPts val="300"/>
              </a:spcBef>
              <a:buClr>
                <a:srgbClr val="000000"/>
              </a:buClr>
              <a:buFont typeface="Wingdings" panose="05000000000000000000" pitchFamily="2" charset="2"/>
              <a:buChar char="ü"/>
              <a:defRPr/>
            </a:pPr>
            <a:r>
              <a:rPr lang="ja-JP" altLang="en-US" sz="1050" b="1" spc="-100" dirty="0">
                <a:solidFill>
                  <a:srgbClr val="000000"/>
                </a:solidFill>
                <a:latin typeface="BIZ UDPゴシック" panose="020B0400000000000000" pitchFamily="50" charset="-128"/>
                <a:ea typeface="BIZ UDPゴシック" panose="020B0400000000000000" pitchFamily="50" charset="-128"/>
              </a:rPr>
              <a:t>空き家の活用支援やシェアハウス等の活用・整備</a:t>
            </a:r>
            <a:endParaRPr lang="en-US" altLang="ja-JP" sz="1050" b="1" spc="-100" dirty="0">
              <a:solidFill>
                <a:srgbClr val="000000"/>
              </a:solidFill>
              <a:latin typeface="BIZ UDPゴシック" panose="020B0400000000000000" pitchFamily="50" charset="-128"/>
              <a:ea typeface="BIZ UDPゴシック" panose="020B0400000000000000" pitchFamily="50" charset="-128"/>
            </a:endParaRPr>
          </a:p>
          <a:p>
            <a:pPr marL="179964" indent="-179964" defTabSz="914217">
              <a:lnSpc>
                <a:spcPts val="1100"/>
              </a:lnSpc>
              <a:spcBef>
                <a:spcPts val="300"/>
              </a:spcBef>
              <a:buClr>
                <a:srgbClr val="000000"/>
              </a:buClr>
              <a:buFont typeface="Wingdings" panose="05000000000000000000" pitchFamily="2" charset="2"/>
              <a:buChar char="ü"/>
              <a:defRPr/>
            </a:pPr>
            <a:r>
              <a:rPr lang="ja-JP" altLang="en-US" sz="1050" b="1" dirty="0">
                <a:solidFill>
                  <a:srgbClr val="000000"/>
                </a:solidFill>
                <a:latin typeface="BIZ UDPゴシック" panose="020B0400000000000000" pitchFamily="50" charset="-128"/>
                <a:ea typeface="BIZ UDPゴシック" panose="020B0400000000000000" pitchFamily="50" charset="-128"/>
              </a:rPr>
              <a:t>若者・ファミリー層の住宅取得や改修等のコスト面の支援</a:t>
            </a:r>
            <a:endParaRPr lang="en-US" altLang="ja-JP" sz="1050" b="1" dirty="0">
              <a:solidFill>
                <a:srgbClr val="000000"/>
              </a:solidFill>
              <a:latin typeface="BIZ UDPゴシック" panose="020B0400000000000000" pitchFamily="50" charset="-128"/>
              <a:ea typeface="BIZ UDPゴシック" panose="020B0400000000000000" pitchFamily="50" charset="-128"/>
            </a:endParaRPr>
          </a:p>
          <a:p>
            <a:pPr marL="179964" indent="-179964" defTabSz="914217">
              <a:lnSpc>
                <a:spcPts val="1100"/>
              </a:lnSpc>
              <a:spcBef>
                <a:spcPts val="300"/>
              </a:spcBef>
              <a:buClr>
                <a:srgbClr val="000000"/>
              </a:buClr>
              <a:buFont typeface="Wingdings" panose="05000000000000000000" pitchFamily="2" charset="2"/>
              <a:buChar char="ü"/>
              <a:defRPr/>
            </a:pPr>
            <a:r>
              <a:rPr lang="ja-JP" altLang="en-US" sz="1050" b="1" dirty="0">
                <a:solidFill>
                  <a:srgbClr val="000000"/>
                </a:solidFill>
                <a:latin typeface="BIZ UDPゴシック" panose="020B0400000000000000" pitchFamily="50" charset="-128"/>
                <a:ea typeface="BIZ UDPゴシック" panose="020B0400000000000000" pitchFamily="50" charset="-128"/>
              </a:rPr>
              <a:t>お試し居住、長期滞在等の促進</a:t>
            </a:r>
            <a:endParaRPr lang="en-US" altLang="ja-JP" sz="1050" b="1" dirty="0">
              <a:solidFill>
                <a:srgbClr val="000000"/>
              </a:solidFill>
              <a:latin typeface="BIZ UDPゴシック" panose="020B0400000000000000" pitchFamily="50" charset="-128"/>
              <a:ea typeface="BIZ UDPゴシック" panose="020B0400000000000000" pitchFamily="50" charset="-128"/>
            </a:endParaRPr>
          </a:p>
          <a:p>
            <a:pPr marL="179964" indent="-179964" defTabSz="914217">
              <a:lnSpc>
                <a:spcPts val="1100"/>
              </a:lnSpc>
              <a:spcBef>
                <a:spcPts val="300"/>
              </a:spcBef>
              <a:buClr>
                <a:srgbClr val="000000"/>
              </a:buClr>
              <a:buFont typeface="Wingdings" panose="05000000000000000000" pitchFamily="2" charset="2"/>
              <a:buChar char="ü"/>
              <a:defRPr/>
            </a:pPr>
            <a:r>
              <a:rPr lang="ja-JP" altLang="en-US" sz="1050" b="1" dirty="0">
                <a:solidFill>
                  <a:srgbClr val="000000"/>
                </a:solidFill>
                <a:latin typeface="BIZ UDPゴシック" panose="020B0400000000000000" pitchFamily="50" charset="-128"/>
                <a:ea typeface="BIZ UDPゴシック" panose="020B0400000000000000" pitchFamily="50" charset="-128"/>
              </a:rPr>
              <a:t>オンデマンド交通やデジタルの活用等による生活環境の向上</a:t>
            </a:r>
          </a:p>
        </p:txBody>
      </p:sp>
      <p:sp>
        <p:nvSpPr>
          <p:cNvPr id="78" name="正方形/長方形 77"/>
          <p:cNvSpPr/>
          <p:nvPr/>
        </p:nvSpPr>
        <p:spPr>
          <a:xfrm>
            <a:off x="503473" y="5637842"/>
            <a:ext cx="8999748" cy="1181658"/>
          </a:xfrm>
          <a:prstGeom prst="rect">
            <a:avLst/>
          </a:prstGeom>
          <a:solidFill>
            <a:srgbClr val="008EEE">
              <a:alpha val="10000"/>
            </a:srgbClr>
          </a:solidFill>
          <a:ln>
            <a:noFill/>
          </a:ln>
        </p:spPr>
        <p:txBody>
          <a:bodyPr wrap="square" bIns="0" anchor="t">
            <a:noAutofit/>
          </a:bodyPr>
          <a:lstStyle/>
          <a:p>
            <a:pPr marL="179964" indent="-179964" defTabSz="914217">
              <a:spcAft>
                <a:spcPts val="600"/>
              </a:spcAft>
              <a:defRPr/>
            </a:pPr>
            <a:endParaRPr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80" name="正方形/長方形 79">
            <a:extLst>
              <a:ext uri="{FF2B5EF4-FFF2-40B4-BE49-F238E27FC236}">
                <a16:creationId xmlns:a16="http://schemas.microsoft.com/office/drawing/2014/main" id="{97525752-627C-B6AE-173F-E7BF5BFF98E9}"/>
              </a:ext>
            </a:extLst>
          </p:cNvPr>
          <p:cNvSpPr/>
          <p:nvPr/>
        </p:nvSpPr>
        <p:spPr>
          <a:xfrm>
            <a:off x="496571" y="5650878"/>
            <a:ext cx="1407048" cy="220827"/>
          </a:xfrm>
          <a:prstGeom prst="rect">
            <a:avLst/>
          </a:prstGeom>
          <a:solidFill>
            <a:srgbClr val="008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r>
              <a:rPr lang="ja-JP" altLang="en-US" sz="1100" b="1" dirty="0">
                <a:solidFill>
                  <a:srgbClr val="FFFFFF"/>
                </a:solidFill>
                <a:latin typeface="BIZ UDPゴシック" panose="020B0400000000000000" pitchFamily="50" charset="-128"/>
                <a:ea typeface="BIZ UDPゴシック" panose="020B0400000000000000" pitchFamily="50" charset="-128"/>
              </a:rPr>
              <a:t>横断的事項</a:t>
            </a:r>
            <a:endParaRPr lang="en-US" altLang="ja-JP" sz="1100" b="1" spc="-100" dirty="0">
              <a:solidFill>
                <a:srgbClr val="FFFFFF"/>
              </a:solidFill>
              <a:latin typeface="BIZ UDPゴシック" panose="020B0400000000000000" pitchFamily="50" charset="-128"/>
              <a:ea typeface="BIZ UDPゴシック" panose="020B0400000000000000" pitchFamily="50" charset="-128"/>
            </a:endParaRPr>
          </a:p>
        </p:txBody>
      </p:sp>
      <p:sp>
        <p:nvSpPr>
          <p:cNvPr id="54" name="角丸四角形 53"/>
          <p:cNvSpPr/>
          <p:nvPr/>
        </p:nvSpPr>
        <p:spPr>
          <a:xfrm>
            <a:off x="4311935" y="5741266"/>
            <a:ext cx="5164530" cy="96305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sz="1100">
              <a:solidFill>
                <a:srgbClr val="000000"/>
              </a:solidFill>
              <a:latin typeface="BIZ UDPゴシック" panose="020B0400000000000000" pitchFamily="50" charset="-128"/>
              <a:ea typeface="BIZ UDPゴシック" panose="020B0400000000000000" pitchFamily="50" charset="-128"/>
            </a:endParaRPr>
          </a:p>
        </p:txBody>
      </p:sp>
      <p:sp>
        <p:nvSpPr>
          <p:cNvPr id="63" name="テキスト ボックス 62"/>
          <p:cNvSpPr txBox="1"/>
          <p:nvPr/>
        </p:nvSpPr>
        <p:spPr>
          <a:xfrm>
            <a:off x="261802" y="3275865"/>
            <a:ext cx="346812" cy="473439"/>
          </a:xfrm>
          <a:prstGeom prst="rect">
            <a:avLst/>
          </a:prstGeom>
          <a:noFill/>
        </p:spPr>
        <p:txBody>
          <a:bodyPr vert="eaVert" wrap="square" lIns="35994" tIns="35994" rIns="35994" bIns="35994" rtlCol="0">
            <a:noAutofit/>
          </a:bodyPr>
          <a:lstStyle/>
          <a:p>
            <a:pPr defTabSz="914217">
              <a:spcBef>
                <a:spcPts val="300"/>
              </a:spcBef>
              <a:defRPr/>
            </a:pPr>
            <a:r>
              <a:rPr lang="ja-JP" altLang="en-US" sz="1100" b="1" dirty="0">
                <a:solidFill>
                  <a:srgbClr val="333399"/>
                </a:solidFill>
                <a:latin typeface="BIZ UDPゴシック" panose="020B0400000000000000" pitchFamily="50" charset="-128"/>
                <a:ea typeface="BIZ UDPゴシック" panose="020B0400000000000000" pitchFamily="50" charset="-128"/>
              </a:rPr>
              <a:t>課題</a:t>
            </a:r>
            <a:endParaRPr lang="en-US" altLang="ja-JP" sz="1100" b="1" dirty="0">
              <a:solidFill>
                <a:srgbClr val="333399"/>
              </a:solidFill>
              <a:latin typeface="BIZ UDPゴシック" panose="020B0400000000000000" pitchFamily="50" charset="-128"/>
              <a:ea typeface="BIZ UDPゴシック" panose="020B0400000000000000" pitchFamily="50" charset="-128"/>
            </a:endParaRPr>
          </a:p>
        </p:txBody>
      </p:sp>
      <p:sp>
        <p:nvSpPr>
          <p:cNvPr id="65" name="テキスト ボックス 64"/>
          <p:cNvSpPr txBox="1"/>
          <p:nvPr/>
        </p:nvSpPr>
        <p:spPr>
          <a:xfrm>
            <a:off x="261802" y="4416595"/>
            <a:ext cx="346812" cy="909665"/>
          </a:xfrm>
          <a:prstGeom prst="rect">
            <a:avLst/>
          </a:prstGeom>
          <a:noFill/>
        </p:spPr>
        <p:txBody>
          <a:bodyPr vert="eaVert" wrap="square" lIns="35994" tIns="35994" rIns="35994" bIns="35994" rtlCol="0">
            <a:noAutofit/>
          </a:bodyPr>
          <a:lstStyle/>
          <a:p>
            <a:pPr defTabSz="914217">
              <a:spcBef>
                <a:spcPts val="300"/>
              </a:spcBef>
              <a:defRPr/>
            </a:pPr>
            <a:r>
              <a:rPr lang="ja-JP" altLang="en-US" sz="1100" b="1" dirty="0">
                <a:solidFill>
                  <a:srgbClr val="333399"/>
                </a:solidFill>
                <a:latin typeface="BIZ UDPゴシック" panose="020B0400000000000000" pitchFamily="50" charset="-128"/>
                <a:ea typeface="BIZ UDPゴシック" panose="020B0400000000000000" pitchFamily="50" charset="-128"/>
              </a:rPr>
              <a:t>対応の方向性</a:t>
            </a:r>
            <a:endParaRPr lang="en-US" altLang="ja-JP" sz="1100" b="1" dirty="0">
              <a:solidFill>
                <a:srgbClr val="333399"/>
              </a:solidFill>
              <a:latin typeface="BIZ UDPゴシック" panose="020B0400000000000000" pitchFamily="50" charset="-128"/>
              <a:ea typeface="BIZ UDPゴシック" panose="020B0400000000000000" pitchFamily="50" charset="-128"/>
            </a:endParaRPr>
          </a:p>
        </p:txBody>
      </p:sp>
      <p:sp>
        <p:nvSpPr>
          <p:cNvPr id="64" name="テキスト ボックス 63"/>
          <p:cNvSpPr txBox="1"/>
          <p:nvPr/>
        </p:nvSpPr>
        <p:spPr>
          <a:xfrm>
            <a:off x="6516486" y="3880150"/>
            <a:ext cx="2912845" cy="1113672"/>
          </a:xfrm>
          <a:prstGeom prst="rect">
            <a:avLst/>
          </a:prstGeom>
          <a:noFill/>
        </p:spPr>
        <p:txBody>
          <a:bodyPr wrap="square" lIns="35994" tIns="35994" rIns="35994" bIns="35994" rtlCol="0">
            <a:noAutofit/>
          </a:bodyPr>
          <a:lstStyle/>
          <a:p>
            <a:pPr marL="215957" indent="-215957" defTabSz="914217">
              <a:lnSpc>
                <a:spcPts val="1200"/>
              </a:lnSpc>
              <a:spcBef>
                <a:spcPts val="300"/>
              </a:spcBef>
              <a:buClr>
                <a:srgbClr val="000000"/>
              </a:buClr>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定住・交流促進施設の整備（廃校の活用）等による地域交流の場の創出</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215957" indent="-215957" defTabSz="914217">
              <a:lnSpc>
                <a:spcPts val="1200"/>
              </a:lnSpc>
              <a:spcBef>
                <a:spcPts val="300"/>
              </a:spcBef>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二地域居住者等が円滑に地域のコミュニティに溶け込めるような仕組みづくり</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215957" indent="-215957" defTabSz="914217">
              <a:lnSpc>
                <a:spcPts val="1200"/>
              </a:lnSpc>
              <a:spcBef>
                <a:spcPts val="300"/>
              </a:spcBef>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地域のビジョンやどんな人に来てほしいか等の自治体の情報発信</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p:txBody>
      </p:sp>
      <p:sp>
        <p:nvSpPr>
          <p:cNvPr id="56" name="テキスト ボックス 55"/>
          <p:cNvSpPr txBox="1"/>
          <p:nvPr/>
        </p:nvSpPr>
        <p:spPr>
          <a:xfrm>
            <a:off x="4368137" y="5862591"/>
            <a:ext cx="5090143" cy="778320"/>
          </a:xfrm>
          <a:prstGeom prst="rect">
            <a:avLst/>
          </a:prstGeom>
          <a:noFill/>
        </p:spPr>
        <p:txBody>
          <a:bodyPr wrap="square" lIns="35994" tIns="35994" rIns="35994" bIns="35994" rtlCol="0">
            <a:noAutofit/>
          </a:bodyPr>
          <a:lstStyle/>
          <a:p>
            <a:pPr marL="215957" indent="-215957" defTabSz="914217">
              <a:lnSpc>
                <a:spcPts val="1000"/>
              </a:lnSpc>
              <a:spcBef>
                <a:spcPts val="300"/>
              </a:spcBef>
              <a:buClr>
                <a:srgbClr val="000000"/>
              </a:buClr>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官民連携、都道府県・市町村連携による広域連携など、多様な主体による連携体制づくり</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215957" indent="-215957" defTabSz="914217">
              <a:lnSpc>
                <a:spcPts val="1000"/>
              </a:lnSpc>
              <a:spcBef>
                <a:spcPts val="300"/>
              </a:spcBef>
              <a:buClr>
                <a:srgbClr val="000000"/>
              </a:buClr>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保育・教育環境の整備（区域外就学制度の周知など）</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215957" indent="-215957" defTabSz="914217">
              <a:lnSpc>
                <a:spcPts val="1000"/>
              </a:lnSpc>
              <a:spcBef>
                <a:spcPts val="300"/>
              </a:spcBef>
              <a:buClr>
                <a:srgbClr val="000000"/>
              </a:buClr>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国・自治体の新旧の様々な支援メニュー、民間事業者の取組みなどの情報共有・発信の場の創出</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p:txBody>
      </p:sp>
      <p:sp>
        <p:nvSpPr>
          <p:cNvPr id="79" name="テキスト ボックス 78"/>
          <p:cNvSpPr txBox="1"/>
          <p:nvPr/>
        </p:nvSpPr>
        <p:spPr>
          <a:xfrm>
            <a:off x="534246" y="5847875"/>
            <a:ext cx="3750933" cy="985570"/>
          </a:xfrm>
          <a:prstGeom prst="rect">
            <a:avLst/>
          </a:prstGeom>
          <a:noFill/>
        </p:spPr>
        <p:txBody>
          <a:bodyPr wrap="square" lIns="35994" tIns="35994" rIns="35994" bIns="35994" rtlCol="0">
            <a:noAutofit/>
          </a:bodyPr>
          <a:lstStyle/>
          <a:p>
            <a:pPr marL="171416" indent="-171416" defTabSz="914217">
              <a:lnSpc>
                <a:spcPts val="1200"/>
              </a:lnSpc>
              <a:buFont typeface="Wingdings" panose="05000000000000000000" pitchFamily="2" charset="2"/>
              <a:buChar char="l"/>
              <a:defRPr/>
            </a:pPr>
            <a:r>
              <a:rPr lang="ja-JP" altLang="en-US" sz="1100" b="1" dirty="0">
                <a:solidFill>
                  <a:srgbClr val="000000"/>
                </a:solidFill>
                <a:latin typeface="BIZ UDPゴシック" panose="020B0400000000000000" pitchFamily="50" charset="-128"/>
                <a:ea typeface="BIZ UDPゴシック" panose="020B0400000000000000" pitchFamily="50" charset="-128"/>
              </a:rPr>
              <a:t>自治体の人手や空き家活用等に関する専門的知識の不足</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171416" indent="-171416" defTabSz="914217">
              <a:lnSpc>
                <a:spcPts val="1200"/>
              </a:lnSpc>
              <a:buFont typeface="Wingdings" panose="05000000000000000000" pitchFamily="2" charset="2"/>
              <a:buChar char="l"/>
              <a:defRPr/>
            </a:pPr>
            <a:r>
              <a:rPr lang="ja-JP" altLang="en-US" sz="1100" b="1" dirty="0">
                <a:solidFill>
                  <a:srgbClr val="000000"/>
                </a:solidFill>
                <a:latin typeface="BIZ UDPゴシック" panose="020B0400000000000000" pitchFamily="50" charset="-128"/>
                <a:ea typeface="BIZ UDPゴシック" panose="020B0400000000000000" pitchFamily="50" charset="-128"/>
              </a:rPr>
              <a:t>住まい・なりわい等の官民連携</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171416" indent="-171416" defTabSz="914217">
              <a:lnSpc>
                <a:spcPts val="1200"/>
              </a:lnSpc>
              <a:buFont typeface="Wingdings" panose="05000000000000000000" pitchFamily="2" charset="2"/>
              <a:buChar char="l"/>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学びの環境づくり</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171416" indent="-171416" defTabSz="914217">
              <a:lnSpc>
                <a:spcPts val="1200"/>
              </a:lnSpc>
              <a:buFont typeface="Wingdings" panose="05000000000000000000" pitchFamily="2" charset="2"/>
              <a:buChar char="l"/>
              <a:defRPr/>
            </a:pPr>
            <a:r>
              <a:rPr lang="ja-JP" altLang="en-US" sz="1100" b="1" dirty="0">
                <a:solidFill>
                  <a:srgbClr val="000000"/>
                </a:solidFill>
                <a:latin typeface="BIZ UDPゴシック" panose="020B0400000000000000" pitchFamily="50" charset="-128"/>
                <a:ea typeface="BIZ UDPゴシック" panose="020B0400000000000000" pitchFamily="50" charset="-128"/>
              </a:rPr>
              <a:t>実践者の取組や、人口規模別の先導地域の情報共有</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p:txBody>
      </p:sp>
      <p:sp>
        <p:nvSpPr>
          <p:cNvPr id="6" name="コンテンツ プレースホルダー 2">
            <a:extLst>
              <a:ext uri="{FF2B5EF4-FFF2-40B4-BE49-F238E27FC236}">
                <a16:creationId xmlns:a16="http://schemas.microsoft.com/office/drawing/2014/main" id="{87253687-8E2D-A098-ACE4-07CA2737F538}"/>
              </a:ext>
            </a:extLst>
          </p:cNvPr>
          <p:cNvSpPr txBox="1">
            <a:spLocks/>
          </p:cNvSpPr>
          <p:nvPr/>
        </p:nvSpPr>
        <p:spPr>
          <a:xfrm>
            <a:off x="393252" y="1713968"/>
            <a:ext cx="5458644" cy="1104540"/>
          </a:xfrm>
          <a:prstGeom prst="rect">
            <a:avLst/>
          </a:prstGeom>
          <a:noFill/>
          <a:ln>
            <a:noFill/>
            <a:prstDash val="sysDash"/>
          </a:ln>
        </p:spPr>
        <p:style>
          <a:lnRef idx="2">
            <a:schemeClr val="dk1"/>
          </a:lnRef>
          <a:fillRef idx="1">
            <a:schemeClr val="lt1"/>
          </a:fillRef>
          <a:effectRef idx="0">
            <a:schemeClr val="dk1"/>
          </a:effectRef>
          <a:fontRef idx="minor">
            <a:schemeClr val="dk1"/>
          </a:fontRef>
        </p:style>
        <p:txBody>
          <a:bodyPr vert="horz" wrap="square" lIns="91425" tIns="45713" rIns="91425" bIns="45713" numCol="1" anchor="t" anchorCtr="0" compatLnSpc="1">
            <a:prstTxWarp prst="textNoShape">
              <a:avLst/>
            </a:prstTxWarp>
          </a:bodyPr>
          <a:lstStyle>
            <a:lvl1pPr marL="316531" indent="-316531" algn="l" rtl="0" eaLnBrk="1" fontAlgn="base" hangingPunct="1">
              <a:spcBef>
                <a:spcPct val="20000"/>
              </a:spcBef>
              <a:spcAft>
                <a:spcPct val="0"/>
              </a:spcAft>
              <a:buChar char="•"/>
              <a:defRPr kumimoji="1" sz="2954">
                <a:solidFill>
                  <a:schemeClr val="tx1"/>
                </a:solidFill>
                <a:latin typeface="+mn-lt"/>
                <a:ea typeface="+mn-ea"/>
                <a:cs typeface="+mn-cs"/>
              </a:defRPr>
            </a:lvl1pPr>
            <a:lvl2pPr marL="685817" indent="-263776" algn="l" rtl="0" eaLnBrk="1" fontAlgn="base" hangingPunct="1">
              <a:spcBef>
                <a:spcPct val="20000"/>
              </a:spcBef>
              <a:spcAft>
                <a:spcPct val="0"/>
              </a:spcAft>
              <a:buChar char="–"/>
              <a:defRPr kumimoji="1" sz="2585">
                <a:solidFill>
                  <a:schemeClr val="tx1"/>
                </a:solidFill>
                <a:latin typeface="+mn-lt"/>
                <a:ea typeface="+mn-ea"/>
              </a:defRPr>
            </a:lvl2pPr>
            <a:lvl3pPr marL="1055103" indent="-211021" algn="l" rtl="0" eaLnBrk="1" fontAlgn="base" hangingPunct="1">
              <a:spcBef>
                <a:spcPct val="20000"/>
              </a:spcBef>
              <a:spcAft>
                <a:spcPct val="0"/>
              </a:spcAft>
              <a:buChar char="•"/>
              <a:defRPr kumimoji="1" sz="2215">
                <a:solidFill>
                  <a:schemeClr val="tx1"/>
                </a:solidFill>
                <a:latin typeface="+mn-lt"/>
                <a:ea typeface="+mn-ea"/>
              </a:defRPr>
            </a:lvl3pPr>
            <a:lvl4pPr marL="1477145" indent="-211021" algn="l" rtl="0" eaLnBrk="1" fontAlgn="base" hangingPunct="1">
              <a:spcBef>
                <a:spcPct val="20000"/>
              </a:spcBef>
              <a:spcAft>
                <a:spcPct val="0"/>
              </a:spcAft>
              <a:buChar char="–"/>
              <a:defRPr kumimoji="1" sz="1846">
                <a:solidFill>
                  <a:schemeClr val="tx1"/>
                </a:solidFill>
                <a:latin typeface="+mn-lt"/>
                <a:ea typeface="+mn-ea"/>
              </a:defRPr>
            </a:lvl4pPr>
            <a:lvl5pPr marL="1899186" indent="-211021" algn="l" rtl="0" eaLnBrk="1" fontAlgn="base" hangingPunct="1">
              <a:spcBef>
                <a:spcPct val="20000"/>
              </a:spcBef>
              <a:spcAft>
                <a:spcPct val="0"/>
              </a:spcAft>
              <a:buChar char="»"/>
              <a:defRPr kumimoji="1" sz="1846">
                <a:solidFill>
                  <a:schemeClr val="tx1"/>
                </a:solidFill>
                <a:latin typeface="+mn-lt"/>
                <a:ea typeface="+mn-ea"/>
              </a:defRPr>
            </a:lvl5pPr>
            <a:lvl6pPr marL="2321227" indent="-211021" algn="l" rtl="0" eaLnBrk="1" fontAlgn="base" hangingPunct="1">
              <a:spcBef>
                <a:spcPct val="20000"/>
              </a:spcBef>
              <a:spcAft>
                <a:spcPct val="0"/>
              </a:spcAft>
              <a:buChar char="»"/>
              <a:defRPr kumimoji="1" sz="1846">
                <a:solidFill>
                  <a:schemeClr val="tx1"/>
                </a:solidFill>
                <a:latin typeface="+mn-lt"/>
                <a:ea typeface="+mn-ea"/>
              </a:defRPr>
            </a:lvl6pPr>
            <a:lvl7pPr marL="2743269" indent="-211021" algn="l" rtl="0" eaLnBrk="1" fontAlgn="base" hangingPunct="1">
              <a:spcBef>
                <a:spcPct val="20000"/>
              </a:spcBef>
              <a:spcAft>
                <a:spcPct val="0"/>
              </a:spcAft>
              <a:buChar char="»"/>
              <a:defRPr kumimoji="1" sz="1846">
                <a:solidFill>
                  <a:schemeClr val="tx1"/>
                </a:solidFill>
                <a:latin typeface="+mn-lt"/>
                <a:ea typeface="+mn-ea"/>
              </a:defRPr>
            </a:lvl7pPr>
            <a:lvl8pPr marL="3165310" indent="-211021" algn="l" rtl="0" eaLnBrk="1" fontAlgn="base" hangingPunct="1">
              <a:spcBef>
                <a:spcPct val="20000"/>
              </a:spcBef>
              <a:spcAft>
                <a:spcPct val="0"/>
              </a:spcAft>
              <a:buChar char="»"/>
              <a:defRPr kumimoji="1" sz="1846">
                <a:solidFill>
                  <a:schemeClr val="tx1"/>
                </a:solidFill>
                <a:latin typeface="+mn-lt"/>
                <a:ea typeface="+mn-ea"/>
              </a:defRPr>
            </a:lvl8pPr>
            <a:lvl9pPr marL="3587351" indent="-211021" algn="l" rtl="0" eaLnBrk="1" fontAlgn="base" hangingPunct="1">
              <a:spcBef>
                <a:spcPct val="20000"/>
              </a:spcBef>
              <a:spcAft>
                <a:spcPct val="0"/>
              </a:spcAft>
              <a:buChar char="»"/>
              <a:defRPr kumimoji="1" sz="1846">
                <a:solidFill>
                  <a:schemeClr val="tx1"/>
                </a:solidFill>
                <a:latin typeface="+mn-lt"/>
                <a:ea typeface="+mn-ea"/>
              </a:defRPr>
            </a:lvl9pPr>
          </a:lstStyle>
          <a:p>
            <a:pPr marL="0" indent="0" defTabSz="914217">
              <a:lnSpc>
                <a:spcPts val="1500"/>
              </a:lnSpc>
              <a:buNone/>
              <a:defRPr/>
            </a:pPr>
            <a:r>
              <a:rPr lang="ja-JP" altLang="en-US" sz="1400" dirty="0">
                <a:solidFill>
                  <a:srgbClr val="000000"/>
                </a:solidFill>
                <a:latin typeface="BIZ UDPゴシック" panose="020B0400000000000000" pitchFamily="50" charset="-128"/>
                <a:ea typeface="BIZ UDPゴシック" panose="020B0400000000000000" pitchFamily="50" charset="-128"/>
              </a:rPr>
              <a:t>○コロナ禍以降、東京圏在住者の地方移住への関心が高まっており、</a:t>
            </a:r>
            <a:r>
              <a:rPr lang="en-US" altLang="ja-JP" sz="1400" dirty="0">
                <a:solidFill>
                  <a:srgbClr val="000000"/>
                </a:solidFill>
                <a:latin typeface="BIZ UDPゴシック" panose="020B0400000000000000" pitchFamily="50" charset="-128"/>
                <a:ea typeface="BIZ UDPゴシック" panose="020B0400000000000000" pitchFamily="50" charset="-128"/>
              </a:rPr>
              <a:t>20</a:t>
            </a:r>
            <a:r>
              <a:rPr lang="ja-JP" altLang="en-US" sz="1400" dirty="0">
                <a:solidFill>
                  <a:srgbClr val="000000"/>
                </a:solidFill>
                <a:latin typeface="BIZ UDPゴシック" panose="020B0400000000000000" pitchFamily="50" charset="-128"/>
                <a:ea typeface="BIZ UDPゴシック" panose="020B0400000000000000" pitchFamily="50" charset="-128"/>
              </a:rPr>
              <a:t>歳代の約半数が関心あり（令和</a:t>
            </a:r>
            <a:r>
              <a:rPr lang="en-US" altLang="ja-JP" sz="1400" dirty="0">
                <a:solidFill>
                  <a:srgbClr val="000000"/>
                </a:solidFill>
                <a:latin typeface="BIZ UDPゴシック" panose="020B0400000000000000" pitchFamily="50" charset="-128"/>
                <a:ea typeface="BIZ UDPゴシック" panose="020B0400000000000000" pitchFamily="50" charset="-128"/>
              </a:rPr>
              <a:t>5</a:t>
            </a:r>
            <a:r>
              <a:rPr lang="ja-JP" altLang="en-US" sz="1400" dirty="0">
                <a:solidFill>
                  <a:srgbClr val="000000"/>
                </a:solidFill>
                <a:latin typeface="BIZ UDPゴシック" panose="020B0400000000000000" pitchFamily="50" charset="-128"/>
                <a:ea typeface="BIZ UDPゴシック" panose="020B0400000000000000" pitchFamily="50" charset="-128"/>
              </a:rPr>
              <a:t>年４月内閣府調査）。</a:t>
            </a:r>
            <a:endParaRPr lang="en-US" altLang="ja-JP" sz="1400" dirty="0">
              <a:solidFill>
                <a:srgbClr val="000000"/>
              </a:solidFill>
              <a:latin typeface="BIZ UDPゴシック" panose="020B0400000000000000" pitchFamily="50" charset="-128"/>
              <a:ea typeface="BIZ UDPゴシック" panose="020B0400000000000000" pitchFamily="50" charset="-128"/>
            </a:endParaRPr>
          </a:p>
          <a:p>
            <a:pPr marL="0" indent="0" defTabSz="914217">
              <a:lnSpc>
                <a:spcPts val="1500"/>
              </a:lnSpc>
              <a:buNone/>
              <a:defRPr/>
            </a:pPr>
            <a:r>
              <a:rPr lang="ja-JP" altLang="en-US" sz="1400" dirty="0">
                <a:solidFill>
                  <a:srgbClr val="000000"/>
                </a:solidFill>
                <a:latin typeface="BIZ UDPゴシック" panose="020B0400000000000000" pitchFamily="50" charset="-128"/>
                <a:ea typeface="BIZ UDPゴシック" panose="020B0400000000000000" pitchFamily="50" charset="-128"/>
              </a:rPr>
              <a:t>○二地域居住等を実施していない人のうち、約</a:t>
            </a:r>
            <a:r>
              <a:rPr lang="en-US" altLang="ja-JP" sz="1400" dirty="0">
                <a:solidFill>
                  <a:srgbClr val="000000"/>
                </a:solidFill>
                <a:latin typeface="BIZ UDPゴシック" panose="020B0400000000000000" pitchFamily="50" charset="-128"/>
                <a:ea typeface="BIZ UDPゴシック" panose="020B0400000000000000" pitchFamily="50" charset="-128"/>
              </a:rPr>
              <a:t>3</a:t>
            </a:r>
            <a:r>
              <a:rPr lang="ja-JP" altLang="en-US" sz="1400" dirty="0">
                <a:solidFill>
                  <a:srgbClr val="000000"/>
                </a:solidFill>
                <a:latin typeface="BIZ UDPゴシック" panose="020B0400000000000000" pitchFamily="50" charset="-128"/>
                <a:ea typeface="BIZ UDPゴシック" panose="020B0400000000000000" pitchFamily="50" charset="-128"/>
              </a:rPr>
              <a:t>割が関心あり。二地域居住の実施者の世帯年収は中間層がボリュームゾーン（令和４年度国土交通省</a:t>
            </a:r>
            <a:r>
              <a:rPr lang="ja-JP" altLang="en-US" sz="1400">
                <a:solidFill>
                  <a:srgbClr val="000000"/>
                </a:solidFill>
                <a:latin typeface="BIZ UDPゴシック" panose="020B0400000000000000" pitchFamily="50" charset="-128"/>
                <a:ea typeface="BIZ UDPゴシック" panose="020B0400000000000000" pitchFamily="50" charset="-128"/>
              </a:rPr>
              <a:t>調査） 。</a:t>
            </a:r>
            <a:endParaRPr lang="en-US" altLang="ja-JP" sz="1400" dirty="0">
              <a:solidFill>
                <a:srgbClr val="000000"/>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7DD212B9-1AEF-F4B8-445A-F518FE5527C9}"/>
              </a:ext>
            </a:extLst>
          </p:cNvPr>
          <p:cNvSpPr txBox="1"/>
          <p:nvPr/>
        </p:nvSpPr>
        <p:spPr>
          <a:xfrm flipH="1">
            <a:off x="5756157" y="1745388"/>
            <a:ext cx="2215008" cy="215409"/>
          </a:xfrm>
          <a:prstGeom prst="rect">
            <a:avLst/>
          </a:prstGeom>
          <a:noFill/>
        </p:spPr>
        <p:txBody>
          <a:bodyPr wrap="square" rtlCol="0">
            <a:spAutoFit/>
          </a:bodyPr>
          <a:lstStyle/>
          <a:p>
            <a:pPr marL="179964" indent="-457109" algn="ctr" defTabSz="914217">
              <a:defRPr/>
            </a:pPr>
            <a:r>
              <a:rPr lang="ja-JP" altLang="en-US" sz="800" b="1" dirty="0">
                <a:solidFill>
                  <a:srgbClr val="000000"/>
                </a:solidFill>
                <a:latin typeface="BIZ UDPゴシック" panose="020B0400000000000000" pitchFamily="50" charset="-128"/>
                <a:ea typeface="BIZ UDPゴシック" panose="020B0400000000000000" pitchFamily="50" charset="-128"/>
              </a:rPr>
              <a:t>地方移住への関心（</a:t>
            </a:r>
            <a:r>
              <a:rPr lang="en-US" altLang="ja-JP" sz="800" b="1" dirty="0">
                <a:solidFill>
                  <a:srgbClr val="000000"/>
                </a:solidFill>
                <a:latin typeface="BIZ UDPゴシック" panose="020B0400000000000000" pitchFamily="50" charset="-128"/>
                <a:ea typeface="BIZ UDPゴシック" panose="020B0400000000000000" pitchFamily="50" charset="-128"/>
              </a:rPr>
              <a:t>20</a:t>
            </a:r>
            <a:r>
              <a:rPr lang="ja-JP" altLang="en-US" sz="800" b="1" dirty="0">
                <a:solidFill>
                  <a:srgbClr val="000000"/>
                </a:solidFill>
                <a:latin typeface="BIZ UDPゴシック" panose="020B0400000000000000" pitchFamily="50" charset="-128"/>
                <a:ea typeface="BIZ UDPゴシック" panose="020B0400000000000000" pitchFamily="50" charset="-128"/>
              </a:rPr>
              <a:t>歳代）</a:t>
            </a:r>
          </a:p>
        </p:txBody>
      </p:sp>
      <p:sp>
        <p:nvSpPr>
          <p:cNvPr id="4" name="コンテンツ プレースホルダー 2">
            <a:extLst>
              <a:ext uri="{FF2B5EF4-FFF2-40B4-BE49-F238E27FC236}">
                <a16:creationId xmlns:a16="http://schemas.microsoft.com/office/drawing/2014/main" id="{3E5A21DB-C14A-8C20-12AA-0CB2EDF4B363}"/>
              </a:ext>
            </a:extLst>
          </p:cNvPr>
          <p:cNvSpPr txBox="1">
            <a:spLocks/>
          </p:cNvSpPr>
          <p:nvPr/>
        </p:nvSpPr>
        <p:spPr>
          <a:xfrm>
            <a:off x="402727" y="927522"/>
            <a:ext cx="9107797" cy="767022"/>
          </a:xfrm>
          <a:prstGeom prst="rect">
            <a:avLst/>
          </a:prstGeom>
          <a:ln w="28575">
            <a:solidFill>
              <a:srgbClr val="FF0000"/>
            </a:solidFill>
          </a:ln>
        </p:spPr>
        <p:style>
          <a:lnRef idx="2">
            <a:schemeClr val="dk1"/>
          </a:lnRef>
          <a:fillRef idx="1">
            <a:schemeClr val="lt1"/>
          </a:fillRef>
          <a:effectRef idx="0">
            <a:schemeClr val="dk1"/>
          </a:effectRef>
          <a:fontRef idx="minor">
            <a:schemeClr val="dk1"/>
          </a:fontRef>
        </p:style>
        <p:txBody>
          <a:bodyPr vert="horz" wrap="square" lIns="91425" tIns="45713" rIns="91425" bIns="45713" numCol="1" anchor="ctr" anchorCtr="0" compatLnSpc="1">
            <a:prstTxWarp prst="textNoShape">
              <a:avLst/>
            </a:prstTxWarp>
          </a:bodyPr>
          <a:lstStyle>
            <a:lvl1pPr marL="316531" indent="-316531" algn="l" rtl="0" eaLnBrk="1" fontAlgn="base" hangingPunct="1">
              <a:spcBef>
                <a:spcPct val="20000"/>
              </a:spcBef>
              <a:spcAft>
                <a:spcPct val="0"/>
              </a:spcAft>
              <a:buChar char="•"/>
              <a:defRPr kumimoji="1" sz="2954">
                <a:solidFill>
                  <a:schemeClr val="tx1"/>
                </a:solidFill>
                <a:latin typeface="+mn-lt"/>
                <a:ea typeface="+mn-ea"/>
                <a:cs typeface="+mn-cs"/>
              </a:defRPr>
            </a:lvl1pPr>
            <a:lvl2pPr marL="685817" indent="-263776" algn="l" rtl="0" eaLnBrk="1" fontAlgn="base" hangingPunct="1">
              <a:spcBef>
                <a:spcPct val="20000"/>
              </a:spcBef>
              <a:spcAft>
                <a:spcPct val="0"/>
              </a:spcAft>
              <a:buChar char="–"/>
              <a:defRPr kumimoji="1" sz="2585">
                <a:solidFill>
                  <a:schemeClr val="tx1"/>
                </a:solidFill>
                <a:latin typeface="+mn-lt"/>
                <a:ea typeface="+mn-ea"/>
              </a:defRPr>
            </a:lvl2pPr>
            <a:lvl3pPr marL="1055103" indent="-211021" algn="l" rtl="0" eaLnBrk="1" fontAlgn="base" hangingPunct="1">
              <a:spcBef>
                <a:spcPct val="20000"/>
              </a:spcBef>
              <a:spcAft>
                <a:spcPct val="0"/>
              </a:spcAft>
              <a:buChar char="•"/>
              <a:defRPr kumimoji="1" sz="2215">
                <a:solidFill>
                  <a:schemeClr val="tx1"/>
                </a:solidFill>
                <a:latin typeface="+mn-lt"/>
                <a:ea typeface="+mn-ea"/>
              </a:defRPr>
            </a:lvl3pPr>
            <a:lvl4pPr marL="1477145" indent="-211021" algn="l" rtl="0" eaLnBrk="1" fontAlgn="base" hangingPunct="1">
              <a:spcBef>
                <a:spcPct val="20000"/>
              </a:spcBef>
              <a:spcAft>
                <a:spcPct val="0"/>
              </a:spcAft>
              <a:buChar char="–"/>
              <a:defRPr kumimoji="1" sz="1846">
                <a:solidFill>
                  <a:schemeClr val="tx1"/>
                </a:solidFill>
                <a:latin typeface="+mn-lt"/>
                <a:ea typeface="+mn-ea"/>
              </a:defRPr>
            </a:lvl4pPr>
            <a:lvl5pPr marL="1899186" indent="-211021" algn="l" rtl="0" eaLnBrk="1" fontAlgn="base" hangingPunct="1">
              <a:spcBef>
                <a:spcPct val="20000"/>
              </a:spcBef>
              <a:spcAft>
                <a:spcPct val="0"/>
              </a:spcAft>
              <a:buChar char="»"/>
              <a:defRPr kumimoji="1" sz="1846">
                <a:solidFill>
                  <a:schemeClr val="tx1"/>
                </a:solidFill>
                <a:latin typeface="+mn-lt"/>
                <a:ea typeface="+mn-ea"/>
              </a:defRPr>
            </a:lvl5pPr>
            <a:lvl6pPr marL="2321227" indent="-211021" algn="l" rtl="0" eaLnBrk="1" fontAlgn="base" hangingPunct="1">
              <a:spcBef>
                <a:spcPct val="20000"/>
              </a:spcBef>
              <a:spcAft>
                <a:spcPct val="0"/>
              </a:spcAft>
              <a:buChar char="»"/>
              <a:defRPr kumimoji="1" sz="1846">
                <a:solidFill>
                  <a:schemeClr val="tx1"/>
                </a:solidFill>
                <a:latin typeface="+mn-lt"/>
                <a:ea typeface="+mn-ea"/>
              </a:defRPr>
            </a:lvl6pPr>
            <a:lvl7pPr marL="2743269" indent="-211021" algn="l" rtl="0" eaLnBrk="1" fontAlgn="base" hangingPunct="1">
              <a:spcBef>
                <a:spcPct val="20000"/>
              </a:spcBef>
              <a:spcAft>
                <a:spcPct val="0"/>
              </a:spcAft>
              <a:buChar char="»"/>
              <a:defRPr kumimoji="1" sz="1846">
                <a:solidFill>
                  <a:schemeClr val="tx1"/>
                </a:solidFill>
                <a:latin typeface="+mn-lt"/>
                <a:ea typeface="+mn-ea"/>
              </a:defRPr>
            </a:lvl7pPr>
            <a:lvl8pPr marL="3165310" indent="-211021" algn="l" rtl="0" eaLnBrk="1" fontAlgn="base" hangingPunct="1">
              <a:spcBef>
                <a:spcPct val="20000"/>
              </a:spcBef>
              <a:spcAft>
                <a:spcPct val="0"/>
              </a:spcAft>
              <a:buChar char="»"/>
              <a:defRPr kumimoji="1" sz="1846">
                <a:solidFill>
                  <a:schemeClr val="tx1"/>
                </a:solidFill>
                <a:latin typeface="+mn-lt"/>
                <a:ea typeface="+mn-ea"/>
              </a:defRPr>
            </a:lvl8pPr>
            <a:lvl9pPr marL="3587351" indent="-211021" algn="l" rtl="0" eaLnBrk="1" fontAlgn="base" hangingPunct="1">
              <a:spcBef>
                <a:spcPct val="20000"/>
              </a:spcBef>
              <a:spcAft>
                <a:spcPct val="0"/>
              </a:spcAft>
              <a:buChar char="»"/>
              <a:defRPr kumimoji="1" sz="1846">
                <a:solidFill>
                  <a:schemeClr val="tx1"/>
                </a:solidFill>
                <a:latin typeface="+mn-lt"/>
                <a:ea typeface="+mn-ea"/>
              </a:defRPr>
            </a:lvl9pPr>
          </a:lstStyle>
          <a:p>
            <a:pPr marL="0" indent="0" defTabSz="914217">
              <a:lnSpc>
                <a:spcPts val="1400"/>
              </a:lnSpc>
              <a:buNone/>
              <a:defRPr/>
            </a:pPr>
            <a:r>
              <a:rPr lang="ja-JP" altLang="en-US" sz="1400" dirty="0">
                <a:solidFill>
                  <a:srgbClr val="000000"/>
                </a:solidFill>
                <a:latin typeface="BIZ UDPゴシック" panose="020B0400000000000000" pitchFamily="50" charset="-128"/>
                <a:ea typeface="BIZ UDPゴシック" panose="020B0400000000000000" pitchFamily="50" charset="-128"/>
              </a:rPr>
              <a:t>・新たな国土形成計画（令和５年７月閣議決定）に掲げる</a:t>
            </a:r>
            <a:r>
              <a:rPr lang="ja-JP" altLang="en-US" sz="1400" b="1" dirty="0">
                <a:solidFill>
                  <a:srgbClr val="000000"/>
                </a:solidFill>
                <a:latin typeface="BIZ UDPゴシック" panose="020B0400000000000000" pitchFamily="50" charset="-128"/>
                <a:ea typeface="BIZ UDPゴシック" panose="020B0400000000000000" pitchFamily="50" charset="-128"/>
              </a:rPr>
              <a:t>「地方への人の流れの創出・拡大」の実現</a:t>
            </a:r>
            <a:r>
              <a:rPr lang="ja-JP" altLang="en-US" sz="1400" dirty="0">
                <a:solidFill>
                  <a:srgbClr val="000000"/>
                </a:solidFill>
                <a:latin typeface="BIZ UDPゴシック" panose="020B0400000000000000" pitchFamily="50" charset="-128"/>
                <a:ea typeface="BIZ UDPゴシック" panose="020B0400000000000000" pitchFamily="50" charset="-128"/>
              </a:rPr>
              <a:t>に向け、</a:t>
            </a:r>
            <a:r>
              <a:rPr lang="ja-JP" altLang="en-US" sz="1400" b="1" dirty="0">
                <a:solidFill>
                  <a:srgbClr val="000000"/>
                </a:solidFill>
                <a:latin typeface="BIZ UDPゴシック" panose="020B0400000000000000" pitchFamily="50" charset="-128"/>
                <a:ea typeface="BIZ UDPゴシック" panose="020B0400000000000000" pitchFamily="50" charset="-128"/>
              </a:rPr>
              <a:t>国民の関心を的確に捉えたニ地域居住等の促進を加速化することが不可欠</a:t>
            </a:r>
            <a:r>
              <a:rPr lang="ja-JP" altLang="en-US" sz="1400" dirty="0">
                <a:solidFill>
                  <a:srgbClr val="000000"/>
                </a:solidFill>
                <a:latin typeface="BIZ UDPゴシック" panose="020B0400000000000000" pitchFamily="50" charset="-128"/>
                <a:ea typeface="BIZ UDPゴシック" panose="020B0400000000000000" pitchFamily="50" charset="-128"/>
              </a:rPr>
              <a:t>。</a:t>
            </a:r>
            <a:endParaRPr lang="en-US" altLang="ja-JP" sz="1400" dirty="0">
              <a:solidFill>
                <a:srgbClr val="000000"/>
              </a:solidFill>
              <a:latin typeface="BIZ UDPゴシック" panose="020B0400000000000000" pitchFamily="50" charset="-128"/>
              <a:ea typeface="BIZ UDPゴシック" panose="020B0400000000000000" pitchFamily="50" charset="-128"/>
            </a:endParaRPr>
          </a:p>
          <a:p>
            <a:pPr marL="0" indent="0" defTabSz="914217">
              <a:lnSpc>
                <a:spcPts val="1400"/>
              </a:lnSpc>
              <a:buNone/>
              <a:defRPr/>
            </a:pPr>
            <a:r>
              <a:rPr lang="ja-JP" altLang="en-US" sz="1400" b="1" dirty="0">
                <a:solidFill>
                  <a:srgbClr val="000000"/>
                </a:solidFill>
                <a:latin typeface="BIZ UDPゴシック" panose="020B0400000000000000" pitchFamily="50" charset="-128"/>
                <a:ea typeface="BIZ UDPゴシック" panose="020B0400000000000000" pitchFamily="50" charset="-128"/>
              </a:rPr>
              <a:t>・移住・二地域居住等の促進</a:t>
            </a:r>
            <a:r>
              <a:rPr lang="ja-JP" altLang="en-US" sz="1400" dirty="0">
                <a:solidFill>
                  <a:srgbClr val="000000"/>
                </a:solidFill>
                <a:latin typeface="BIZ UDPゴシック" panose="020B0400000000000000" pitchFamily="50" charset="-128"/>
                <a:ea typeface="BIZ UDPゴシック" panose="020B0400000000000000" pitchFamily="50" charset="-128"/>
              </a:rPr>
              <a:t>は、</a:t>
            </a:r>
            <a:r>
              <a:rPr lang="ja-JP" altLang="en-US" sz="1400" b="1" dirty="0">
                <a:solidFill>
                  <a:srgbClr val="000000"/>
                </a:solidFill>
                <a:latin typeface="BIZ UDPゴシック" panose="020B0400000000000000" pitchFamily="50" charset="-128"/>
                <a:ea typeface="BIZ UDPゴシック" panose="020B0400000000000000" pitchFamily="50" charset="-128"/>
              </a:rPr>
              <a:t>個人の多様なライフスタイルを実現</a:t>
            </a:r>
            <a:r>
              <a:rPr lang="ja-JP" altLang="en-US" sz="1400" dirty="0">
                <a:solidFill>
                  <a:srgbClr val="000000"/>
                </a:solidFill>
                <a:latin typeface="BIZ UDPゴシック" panose="020B0400000000000000" pitchFamily="50" charset="-128"/>
                <a:ea typeface="BIZ UDPゴシック" panose="020B0400000000000000" pitchFamily="50" charset="-128"/>
              </a:rPr>
              <a:t>することに加えて、</a:t>
            </a:r>
            <a:r>
              <a:rPr lang="ja-JP" altLang="en-US" sz="1400" b="1" dirty="0">
                <a:solidFill>
                  <a:srgbClr val="000000"/>
                </a:solidFill>
                <a:latin typeface="BIZ UDPゴシック" panose="020B0400000000000000" pitchFamily="50" charset="-128"/>
                <a:ea typeface="BIZ UDPゴシック" panose="020B0400000000000000" pitchFamily="50" charset="-128"/>
              </a:rPr>
              <a:t>地域力を高める関係人口の創出・拡大等を通じた魅力的な地域づくり</a:t>
            </a:r>
            <a:r>
              <a:rPr lang="ja-JP" altLang="en-US" sz="1400" dirty="0">
                <a:solidFill>
                  <a:srgbClr val="000000"/>
                </a:solidFill>
                <a:latin typeface="BIZ UDPゴシック" panose="020B0400000000000000" pitchFamily="50" charset="-128"/>
                <a:ea typeface="BIZ UDPゴシック" panose="020B0400000000000000" pitchFamily="50" charset="-128"/>
              </a:rPr>
              <a:t>のための</a:t>
            </a:r>
            <a:r>
              <a:rPr lang="ja-JP" altLang="en-US" sz="1400" b="1" dirty="0">
                <a:solidFill>
                  <a:srgbClr val="000000"/>
                </a:solidFill>
                <a:latin typeface="BIZ UDPゴシック" panose="020B0400000000000000" pitchFamily="50" charset="-128"/>
                <a:ea typeface="BIZ UDPゴシック" panose="020B0400000000000000" pitchFamily="50" charset="-128"/>
              </a:rPr>
              <a:t>有効な手段</a:t>
            </a:r>
            <a:r>
              <a:rPr lang="ja-JP" altLang="en-US" sz="1400" dirty="0">
                <a:solidFill>
                  <a:srgbClr val="000000"/>
                </a:solidFill>
                <a:latin typeface="BIZ UDPゴシック" panose="020B0400000000000000" pitchFamily="50" charset="-128"/>
                <a:ea typeface="BIZ UDPゴシック" panose="020B0400000000000000" pitchFamily="50" charset="-128"/>
              </a:rPr>
              <a:t>。　　　　　</a:t>
            </a:r>
            <a:r>
              <a:rPr lang="en-US" altLang="ja-JP" sz="1100" dirty="0">
                <a:solidFill>
                  <a:srgbClr val="000000"/>
                </a:solidFill>
                <a:latin typeface="BIZ UDPゴシック" panose="020B0400000000000000" pitchFamily="50" charset="-128"/>
                <a:ea typeface="BIZ UDPゴシック" panose="020B0400000000000000" pitchFamily="50" charset="-128"/>
              </a:rPr>
              <a:t>※</a:t>
            </a:r>
            <a:r>
              <a:rPr lang="ja-JP" altLang="en-US" sz="1100" dirty="0">
                <a:solidFill>
                  <a:srgbClr val="000000"/>
                </a:solidFill>
                <a:latin typeface="BIZ UDPゴシック" panose="020B0400000000000000" pitchFamily="50" charset="-128"/>
                <a:ea typeface="BIZ UDPゴシック" panose="020B0400000000000000" pitchFamily="50" charset="-128"/>
              </a:rPr>
              <a:t>「二地域居住等」</a:t>
            </a:r>
            <a:r>
              <a:rPr lang="en-US" altLang="ja-JP" sz="1100" dirty="0">
                <a:solidFill>
                  <a:srgbClr val="000000"/>
                </a:solidFill>
                <a:latin typeface="BIZ UDPゴシック" panose="020B0400000000000000" pitchFamily="50" charset="-128"/>
                <a:ea typeface="BIZ UDPゴシック" panose="020B0400000000000000" pitchFamily="50" charset="-128"/>
              </a:rPr>
              <a:t>…</a:t>
            </a:r>
            <a:r>
              <a:rPr lang="ja-JP" altLang="en-US" sz="1100" dirty="0">
                <a:solidFill>
                  <a:srgbClr val="000000"/>
                </a:solidFill>
                <a:latin typeface="BIZ UDPゴシック" panose="020B0400000000000000" pitchFamily="50" charset="-128"/>
                <a:ea typeface="BIZ UDPゴシック" panose="020B0400000000000000" pitchFamily="50" charset="-128"/>
              </a:rPr>
              <a:t>多拠点居住・お試し居住・長期滞在等</a:t>
            </a:r>
            <a:endParaRPr lang="en-US" altLang="ja-JP" sz="1100" dirty="0">
              <a:solidFill>
                <a:srgbClr val="000000"/>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9A3C45C4-FDEE-E462-11DE-33DD92155838}"/>
              </a:ext>
            </a:extLst>
          </p:cNvPr>
          <p:cNvSpPr txBox="1"/>
          <p:nvPr/>
        </p:nvSpPr>
        <p:spPr>
          <a:xfrm>
            <a:off x="4337514" y="5438279"/>
            <a:ext cx="2226790" cy="230795"/>
          </a:xfrm>
          <a:prstGeom prst="rect">
            <a:avLst/>
          </a:prstGeom>
          <a:noFill/>
        </p:spPr>
        <p:txBody>
          <a:bodyPr wrap="square" rtlCol="0">
            <a:spAutoFit/>
          </a:bodyPr>
          <a:lstStyle/>
          <a:p>
            <a:pPr defTabSz="914217">
              <a:defRPr/>
            </a:pPr>
            <a:r>
              <a:rPr lang="ja-JP" altLang="en-US" sz="900" dirty="0">
                <a:solidFill>
                  <a:srgbClr val="000000"/>
                </a:solidFill>
                <a:latin typeface="BIZ UDPゴシック" panose="020B0400000000000000" pitchFamily="50" charset="-128"/>
                <a:ea typeface="BIZ UDPゴシック" panose="020B0400000000000000" pitchFamily="50" charset="-128"/>
              </a:rPr>
              <a:t>コワーキングスペースの整備</a:t>
            </a:r>
            <a:endParaRPr lang="en-US" altLang="ja-JP" sz="900" dirty="0">
              <a:solidFill>
                <a:srgbClr val="000000"/>
              </a:solidFill>
              <a:latin typeface="BIZ UDPゴシック" panose="020B0400000000000000" pitchFamily="50" charset="-128"/>
              <a:ea typeface="BIZ UDPゴシック" panose="020B0400000000000000" pitchFamily="50" charset="-128"/>
            </a:endParaRPr>
          </a:p>
        </p:txBody>
      </p:sp>
      <p:grpSp>
        <p:nvGrpSpPr>
          <p:cNvPr id="2" name="グループ化 1">
            <a:extLst>
              <a:ext uri="{FF2B5EF4-FFF2-40B4-BE49-F238E27FC236}">
                <a16:creationId xmlns:a16="http://schemas.microsoft.com/office/drawing/2014/main" id="{6B9627B7-9A21-7AA4-5055-6F77DCF87595}"/>
              </a:ext>
            </a:extLst>
          </p:cNvPr>
          <p:cNvGrpSpPr/>
          <p:nvPr/>
        </p:nvGrpSpPr>
        <p:grpSpPr>
          <a:xfrm>
            <a:off x="358409" y="6834722"/>
            <a:ext cx="9358300" cy="276955"/>
            <a:chOff x="36736" y="6419367"/>
            <a:chExt cx="9359800" cy="276999"/>
          </a:xfrm>
        </p:grpSpPr>
        <p:sp>
          <p:nvSpPr>
            <p:cNvPr id="13" name="正方形/長方形 12">
              <a:extLst>
                <a:ext uri="{FF2B5EF4-FFF2-40B4-BE49-F238E27FC236}">
                  <a16:creationId xmlns:a16="http://schemas.microsoft.com/office/drawing/2014/main" id="{796E5C08-6637-26BA-9208-CD6274794AA8}"/>
                </a:ext>
              </a:extLst>
            </p:cNvPr>
            <p:cNvSpPr/>
            <p:nvPr/>
          </p:nvSpPr>
          <p:spPr>
            <a:xfrm>
              <a:off x="142359" y="6448012"/>
              <a:ext cx="9013894" cy="233847"/>
            </a:xfrm>
            <a:prstGeom prst="rect">
              <a:avLst/>
            </a:prstGeom>
            <a:solidFill>
              <a:srgbClr val="B6E2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sp>
          <p:nvSpPr>
            <p:cNvPr id="27" name="正方形/長方形 26"/>
            <p:cNvSpPr/>
            <p:nvPr/>
          </p:nvSpPr>
          <p:spPr>
            <a:xfrm>
              <a:off x="36736" y="6419367"/>
              <a:ext cx="9359800" cy="276999"/>
            </a:xfrm>
            <a:prstGeom prst="rect">
              <a:avLst/>
            </a:prstGeom>
            <a:noFill/>
            <a:ln>
              <a:noFill/>
            </a:ln>
          </p:spPr>
          <p:txBody>
            <a:bodyPr wrap="square">
              <a:spAutoFit/>
            </a:bodyPr>
            <a:lstStyle/>
            <a:p>
              <a:pPr marL="107978" indent="-457109" defTabSz="914217">
                <a:defRPr/>
              </a:pPr>
              <a:r>
                <a:rPr lang="ja-JP" altLang="en-US" sz="1200" b="1">
                  <a:solidFill>
                    <a:srgbClr val="000000"/>
                  </a:solidFill>
                  <a:latin typeface="BIZ UDPゴシック" panose="020B0400000000000000" pitchFamily="50" charset="-128"/>
                  <a:ea typeface="BIZ UDPゴシック" panose="020B0400000000000000" pitchFamily="50" charset="-128"/>
                </a:rPr>
                <a:t> 子育て</a:t>
              </a:r>
              <a:r>
                <a:rPr lang="ja-JP" altLang="en-US" sz="1200" b="1" dirty="0">
                  <a:solidFill>
                    <a:srgbClr val="000000"/>
                  </a:solidFill>
                  <a:latin typeface="BIZ UDPゴシック" panose="020B0400000000000000" pitchFamily="50" charset="-128"/>
                  <a:ea typeface="BIZ UDPゴシック" panose="020B0400000000000000" pitchFamily="50" charset="-128"/>
                </a:rPr>
                <a:t>世帯を含む若年層の移住・二地域居住等へのニーズの高まりを的確に捉え、ソフト・ハードの総合的な政策のパッケージ化が必要。</a:t>
              </a:r>
              <a:endParaRPr lang="en-US" altLang="ja-JP" sz="1200" b="1" dirty="0">
                <a:solidFill>
                  <a:srgbClr val="000000"/>
                </a:solidFill>
                <a:latin typeface="BIZ UDPゴシック" panose="020B0400000000000000" pitchFamily="50" charset="-128"/>
                <a:ea typeface="BIZ UDPゴシック" panose="020B0400000000000000" pitchFamily="50" charset="-128"/>
              </a:endParaRPr>
            </a:p>
          </p:txBody>
        </p:sp>
      </p:grpSp>
      <p:sp>
        <p:nvSpPr>
          <p:cNvPr id="3" name="二等辺三角形 2"/>
          <p:cNvSpPr/>
          <p:nvPr/>
        </p:nvSpPr>
        <p:spPr>
          <a:xfrm rot="10800000">
            <a:off x="4054299" y="6751348"/>
            <a:ext cx="1799912" cy="13696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sz="1100">
              <a:solidFill>
                <a:srgbClr val="000000"/>
              </a:solidFill>
              <a:latin typeface="BIZ UDPゴシック" panose="020B0400000000000000" pitchFamily="50" charset="-128"/>
              <a:ea typeface="BIZ UDPゴシック" panose="020B0400000000000000" pitchFamily="50" charset="-128"/>
            </a:endParaRPr>
          </a:p>
        </p:txBody>
      </p:sp>
      <p:pic>
        <p:nvPicPr>
          <p:cNvPr id="87" name="図 86">
            <a:extLst>
              <a:ext uri="{FF2B5EF4-FFF2-40B4-BE49-F238E27FC236}">
                <a16:creationId xmlns:a16="http://schemas.microsoft.com/office/drawing/2014/main" id="{1658DD08-4E5C-C119-C224-5EDC039C0BE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774796" y="2048852"/>
            <a:ext cx="2196368" cy="711145"/>
          </a:xfrm>
          <a:prstGeom prst="rect">
            <a:avLst/>
          </a:prstGeom>
        </p:spPr>
      </p:pic>
      <p:sp>
        <p:nvSpPr>
          <p:cNvPr id="90" name="テキスト ボックス 89">
            <a:extLst>
              <a:ext uri="{FF2B5EF4-FFF2-40B4-BE49-F238E27FC236}">
                <a16:creationId xmlns:a16="http://schemas.microsoft.com/office/drawing/2014/main" id="{93343B74-94CF-C922-7039-C9D23B967CFC}"/>
              </a:ext>
            </a:extLst>
          </p:cNvPr>
          <p:cNvSpPr txBox="1"/>
          <p:nvPr/>
        </p:nvSpPr>
        <p:spPr>
          <a:xfrm>
            <a:off x="7412822" y="1837398"/>
            <a:ext cx="650548" cy="280367"/>
          </a:xfrm>
          <a:prstGeom prst="rect">
            <a:avLst/>
          </a:prstGeom>
          <a:noFill/>
        </p:spPr>
        <p:txBody>
          <a:bodyPr wrap="square" rtlCol="0">
            <a:spAutoFit/>
          </a:bodyPr>
          <a:lstStyle/>
          <a:p>
            <a:pPr defTabSz="914217">
              <a:defRPr/>
            </a:pPr>
            <a:r>
              <a:rPr lang="ja-JP" altLang="en-US" sz="1200" dirty="0">
                <a:solidFill>
                  <a:srgbClr val="FF0000"/>
                </a:solidFill>
                <a:latin typeface="BIZ UDPゴシック" panose="020B0400000000000000" pitchFamily="50" charset="-128"/>
                <a:ea typeface="BIZ UDPゴシック" panose="020B0400000000000000" pitchFamily="50" charset="-128"/>
              </a:rPr>
              <a:t>約半数</a:t>
            </a:r>
          </a:p>
        </p:txBody>
      </p:sp>
      <p:sp>
        <p:nvSpPr>
          <p:cNvPr id="98" name="テキスト ボックス 97">
            <a:extLst>
              <a:ext uri="{FF2B5EF4-FFF2-40B4-BE49-F238E27FC236}">
                <a16:creationId xmlns:a16="http://schemas.microsoft.com/office/drawing/2014/main" id="{E355542B-F074-0D9D-D882-0BCD1E9DDFAA}"/>
              </a:ext>
            </a:extLst>
          </p:cNvPr>
          <p:cNvSpPr txBox="1"/>
          <p:nvPr/>
        </p:nvSpPr>
        <p:spPr>
          <a:xfrm>
            <a:off x="6850006" y="5438279"/>
            <a:ext cx="2226790" cy="230795"/>
          </a:xfrm>
          <a:prstGeom prst="rect">
            <a:avLst/>
          </a:prstGeom>
          <a:noFill/>
        </p:spPr>
        <p:txBody>
          <a:bodyPr wrap="square" rtlCol="0">
            <a:spAutoFit/>
          </a:bodyPr>
          <a:lstStyle/>
          <a:p>
            <a:pPr algn="ctr" defTabSz="914217">
              <a:defRPr/>
            </a:pPr>
            <a:r>
              <a:rPr lang="ja-JP" altLang="en-US" sz="900" dirty="0">
                <a:solidFill>
                  <a:srgbClr val="000000"/>
                </a:solidFill>
                <a:latin typeface="BIZ UDPゴシック" panose="020B0400000000000000" pitchFamily="50" charset="-128"/>
                <a:ea typeface="BIZ UDPゴシック" panose="020B0400000000000000" pitchFamily="50" charset="-128"/>
              </a:rPr>
              <a:t>交流の促進</a:t>
            </a:r>
            <a:endParaRPr lang="en-US" altLang="ja-JP" sz="900" dirty="0">
              <a:solidFill>
                <a:srgbClr val="000000"/>
              </a:solidFill>
              <a:latin typeface="BIZ UDPゴシック" panose="020B0400000000000000" pitchFamily="50" charset="-128"/>
              <a:ea typeface="BIZ UDPゴシック" panose="020B0400000000000000" pitchFamily="50" charset="-128"/>
            </a:endParaRPr>
          </a:p>
        </p:txBody>
      </p:sp>
      <p:pic>
        <p:nvPicPr>
          <p:cNvPr id="20" name="図 19">
            <a:extLst>
              <a:ext uri="{FF2B5EF4-FFF2-40B4-BE49-F238E27FC236}">
                <a16:creationId xmlns:a16="http://schemas.microsoft.com/office/drawing/2014/main" id="{AADB1EF8-3C2D-15F4-EFED-90340A03C85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833749" y="1726670"/>
            <a:ext cx="1583559" cy="1143081"/>
          </a:xfrm>
          <a:prstGeom prst="rect">
            <a:avLst/>
          </a:prstGeom>
        </p:spPr>
      </p:pic>
      <p:grpSp>
        <p:nvGrpSpPr>
          <p:cNvPr id="70" name="グループ化 69">
            <a:extLst>
              <a:ext uri="{FF2B5EF4-FFF2-40B4-BE49-F238E27FC236}">
                <a16:creationId xmlns:a16="http://schemas.microsoft.com/office/drawing/2014/main" id="{3F814C18-D207-05FC-CE9C-25BED3E01F3E}"/>
              </a:ext>
            </a:extLst>
          </p:cNvPr>
          <p:cNvGrpSpPr/>
          <p:nvPr/>
        </p:nvGrpSpPr>
        <p:grpSpPr>
          <a:xfrm>
            <a:off x="7751699" y="1740859"/>
            <a:ext cx="2600563" cy="600708"/>
            <a:chOff x="7365163" y="527035"/>
            <a:chExt cx="2600980" cy="600804"/>
          </a:xfrm>
        </p:grpSpPr>
        <p:grpSp>
          <p:nvGrpSpPr>
            <p:cNvPr id="69" name="グループ化 68">
              <a:extLst>
                <a:ext uri="{FF2B5EF4-FFF2-40B4-BE49-F238E27FC236}">
                  <a16:creationId xmlns:a16="http://schemas.microsoft.com/office/drawing/2014/main" id="{29A73CC6-B4FB-C4E0-BAB3-96F79B3878FA}"/>
                </a:ext>
              </a:extLst>
            </p:cNvPr>
            <p:cNvGrpSpPr/>
            <p:nvPr/>
          </p:nvGrpSpPr>
          <p:grpSpPr>
            <a:xfrm>
              <a:off x="7365163" y="527035"/>
              <a:ext cx="1795071" cy="600804"/>
              <a:chOff x="7365163" y="527035"/>
              <a:chExt cx="1795071" cy="600804"/>
            </a:xfrm>
          </p:grpSpPr>
          <p:sp>
            <p:nvSpPr>
              <p:cNvPr id="17" name="テキスト ボックス 16">
                <a:extLst>
                  <a:ext uri="{FF2B5EF4-FFF2-40B4-BE49-F238E27FC236}">
                    <a16:creationId xmlns:a16="http://schemas.microsoft.com/office/drawing/2014/main" id="{85E714F6-BBC8-9617-E955-792439A4AB87}"/>
                  </a:ext>
                </a:extLst>
              </p:cNvPr>
              <p:cNvSpPr txBox="1"/>
              <p:nvPr/>
            </p:nvSpPr>
            <p:spPr>
              <a:xfrm flipH="1">
                <a:off x="7365163" y="527035"/>
                <a:ext cx="1795071" cy="215444"/>
              </a:xfrm>
              <a:prstGeom prst="rect">
                <a:avLst/>
              </a:prstGeom>
              <a:noFill/>
            </p:spPr>
            <p:txBody>
              <a:bodyPr wrap="square" rtlCol="0">
                <a:spAutoFit/>
              </a:bodyPr>
              <a:lstStyle/>
              <a:p>
                <a:pPr marL="179964" indent="-457109" algn="ctr" defTabSz="914217">
                  <a:defRPr/>
                </a:pPr>
                <a:r>
                  <a:rPr lang="ja-JP" altLang="en-US" sz="800" b="1" dirty="0">
                    <a:solidFill>
                      <a:srgbClr val="000000"/>
                    </a:solidFill>
                    <a:latin typeface="BIZ UDPゴシック" panose="020B0400000000000000" pitchFamily="50" charset="-128"/>
                    <a:ea typeface="BIZ UDPゴシック" panose="020B0400000000000000" pitchFamily="50" charset="-128"/>
                  </a:rPr>
                  <a:t>二地域居住等への関心</a:t>
                </a:r>
              </a:p>
            </p:txBody>
          </p:sp>
          <p:sp>
            <p:nvSpPr>
              <p:cNvPr id="38" name="正方形/長方形 37">
                <a:extLst>
                  <a:ext uri="{FF2B5EF4-FFF2-40B4-BE49-F238E27FC236}">
                    <a16:creationId xmlns:a16="http://schemas.microsoft.com/office/drawing/2014/main" id="{A90778A8-27BB-B277-A438-70B08B3F0075}"/>
                  </a:ext>
                </a:extLst>
              </p:cNvPr>
              <p:cNvSpPr/>
              <p:nvPr/>
            </p:nvSpPr>
            <p:spPr>
              <a:xfrm>
                <a:off x="8254088" y="845439"/>
                <a:ext cx="329790" cy="2824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cxnSp>
            <p:nvCxnSpPr>
              <p:cNvPr id="40" name="直線矢印コネクタ 39">
                <a:extLst>
                  <a:ext uri="{FF2B5EF4-FFF2-40B4-BE49-F238E27FC236}">
                    <a16:creationId xmlns:a16="http://schemas.microsoft.com/office/drawing/2014/main" id="{D1F04B73-FCCC-95EB-4D4A-CF51F1CEE44C}"/>
                  </a:ext>
                </a:extLst>
              </p:cNvPr>
              <p:cNvCxnSpPr>
                <a:cxnSpLocks/>
              </p:cNvCxnSpPr>
              <p:nvPr/>
            </p:nvCxnSpPr>
            <p:spPr>
              <a:xfrm flipH="1">
                <a:off x="8533565" y="761582"/>
                <a:ext cx="145397" cy="9951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41" name="テキスト ボックス 40">
              <a:extLst>
                <a:ext uri="{FF2B5EF4-FFF2-40B4-BE49-F238E27FC236}">
                  <a16:creationId xmlns:a16="http://schemas.microsoft.com/office/drawing/2014/main" id="{92FD4444-3A32-DDDC-1A3E-438A7F920F2A}"/>
                </a:ext>
              </a:extLst>
            </p:cNvPr>
            <p:cNvSpPr txBox="1"/>
            <p:nvPr/>
          </p:nvSpPr>
          <p:spPr>
            <a:xfrm>
              <a:off x="8597991" y="616123"/>
              <a:ext cx="1368152" cy="276999"/>
            </a:xfrm>
            <a:prstGeom prst="rect">
              <a:avLst/>
            </a:prstGeom>
            <a:noFill/>
          </p:spPr>
          <p:txBody>
            <a:bodyPr wrap="square" rtlCol="0">
              <a:spAutoFit/>
            </a:bodyPr>
            <a:lstStyle/>
            <a:p>
              <a:pPr defTabSz="914217">
                <a:defRPr/>
              </a:pPr>
              <a:r>
                <a:rPr lang="ja-JP" altLang="en-US" sz="1200" dirty="0">
                  <a:solidFill>
                    <a:srgbClr val="FF0000"/>
                  </a:solidFill>
                  <a:latin typeface="BIZ UDPゴシック" panose="020B0400000000000000" pitchFamily="50" charset="-128"/>
                  <a:ea typeface="BIZ UDPゴシック" panose="020B0400000000000000" pitchFamily="50" charset="-128"/>
                </a:rPr>
                <a:t>約３割</a:t>
              </a:r>
            </a:p>
          </p:txBody>
        </p:sp>
      </p:grpSp>
      <p:sp>
        <p:nvSpPr>
          <p:cNvPr id="22" name="正方形/長方形 21">
            <a:extLst>
              <a:ext uri="{FF2B5EF4-FFF2-40B4-BE49-F238E27FC236}">
                <a16:creationId xmlns:a16="http://schemas.microsoft.com/office/drawing/2014/main" id="{A3D41870-5AA2-2263-9E0C-9E8B829714F3}"/>
              </a:ext>
            </a:extLst>
          </p:cNvPr>
          <p:cNvSpPr/>
          <p:nvPr/>
        </p:nvSpPr>
        <p:spPr>
          <a:xfrm>
            <a:off x="6839790" y="2106702"/>
            <a:ext cx="996084" cy="183571"/>
          </a:xfrm>
          <a:prstGeom prst="rect">
            <a:avLst/>
          </a:prstGeom>
          <a:solidFill>
            <a:srgbClr val="4087C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sp>
        <p:nvSpPr>
          <p:cNvPr id="24" name="正方形/長方形 23">
            <a:extLst>
              <a:ext uri="{FF2B5EF4-FFF2-40B4-BE49-F238E27FC236}">
                <a16:creationId xmlns:a16="http://schemas.microsoft.com/office/drawing/2014/main" id="{08FB362B-9F41-421B-1FE8-254AADF8F602}"/>
              </a:ext>
            </a:extLst>
          </p:cNvPr>
          <p:cNvSpPr/>
          <p:nvPr/>
        </p:nvSpPr>
        <p:spPr>
          <a:xfrm>
            <a:off x="6936522" y="2368093"/>
            <a:ext cx="899353" cy="183571"/>
          </a:xfrm>
          <a:prstGeom prst="rect">
            <a:avLst/>
          </a:prstGeom>
          <a:solidFill>
            <a:srgbClr val="4087C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cxnSp>
        <p:nvCxnSpPr>
          <p:cNvPr id="91" name="直線矢印コネクタ 90">
            <a:extLst>
              <a:ext uri="{FF2B5EF4-FFF2-40B4-BE49-F238E27FC236}">
                <a16:creationId xmlns:a16="http://schemas.microsoft.com/office/drawing/2014/main" id="{29A0189F-FA1E-54E4-3563-47AD69ABACF0}"/>
              </a:ext>
            </a:extLst>
          </p:cNvPr>
          <p:cNvCxnSpPr>
            <a:cxnSpLocks/>
          </p:cNvCxnSpPr>
          <p:nvPr/>
        </p:nvCxnSpPr>
        <p:spPr>
          <a:xfrm flipH="1">
            <a:off x="6922873" y="2030566"/>
            <a:ext cx="549211" cy="33312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3D976AB6-B93F-4820-AFC8-83F050A58127}"/>
              </a:ext>
            </a:extLst>
          </p:cNvPr>
          <p:cNvSpPr/>
          <p:nvPr/>
        </p:nvSpPr>
        <p:spPr>
          <a:xfrm>
            <a:off x="6206459" y="2109244"/>
            <a:ext cx="641370" cy="182200"/>
          </a:xfrm>
          <a:prstGeom prst="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dirty="0">
              <a:solidFill>
                <a:srgbClr val="FFFFFF"/>
              </a:solidFill>
              <a:highlight>
                <a:srgbClr val="FF6600"/>
              </a:highlight>
              <a:latin typeface="Arial"/>
              <a:ea typeface="ＭＳ Ｐゴシック"/>
            </a:endParaRPr>
          </a:p>
        </p:txBody>
      </p:sp>
      <p:sp>
        <p:nvSpPr>
          <p:cNvPr id="28" name="テキスト ボックス 27">
            <a:extLst>
              <a:ext uri="{FF2B5EF4-FFF2-40B4-BE49-F238E27FC236}">
                <a16:creationId xmlns:a16="http://schemas.microsoft.com/office/drawing/2014/main" id="{F27B2B38-66C4-2AEE-F57D-6C156C1A8B75}"/>
              </a:ext>
            </a:extLst>
          </p:cNvPr>
          <p:cNvSpPr txBox="1"/>
          <p:nvPr/>
        </p:nvSpPr>
        <p:spPr>
          <a:xfrm>
            <a:off x="6255965" y="2094436"/>
            <a:ext cx="919235" cy="215409"/>
          </a:xfrm>
          <a:prstGeom prst="rect">
            <a:avLst/>
          </a:prstGeom>
          <a:noFill/>
        </p:spPr>
        <p:txBody>
          <a:bodyPr wrap="square" rtlCol="0">
            <a:spAutoFit/>
          </a:bodyPr>
          <a:lstStyle/>
          <a:p>
            <a:pPr defTabSz="914217">
              <a:defRPr/>
            </a:pPr>
            <a:r>
              <a:rPr lang="en-US" altLang="ja-JP" sz="800" dirty="0">
                <a:solidFill>
                  <a:srgbClr val="000000"/>
                </a:solidFill>
                <a:latin typeface="ＭＳ ゴシック" panose="020B0609070205080204" pitchFamily="49" charset="-128"/>
                <a:ea typeface="ＭＳ ゴシック" panose="020B0609070205080204" pitchFamily="49" charset="-128"/>
              </a:rPr>
              <a:t>39.2</a:t>
            </a:r>
            <a:r>
              <a:rPr lang="ja-JP" altLang="en-US" sz="800" dirty="0">
                <a:solidFill>
                  <a:srgbClr val="000000"/>
                </a:solidFill>
                <a:latin typeface="ＭＳ ゴシック" panose="020B0609070205080204" pitchFamily="49" charset="-128"/>
                <a:ea typeface="ＭＳ ゴシック" panose="020B0609070205080204" pitchFamily="49" charset="-128"/>
              </a:rPr>
              <a:t>％</a:t>
            </a:r>
          </a:p>
        </p:txBody>
      </p:sp>
      <p:sp>
        <p:nvSpPr>
          <p:cNvPr id="33" name="正方形/長方形 32">
            <a:extLst>
              <a:ext uri="{FF2B5EF4-FFF2-40B4-BE49-F238E27FC236}">
                <a16:creationId xmlns:a16="http://schemas.microsoft.com/office/drawing/2014/main" id="{D658BFF4-C8AF-ACEA-F038-0756D70369B4}"/>
              </a:ext>
            </a:extLst>
          </p:cNvPr>
          <p:cNvSpPr/>
          <p:nvPr/>
        </p:nvSpPr>
        <p:spPr>
          <a:xfrm>
            <a:off x="6198458" y="2368754"/>
            <a:ext cx="728779" cy="183571"/>
          </a:xfrm>
          <a:prstGeom prst="rect">
            <a:avLst/>
          </a:prstGeom>
          <a:solidFill>
            <a:srgbClr val="FFC000"/>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dirty="0">
              <a:solidFill>
                <a:srgbClr val="FFFFFF"/>
              </a:solidFill>
              <a:highlight>
                <a:srgbClr val="FF6600"/>
              </a:highlight>
              <a:latin typeface="Arial"/>
              <a:ea typeface="ＭＳ Ｐゴシック"/>
            </a:endParaRPr>
          </a:p>
        </p:txBody>
      </p:sp>
      <p:sp>
        <p:nvSpPr>
          <p:cNvPr id="34" name="テキスト ボックス 33">
            <a:extLst>
              <a:ext uri="{FF2B5EF4-FFF2-40B4-BE49-F238E27FC236}">
                <a16:creationId xmlns:a16="http://schemas.microsoft.com/office/drawing/2014/main" id="{841D026E-0B83-5C20-4FEF-E77B7D26D8FB}"/>
              </a:ext>
            </a:extLst>
          </p:cNvPr>
          <p:cNvSpPr txBox="1"/>
          <p:nvPr/>
        </p:nvSpPr>
        <p:spPr>
          <a:xfrm>
            <a:off x="6134029" y="2355256"/>
            <a:ext cx="1250921" cy="215409"/>
          </a:xfrm>
          <a:prstGeom prst="rect">
            <a:avLst/>
          </a:prstGeom>
          <a:noFill/>
        </p:spPr>
        <p:txBody>
          <a:bodyPr wrap="square" rtlCol="0">
            <a:spAutoFit/>
          </a:bodyPr>
          <a:lstStyle/>
          <a:p>
            <a:pPr defTabSz="914217">
              <a:defRPr/>
            </a:pPr>
            <a:r>
              <a:rPr lang="ja-JP" altLang="en-US" sz="800">
                <a:solidFill>
                  <a:srgbClr val="000000"/>
                </a:solidFill>
                <a:latin typeface="ＭＳ ゴシック" panose="020B0609070205080204" pitchFamily="49" charset="-128"/>
                <a:ea typeface="ＭＳ ゴシック" panose="020B0609070205080204" pitchFamily="49" charset="-128"/>
              </a:rPr>
              <a:t>関心層 </a:t>
            </a:r>
            <a:r>
              <a:rPr lang="en-US" altLang="ja-JP" sz="800">
                <a:solidFill>
                  <a:srgbClr val="000000"/>
                </a:solidFill>
                <a:latin typeface="ＭＳ ゴシック" panose="020B0609070205080204" pitchFamily="49" charset="-128"/>
                <a:ea typeface="ＭＳ ゴシック" panose="020B0609070205080204" pitchFamily="49" charset="-128"/>
              </a:rPr>
              <a:t>44.8</a:t>
            </a:r>
            <a:r>
              <a:rPr lang="ja-JP" altLang="en-US" sz="800" dirty="0">
                <a:solidFill>
                  <a:srgbClr val="000000"/>
                </a:solidFill>
                <a:latin typeface="ＭＳ ゴシック" panose="020B0609070205080204" pitchFamily="49" charset="-128"/>
                <a:ea typeface="ＭＳ ゴシック" panose="020B0609070205080204" pitchFamily="49" charset="-128"/>
              </a:rPr>
              <a:t>％</a:t>
            </a:r>
          </a:p>
        </p:txBody>
      </p:sp>
      <p:grpSp>
        <p:nvGrpSpPr>
          <p:cNvPr id="61" name="グループ化 60">
            <a:extLst>
              <a:ext uri="{FF2B5EF4-FFF2-40B4-BE49-F238E27FC236}">
                <a16:creationId xmlns:a16="http://schemas.microsoft.com/office/drawing/2014/main" id="{682FD3AF-0E0E-C9AF-3EEC-46A023A34177}"/>
              </a:ext>
            </a:extLst>
          </p:cNvPr>
          <p:cNvGrpSpPr/>
          <p:nvPr/>
        </p:nvGrpSpPr>
        <p:grpSpPr>
          <a:xfrm>
            <a:off x="6240729" y="4388807"/>
            <a:ext cx="329606" cy="462823"/>
            <a:chOff x="-1527720" y="2400985"/>
            <a:chExt cx="362531" cy="422201"/>
          </a:xfrm>
        </p:grpSpPr>
        <p:sp>
          <p:nvSpPr>
            <p:cNvPr id="62" name="右カーブ矢印 138">
              <a:extLst>
                <a:ext uri="{FF2B5EF4-FFF2-40B4-BE49-F238E27FC236}">
                  <a16:creationId xmlns:a16="http://schemas.microsoft.com/office/drawing/2014/main" id="{9669B0C2-2299-396A-E518-62968AD10173}"/>
                </a:ext>
              </a:extLst>
            </p:cNvPr>
            <p:cNvSpPr/>
            <p:nvPr/>
          </p:nvSpPr>
          <p:spPr>
            <a:xfrm>
              <a:off x="-1527720" y="2400985"/>
              <a:ext cx="235361" cy="343450"/>
            </a:xfrm>
            <a:prstGeom prst="curvedRightArrow">
              <a:avLst/>
            </a:prstGeom>
            <a:solidFill>
              <a:srgbClr val="FF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000000"/>
                </a:solidFill>
                <a:latin typeface="Arial"/>
                <a:ea typeface="ＭＳ Ｐゴシック"/>
              </a:endParaRPr>
            </a:p>
          </p:txBody>
        </p:sp>
        <p:sp>
          <p:nvSpPr>
            <p:cNvPr id="66" name="右カーブ矢印 139">
              <a:extLst>
                <a:ext uri="{FF2B5EF4-FFF2-40B4-BE49-F238E27FC236}">
                  <a16:creationId xmlns:a16="http://schemas.microsoft.com/office/drawing/2014/main" id="{E967EB69-54AE-BD28-2527-920F3B70F624}"/>
                </a:ext>
              </a:extLst>
            </p:cNvPr>
            <p:cNvSpPr/>
            <p:nvPr/>
          </p:nvSpPr>
          <p:spPr>
            <a:xfrm flipH="1" flipV="1">
              <a:off x="-1400550" y="2479736"/>
              <a:ext cx="235361" cy="343450"/>
            </a:xfrm>
            <a:prstGeom prst="curvedRightArrow">
              <a:avLst/>
            </a:prstGeom>
            <a:solidFill>
              <a:srgbClr val="FF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000000"/>
                </a:solidFill>
                <a:latin typeface="Arial"/>
                <a:ea typeface="ＭＳ Ｐゴシック"/>
              </a:endParaRPr>
            </a:p>
          </p:txBody>
        </p:sp>
      </p:grpSp>
      <p:grpSp>
        <p:nvGrpSpPr>
          <p:cNvPr id="67" name="グループ化 66">
            <a:extLst>
              <a:ext uri="{FF2B5EF4-FFF2-40B4-BE49-F238E27FC236}">
                <a16:creationId xmlns:a16="http://schemas.microsoft.com/office/drawing/2014/main" id="{CFC116E6-034D-49BD-4EA6-DF156F2AE288}"/>
              </a:ext>
            </a:extLst>
          </p:cNvPr>
          <p:cNvGrpSpPr/>
          <p:nvPr/>
        </p:nvGrpSpPr>
        <p:grpSpPr>
          <a:xfrm>
            <a:off x="3298800" y="4413818"/>
            <a:ext cx="329606" cy="462823"/>
            <a:chOff x="-1527720" y="2400985"/>
            <a:chExt cx="362531" cy="422201"/>
          </a:xfrm>
        </p:grpSpPr>
        <p:sp>
          <p:nvSpPr>
            <p:cNvPr id="68" name="右カーブ矢印 138">
              <a:extLst>
                <a:ext uri="{FF2B5EF4-FFF2-40B4-BE49-F238E27FC236}">
                  <a16:creationId xmlns:a16="http://schemas.microsoft.com/office/drawing/2014/main" id="{1E2398E6-F4BA-70CA-7EDB-7B71FDC09F31}"/>
                </a:ext>
              </a:extLst>
            </p:cNvPr>
            <p:cNvSpPr/>
            <p:nvPr/>
          </p:nvSpPr>
          <p:spPr>
            <a:xfrm>
              <a:off x="-1527720" y="2400985"/>
              <a:ext cx="235361" cy="343450"/>
            </a:xfrm>
            <a:prstGeom prst="curvedRightArrow">
              <a:avLst/>
            </a:prstGeom>
            <a:solidFill>
              <a:srgbClr val="FF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000000"/>
                </a:solidFill>
                <a:latin typeface="Arial"/>
                <a:ea typeface="ＭＳ Ｐゴシック"/>
              </a:endParaRPr>
            </a:p>
          </p:txBody>
        </p:sp>
        <p:sp>
          <p:nvSpPr>
            <p:cNvPr id="71" name="右カーブ矢印 139">
              <a:extLst>
                <a:ext uri="{FF2B5EF4-FFF2-40B4-BE49-F238E27FC236}">
                  <a16:creationId xmlns:a16="http://schemas.microsoft.com/office/drawing/2014/main" id="{DE6D288D-438F-8006-70B6-35A6C8087F5A}"/>
                </a:ext>
              </a:extLst>
            </p:cNvPr>
            <p:cNvSpPr/>
            <p:nvPr/>
          </p:nvSpPr>
          <p:spPr>
            <a:xfrm flipH="1" flipV="1">
              <a:off x="-1400550" y="2479736"/>
              <a:ext cx="235361" cy="343450"/>
            </a:xfrm>
            <a:prstGeom prst="curvedRightArrow">
              <a:avLst/>
            </a:prstGeom>
            <a:solidFill>
              <a:srgbClr val="FF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000000"/>
                </a:solidFill>
                <a:latin typeface="Arial"/>
                <a:ea typeface="ＭＳ Ｐゴシック"/>
              </a:endParaRPr>
            </a:p>
          </p:txBody>
        </p:sp>
      </p:grpSp>
      <p:sp>
        <p:nvSpPr>
          <p:cNvPr id="10" name="テキスト ボックス 9">
            <a:extLst>
              <a:ext uri="{FF2B5EF4-FFF2-40B4-BE49-F238E27FC236}">
                <a16:creationId xmlns:a16="http://schemas.microsoft.com/office/drawing/2014/main" id="{00D3C280-090B-05A2-C605-1DB4B99BD609}"/>
              </a:ext>
            </a:extLst>
          </p:cNvPr>
          <p:cNvSpPr txBox="1"/>
          <p:nvPr/>
        </p:nvSpPr>
        <p:spPr>
          <a:xfrm>
            <a:off x="1088607" y="5438279"/>
            <a:ext cx="1975674" cy="230795"/>
          </a:xfrm>
          <a:prstGeom prst="rect">
            <a:avLst/>
          </a:prstGeom>
          <a:noFill/>
        </p:spPr>
        <p:txBody>
          <a:bodyPr wrap="square" rtlCol="0">
            <a:spAutoFit/>
          </a:bodyPr>
          <a:lstStyle/>
          <a:p>
            <a:pPr defTabSz="914217">
              <a:defRPr/>
            </a:pPr>
            <a:r>
              <a:rPr lang="ja-JP" altLang="en-US" sz="900" dirty="0">
                <a:solidFill>
                  <a:srgbClr val="000000"/>
                </a:solidFill>
                <a:latin typeface="BIZ UDPゴシック" panose="020B0400000000000000" pitchFamily="50" charset="-128"/>
                <a:ea typeface="BIZ UDPゴシック" panose="020B0400000000000000" pitchFamily="50" charset="-128"/>
              </a:rPr>
              <a:t>空き家を改修したお試し居住施設</a:t>
            </a:r>
            <a:endParaRPr lang="en-US" altLang="ja-JP" sz="900" dirty="0">
              <a:solidFill>
                <a:srgbClr val="000000"/>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F3BF94EF-FF7F-0E0D-CD93-A43CA9AA05B1}"/>
              </a:ext>
            </a:extLst>
          </p:cNvPr>
          <p:cNvPicPr>
            <a:picLocks noChangeAspect="1"/>
          </p:cNvPicPr>
          <p:nvPr/>
        </p:nvPicPr>
        <p:blipFill>
          <a:blip r:embed="rId5"/>
          <a:stretch>
            <a:fillRect/>
          </a:stretch>
        </p:blipFill>
        <p:spPr>
          <a:xfrm>
            <a:off x="1049507" y="4874935"/>
            <a:ext cx="794006" cy="595219"/>
          </a:xfrm>
          <a:prstGeom prst="rect">
            <a:avLst/>
          </a:prstGeom>
        </p:spPr>
      </p:pic>
      <p:pic>
        <p:nvPicPr>
          <p:cNvPr id="12" name="図 11">
            <a:extLst>
              <a:ext uri="{FF2B5EF4-FFF2-40B4-BE49-F238E27FC236}">
                <a16:creationId xmlns:a16="http://schemas.microsoft.com/office/drawing/2014/main" id="{3478A979-CF25-7D1F-8F4E-E0783AE20F01}"/>
              </a:ext>
            </a:extLst>
          </p:cNvPr>
          <p:cNvPicPr>
            <a:picLocks noChangeAspect="1"/>
          </p:cNvPicPr>
          <p:nvPr/>
        </p:nvPicPr>
        <p:blipFill>
          <a:blip r:embed="rId6"/>
          <a:stretch>
            <a:fillRect/>
          </a:stretch>
        </p:blipFill>
        <p:spPr>
          <a:xfrm>
            <a:off x="2199331" y="4872489"/>
            <a:ext cx="767172" cy="575379"/>
          </a:xfrm>
          <a:prstGeom prst="rect">
            <a:avLst/>
          </a:prstGeom>
        </p:spPr>
      </p:pic>
      <p:sp>
        <p:nvSpPr>
          <p:cNvPr id="57" name="テキスト ボックス 56"/>
          <p:cNvSpPr txBox="1"/>
          <p:nvPr/>
        </p:nvSpPr>
        <p:spPr>
          <a:xfrm>
            <a:off x="3505877" y="3880150"/>
            <a:ext cx="2835810" cy="1233725"/>
          </a:xfrm>
          <a:prstGeom prst="rect">
            <a:avLst/>
          </a:prstGeom>
          <a:noFill/>
        </p:spPr>
        <p:txBody>
          <a:bodyPr wrap="square" lIns="35994" tIns="35994" rIns="35994" bIns="35994" rtlCol="0">
            <a:noAutofit/>
          </a:bodyPr>
          <a:lstStyle/>
          <a:p>
            <a:pPr marL="215957" indent="-215957" defTabSz="914217">
              <a:lnSpc>
                <a:spcPts val="1100"/>
              </a:lnSpc>
              <a:spcBef>
                <a:spcPts val="300"/>
              </a:spcBef>
              <a:buClr>
                <a:srgbClr val="000000"/>
              </a:buClr>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シェアオフィス等の整備</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215957" indent="-215957" defTabSz="914217">
              <a:lnSpc>
                <a:spcPts val="1100"/>
              </a:lnSpc>
              <a:spcBef>
                <a:spcPts val="300"/>
              </a:spcBef>
              <a:buClr>
                <a:srgbClr val="000000"/>
              </a:buClr>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コワーキングスペース整備による交流機会の確保、新たなビジネス機会の創出</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215957" indent="-215957" defTabSz="914217">
              <a:lnSpc>
                <a:spcPts val="1100"/>
              </a:lnSpc>
              <a:spcBef>
                <a:spcPts val="300"/>
              </a:spcBef>
              <a:buClr>
                <a:srgbClr val="000000"/>
              </a:buClr>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職業のマッチング、就職後の人材育成・定着等への支援、副業による地域との関わり合いの創出</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a:p>
            <a:pPr marL="215957" indent="-215957" defTabSz="914217">
              <a:lnSpc>
                <a:spcPts val="1100"/>
              </a:lnSpc>
              <a:spcBef>
                <a:spcPts val="300"/>
              </a:spcBef>
              <a:buClr>
                <a:srgbClr val="000000"/>
              </a:buClr>
              <a:buFont typeface="Wingdings" panose="05000000000000000000" pitchFamily="2" charset="2"/>
              <a:buChar char="ü"/>
              <a:defRPr/>
            </a:pPr>
            <a:r>
              <a:rPr lang="ja-JP" altLang="en-US" sz="1100" b="1" dirty="0">
                <a:solidFill>
                  <a:srgbClr val="000000"/>
                </a:solidFill>
                <a:latin typeface="BIZ UDPゴシック" panose="020B0400000000000000" pitchFamily="50" charset="-128"/>
                <a:ea typeface="BIZ UDPゴシック" panose="020B0400000000000000" pitchFamily="50" charset="-128"/>
              </a:rPr>
              <a:t>特定地域づくり事業協同組合制度の活用</a:t>
            </a:r>
            <a:endParaRPr lang="en-US" altLang="ja-JP" sz="1100" b="1" dirty="0">
              <a:solidFill>
                <a:srgbClr val="000000"/>
              </a:solidFill>
              <a:latin typeface="BIZ UDPゴシック" panose="020B0400000000000000" pitchFamily="50" charset="-128"/>
              <a:ea typeface="BIZ UDPゴシック" panose="020B0400000000000000" pitchFamily="50" charset="-128"/>
            </a:endParaRPr>
          </a:p>
        </p:txBody>
      </p:sp>
      <p:pic>
        <p:nvPicPr>
          <p:cNvPr id="21" name="図 20">
            <a:extLst>
              <a:ext uri="{FF2B5EF4-FFF2-40B4-BE49-F238E27FC236}">
                <a16:creationId xmlns:a16="http://schemas.microsoft.com/office/drawing/2014/main" id="{31DA4FBF-EB3C-50D1-650E-AFC3AAE194E9}"/>
              </a:ext>
            </a:extLst>
          </p:cNvPr>
          <p:cNvPicPr>
            <a:picLocks noChangeAspect="1"/>
          </p:cNvPicPr>
          <p:nvPr/>
        </p:nvPicPr>
        <p:blipFill rotWithShape="1">
          <a:blip r:embed="rId7"/>
          <a:srcRect t="18508" b="8060"/>
          <a:stretch/>
        </p:blipFill>
        <p:spPr>
          <a:xfrm>
            <a:off x="6907435" y="4969881"/>
            <a:ext cx="1088180" cy="484350"/>
          </a:xfrm>
          <a:prstGeom prst="rect">
            <a:avLst/>
          </a:prstGeom>
        </p:spPr>
      </p:pic>
      <p:pic>
        <p:nvPicPr>
          <p:cNvPr id="25" name="図 24">
            <a:extLst>
              <a:ext uri="{FF2B5EF4-FFF2-40B4-BE49-F238E27FC236}">
                <a16:creationId xmlns:a16="http://schemas.microsoft.com/office/drawing/2014/main" id="{770B3340-5FA5-A262-78C2-7317CCE8A8E5}"/>
              </a:ext>
            </a:extLst>
          </p:cNvPr>
          <p:cNvPicPr>
            <a:picLocks noChangeAspect="1"/>
          </p:cNvPicPr>
          <p:nvPr/>
        </p:nvPicPr>
        <p:blipFill>
          <a:blip r:embed="rId8"/>
          <a:stretch>
            <a:fillRect/>
          </a:stretch>
        </p:blipFill>
        <p:spPr>
          <a:xfrm>
            <a:off x="8160490" y="4967968"/>
            <a:ext cx="874633" cy="505500"/>
          </a:xfrm>
          <a:prstGeom prst="rect">
            <a:avLst/>
          </a:prstGeom>
        </p:spPr>
      </p:pic>
      <p:pic>
        <p:nvPicPr>
          <p:cNvPr id="5" name="図 4">
            <a:extLst>
              <a:ext uri="{FF2B5EF4-FFF2-40B4-BE49-F238E27FC236}">
                <a16:creationId xmlns:a16="http://schemas.microsoft.com/office/drawing/2014/main" id="{0846EF88-89DE-1852-2A7E-4545FA9C411C}"/>
              </a:ext>
            </a:extLst>
          </p:cNvPr>
          <p:cNvPicPr>
            <a:picLocks noChangeAspect="1"/>
          </p:cNvPicPr>
          <p:nvPr/>
        </p:nvPicPr>
        <p:blipFill rotWithShape="1">
          <a:blip r:embed="rId9"/>
          <a:srcRect l="8349" t="12493"/>
          <a:stretch/>
        </p:blipFill>
        <p:spPr>
          <a:xfrm>
            <a:off x="4659834" y="5002135"/>
            <a:ext cx="816382" cy="492984"/>
          </a:xfrm>
          <a:prstGeom prst="rect">
            <a:avLst/>
          </a:prstGeom>
        </p:spPr>
      </p:pic>
      <p:pic>
        <p:nvPicPr>
          <p:cNvPr id="7" name="図 6">
            <a:extLst>
              <a:ext uri="{FF2B5EF4-FFF2-40B4-BE49-F238E27FC236}">
                <a16:creationId xmlns:a16="http://schemas.microsoft.com/office/drawing/2014/main" id="{F7475D9A-B1B0-7640-8BE9-19049DE29A0E}"/>
              </a:ext>
            </a:extLst>
          </p:cNvPr>
          <p:cNvPicPr>
            <a:picLocks noChangeAspect="1"/>
          </p:cNvPicPr>
          <p:nvPr/>
        </p:nvPicPr>
        <p:blipFill rotWithShape="1">
          <a:blip r:embed="rId10"/>
          <a:srcRect l="1901" t="15647" r="82169" b="76793"/>
          <a:stretch/>
        </p:blipFill>
        <p:spPr>
          <a:xfrm>
            <a:off x="5831194" y="2159452"/>
            <a:ext cx="338289" cy="114370"/>
          </a:xfrm>
          <a:prstGeom prst="rect">
            <a:avLst/>
          </a:prstGeom>
        </p:spPr>
      </p:pic>
      <p:pic>
        <p:nvPicPr>
          <p:cNvPr id="8" name="図 7">
            <a:extLst>
              <a:ext uri="{FF2B5EF4-FFF2-40B4-BE49-F238E27FC236}">
                <a16:creationId xmlns:a16="http://schemas.microsoft.com/office/drawing/2014/main" id="{E1B51D22-C269-744C-4580-129D941523F8}"/>
              </a:ext>
            </a:extLst>
          </p:cNvPr>
          <p:cNvPicPr>
            <a:picLocks noChangeAspect="1"/>
          </p:cNvPicPr>
          <p:nvPr/>
        </p:nvPicPr>
        <p:blipFill rotWithShape="1">
          <a:blip r:embed="rId10"/>
          <a:srcRect l="1098" t="74178" r="82972" b="18262"/>
          <a:stretch/>
        </p:blipFill>
        <p:spPr>
          <a:xfrm>
            <a:off x="5831194" y="2412553"/>
            <a:ext cx="338289" cy="114370"/>
          </a:xfrm>
          <a:prstGeom prst="rect">
            <a:avLst/>
          </a:prstGeom>
        </p:spPr>
      </p:pic>
      <p:pic>
        <p:nvPicPr>
          <p:cNvPr id="14" name="図 13">
            <a:extLst>
              <a:ext uri="{FF2B5EF4-FFF2-40B4-BE49-F238E27FC236}">
                <a16:creationId xmlns:a16="http://schemas.microsoft.com/office/drawing/2014/main" id="{B1F79537-3688-510A-A5B6-0F173E11D37F}"/>
              </a:ext>
            </a:extLst>
          </p:cNvPr>
          <p:cNvPicPr>
            <a:picLocks noChangeAspect="1"/>
          </p:cNvPicPr>
          <p:nvPr/>
        </p:nvPicPr>
        <p:blipFill rotWithShape="1">
          <a:blip r:embed="rId10"/>
          <a:srcRect l="13926" t="88432" r="-1706" b="3810"/>
          <a:stretch/>
        </p:blipFill>
        <p:spPr>
          <a:xfrm>
            <a:off x="6107607" y="2615841"/>
            <a:ext cx="1864085" cy="117360"/>
          </a:xfrm>
          <a:prstGeom prst="rect">
            <a:avLst/>
          </a:prstGeom>
        </p:spPr>
      </p:pic>
      <p:sp>
        <p:nvSpPr>
          <p:cNvPr id="19" name="タイトル 19">
            <a:extLst>
              <a:ext uri="{FF2B5EF4-FFF2-40B4-BE49-F238E27FC236}">
                <a16:creationId xmlns:a16="http://schemas.microsoft.com/office/drawing/2014/main" id="{D36A1115-8B97-49A9-1B05-A2F74F223D71}"/>
              </a:ext>
            </a:extLst>
          </p:cNvPr>
          <p:cNvSpPr txBox="1">
            <a:spLocks/>
          </p:cNvSpPr>
          <p:nvPr/>
        </p:nvSpPr>
        <p:spPr>
          <a:xfrm>
            <a:off x="309496" y="63426"/>
            <a:ext cx="8099094" cy="476174"/>
          </a:xfrm>
          <a:prstGeom prst="rect">
            <a:avLst/>
          </a:prstGeom>
          <a:noFill/>
          <a:ln>
            <a:noFill/>
          </a:ln>
        </p:spPr>
        <p:txBody>
          <a:bodyPr vert="horz" wrap="square" lIns="91425" tIns="45713" rIns="91425" bIns="45713" numCol="1" anchor="ctr" anchorCtr="0" compatLnSpc="1">
            <a:prstTxWarp prst="textNoShape">
              <a:avLst/>
            </a:prstTxWarp>
          </a:bodyPr>
          <a:lstStyle>
            <a:lvl1pPr algn="l" rtl="0" eaLnBrk="1" fontAlgn="base" hangingPunct="1">
              <a:spcBef>
                <a:spcPct val="0"/>
              </a:spcBef>
              <a:spcAft>
                <a:spcPct val="0"/>
              </a:spcAft>
              <a:defRPr kumimoji="1" sz="2585">
                <a:solidFill>
                  <a:srgbClr val="4087C8"/>
                </a:solidFill>
                <a:latin typeface="+mj-lt"/>
                <a:ea typeface="+mj-ea"/>
                <a:cs typeface="+mj-cs"/>
              </a:defRPr>
            </a:lvl1pPr>
            <a:lvl2pPr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5pPr>
            <a:lvl6pPr marL="422041"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6pPr>
            <a:lvl7pPr marL="844083"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7pPr>
            <a:lvl8pPr marL="1266124"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8pPr>
            <a:lvl9pPr marL="1688165" algn="l" rtl="0" eaLnBrk="1" fontAlgn="base" hangingPunct="1">
              <a:spcBef>
                <a:spcPct val="0"/>
              </a:spcBef>
              <a:spcAft>
                <a:spcPct val="0"/>
              </a:spcAft>
              <a:defRPr kumimoji="1" sz="2585">
                <a:solidFill>
                  <a:srgbClr val="4087C8"/>
                </a:solidFill>
                <a:latin typeface="HGP創英角ｺﾞｼｯｸUB" pitchFamily="50" charset="-128"/>
                <a:ea typeface="HGP創英角ｺﾞｼｯｸUB" pitchFamily="50" charset="-128"/>
              </a:defRPr>
            </a:lvl9pPr>
          </a:lstStyle>
          <a:p>
            <a:pPr defTabSz="914217" fontAlgn="auto">
              <a:spcAft>
                <a:spcPts val="0"/>
              </a:spcAft>
              <a:defRPr/>
            </a:pPr>
            <a:r>
              <a:rPr lang="ja-JP" altLang="en-US" sz="1600" kern="0" dirty="0">
                <a:latin typeface="HGP創英角ｺﾞｼｯｸUB" panose="020B0900000000000000" pitchFamily="50" charset="-128"/>
                <a:ea typeface="HGP創英角ｺﾞｼｯｸUB" panose="020B0900000000000000" pitchFamily="50" charset="-128"/>
              </a:rPr>
              <a:t>国土審議会移住・二地域居住等促進専門委員会</a:t>
            </a:r>
            <a:endParaRPr lang="en-US" altLang="ja-JP" sz="1600" kern="0" dirty="0">
              <a:latin typeface="HGP創英角ｺﾞｼｯｸUB" panose="020B0900000000000000" pitchFamily="50" charset="-128"/>
              <a:ea typeface="HGP創英角ｺﾞｼｯｸUB" panose="020B0900000000000000" pitchFamily="50" charset="-128"/>
            </a:endParaRPr>
          </a:p>
          <a:p>
            <a:pPr defTabSz="914217" fontAlgn="auto">
              <a:spcAft>
                <a:spcPts val="0"/>
              </a:spcAft>
              <a:defRPr/>
            </a:pPr>
            <a:r>
              <a:rPr lang="ja-JP" altLang="en-US" sz="1800" kern="0" dirty="0">
                <a:latin typeface="HGP創英角ｺﾞｼｯｸUB" panose="020B0900000000000000" pitchFamily="50" charset="-128"/>
                <a:ea typeface="HGP創英角ｺﾞｼｯｸUB" panose="020B0900000000000000" pitchFamily="50" charset="-128"/>
              </a:rPr>
              <a:t>中間とりまとめの概要（令和６年１月公表）</a:t>
            </a:r>
          </a:p>
        </p:txBody>
      </p:sp>
      <p:sp>
        <p:nvSpPr>
          <p:cNvPr id="23" name="テキスト ボックス 9">
            <a:extLst>
              <a:ext uri="{FF2B5EF4-FFF2-40B4-BE49-F238E27FC236}">
                <a16:creationId xmlns:a16="http://schemas.microsoft.com/office/drawing/2014/main" id="{8807BBA8-F6DC-2E8E-8E77-8374D35501C4}"/>
              </a:ext>
            </a:extLst>
          </p:cNvPr>
          <p:cNvSpPr txBox="1"/>
          <p:nvPr/>
        </p:nvSpPr>
        <p:spPr>
          <a:xfrm>
            <a:off x="6513779" y="639490"/>
            <a:ext cx="3743816" cy="276955"/>
          </a:xfrm>
          <a:prstGeom prst="rect">
            <a:avLst/>
          </a:prstGeom>
          <a:noFill/>
        </p:spPr>
        <p:txBody>
          <a:bodyPr wrap="square" rtlCol="0">
            <a:spAutoFit/>
          </a:bodyPr>
          <a:lstStyle/>
          <a:p>
            <a:pPr marL="206000" indent="-206000" defTabSz="602807">
              <a:defRPr/>
            </a:pPr>
            <a:r>
              <a:rPr lang="en-US" altLang="ja-JP" sz="1200" dirty="0">
                <a:solidFill>
                  <a:srgbClr val="000000"/>
                </a:solidFill>
                <a:latin typeface="BIZ UDPゴシック" panose="020B0400000000000000" pitchFamily="50" charset="-128"/>
                <a:ea typeface="BIZ UDPゴシック" panose="020B0400000000000000" pitchFamily="50" charset="-128"/>
                <a:cs typeface="Times New Roman" panose="02020603050405020304" pitchFamily="18" charset="0"/>
              </a:rPr>
              <a:t>R</a:t>
            </a:r>
            <a:r>
              <a:rPr lang="ja-JP" altLang="en-US" sz="1200" dirty="0">
                <a:solidFill>
                  <a:srgbClr val="000000"/>
                </a:solidFill>
                <a:latin typeface="BIZ UDPゴシック" panose="020B0400000000000000" pitchFamily="50" charset="-128"/>
                <a:ea typeface="BIZ UDPゴシック" panose="020B0400000000000000" pitchFamily="50" charset="-128"/>
                <a:cs typeface="Times New Roman" panose="02020603050405020304" pitchFamily="18" charset="0"/>
              </a:rPr>
              <a:t>６</a:t>
            </a:r>
            <a:r>
              <a:rPr lang="en-US" altLang="ja-JP" sz="1200" dirty="0">
                <a:solidFill>
                  <a:srgbClr val="000000"/>
                </a:solidFill>
                <a:latin typeface="BIZ UDPゴシック" panose="020B0400000000000000" pitchFamily="50" charset="-128"/>
                <a:ea typeface="BIZ UDPゴシック" panose="020B0400000000000000" pitchFamily="50" charset="-128"/>
                <a:cs typeface="Times New Roman" panose="02020603050405020304" pitchFamily="18" charset="0"/>
              </a:rPr>
              <a:t>.1.19</a:t>
            </a:r>
            <a:r>
              <a:rPr lang="ja-JP" altLang="en-US" sz="1200" dirty="0">
                <a:solidFill>
                  <a:srgbClr val="000000"/>
                </a:solidFill>
                <a:latin typeface="BIZ UDPゴシック" panose="020B0400000000000000" pitchFamily="50" charset="-128"/>
                <a:ea typeface="BIZ UDPゴシック" panose="020B0400000000000000" pitchFamily="50" charset="-128"/>
                <a:cs typeface="Times New Roman" panose="02020603050405020304" pitchFamily="18" charset="0"/>
              </a:rPr>
              <a:t>　国土審議会　第２回推進部会資料より</a:t>
            </a:r>
            <a:endParaRPr lang="en-US" altLang="ja-JP" sz="1200" dirty="0">
              <a:solidFill>
                <a:srgbClr val="FF0000"/>
              </a:solidFill>
              <a:latin typeface="BIZ UDPゴシック" panose="020B0400000000000000" pitchFamily="50" charset="-128"/>
              <a:ea typeface="BIZ UDPゴシック" panose="020B0400000000000000" pitchFamily="50" charset="-128"/>
            </a:endParaRPr>
          </a:p>
        </p:txBody>
      </p:sp>
      <p:sp>
        <p:nvSpPr>
          <p:cNvPr id="9" name="フッター プレースホルダー 8">
            <a:extLst>
              <a:ext uri="{FF2B5EF4-FFF2-40B4-BE49-F238E27FC236}">
                <a16:creationId xmlns:a16="http://schemas.microsoft.com/office/drawing/2014/main" id="{3C92EEC9-2A3C-BD49-7364-99F115383FFA}"/>
              </a:ext>
            </a:extLst>
          </p:cNvPr>
          <p:cNvSpPr>
            <a:spLocks noGrp="1"/>
          </p:cNvSpPr>
          <p:nvPr>
            <p:ph type="ftr" sz="quarter" idx="11"/>
          </p:nvPr>
        </p:nvSpPr>
        <p:spPr/>
        <p:txBody>
          <a:bodyPr/>
          <a:lstStyle/>
          <a:p>
            <a:pPr>
              <a:defRPr/>
            </a:pPr>
            <a:endParaRPr lang="en-US" altLang="ja-JP" dirty="0"/>
          </a:p>
        </p:txBody>
      </p:sp>
      <p:sp>
        <p:nvSpPr>
          <p:cNvPr id="16" name="スライド番号プレースホルダー 15">
            <a:extLst>
              <a:ext uri="{FF2B5EF4-FFF2-40B4-BE49-F238E27FC236}">
                <a16:creationId xmlns:a16="http://schemas.microsoft.com/office/drawing/2014/main" id="{1A04783D-AF62-6104-0A85-6E4E70300E5E}"/>
              </a:ext>
            </a:extLst>
          </p:cNvPr>
          <p:cNvSpPr>
            <a:spLocks noGrp="1"/>
          </p:cNvSpPr>
          <p:nvPr>
            <p:ph type="sldNum" sz="quarter" idx="12"/>
          </p:nvPr>
        </p:nvSpPr>
        <p:spPr/>
        <p:txBody>
          <a:bodyPr/>
          <a:lstStyle/>
          <a:p>
            <a:pPr>
              <a:defRPr/>
            </a:pPr>
            <a:fld id="{651FC12D-27C1-4F31-90C9-A93D49E44687}" type="slidenum">
              <a:rPr lang="en-US" altLang="ja-JP" smtClean="0"/>
              <a:pPr>
                <a:defRPr/>
              </a:pPr>
              <a:t>43</a:t>
            </a:fld>
            <a:endParaRPr lang="en-US" altLang="ja-JP" dirty="0"/>
          </a:p>
        </p:txBody>
      </p:sp>
    </p:spTree>
    <p:extLst>
      <p:ext uri="{BB962C8B-B14F-4D97-AF65-F5344CB8AC3E}">
        <p14:creationId xmlns:p14="http://schemas.microsoft.com/office/powerpoint/2010/main" val="11100355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19"/>
          <p:cNvSpPr>
            <a:spLocks noGrp="1"/>
          </p:cNvSpPr>
          <p:nvPr>
            <p:ph type="title"/>
          </p:nvPr>
        </p:nvSpPr>
        <p:spPr>
          <a:xfrm>
            <a:off x="127670" y="63426"/>
            <a:ext cx="7739112" cy="476174"/>
          </a:xfrm>
        </p:spPr>
        <p:txBody>
          <a:bodyPr/>
          <a:lstStyle/>
          <a:p>
            <a:pPr fontAlgn="auto">
              <a:spcAft>
                <a:spcPts val="0"/>
              </a:spcAft>
              <a:defRPr/>
            </a:pPr>
            <a:r>
              <a:rPr lang="ja-JP" altLang="en-US" sz="2400" dirty="0">
                <a:latin typeface="HGP創英角ｺﾞｼｯｸUB" panose="020B0900000000000000" pitchFamily="50" charset="-128"/>
                <a:ea typeface="HGP創英角ｺﾞｼｯｸUB" panose="020B0900000000000000" pitchFamily="50" charset="-128"/>
              </a:rPr>
              <a:t>具体的な取組事項</a:t>
            </a:r>
          </a:p>
        </p:txBody>
      </p:sp>
      <p:sp>
        <p:nvSpPr>
          <p:cNvPr id="2" name="テキスト ボックス 1">
            <a:extLst>
              <a:ext uri="{FF2B5EF4-FFF2-40B4-BE49-F238E27FC236}">
                <a16:creationId xmlns:a16="http://schemas.microsoft.com/office/drawing/2014/main" id="{2DCCEC38-A7A3-CF98-3437-CA99E8222BE1}"/>
              </a:ext>
            </a:extLst>
          </p:cNvPr>
          <p:cNvSpPr txBox="1"/>
          <p:nvPr/>
        </p:nvSpPr>
        <p:spPr>
          <a:xfrm>
            <a:off x="378663" y="1321941"/>
            <a:ext cx="9147085" cy="4801314"/>
          </a:xfrm>
          <a:prstGeom prst="rect">
            <a:avLst/>
          </a:prstGeom>
          <a:noFill/>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rPr>
              <a:t>　 「住まい（住環境）」、「なりわい（仕事）の確保・新しい働き方」、「コミュニティ（地域づくりへの参加）」等の課題に対して、行政・民間が一体となって政策をパッケージで進めるため、以下のような新たな制度設計が必要。</a:t>
            </a:r>
            <a:endParaRPr lang="en-US" altLang="ja-JP" dirty="0">
              <a:latin typeface="BIZ UDPゴシック" panose="020B0400000000000000" pitchFamily="50" charset="-128"/>
              <a:ea typeface="BIZ UDPゴシック" panose="020B0400000000000000" pitchFamily="50" charset="-128"/>
            </a:endParaRPr>
          </a:p>
          <a:p>
            <a:endParaRPr lang="ja-JP" altLang="en-US" dirty="0">
              <a:latin typeface="BIZ UDPゴシック" panose="020B0400000000000000" pitchFamily="50" charset="-128"/>
              <a:ea typeface="BIZ UDPゴシック" panose="020B0400000000000000" pitchFamily="50" charset="-128"/>
            </a:endParaRPr>
          </a:p>
          <a:p>
            <a:pPr marL="287942" indent="-179964">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地域の実情に応じて市町村が中心となって二地域居住等の促進のための計画を作成し、計画に基づき都市計画法や建築基準法等の各種法令手続きの円滑化や、シェアハウス・コワーキングスペースなどの整備等について財政的支援を行うことにより、取組を促進。</a:t>
            </a:r>
          </a:p>
          <a:p>
            <a:pPr marL="107978"/>
            <a:endParaRPr lang="ja-JP" altLang="en-US" dirty="0">
              <a:latin typeface="BIZ UDPゴシック" panose="020B0400000000000000" pitchFamily="50" charset="-128"/>
              <a:ea typeface="BIZ UDPゴシック" panose="020B0400000000000000" pitchFamily="50" charset="-128"/>
            </a:endParaRPr>
          </a:p>
          <a:p>
            <a:pPr marL="287942" indent="-179964">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二地域居住等の促進に関する活動を行う民間事業者や</a:t>
            </a:r>
            <a:r>
              <a:rPr lang="en-US" altLang="ja-JP" dirty="0">
                <a:latin typeface="BIZ UDPゴシック" panose="020B0400000000000000" pitchFamily="50" charset="-128"/>
                <a:ea typeface="BIZ UDPゴシック" panose="020B0400000000000000" pitchFamily="50" charset="-128"/>
              </a:rPr>
              <a:t>NPO</a:t>
            </a:r>
            <a:r>
              <a:rPr lang="ja-JP" altLang="en-US" dirty="0">
                <a:latin typeface="BIZ UDPゴシック" panose="020B0400000000000000" pitchFamily="50" charset="-128"/>
                <a:ea typeface="BIZ UDPゴシック" panose="020B0400000000000000" pitchFamily="50" charset="-128"/>
              </a:rPr>
              <a:t>法人等の指定制度を創設し、官民連携により、「住まい（住環境）」、「なりわい（仕事）の確保・新しい働き方」、「コミュニティ（地域づくりへの参加）」に係る事業をパッケージで促進。</a:t>
            </a:r>
          </a:p>
          <a:p>
            <a:pPr marL="107978"/>
            <a:endParaRPr lang="ja-JP" altLang="en-US" dirty="0">
              <a:latin typeface="BIZ UDPゴシック" panose="020B0400000000000000" pitchFamily="50" charset="-128"/>
              <a:ea typeface="BIZ UDPゴシック" panose="020B0400000000000000" pitchFamily="50" charset="-128"/>
            </a:endParaRPr>
          </a:p>
          <a:p>
            <a:pPr marL="287942" indent="-179964">
              <a:buFont typeface="Wingdings" panose="05000000000000000000" pitchFamily="2" charset="2"/>
              <a:buChar char="l"/>
            </a:pPr>
            <a:r>
              <a:rPr lang="ja-JP" altLang="en-US" dirty="0">
                <a:latin typeface="BIZ UDPゴシック" panose="020B0400000000000000" pitchFamily="50" charset="-128"/>
                <a:ea typeface="BIZ UDPゴシック" panose="020B0400000000000000" pitchFamily="50" charset="-128"/>
              </a:rPr>
              <a:t>市町村、都道府県、民間事業者（不動産会社、地域交通事業者、商工会など）、農協、</a:t>
            </a:r>
            <a:r>
              <a:rPr lang="en-US" altLang="ja-JP" dirty="0">
                <a:latin typeface="BIZ UDPゴシック" panose="020B0400000000000000" pitchFamily="50" charset="-128"/>
                <a:ea typeface="BIZ UDPゴシック" panose="020B0400000000000000" pitchFamily="50" charset="-128"/>
              </a:rPr>
              <a:t>NPO</a:t>
            </a:r>
            <a:r>
              <a:rPr lang="ja-JP" altLang="en-US" dirty="0">
                <a:latin typeface="BIZ UDPゴシック" panose="020B0400000000000000" pitchFamily="50" charset="-128"/>
                <a:ea typeface="BIZ UDPゴシック" panose="020B0400000000000000" pitchFamily="50" charset="-128"/>
              </a:rPr>
              <a:t>法人等からなる協議会を設置し、情報の連携や提供、 「住まい（住環境）」、「なりわい（仕事）の確保・新しい働き方」、「コミュニティ（地域づくりへの参加）」のマッチングなどの地域連携を促進。</a:t>
            </a:r>
          </a:p>
          <a:p>
            <a:pPr marL="107978"/>
            <a:endParaRPr lang="en-US" altLang="ja-JP" dirty="0">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79A17E6-1A9A-8BA8-4D20-1CDDBA08D7D1}"/>
              </a:ext>
            </a:extLst>
          </p:cNvPr>
          <p:cNvSpPr txBox="1"/>
          <p:nvPr/>
        </p:nvSpPr>
        <p:spPr>
          <a:xfrm>
            <a:off x="314325" y="855514"/>
            <a:ext cx="4493889" cy="400110"/>
          </a:xfrm>
          <a:prstGeom prst="rect">
            <a:avLst/>
          </a:prstGeom>
          <a:noFill/>
        </p:spPr>
        <p:txBody>
          <a:bodyPr wrap="square" rtlCol="0">
            <a:spAutoFit/>
          </a:bodyPr>
          <a:lstStyle/>
          <a:p>
            <a:r>
              <a:rPr lang="ja-JP" altLang="en-US" sz="2000" u="heavy" dirty="0">
                <a:solidFill>
                  <a:srgbClr val="0070C0"/>
                </a:solidFill>
                <a:latin typeface="BIZ UDPゴシック" panose="020B0400000000000000" pitchFamily="50" charset="-128"/>
                <a:ea typeface="BIZ UDPゴシック" panose="020B0400000000000000" pitchFamily="50" charset="-128"/>
              </a:rPr>
              <a:t>新たな制度設計</a:t>
            </a:r>
            <a:endParaRPr lang="ja-JP" altLang="en-US" sz="2000" u="heavy" strike="dblStrike" dirty="0">
              <a:solidFill>
                <a:srgbClr val="0070C0"/>
              </a:solidFill>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8BA52B85-C2E0-D55F-F63D-884B610BD2BC}"/>
              </a:ext>
            </a:extLst>
          </p:cNvPr>
          <p:cNvSpPr>
            <a:spLocks noGrp="1"/>
          </p:cNvSpPr>
          <p:nvPr>
            <p:ph type="sldNum" sz="quarter" idx="12"/>
          </p:nvPr>
        </p:nvSpPr>
        <p:spPr/>
        <p:txBody>
          <a:bodyPr/>
          <a:lstStyle/>
          <a:p>
            <a:pPr>
              <a:defRPr/>
            </a:pPr>
            <a:fld id="{651FC12D-27C1-4F31-90C9-A93D49E44687}" type="slidenum">
              <a:rPr lang="en-US" altLang="ja-JP" smtClean="0"/>
              <a:pPr>
                <a:defRPr/>
              </a:pPr>
              <a:t>44</a:t>
            </a:fld>
            <a:endParaRPr lang="en-US" altLang="ja-JP" dirty="0"/>
          </a:p>
        </p:txBody>
      </p:sp>
    </p:spTree>
    <p:extLst>
      <p:ext uri="{BB962C8B-B14F-4D97-AF65-F5344CB8AC3E}">
        <p14:creationId xmlns:p14="http://schemas.microsoft.com/office/powerpoint/2010/main" val="20251948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598" y="-40740"/>
            <a:ext cx="7593932" cy="476174"/>
          </a:xfrm>
        </p:spPr>
        <p:txBody>
          <a:bodyPr/>
          <a:lstStyle/>
          <a:p>
            <a:r>
              <a:rPr lang="ja-JP" altLang="en-US" sz="2000" dirty="0"/>
              <a:t>二地域居住の具体的イメージ　</a:t>
            </a:r>
          </a:p>
        </p:txBody>
      </p:sp>
      <p:pic>
        <p:nvPicPr>
          <p:cNvPr id="19" name="図 18" descr="アイコン&#10;&#10;自動的に生成された説明">
            <a:extLst>
              <a:ext uri="{FF2B5EF4-FFF2-40B4-BE49-F238E27FC236}">
                <a16:creationId xmlns:a16="http://schemas.microsoft.com/office/drawing/2014/main" id="{C15C82CA-EA9A-FE35-D150-38C92CACC03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27291" y="1520654"/>
            <a:ext cx="694905" cy="694905"/>
          </a:xfrm>
          <a:prstGeom prst="rect">
            <a:avLst/>
          </a:prstGeom>
        </p:spPr>
      </p:pic>
      <p:pic>
        <p:nvPicPr>
          <p:cNvPr id="24" name="図 23" descr="アイコン&#10;&#10;自動的に生成された説明">
            <a:extLst>
              <a:ext uri="{FF2B5EF4-FFF2-40B4-BE49-F238E27FC236}">
                <a16:creationId xmlns:a16="http://schemas.microsoft.com/office/drawing/2014/main" id="{ED8C9C5D-B6FE-F261-BAB4-E1F5627C2B8E}"/>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41681" y="1443893"/>
            <a:ext cx="770616" cy="770616"/>
          </a:xfrm>
          <a:prstGeom prst="rect">
            <a:avLst/>
          </a:prstGeom>
        </p:spPr>
      </p:pic>
      <p:sp>
        <p:nvSpPr>
          <p:cNvPr id="41" name="テキスト ボックス 40">
            <a:extLst>
              <a:ext uri="{FF2B5EF4-FFF2-40B4-BE49-F238E27FC236}">
                <a16:creationId xmlns:a16="http://schemas.microsoft.com/office/drawing/2014/main" id="{21087D7B-1D79-9F3D-42D9-725C9CAF13A8}"/>
              </a:ext>
            </a:extLst>
          </p:cNvPr>
          <p:cNvSpPr txBox="1"/>
          <p:nvPr/>
        </p:nvSpPr>
        <p:spPr>
          <a:xfrm>
            <a:off x="293023" y="3974209"/>
            <a:ext cx="1779075" cy="461591"/>
          </a:xfrm>
          <a:prstGeom prst="rect">
            <a:avLst/>
          </a:prstGeom>
          <a:solidFill>
            <a:schemeClr val="bg1"/>
          </a:solidFill>
        </p:spPr>
        <p:txBody>
          <a:bodyPr wrap="square" rtlCol="0">
            <a:spAutoFit/>
          </a:bodyPr>
          <a:lstStyle/>
          <a:p>
            <a:pPr defTabSz="914217">
              <a:defRPr/>
            </a:pPr>
            <a:r>
              <a:rPr lang="en-US" altLang="ja-JP" sz="1200" dirty="0">
                <a:solidFill>
                  <a:srgbClr val="000000"/>
                </a:solidFill>
                <a:latin typeface="ＭＳ Ｐゴシック"/>
                <a:ea typeface="ＭＳ Ｐゴシック"/>
              </a:rPr>
              <a:t>30</a:t>
            </a:r>
            <a:r>
              <a:rPr lang="ja-JP" altLang="en-US" sz="1200" dirty="0">
                <a:solidFill>
                  <a:srgbClr val="000000"/>
                </a:solidFill>
                <a:latin typeface="ＭＳ Ｐゴシック"/>
                <a:ea typeface="ＭＳ Ｐゴシック"/>
              </a:rPr>
              <a:t>代夫婦（地方出身）、共働き、子供、都会在住</a:t>
            </a:r>
          </a:p>
        </p:txBody>
      </p:sp>
      <p:sp>
        <p:nvSpPr>
          <p:cNvPr id="42" name="四角形: 角を丸くする 41">
            <a:extLst>
              <a:ext uri="{FF2B5EF4-FFF2-40B4-BE49-F238E27FC236}">
                <a16:creationId xmlns:a16="http://schemas.microsoft.com/office/drawing/2014/main" id="{79EC0596-82EA-2C01-AE76-FCF6B6426B4D}"/>
              </a:ext>
            </a:extLst>
          </p:cNvPr>
          <p:cNvSpPr/>
          <p:nvPr/>
        </p:nvSpPr>
        <p:spPr>
          <a:xfrm>
            <a:off x="1999878" y="1143546"/>
            <a:ext cx="7137878" cy="1377935"/>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8882" indent="-88882" algn="just" defTabSz="914217"/>
            <a:r>
              <a:rPr lang="ja-JP" altLang="en-US" kern="100" dirty="0">
                <a:solidFill>
                  <a:srgbClr val="000000"/>
                </a:solidFill>
                <a:latin typeface="ＭＳ Ｐゴシック"/>
                <a:ea typeface="ＭＳ Ｐゴシック"/>
                <a:cs typeface="Times New Roman" panose="02020603050405020304" pitchFamily="18" charset="0"/>
              </a:rPr>
              <a:t>・地方への移住の意向があり、短期の休暇等でお試し居住を実施</a:t>
            </a:r>
            <a:endParaRPr lang="en-US" altLang="ja-JP" kern="100" dirty="0">
              <a:solidFill>
                <a:srgbClr val="000000"/>
              </a:solidFill>
              <a:latin typeface="ＭＳ Ｐゴシック"/>
              <a:ea typeface="ＭＳ Ｐゴシック"/>
              <a:cs typeface="Times New Roman" panose="02020603050405020304" pitchFamily="18" charset="0"/>
            </a:endParaRPr>
          </a:p>
          <a:p>
            <a:pPr marL="88882" indent="-88882" algn="just" defTabSz="914217"/>
            <a:r>
              <a:rPr lang="ja-JP" altLang="en-US" kern="100" dirty="0">
                <a:solidFill>
                  <a:srgbClr val="000000"/>
                </a:solidFill>
                <a:latin typeface="ＭＳ Ｐゴシック"/>
                <a:ea typeface="ＭＳ Ｐゴシック"/>
                <a:cs typeface="Times New Roman" panose="02020603050405020304" pitchFamily="18" charset="0"/>
              </a:rPr>
              <a:t> している</a:t>
            </a:r>
            <a:endParaRPr lang="en-US" altLang="ja-JP" kern="100" dirty="0">
              <a:solidFill>
                <a:srgbClr val="000000"/>
              </a:solidFill>
              <a:latin typeface="ＭＳ Ｐゴシック"/>
              <a:ea typeface="ＭＳ Ｐゴシック"/>
              <a:cs typeface="Times New Roman" panose="02020603050405020304" pitchFamily="18" charset="0"/>
            </a:endParaRPr>
          </a:p>
          <a:p>
            <a:pPr marL="176178" indent="-176178" algn="just" defTabSz="914217"/>
            <a:r>
              <a:rPr lang="ja-JP" altLang="en-US" kern="100" dirty="0">
                <a:solidFill>
                  <a:srgbClr val="000000"/>
                </a:solidFill>
                <a:latin typeface="ＭＳ Ｐゴシック"/>
                <a:ea typeface="ＭＳ Ｐゴシック"/>
                <a:cs typeface="Times New Roman" panose="02020603050405020304" pitchFamily="18" charset="0"/>
              </a:rPr>
              <a:t>・転職を視野に、地域での仕事探しを進めようと考えている</a:t>
            </a:r>
            <a:endParaRPr lang="en-US" altLang="ja-JP" kern="100" dirty="0">
              <a:solidFill>
                <a:srgbClr val="000000"/>
              </a:solidFill>
              <a:latin typeface="ＭＳ Ｐゴシック"/>
              <a:ea typeface="ＭＳ Ｐゴシック"/>
              <a:cs typeface="Times New Roman" panose="02020603050405020304" pitchFamily="18" charset="0"/>
            </a:endParaRPr>
          </a:p>
          <a:p>
            <a:pPr marL="176178" indent="-176178" algn="just" defTabSz="914217"/>
            <a:r>
              <a:rPr lang="ja-JP" altLang="en-US" dirty="0">
                <a:solidFill>
                  <a:srgbClr val="000000"/>
                </a:solidFill>
                <a:latin typeface="ＭＳ Ｐゴシック"/>
                <a:ea typeface="ＭＳ Ｐゴシック"/>
              </a:rPr>
              <a:t>・移住者との交流や、地域の生活環境の情報を希望している</a:t>
            </a:r>
          </a:p>
        </p:txBody>
      </p:sp>
      <p:sp>
        <p:nvSpPr>
          <p:cNvPr id="43" name="テキスト ボックス 42">
            <a:extLst>
              <a:ext uri="{FF2B5EF4-FFF2-40B4-BE49-F238E27FC236}">
                <a16:creationId xmlns:a16="http://schemas.microsoft.com/office/drawing/2014/main" id="{8887CACA-1EE0-6FCE-7043-DDCA3B145AE6}"/>
              </a:ext>
            </a:extLst>
          </p:cNvPr>
          <p:cNvSpPr txBox="1"/>
          <p:nvPr/>
        </p:nvSpPr>
        <p:spPr>
          <a:xfrm>
            <a:off x="309951" y="2172157"/>
            <a:ext cx="1622184" cy="461591"/>
          </a:xfrm>
          <a:prstGeom prst="rect">
            <a:avLst/>
          </a:prstGeom>
          <a:solidFill>
            <a:schemeClr val="bg1">
              <a:alpha val="0"/>
            </a:schemeClr>
          </a:solidFill>
        </p:spPr>
        <p:txBody>
          <a:bodyPr wrap="square" rtlCol="0">
            <a:spAutoFit/>
          </a:bodyPr>
          <a:lstStyle/>
          <a:p>
            <a:pPr defTabSz="914217">
              <a:defRPr/>
            </a:pPr>
            <a:r>
              <a:rPr lang="en-US" altLang="ja-JP" sz="1200" dirty="0">
                <a:solidFill>
                  <a:srgbClr val="000000"/>
                </a:solidFill>
                <a:latin typeface="ＭＳ Ｐゴシック"/>
                <a:ea typeface="ＭＳ Ｐゴシック"/>
              </a:rPr>
              <a:t>20</a:t>
            </a:r>
            <a:r>
              <a:rPr lang="ja-JP" altLang="en-US" sz="1200" dirty="0">
                <a:solidFill>
                  <a:srgbClr val="000000"/>
                </a:solidFill>
                <a:latin typeface="ＭＳ Ｐゴシック"/>
                <a:ea typeface="ＭＳ Ｐゴシック"/>
              </a:rPr>
              <a:t>代夫婦、共に都会出身、都会在住</a:t>
            </a:r>
          </a:p>
        </p:txBody>
      </p:sp>
      <p:sp>
        <p:nvSpPr>
          <p:cNvPr id="44" name="四角形: 角を丸くする 43">
            <a:extLst>
              <a:ext uri="{FF2B5EF4-FFF2-40B4-BE49-F238E27FC236}">
                <a16:creationId xmlns:a16="http://schemas.microsoft.com/office/drawing/2014/main" id="{985B85A9-E80B-87FD-7339-63737C6681E6}"/>
              </a:ext>
            </a:extLst>
          </p:cNvPr>
          <p:cNvSpPr/>
          <p:nvPr/>
        </p:nvSpPr>
        <p:spPr>
          <a:xfrm>
            <a:off x="1999878" y="4611776"/>
            <a:ext cx="7137878" cy="144305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8882" indent="-88882" algn="just" defTabSz="914217"/>
            <a:r>
              <a:rPr lang="ja-JP" altLang="en-US" kern="100" dirty="0">
                <a:solidFill>
                  <a:srgbClr val="000000"/>
                </a:solidFill>
                <a:latin typeface="ＭＳ Ｐゴシック"/>
                <a:ea typeface="ＭＳ Ｐゴシック"/>
                <a:cs typeface="Times New Roman" panose="02020603050405020304" pitchFamily="18" charset="0"/>
              </a:rPr>
              <a:t>・都市部に加えて地方でも働き、都会の便利さと地方の豊かさの</a:t>
            </a:r>
            <a:endParaRPr lang="en-US" altLang="ja-JP" kern="100" dirty="0">
              <a:solidFill>
                <a:srgbClr val="000000"/>
              </a:solidFill>
              <a:latin typeface="ＭＳ Ｐゴシック"/>
              <a:ea typeface="ＭＳ Ｐゴシック"/>
              <a:cs typeface="Times New Roman" panose="02020603050405020304" pitchFamily="18" charset="0"/>
            </a:endParaRPr>
          </a:p>
          <a:p>
            <a:pPr marL="88882" indent="-88882" algn="just" defTabSz="914217"/>
            <a:r>
              <a:rPr lang="ja-JP" altLang="en-US" kern="100" dirty="0">
                <a:solidFill>
                  <a:srgbClr val="000000"/>
                </a:solidFill>
                <a:latin typeface="ＭＳ Ｐゴシック"/>
                <a:ea typeface="ＭＳ Ｐゴシック"/>
                <a:cs typeface="Times New Roman" panose="02020603050405020304" pitchFamily="18" charset="0"/>
              </a:rPr>
              <a:t> 両方を享受している</a:t>
            </a:r>
          </a:p>
          <a:p>
            <a:pPr marL="88882" indent="-88882" algn="just" defTabSz="914217"/>
            <a:r>
              <a:rPr lang="ja-JP" altLang="en-US" kern="100" dirty="0">
                <a:solidFill>
                  <a:srgbClr val="000000"/>
                </a:solidFill>
                <a:latin typeface="ＭＳ Ｐゴシック"/>
                <a:ea typeface="ＭＳ Ｐゴシック"/>
                <a:cs typeface="Times New Roman" panose="02020603050405020304" pitchFamily="18" charset="0"/>
              </a:rPr>
              <a:t>・専門技能を活用して地域企業や地域のまちづくりに協力し、起業も</a:t>
            </a:r>
            <a:endParaRPr lang="en-US" altLang="ja-JP" kern="100" dirty="0">
              <a:solidFill>
                <a:srgbClr val="000000"/>
              </a:solidFill>
              <a:latin typeface="ＭＳ Ｐゴシック"/>
              <a:ea typeface="ＭＳ Ｐゴシック"/>
              <a:cs typeface="Times New Roman" panose="02020603050405020304" pitchFamily="18" charset="0"/>
            </a:endParaRPr>
          </a:p>
          <a:p>
            <a:pPr marL="88882" indent="-88882" algn="just" defTabSz="914217"/>
            <a:r>
              <a:rPr lang="en-US" altLang="ja-JP" kern="100" dirty="0">
                <a:solidFill>
                  <a:srgbClr val="000000"/>
                </a:solidFill>
                <a:latin typeface="ＭＳ Ｐゴシック"/>
                <a:ea typeface="ＭＳ Ｐゴシック"/>
                <a:cs typeface="Times New Roman" panose="02020603050405020304" pitchFamily="18" charset="0"/>
              </a:rPr>
              <a:t> </a:t>
            </a:r>
            <a:r>
              <a:rPr lang="ja-JP" altLang="en-US" kern="100" dirty="0">
                <a:solidFill>
                  <a:srgbClr val="000000"/>
                </a:solidFill>
                <a:latin typeface="ＭＳ Ｐゴシック"/>
                <a:ea typeface="ＭＳ Ｐゴシック"/>
                <a:cs typeface="Times New Roman" panose="02020603050405020304" pitchFamily="18" charset="0"/>
              </a:rPr>
              <a:t>視野に入れている</a:t>
            </a:r>
            <a:endParaRPr lang="en-US" altLang="ja-JP" kern="100" dirty="0">
              <a:solidFill>
                <a:srgbClr val="000000"/>
              </a:solidFill>
              <a:latin typeface="ＭＳ Ｐゴシック"/>
              <a:ea typeface="ＭＳ Ｐゴシック"/>
              <a:cs typeface="Times New Roman" panose="02020603050405020304" pitchFamily="18" charset="0"/>
            </a:endParaRPr>
          </a:p>
        </p:txBody>
      </p:sp>
      <p:sp>
        <p:nvSpPr>
          <p:cNvPr id="45" name="テキスト ボックス 44">
            <a:extLst>
              <a:ext uri="{FF2B5EF4-FFF2-40B4-BE49-F238E27FC236}">
                <a16:creationId xmlns:a16="http://schemas.microsoft.com/office/drawing/2014/main" id="{E1A891AD-C733-8CA6-8E98-09E05595FAE7}"/>
              </a:ext>
            </a:extLst>
          </p:cNvPr>
          <p:cNvSpPr txBox="1"/>
          <p:nvPr/>
        </p:nvSpPr>
        <p:spPr>
          <a:xfrm>
            <a:off x="205045" y="5755131"/>
            <a:ext cx="1564735" cy="461591"/>
          </a:xfrm>
          <a:prstGeom prst="rect">
            <a:avLst/>
          </a:prstGeom>
          <a:solidFill>
            <a:schemeClr val="bg1"/>
          </a:solidFill>
        </p:spPr>
        <p:txBody>
          <a:bodyPr wrap="square" rtlCol="0">
            <a:spAutoFit/>
          </a:bodyPr>
          <a:lstStyle/>
          <a:p>
            <a:pPr defTabSz="914217">
              <a:defRPr/>
            </a:pPr>
            <a:r>
              <a:rPr lang="en-US" altLang="ja-JP" sz="1200" dirty="0">
                <a:solidFill>
                  <a:srgbClr val="000000"/>
                </a:solidFill>
                <a:latin typeface="ＭＳ Ｐゴシック"/>
                <a:ea typeface="ＭＳ Ｐゴシック"/>
              </a:rPr>
              <a:t>30</a:t>
            </a:r>
            <a:r>
              <a:rPr lang="ja-JP" altLang="en-US" sz="1200" dirty="0">
                <a:solidFill>
                  <a:srgbClr val="000000"/>
                </a:solidFill>
                <a:latin typeface="ＭＳ Ｐゴシック"/>
                <a:ea typeface="ＭＳ Ｐゴシック"/>
              </a:rPr>
              <a:t>代単身、専門職、</a:t>
            </a:r>
            <a:endParaRPr lang="en-US" altLang="ja-JP" sz="1200" dirty="0">
              <a:solidFill>
                <a:srgbClr val="000000"/>
              </a:solidFill>
              <a:latin typeface="ＭＳ Ｐゴシック"/>
              <a:ea typeface="ＭＳ Ｐゴシック"/>
            </a:endParaRPr>
          </a:p>
          <a:p>
            <a:pPr defTabSz="914217">
              <a:defRPr/>
            </a:pPr>
            <a:r>
              <a:rPr lang="ja-JP" altLang="en-US" sz="1200" dirty="0">
                <a:solidFill>
                  <a:srgbClr val="000000"/>
                </a:solidFill>
                <a:latin typeface="ＭＳ Ｐゴシック"/>
                <a:ea typeface="ＭＳ Ｐゴシック"/>
              </a:rPr>
              <a:t>都会で就職</a:t>
            </a:r>
          </a:p>
        </p:txBody>
      </p:sp>
      <p:sp>
        <p:nvSpPr>
          <p:cNvPr id="51" name="吹き出し: 角を丸めた四角形 50">
            <a:extLst>
              <a:ext uri="{FF2B5EF4-FFF2-40B4-BE49-F238E27FC236}">
                <a16:creationId xmlns:a16="http://schemas.microsoft.com/office/drawing/2014/main" id="{0F8CE770-654E-0B7A-5A1B-785C63A367A5}"/>
              </a:ext>
            </a:extLst>
          </p:cNvPr>
          <p:cNvSpPr/>
          <p:nvPr/>
        </p:nvSpPr>
        <p:spPr>
          <a:xfrm>
            <a:off x="464439" y="2848743"/>
            <a:ext cx="1274608" cy="391364"/>
          </a:xfrm>
          <a:prstGeom prst="wedgeRoundRectCallout">
            <a:avLst>
              <a:gd name="adj1" fmla="val -27747"/>
              <a:gd name="adj2" fmla="val 96274"/>
              <a:gd name="adj3" fmla="val 16667"/>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52" name="テキスト ボックス 51">
            <a:extLst>
              <a:ext uri="{FF2B5EF4-FFF2-40B4-BE49-F238E27FC236}">
                <a16:creationId xmlns:a16="http://schemas.microsoft.com/office/drawing/2014/main" id="{39C3BCAF-C8B9-2A92-4AAB-9F2FB45E9DB7}"/>
              </a:ext>
            </a:extLst>
          </p:cNvPr>
          <p:cNvSpPr txBox="1"/>
          <p:nvPr/>
        </p:nvSpPr>
        <p:spPr>
          <a:xfrm>
            <a:off x="445150" y="2843532"/>
            <a:ext cx="1318927" cy="400046"/>
          </a:xfrm>
          <a:prstGeom prst="rect">
            <a:avLst/>
          </a:prstGeom>
          <a:solidFill>
            <a:schemeClr val="bg1">
              <a:alpha val="0"/>
            </a:schemeClr>
          </a:solidFill>
        </p:spPr>
        <p:txBody>
          <a:bodyPr wrap="square" rtlCol="0">
            <a:spAutoFit/>
          </a:bodyPr>
          <a:lstStyle/>
          <a:p>
            <a:pPr defTabSz="914217">
              <a:defRPr/>
            </a:pPr>
            <a:r>
              <a:rPr lang="ja-JP" altLang="en-US" sz="1000" dirty="0">
                <a:solidFill>
                  <a:srgbClr val="000000"/>
                </a:solidFill>
                <a:latin typeface="ＭＳ Ｐゴシック"/>
                <a:ea typeface="ＭＳ Ｐゴシック"/>
              </a:rPr>
              <a:t>子供と自然を楽しみたい！</a:t>
            </a:r>
          </a:p>
        </p:txBody>
      </p:sp>
      <p:sp>
        <p:nvSpPr>
          <p:cNvPr id="53" name="テキスト ボックス 52">
            <a:extLst>
              <a:ext uri="{FF2B5EF4-FFF2-40B4-BE49-F238E27FC236}">
                <a16:creationId xmlns:a16="http://schemas.microsoft.com/office/drawing/2014/main" id="{C4DB4330-3F0C-5FF6-E7FB-CA99A425B0A0}"/>
              </a:ext>
            </a:extLst>
          </p:cNvPr>
          <p:cNvSpPr txBox="1"/>
          <p:nvPr/>
        </p:nvSpPr>
        <p:spPr>
          <a:xfrm>
            <a:off x="492851" y="945211"/>
            <a:ext cx="1318927" cy="400046"/>
          </a:xfrm>
          <a:prstGeom prst="rect">
            <a:avLst/>
          </a:prstGeom>
          <a:solidFill>
            <a:schemeClr val="bg1">
              <a:alpha val="0"/>
            </a:schemeClr>
          </a:solidFill>
        </p:spPr>
        <p:txBody>
          <a:bodyPr wrap="square" rtlCol="0">
            <a:spAutoFit/>
          </a:bodyPr>
          <a:lstStyle/>
          <a:p>
            <a:pPr defTabSz="914217">
              <a:defRPr/>
            </a:pPr>
            <a:r>
              <a:rPr lang="ja-JP" altLang="en-US" sz="1000" dirty="0">
                <a:solidFill>
                  <a:srgbClr val="000000"/>
                </a:solidFill>
                <a:latin typeface="ＭＳ Ｐゴシック"/>
                <a:ea typeface="ＭＳ Ｐゴシック"/>
              </a:rPr>
              <a:t>将来は地方で暮らしたい！</a:t>
            </a:r>
          </a:p>
        </p:txBody>
      </p:sp>
      <p:sp>
        <p:nvSpPr>
          <p:cNvPr id="55" name="吹き出し: 角を丸めた四角形 54">
            <a:extLst>
              <a:ext uri="{FF2B5EF4-FFF2-40B4-BE49-F238E27FC236}">
                <a16:creationId xmlns:a16="http://schemas.microsoft.com/office/drawing/2014/main" id="{6F3E0335-89F6-3309-C304-5214E7BB1148}"/>
              </a:ext>
            </a:extLst>
          </p:cNvPr>
          <p:cNvSpPr/>
          <p:nvPr/>
        </p:nvSpPr>
        <p:spPr>
          <a:xfrm>
            <a:off x="531943" y="916435"/>
            <a:ext cx="1222533" cy="400046"/>
          </a:xfrm>
          <a:prstGeom prst="wedgeRoundRectCallout">
            <a:avLst>
              <a:gd name="adj1" fmla="val -27747"/>
              <a:gd name="adj2" fmla="val 96274"/>
              <a:gd name="adj3" fmla="val 16667"/>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56" name="テキスト ボックス 55">
            <a:extLst>
              <a:ext uri="{FF2B5EF4-FFF2-40B4-BE49-F238E27FC236}">
                <a16:creationId xmlns:a16="http://schemas.microsoft.com/office/drawing/2014/main" id="{B70D94E0-D48A-7E17-CF3F-69587C57A9DC}"/>
              </a:ext>
            </a:extLst>
          </p:cNvPr>
          <p:cNvSpPr txBox="1"/>
          <p:nvPr/>
        </p:nvSpPr>
        <p:spPr>
          <a:xfrm>
            <a:off x="397839" y="4632086"/>
            <a:ext cx="1318927" cy="400046"/>
          </a:xfrm>
          <a:prstGeom prst="rect">
            <a:avLst/>
          </a:prstGeom>
          <a:solidFill>
            <a:schemeClr val="bg1">
              <a:alpha val="0"/>
            </a:schemeClr>
          </a:solidFill>
        </p:spPr>
        <p:txBody>
          <a:bodyPr wrap="square" rtlCol="0">
            <a:spAutoFit/>
          </a:bodyPr>
          <a:lstStyle/>
          <a:p>
            <a:pPr defTabSz="914217">
              <a:defRPr/>
            </a:pPr>
            <a:r>
              <a:rPr lang="ja-JP" altLang="en-US" sz="1000" dirty="0">
                <a:solidFill>
                  <a:srgbClr val="000000"/>
                </a:solidFill>
                <a:latin typeface="ＭＳ Ｐゴシック"/>
                <a:ea typeface="ＭＳ Ｐゴシック"/>
              </a:rPr>
              <a:t>スキルを活かして</a:t>
            </a:r>
            <a:endParaRPr lang="en-US" altLang="ja-JP" sz="1000" dirty="0">
              <a:solidFill>
                <a:srgbClr val="000000"/>
              </a:solidFill>
              <a:latin typeface="ＭＳ Ｐゴシック"/>
              <a:ea typeface="ＭＳ Ｐゴシック"/>
            </a:endParaRPr>
          </a:p>
          <a:p>
            <a:pPr defTabSz="914217">
              <a:defRPr/>
            </a:pPr>
            <a:r>
              <a:rPr lang="ja-JP" altLang="en-US" sz="1000" dirty="0">
                <a:solidFill>
                  <a:srgbClr val="000000"/>
                </a:solidFill>
                <a:latin typeface="ＭＳ Ｐゴシック"/>
                <a:ea typeface="ＭＳ Ｐゴシック"/>
              </a:rPr>
              <a:t>地域に役立ちたい！</a:t>
            </a:r>
          </a:p>
        </p:txBody>
      </p:sp>
      <p:sp>
        <p:nvSpPr>
          <p:cNvPr id="57" name="吹き出し: 角を丸めた四角形 56">
            <a:extLst>
              <a:ext uri="{FF2B5EF4-FFF2-40B4-BE49-F238E27FC236}">
                <a16:creationId xmlns:a16="http://schemas.microsoft.com/office/drawing/2014/main" id="{BDB6A698-ADBB-20B7-5DB3-D2C0C4E3277B}"/>
              </a:ext>
            </a:extLst>
          </p:cNvPr>
          <p:cNvSpPr/>
          <p:nvPr/>
        </p:nvSpPr>
        <p:spPr>
          <a:xfrm>
            <a:off x="394608" y="4611776"/>
            <a:ext cx="1222533" cy="400046"/>
          </a:xfrm>
          <a:prstGeom prst="wedgeRoundRectCallout">
            <a:avLst>
              <a:gd name="adj1" fmla="val -27747"/>
              <a:gd name="adj2" fmla="val 96274"/>
              <a:gd name="adj3" fmla="val 16667"/>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3" name="タイトル 1">
            <a:extLst>
              <a:ext uri="{FF2B5EF4-FFF2-40B4-BE49-F238E27FC236}">
                <a16:creationId xmlns:a16="http://schemas.microsoft.com/office/drawing/2014/main" id="{E01A3D02-6198-8B0B-B8ED-C4C43054FAF5}"/>
              </a:ext>
            </a:extLst>
          </p:cNvPr>
          <p:cNvSpPr txBox="1">
            <a:spLocks/>
          </p:cNvSpPr>
          <p:nvPr/>
        </p:nvSpPr>
        <p:spPr bwMode="auto">
          <a:xfrm>
            <a:off x="3093994" y="84201"/>
            <a:ext cx="5907338" cy="386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5" tIns="45713" rIns="91425" bIns="45713"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914217"/>
            <a:r>
              <a:rPr lang="ja-JP" altLang="en-US" sz="1300" kern="0" dirty="0">
                <a:latin typeface="メイリオ" panose="020B0604030504040204" pitchFamily="50" charset="-128"/>
                <a:ea typeface="メイリオ" panose="020B0604030504040204" pitchFamily="50" charset="-128"/>
              </a:rPr>
              <a:t>（</a:t>
            </a:r>
            <a:r>
              <a:rPr lang="zh-TW" altLang="en-US" sz="1300" kern="0" dirty="0">
                <a:latin typeface="メイリオ" panose="020B0604030504040204" pitchFamily="50" charset="-128"/>
                <a:ea typeface="メイリオ" panose="020B0604030504040204" pitchFamily="50" charset="-128"/>
              </a:rPr>
              <a:t>全国二地域居住等促進協議会</a:t>
            </a:r>
            <a:r>
              <a:rPr lang="ja-JP" altLang="en-US" sz="1300" kern="0" dirty="0">
                <a:latin typeface="メイリオ" panose="020B0604030504040204" pitchFamily="50" charset="-128"/>
                <a:ea typeface="メイリオ" panose="020B0604030504040204" pitchFamily="50" charset="-128"/>
              </a:rPr>
              <a:t>（令和３年設立　会長：長野県知事</a:t>
            </a:r>
            <a:endParaRPr lang="en-US" altLang="ja-JP" sz="1300" kern="0" dirty="0">
              <a:latin typeface="メイリオ" panose="020B0604030504040204" pitchFamily="50" charset="-128"/>
              <a:ea typeface="メイリオ" panose="020B0604030504040204" pitchFamily="50" charset="-128"/>
            </a:endParaRPr>
          </a:p>
          <a:p>
            <a:pPr defTabSz="914217"/>
            <a:r>
              <a:rPr lang="ja-JP" altLang="en-US" sz="1300" kern="0" dirty="0">
                <a:latin typeface="メイリオ" panose="020B0604030504040204" pitchFamily="50" charset="-128"/>
                <a:ea typeface="メイリオ" panose="020B0604030504040204" pitchFamily="50" charset="-128"/>
              </a:rPr>
              <a:t>　官民</a:t>
            </a:r>
            <a:r>
              <a:rPr lang="en-US" altLang="ja-JP" sz="1300" kern="0" dirty="0">
                <a:latin typeface="メイリオ" panose="020B0604030504040204" pitchFamily="50" charset="-128"/>
                <a:ea typeface="メイリオ" panose="020B0604030504040204" pitchFamily="50" charset="-128"/>
              </a:rPr>
              <a:t>749</a:t>
            </a:r>
            <a:r>
              <a:rPr lang="ja-JP" altLang="en-US" sz="1300" kern="0" dirty="0">
                <a:latin typeface="メイリオ" panose="020B0604030504040204" pitchFamily="50" charset="-128"/>
                <a:ea typeface="メイリオ" panose="020B0604030504040204" pitchFamily="50" charset="-128"/>
              </a:rPr>
              <a:t>団体で構成）において収集した事例等を元に作成）</a:t>
            </a:r>
          </a:p>
        </p:txBody>
      </p:sp>
      <p:pic>
        <p:nvPicPr>
          <p:cNvPr id="13" name="図 12" descr="アイコン&#10;&#10;自動的に生成された説明">
            <a:extLst>
              <a:ext uri="{FF2B5EF4-FFF2-40B4-BE49-F238E27FC236}">
                <a16:creationId xmlns:a16="http://schemas.microsoft.com/office/drawing/2014/main" id="{9F23E022-64C7-5E03-516B-8AB47AED852C}"/>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39409" y="3210938"/>
            <a:ext cx="893465" cy="893465"/>
          </a:xfrm>
          <a:prstGeom prst="rect">
            <a:avLst/>
          </a:prstGeom>
        </p:spPr>
      </p:pic>
      <p:pic>
        <p:nvPicPr>
          <p:cNvPr id="18" name="図 17" descr="アイコン&#10;&#10;自動的に生成された説明">
            <a:extLst>
              <a:ext uri="{FF2B5EF4-FFF2-40B4-BE49-F238E27FC236}">
                <a16:creationId xmlns:a16="http://schemas.microsoft.com/office/drawing/2014/main" id="{8320095E-DCC4-7CD3-7F02-2425CA5ADAE1}"/>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46736" y="5048773"/>
            <a:ext cx="764098" cy="764098"/>
          </a:xfrm>
          <a:prstGeom prst="rect">
            <a:avLst/>
          </a:prstGeom>
        </p:spPr>
      </p:pic>
      <p:sp>
        <p:nvSpPr>
          <p:cNvPr id="4" name="四角形: 角を丸くする 3">
            <a:extLst>
              <a:ext uri="{FF2B5EF4-FFF2-40B4-BE49-F238E27FC236}">
                <a16:creationId xmlns:a16="http://schemas.microsoft.com/office/drawing/2014/main" id="{A47DA4CF-3A1F-6347-3D99-101FB6762272}"/>
              </a:ext>
            </a:extLst>
          </p:cNvPr>
          <p:cNvSpPr/>
          <p:nvPr/>
        </p:nvSpPr>
        <p:spPr>
          <a:xfrm>
            <a:off x="1435150" y="6095675"/>
            <a:ext cx="7618336" cy="94995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914217"/>
            <a:r>
              <a:rPr lang="ja-JP" altLang="en-US" sz="1600" kern="100" dirty="0">
                <a:solidFill>
                  <a:srgbClr val="0070C0"/>
                </a:solidFill>
                <a:latin typeface="ＭＳ Ｐゴシック"/>
                <a:ea typeface="ＭＳ Ｐゴシック"/>
                <a:cs typeface="Times New Roman" panose="02020603050405020304" pitchFamily="18" charset="0"/>
              </a:rPr>
              <a:t>地方への移住を希望する若者夫婦や、週末を中心に子供と自然を楽しむ家族、専門技能を活かして都市と地方を行き来して働く者など、地域との関わり方は様々であり、これらに応じ、「二地域居住」促進に取り組みたいという市町村の取組を支援</a:t>
            </a:r>
            <a:endParaRPr lang="en-US" altLang="ja-JP" sz="1600" kern="100" dirty="0">
              <a:solidFill>
                <a:srgbClr val="0070C0"/>
              </a:solidFill>
              <a:latin typeface="ＭＳ Ｐゴシック"/>
              <a:ea typeface="ＭＳ Ｐゴシック"/>
              <a:cs typeface="Times New Roman" panose="02020603050405020304" pitchFamily="18" charset="0"/>
            </a:endParaRPr>
          </a:p>
        </p:txBody>
      </p:sp>
      <p:sp>
        <p:nvSpPr>
          <p:cNvPr id="27" name="四角形: 角を丸くする 26">
            <a:extLst>
              <a:ext uri="{FF2B5EF4-FFF2-40B4-BE49-F238E27FC236}">
                <a16:creationId xmlns:a16="http://schemas.microsoft.com/office/drawing/2014/main" id="{F631E41D-B2B8-3368-B503-097C7DC3A03A}"/>
              </a:ext>
            </a:extLst>
          </p:cNvPr>
          <p:cNvSpPr/>
          <p:nvPr/>
        </p:nvSpPr>
        <p:spPr>
          <a:xfrm>
            <a:off x="1999878" y="2907401"/>
            <a:ext cx="7137878" cy="144305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8882" indent="-88882" algn="just" defTabSz="914217"/>
            <a:r>
              <a:rPr lang="ja-JP" altLang="ja-JP" kern="100" dirty="0">
                <a:solidFill>
                  <a:srgbClr val="000000"/>
                </a:solidFill>
                <a:latin typeface="ＭＳ Ｐゴシック"/>
                <a:ea typeface="ＭＳ Ｐゴシック"/>
                <a:cs typeface="Times New Roman" panose="02020603050405020304" pitchFamily="18" charset="0"/>
              </a:rPr>
              <a:t>・週末を中心に</a:t>
            </a:r>
            <a:r>
              <a:rPr lang="ja-JP" altLang="en-US" kern="100" dirty="0">
                <a:solidFill>
                  <a:srgbClr val="000000"/>
                </a:solidFill>
                <a:latin typeface="ＭＳ Ｐゴシック"/>
                <a:ea typeface="ＭＳ Ｐゴシック"/>
                <a:cs typeface="Times New Roman" panose="02020603050405020304" pitchFamily="18" charset="0"/>
              </a:rPr>
              <a:t>都市部</a:t>
            </a:r>
            <a:r>
              <a:rPr lang="ja-JP" altLang="ja-JP" kern="100" dirty="0">
                <a:solidFill>
                  <a:srgbClr val="000000"/>
                </a:solidFill>
                <a:latin typeface="ＭＳ Ｐゴシック"/>
                <a:ea typeface="ＭＳ Ｐゴシック"/>
                <a:cs typeface="Times New Roman" panose="02020603050405020304" pitchFamily="18" charset="0"/>
              </a:rPr>
              <a:t>からほど近い地方</a:t>
            </a:r>
            <a:r>
              <a:rPr lang="ja-JP" altLang="en-US" kern="100" dirty="0">
                <a:solidFill>
                  <a:srgbClr val="000000"/>
                </a:solidFill>
                <a:latin typeface="ＭＳ Ｐゴシック"/>
                <a:ea typeface="ＭＳ Ｐゴシック"/>
                <a:cs typeface="Times New Roman" panose="02020603050405020304" pitchFamily="18" charset="0"/>
              </a:rPr>
              <a:t>に繰り返し通って</a:t>
            </a:r>
            <a:r>
              <a:rPr lang="ja-JP" altLang="ja-JP" kern="100" dirty="0">
                <a:solidFill>
                  <a:srgbClr val="000000"/>
                </a:solidFill>
                <a:latin typeface="ＭＳ Ｐゴシック"/>
                <a:ea typeface="ＭＳ Ｐゴシック"/>
                <a:cs typeface="Times New Roman" panose="02020603050405020304" pitchFamily="18" charset="0"/>
              </a:rPr>
              <a:t>アウトドアや趣味を満喫</a:t>
            </a:r>
            <a:r>
              <a:rPr lang="ja-JP" altLang="en-US" kern="100" dirty="0">
                <a:solidFill>
                  <a:srgbClr val="000000"/>
                </a:solidFill>
                <a:latin typeface="ＭＳ Ｐゴシック"/>
                <a:ea typeface="ＭＳ Ｐゴシック"/>
                <a:cs typeface="Times New Roman" panose="02020603050405020304" pitchFamily="18" charset="0"/>
              </a:rPr>
              <a:t>し、テレワークとも組み合わせている</a:t>
            </a:r>
            <a:endParaRPr lang="ja-JP" altLang="ja-JP" kern="100" dirty="0">
              <a:solidFill>
                <a:srgbClr val="000000"/>
              </a:solidFill>
              <a:latin typeface="ＭＳ Ｐゴシック"/>
              <a:ea typeface="ＭＳ Ｐゴシック"/>
              <a:cs typeface="Times New Roman" panose="02020603050405020304" pitchFamily="18" charset="0"/>
            </a:endParaRPr>
          </a:p>
          <a:p>
            <a:pPr marL="176178" indent="-176178" algn="just" defTabSz="914217"/>
            <a:r>
              <a:rPr lang="ja-JP" altLang="ja-JP" kern="100" dirty="0">
                <a:solidFill>
                  <a:srgbClr val="000000"/>
                </a:solidFill>
                <a:latin typeface="ＭＳ Ｐゴシック"/>
                <a:ea typeface="ＭＳ Ｐゴシック"/>
                <a:cs typeface="Times New Roman" panose="02020603050405020304" pitchFamily="18" charset="0"/>
              </a:rPr>
              <a:t>・ホテルや</a:t>
            </a:r>
            <a:r>
              <a:rPr lang="ja-JP" altLang="en-US" kern="100" dirty="0">
                <a:solidFill>
                  <a:srgbClr val="000000"/>
                </a:solidFill>
                <a:latin typeface="ＭＳ Ｐゴシック"/>
                <a:ea typeface="ＭＳ Ｐゴシック"/>
                <a:cs typeface="Times New Roman" panose="02020603050405020304" pitchFamily="18" charset="0"/>
              </a:rPr>
              <a:t>旅館などの定額</a:t>
            </a:r>
            <a:r>
              <a:rPr lang="ja-JP" altLang="ja-JP" kern="100" dirty="0">
                <a:solidFill>
                  <a:srgbClr val="000000"/>
                </a:solidFill>
                <a:latin typeface="ＭＳ Ｐゴシック"/>
                <a:ea typeface="ＭＳ Ｐゴシック"/>
                <a:cs typeface="Times New Roman" panose="02020603050405020304" pitchFamily="18" charset="0"/>
              </a:rPr>
              <a:t>サービスを利用</a:t>
            </a:r>
            <a:r>
              <a:rPr lang="ja-JP" altLang="en-US" kern="100" dirty="0">
                <a:solidFill>
                  <a:srgbClr val="000000"/>
                </a:solidFill>
                <a:latin typeface="ＭＳ Ｐゴシック"/>
                <a:ea typeface="ＭＳ Ｐゴシック"/>
                <a:cs typeface="Times New Roman" panose="02020603050405020304" pitchFamily="18" charset="0"/>
              </a:rPr>
              <a:t>している</a:t>
            </a:r>
            <a:endParaRPr lang="ja-JP" altLang="ja-JP" kern="100" dirty="0">
              <a:solidFill>
                <a:srgbClr val="000000"/>
              </a:solidFill>
              <a:latin typeface="ＭＳ Ｐゴシック"/>
              <a:ea typeface="ＭＳ Ｐゴシック"/>
              <a:cs typeface="Times New Roman" panose="02020603050405020304" pitchFamily="18" charset="0"/>
            </a:endParaRPr>
          </a:p>
          <a:p>
            <a:pPr algn="just" defTabSz="914217"/>
            <a:r>
              <a:rPr lang="ja-JP" altLang="ja-JP" kern="100" dirty="0">
                <a:solidFill>
                  <a:srgbClr val="000000"/>
                </a:solidFill>
                <a:latin typeface="ＭＳ Ｐゴシック"/>
                <a:ea typeface="ＭＳ Ｐゴシック"/>
                <a:cs typeface="Times New Roman" panose="02020603050405020304" pitchFamily="18" charset="0"/>
              </a:rPr>
              <a:t>・</a:t>
            </a:r>
            <a:r>
              <a:rPr lang="ja-JP" altLang="en-US" kern="100" dirty="0">
                <a:solidFill>
                  <a:srgbClr val="000000"/>
                </a:solidFill>
                <a:latin typeface="ＭＳ Ｐゴシック"/>
                <a:ea typeface="ＭＳ Ｐゴシック"/>
                <a:cs typeface="Times New Roman" panose="02020603050405020304" pitchFamily="18" charset="0"/>
              </a:rPr>
              <a:t>地域の祭りやボランティアにも参加して、より地域に溶け込みたいと</a:t>
            </a:r>
            <a:endParaRPr lang="en-US" altLang="ja-JP" kern="100" dirty="0">
              <a:solidFill>
                <a:srgbClr val="000000"/>
              </a:solidFill>
              <a:latin typeface="ＭＳ Ｐゴシック"/>
              <a:ea typeface="ＭＳ Ｐゴシック"/>
              <a:cs typeface="Times New Roman" panose="02020603050405020304" pitchFamily="18" charset="0"/>
            </a:endParaRPr>
          </a:p>
          <a:p>
            <a:pPr algn="just" defTabSz="914217"/>
            <a:r>
              <a:rPr lang="en-US" altLang="ja-JP" kern="100" dirty="0">
                <a:solidFill>
                  <a:srgbClr val="000000"/>
                </a:solidFill>
                <a:latin typeface="ＭＳ Ｐゴシック"/>
                <a:ea typeface="ＭＳ Ｐゴシック"/>
                <a:cs typeface="Times New Roman" panose="02020603050405020304" pitchFamily="18" charset="0"/>
              </a:rPr>
              <a:t> </a:t>
            </a:r>
            <a:r>
              <a:rPr lang="ja-JP" altLang="en-US" kern="100" dirty="0">
                <a:solidFill>
                  <a:srgbClr val="000000"/>
                </a:solidFill>
                <a:latin typeface="ＭＳ Ｐゴシック"/>
                <a:ea typeface="ＭＳ Ｐゴシック"/>
                <a:cs typeface="Times New Roman" panose="02020603050405020304" pitchFamily="18" charset="0"/>
              </a:rPr>
              <a:t>考えている</a:t>
            </a:r>
            <a:endParaRPr lang="ja-JP" altLang="en-US" dirty="0">
              <a:solidFill>
                <a:srgbClr val="000000"/>
              </a:solidFill>
              <a:latin typeface="ＭＳ Ｐゴシック"/>
              <a:ea typeface="ＭＳ Ｐゴシック"/>
            </a:endParaRPr>
          </a:p>
        </p:txBody>
      </p:sp>
      <p:sp>
        <p:nvSpPr>
          <p:cNvPr id="5" name="矢印: 右 4">
            <a:extLst>
              <a:ext uri="{FF2B5EF4-FFF2-40B4-BE49-F238E27FC236}">
                <a16:creationId xmlns:a16="http://schemas.microsoft.com/office/drawing/2014/main" id="{E34058E4-79F8-9DB0-EE0F-42FA72E29E49}"/>
              </a:ext>
            </a:extLst>
          </p:cNvPr>
          <p:cNvSpPr/>
          <p:nvPr/>
        </p:nvSpPr>
        <p:spPr>
          <a:xfrm>
            <a:off x="886142" y="6412422"/>
            <a:ext cx="549008" cy="437503"/>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6" name="スライド番号プレースホルダー 2">
            <a:extLst>
              <a:ext uri="{FF2B5EF4-FFF2-40B4-BE49-F238E27FC236}">
                <a16:creationId xmlns:a16="http://schemas.microsoft.com/office/drawing/2014/main" id="{DBBC8647-557D-23EE-98CE-934D8B4CE4B0}"/>
              </a:ext>
            </a:extLst>
          </p:cNvPr>
          <p:cNvSpPr>
            <a:spLocks noGrp="1"/>
          </p:cNvSpPr>
          <p:nvPr>
            <p:ph type="sldNum" sz="quarter" idx="12"/>
          </p:nvPr>
        </p:nvSpPr>
        <p:spPr>
          <a:xfrm>
            <a:off x="7593383" y="7257989"/>
            <a:ext cx="2311030" cy="538868"/>
          </a:xfrm>
        </p:spPr>
        <p:txBody>
          <a:bodyPr/>
          <a:lstStyle/>
          <a:p>
            <a:pPr>
              <a:defRPr/>
            </a:pPr>
            <a:fld id="{06FFE511-5094-4685-A035-FB392A6605D8}" type="slidenum">
              <a:rPr lang="en-US" altLang="ja-JP" smtClean="0"/>
              <a:pPr>
                <a:defRPr/>
              </a:pPr>
              <a:t>45</a:t>
            </a:fld>
            <a:endParaRPr lang="en-US" altLang="ja-JP" dirty="0"/>
          </a:p>
        </p:txBody>
      </p:sp>
    </p:spTree>
    <p:extLst>
      <p:ext uri="{BB962C8B-B14F-4D97-AF65-F5344CB8AC3E}">
        <p14:creationId xmlns:p14="http://schemas.microsoft.com/office/powerpoint/2010/main" val="13903587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楕円 101">
            <a:extLst>
              <a:ext uri="{FF2B5EF4-FFF2-40B4-BE49-F238E27FC236}">
                <a16:creationId xmlns:a16="http://schemas.microsoft.com/office/drawing/2014/main" id="{760B2994-4B20-FCD7-CF3F-092C4C6EADEF}"/>
              </a:ext>
            </a:extLst>
          </p:cNvPr>
          <p:cNvSpPr/>
          <p:nvPr/>
        </p:nvSpPr>
        <p:spPr>
          <a:xfrm>
            <a:off x="313535" y="1737921"/>
            <a:ext cx="9145861" cy="4517949"/>
          </a:xfrm>
          <a:prstGeom prst="ellipse">
            <a:avLst/>
          </a:prstGeom>
          <a:solidFill>
            <a:schemeClr val="accent1">
              <a:lumMod val="75000"/>
              <a:alpha val="20000"/>
            </a:schemeClr>
          </a:solidFill>
          <a:ln w="38100">
            <a:solidFill>
              <a:schemeClr val="accent5">
                <a:lumMod val="9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dirty="0">
              <a:solidFill>
                <a:srgbClr val="FFFFFF"/>
              </a:solidFill>
              <a:latin typeface="Arial"/>
              <a:ea typeface="ＭＳ Ｐゴシック"/>
            </a:endParaRPr>
          </a:p>
        </p:txBody>
      </p:sp>
      <p:sp>
        <p:nvSpPr>
          <p:cNvPr id="2" name="タイトル 1"/>
          <p:cNvSpPr>
            <a:spLocks noGrp="1"/>
          </p:cNvSpPr>
          <p:nvPr>
            <p:ph type="title"/>
          </p:nvPr>
        </p:nvSpPr>
        <p:spPr>
          <a:xfrm>
            <a:off x="-9377" y="-30668"/>
            <a:ext cx="7593932" cy="476174"/>
          </a:xfrm>
        </p:spPr>
        <p:txBody>
          <a:bodyPr/>
          <a:lstStyle/>
          <a:p>
            <a:r>
              <a:rPr lang="ja-JP" altLang="en-US" sz="2400" dirty="0"/>
              <a:t>二地域居住の促進に向けた取組イメージ</a:t>
            </a:r>
          </a:p>
        </p:txBody>
      </p:sp>
      <p:grpSp>
        <p:nvGrpSpPr>
          <p:cNvPr id="37" name="グループ化 36">
            <a:extLst>
              <a:ext uri="{FF2B5EF4-FFF2-40B4-BE49-F238E27FC236}">
                <a16:creationId xmlns:a16="http://schemas.microsoft.com/office/drawing/2014/main" id="{00A2FAC4-81BD-1902-C7E7-39B5090171D5}"/>
              </a:ext>
            </a:extLst>
          </p:cNvPr>
          <p:cNvGrpSpPr/>
          <p:nvPr/>
        </p:nvGrpSpPr>
        <p:grpSpPr>
          <a:xfrm>
            <a:off x="1782627" y="3000281"/>
            <a:ext cx="6694477" cy="2094484"/>
            <a:chOff x="6019741" y="2913191"/>
            <a:chExt cx="2930457" cy="1091906"/>
          </a:xfrm>
        </p:grpSpPr>
        <p:sp>
          <p:nvSpPr>
            <p:cNvPr id="35" name="フリーフォーム: 図形 34">
              <a:extLst>
                <a:ext uri="{FF2B5EF4-FFF2-40B4-BE49-F238E27FC236}">
                  <a16:creationId xmlns:a16="http://schemas.microsoft.com/office/drawing/2014/main" id="{FF6EC5FC-14CD-680F-278B-CBF357FB29D0}"/>
                </a:ext>
              </a:extLst>
            </p:cNvPr>
            <p:cNvSpPr/>
            <p:nvPr/>
          </p:nvSpPr>
          <p:spPr>
            <a:xfrm>
              <a:off x="6019741" y="2913191"/>
              <a:ext cx="1792495" cy="1091906"/>
            </a:xfrm>
            <a:custGeom>
              <a:avLst/>
              <a:gdLst>
                <a:gd name="connsiteX0" fmla="*/ 0 w 2195512"/>
                <a:gd name="connsiteY0" fmla="*/ 1497807 h 1497807"/>
                <a:gd name="connsiteX1" fmla="*/ 276225 w 2195512"/>
                <a:gd name="connsiteY1" fmla="*/ 1178719 h 1497807"/>
                <a:gd name="connsiteX2" fmla="*/ 800100 w 2195512"/>
                <a:gd name="connsiteY2" fmla="*/ 1019175 h 1497807"/>
                <a:gd name="connsiteX3" fmla="*/ 1164431 w 2195512"/>
                <a:gd name="connsiteY3" fmla="*/ 964407 h 1497807"/>
                <a:gd name="connsiteX4" fmla="*/ 1314450 w 2195512"/>
                <a:gd name="connsiteY4" fmla="*/ 1000125 h 1497807"/>
                <a:gd name="connsiteX5" fmla="*/ 1509712 w 2195512"/>
                <a:gd name="connsiteY5" fmla="*/ 919163 h 1497807"/>
                <a:gd name="connsiteX6" fmla="*/ 1981200 w 2195512"/>
                <a:gd name="connsiteY6" fmla="*/ 626269 h 1497807"/>
                <a:gd name="connsiteX7" fmla="*/ 2121694 w 2195512"/>
                <a:gd name="connsiteY7" fmla="*/ 392907 h 1497807"/>
                <a:gd name="connsiteX8" fmla="*/ 2162175 w 2195512"/>
                <a:gd name="connsiteY8" fmla="*/ 292894 h 1497807"/>
                <a:gd name="connsiteX9" fmla="*/ 2195512 w 2195512"/>
                <a:gd name="connsiteY9" fmla="*/ 0 h 149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512" h="1497807">
                  <a:moveTo>
                    <a:pt x="0" y="1497807"/>
                  </a:moveTo>
                  <a:cubicBezTo>
                    <a:pt x="71437" y="1378149"/>
                    <a:pt x="142875" y="1258491"/>
                    <a:pt x="276225" y="1178719"/>
                  </a:cubicBezTo>
                  <a:cubicBezTo>
                    <a:pt x="409575" y="1098947"/>
                    <a:pt x="652066" y="1054894"/>
                    <a:pt x="800100" y="1019175"/>
                  </a:cubicBezTo>
                  <a:cubicBezTo>
                    <a:pt x="948134" y="983456"/>
                    <a:pt x="1078706" y="967582"/>
                    <a:pt x="1164431" y="964407"/>
                  </a:cubicBezTo>
                  <a:cubicBezTo>
                    <a:pt x="1250156" y="961232"/>
                    <a:pt x="1256903" y="1007666"/>
                    <a:pt x="1314450" y="1000125"/>
                  </a:cubicBezTo>
                  <a:cubicBezTo>
                    <a:pt x="1371997" y="992584"/>
                    <a:pt x="1398587" y="981472"/>
                    <a:pt x="1509712" y="919163"/>
                  </a:cubicBezTo>
                  <a:cubicBezTo>
                    <a:pt x="1620837" y="856854"/>
                    <a:pt x="1879203" y="713978"/>
                    <a:pt x="1981200" y="626269"/>
                  </a:cubicBezTo>
                  <a:cubicBezTo>
                    <a:pt x="2083197" y="538560"/>
                    <a:pt x="2091532" y="448469"/>
                    <a:pt x="2121694" y="392907"/>
                  </a:cubicBezTo>
                  <a:cubicBezTo>
                    <a:pt x="2151856" y="337345"/>
                    <a:pt x="2149872" y="358378"/>
                    <a:pt x="2162175" y="292894"/>
                  </a:cubicBezTo>
                  <a:cubicBezTo>
                    <a:pt x="2174478" y="227409"/>
                    <a:pt x="2184995" y="113704"/>
                    <a:pt x="2195512" y="0"/>
                  </a:cubicBezTo>
                </a:path>
              </a:pathLst>
            </a:custGeom>
            <a:noFill/>
            <a:ln w="57150">
              <a:solidFill>
                <a:srgbClr val="89A4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dirty="0">
                <a:solidFill>
                  <a:srgbClr val="FFFFFF"/>
                </a:solidFill>
                <a:latin typeface="Arial"/>
                <a:ea typeface="ＭＳ Ｐゴシック"/>
              </a:endParaRPr>
            </a:p>
          </p:txBody>
        </p:sp>
        <p:sp>
          <p:nvSpPr>
            <p:cNvPr id="36" name="フリーフォーム: 図形 35">
              <a:extLst>
                <a:ext uri="{FF2B5EF4-FFF2-40B4-BE49-F238E27FC236}">
                  <a16:creationId xmlns:a16="http://schemas.microsoft.com/office/drawing/2014/main" id="{FDD1CA71-9AC1-8EB5-8442-2E20BC1C2783}"/>
                </a:ext>
              </a:extLst>
            </p:cNvPr>
            <p:cNvSpPr/>
            <p:nvPr/>
          </p:nvSpPr>
          <p:spPr>
            <a:xfrm>
              <a:off x="7578598" y="3209434"/>
              <a:ext cx="1371600" cy="207443"/>
            </a:xfrm>
            <a:custGeom>
              <a:avLst/>
              <a:gdLst>
                <a:gd name="connsiteX0" fmla="*/ 0 w 1371600"/>
                <a:gd name="connsiteY0" fmla="*/ 197643 h 207443"/>
                <a:gd name="connsiteX1" fmla="*/ 402431 w 1371600"/>
                <a:gd name="connsiteY1" fmla="*/ 207168 h 207443"/>
                <a:gd name="connsiteX2" fmla="*/ 731044 w 1371600"/>
                <a:gd name="connsiteY2" fmla="*/ 188118 h 207443"/>
                <a:gd name="connsiteX3" fmla="*/ 1104900 w 1371600"/>
                <a:gd name="connsiteY3" fmla="*/ 109537 h 207443"/>
                <a:gd name="connsiteX4" fmla="*/ 1371600 w 1371600"/>
                <a:gd name="connsiteY4" fmla="*/ 0 h 207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207443">
                  <a:moveTo>
                    <a:pt x="0" y="197643"/>
                  </a:moveTo>
                  <a:cubicBezTo>
                    <a:pt x="140295" y="203199"/>
                    <a:pt x="280590" y="208756"/>
                    <a:pt x="402431" y="207168"/>
                  </a:cubicBezTo>
                  <a:cubicBezTo>
                    <a:pt x="524272" y="205581"/>
                    <a:pt x="613966" y="204390"/>
                    <a:pt x="731044" y="188118"/>
                  </a:cubicBezTo>
                  <a:cubicBezTo>
                    <a:pt x="848122" y="171846"/>
                    <a:pt x="998141" y="140890"/>
                    <a:pt x="1104900" y="109537"/>
                  </a:cubicBezTo>
                  <a:cubicBezTo>
                    <a:pt x="1211659" y="78184"/>
                    <a:pt x="1315641" y="75406"/>
                    <a:pt x="1371600" y="0"/>
                  </a:cubicBezTo>
                </a:path>
              </a:pathLst>
            </a:custGeom>
            <a:noFill/>
            <a:ln w="57150">
              <a:solidFill>
                <a:srgbClr val="89A4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grpSp>
      <p:sp>
        <p:nvSpPr>
          <p:cNvPr id="127" name="テキスト ボックス 126">
            <a:extLst>
              <a:ext uri="{FF2B5EF4-FFF2-40B4-BE49-F238E27FC236}">
                <a16:creationId xmlns:a16="http://schemas.microsoft.com/office/drawing/2014/main" id="{38D3BE0F-ECC7-91F6-9F69-801E084967B0}"/>
              </a:ext>
            </a:extLst>
          </p:cNvPr>
          <p:cNvSpPr txBox="1"/>
          <p:nvPr/>
        </p:nvSpPr>
        <p:spPr>
          <a:xfrm>
            <a:off x="2034245" y="3712824"/>
            <a:ext cx="2579467" cy="461591"/>
          </a:xfrm>
          <a:prstGeom prst="rect">
            <a:avLst/>
          </a:prstGeom>
          <a:noFill/>
        </p:spPr>
        <p:txBody>
          <a:bodyPr wrap="square" rtlCol="0">
            <a:spAutoFit/>
          </a:bodyPr>
          <a:lstStyle/>
          <a:p>
            <a:pPr defTabSz="914217">
              <a:defRPr/>
            </a:pPr>
            <a:r>
              <a:rPr lang="ja-JP" altLang="en-US" sz="1200" dirty="0">
                <a:solidFill>
                  <a:srgbClr val="000000"/>
                </a:solidFill>
                <a:latin typeface="ＭＳ Ｐゴシック"/>
                <a:ea typeface="ＭＳ Ｐゴシック"/>
              </a:rPr>
              <a:t>空き家を改修したお試し居住施設</a:t>
            </a:r>
            <a:r>
              <a:rPr lang="en-US" altLang="ja-JP" sz="1200" dirty="0">
                <a:solidFill>
                  <a:srgbClr val="000000"/>
                </a:solidFill>
                <a:latin typeface="ＭＳ Ｐゴシック"/>
                <a:ea typeface="ＭＳ Ｐゴシック"/>
              </a:rPr>
              <a:t>※</a:t>
            </a:r>
          </a:p>
          <a:p>
            <a:pPr defTabSz="914217">
              <a:defRPr/>
            </a:pPr>
            <a:r>
              <a:rPr lang="ja-JP" altLang="en-US" sz="1200" dirty="0">
                <a:solidFill>
                  <a:srgbClr val="000000"/>
                </a:solidFill>
                <a:latin typeface="ＭＳ Ｐゴシック"/>
                <a:ea typeface="ＭＳ Ｐゴシック"/>
              </a:rPr>
              <a:t>（空き家改修予算と連携）</a:t>
            </a:r>
            <a:endParaRPr lang="en-US" altLang="ja-JP" sz="1200" dirty="0">
              <a:solidFill>
                <a:srgbClr val="000000"/>
              </a:solidFill>
              <a:latin typeface="ＭＳ Ｐゴシック"/>
              <a:ea typeface="ＭＳ Ｐゴシック"/>
            </a:endParaRPr>
          </a:p>
        </p:txBody>
      </p:sp>
      <p:sp>
        <p:nvSpPr>
          <p:cNvPr id="141" name="テキスト ボックス 140">
            <a:extLst>
              <a:ext uri="{FF2B5EF4-FFF2-40B4-BE49-F238E27FC236}">
                <a16:creationId xmlns:a16="http://schemas.microsoft.com/office/drawing/2014/main" id="{94920F79-B08C-7D36-A663-E4E140783E46}"/>
              </a:ext>
            </a:extLst>
          </p:cNvPr>
          <p:cNvSpPr txBox="1"/>
          <p:nvPr/>
        </p:nvSpPr>
        <p:spPr>
          <a:xfrm>
            <a:off x="1301266" y="6109377"/>
            <a:ext cx="1996615" cy="830864"/>
          </a:xfrm>
          <a:prstGeom prst="rect">
            <a:avLst/>
          </a:prstGeom>
          <a:noFill/>
        </p:spPr>
        <p:txBody>
          <a:bodyPr wrap="square" rtlCol="0">
            <a:spAutoFit/>
          </a:bodyPr>
          <a:lstStyle/>
          <a:p>
            <a:pPr defTabSz="914217">
              <a:defRPr/>
            </a:pPr>
            <a:r>
              <a:rPr lang="en-US" altLang="ja-JP" sz="1200" dirty="0">
                <a:solidFill>
                  <a:srgbClr val="000000"/>
                </a:solidFill>
                <a:ea typeface="ＭＳ Ｐゴシック" charset="-128"/>
              </a:rPr>
              <a:t>IC</a:t>
            </a:r>
            <a:r>
              <a:rPr lang="ja-JP" altLang="en-US" sz="1200" dirty="0">
                <a:solidFill>
                  <a:srgbClr val="000000"/>
                </a:solidFill>
                <a:ea typeface="ＭＳ Ｐゴシック" charset="-128"/>
              </a:rPr>
              <a:t>－コワーキング</a:t>
            </a:r>
            <a:endParaRPr lang="en-US" altLang="ja-JP" sz="1200" dirty="0">
              <a:solidFill>
                <a:srgbClr val="000000"/>
              </a:solidFill>
              <a:ea typeface="ＭＳ Ｐゴシック" charset="-128"/>
            </a:endParaRPr>
          </a:p>
          <a:p>
            <a:pPr defTabSz="914217">
              <a:defRPr/>
            </a:pPr>
            <a:r>
              <a:rPr lang="ja-JP" altLang="en-US" sz="1200" dirty="0">
                <a:solidFill>
                  <a:srgbClr val="000000"/>
                </a:solidFill>
                <a:ea typeface="ＭＳ Ｐゴシック" charset="-128"/>
              </a:rPr>
              <a:t>スペース間の道路の整備</a:t>
            </a:r>
            <a:endParaRPr lang="en-US" altLang="ja-JP" sz="1200" dirty="0">
              <a:solidFill>
                <a:srgbClr val="000000"/>
              </a:solidFill>
              <a:ea typeface="ＭＳ Ｐゴシック" charset="-128"/>
            </a:endParaRPr>
          </a:p>
          <a:p>
            <a:pPr defTabSz="914217">
              <a:defRPr/>
            </a:pPr>
            <a:r>
              <a:rPr lang="ja-JP" altLang="en-US" sz="1200" dirty="0">
                <a:solidFill>
                  <a:srgbClr val="000000"/>
                </a:solidFill>
                <a:ea typeface="ＭＳ Ｐゴシック" charset="-128"/>
              </a:rPr>
              <a:t>（</a:t>
            </a:r>
            <a:r>
              <a:rPr lang="zh-TW" altLang="en-US" sz="1200" dirty="0">
                <a:solidFill>
                  <a:srgbClr val="000000"/>
                </a:solidFill>
                <a:ea typeface="ＭＳ Ｐゴシック" charset="-128"/>
              </a:rPr>
              <a:t>社会資本整備総合交付金（広域連携事業）</a:t>
            </a:r>
            <a:r>
              <a:rPr lang="ja-JP" altLang="en-US" sz="1200" dirty="0">
                <a:solidFill>
                  <a:srgbClr val="000000"/>
                </a:solidFill>
                <a:ea typeface="ＭＳ Ｐゴシック" charset="-128"/>
              </a:rPr>
              <a:t>）</a:t>
            </a:r>
            <a:endParaRPr lang="zh-TW" altLang="en-US" sz="1200" dirty="0">
              <a:solidFill>
                <a:srgbClr val="000000"/>
              </a:solidFill>
              <a:ea typeface="ＭＳ Ｐゴシック" charset="-128"/>
            </a:endParaRPr>
          </a:p>
        </p:txBody>
      </p:sp>
      <p:pic>
        <p:nvPicPr>
          <p:cNvPr id="3" name="図 2">
            <a:extLst>
              <a:ext uri="{FF2B5EF4-FFF2-40B4-BE49-F238E27FC236}">
                <a16:creationId xmlns:a16="http://schemas.microsoft.com/office/drawing/2014/main" id="{4CE62D31-94E9-BAAE-EC4E-8DF12038AB5B}"/>
              </a:ext>
            </a:extLst>
          </p:cNvPr>
          <p:cNvPicPr>
            <a:picLocks noChangeAspect="1"/>
          </p:cNvPicPr>
          <p:nvPr/>
        </p:nvPicPr>
        <p:blipFill>
          <a:blip r:embed="rId3"/>
          <a:stretch>
            <a:fillRect/>
          </a:stretch>
        </p:blipFill>
        <p:spPr>
          <a:xfrm>
            <a:off x="2008821" y="2744884"/>
            <a:ext cx="1284133" cy="962639"/>
          </a:xfrm>
          <a:prstGeom prst="rect">
            <a:avLst/>
          </a:prstGeom>
        </p:spPr>
      </p:pic>
      <p:sp>
        <p:nvSpPr>
          <p:cNvPr id="9" name="フリーフォーム: 図形 8">
            <a:extLst>
              <a:ext uri="{FF2B5EF4-FFF2-40B4-BE49-F238E27FC236}">
                <a16:creationId xmlns:a16="http://schemas.microsoft.com/office/drawing/2014/main" id="{C2B08F48-F7E2-A029-AE61-B816ABA1BBCC}"/>
              </a:ext>
            </a:extLst>
          </p:cNvPr>
          <p:cNvSpPr/>
          <p:nvPr/>
        </p:nvSpPr>
        <p:spPr>
          <a:xfrm rot="17369311">
            <a:off x="2109107" y="3755373"/>
            <a:ext cx="5142737" cy="912595"/>
          </a:xfrm>
          <a:custGeom>
            <a:avLst/>
            <a:gdLst>
              <a:gd name="connsiteX0" fmla="*/ 0 w 1371600"/>
              <a:gd name="connsiteY0" fmla="*/ 197643 h 207443"/>
              <a:gd name="connsiteX1" fmla="*/ 402431 w 1371600"/>
              <a:gd name="connsiteY1" fmla="*/ 207168 h 207443"/>
              <a:gd name="connsiteX2" fmla="*/ 731044 w 1371600"/>
              <a:gd name="connsiteY2" fmla="*/ 188118 h 207443"/>
              <a:gd name="connsiteX3" fmla="*/ 1104900 w 1371600"/>
              <a:gd name="connsiteY3" fmla="*/ 109537 h 207443"/>
              <a:gd name="connsiteX4" fmla="*/ 1371600 w 1371600"/>
              <a:gd name="connsiteY4" fmla="*/ 0 h 207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207443">
                <a:moveTo>
                  <a:pt x="0" y="197643"/>
                </a:moveTo>
                <a:cubicBezTo>
                  <a:pt x="140295" y="203199"/>
                  <a:pt x="280590" y="208756"/>
                  <a:pt x="402431" y="207168"/>
                </a:cubicBezTo>
                <a:cubicBezTo>
                  <a:pt x="524272" y="205581"/>
                  <a:pt x="613966" y="204390"/>
                  <a:pt x="731044" y="188118"/>
                </a:cubicBezTo>
                <a:cubicBezTo>
                  <a:pt x="848122" y="171846"/>
                  <a:pt x="998141" y="140890"/>
                  <a:pt x="1104900" y="109537"/>
                </a:cubicBezTo>
                <a:cubicBezTo>
                  <a:pt x="1211659" y="78184"/>
                  <a:pt x="1315641" y="75406"/>
                  <a:pt x="1371600" y="0"/>
                </a:cubicBezTo>
              </a:path>
            </a:pathLst>
          </a:cu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grpSp>
        <p:nvGrpSpPr>
          <p:cNvPr id="21" name="グループ化 20">
            <a:extLst>
              <a:ext uri="{FF2B5EF4-FFF2-40B4-BE49-F238E27FC236}">
                <a16:creationId xmlns:a16="http://schemas.microsoft.com/office/drawing/2014/main" id="{80C60253-C5F5-0FB5-06E4-B36F27B51363}"/>
              </a:ext>
            </a:extLst>
          </p:cNvPr>
          <p:cNvGrpSpPr/>
          <p:nvPr/>
        </p:nvGrpSpPr>
        <p:grpSpPr>
          <a:xfrm>
            <a:off x="435900" y="2827373"/>
            <a:ext cx="918716" cy="1045312"/>
            <a:chOff x="9779190" y="1822537"/>
            <a:chExt cx="995435" cy="1251093"/>
          </a:xfrm>
        </p:grpSpPr>
        <p:sp>
          <p:nvSpPr>
            <p:cNvPr id="23" name="二等辺三角形 22">
              <a:extLst>
                <a:ext uri="{FF2B5EF4-FFF2-40B4-BE49-F238E27FC236}">
                  <a16:creationId xmlns:a16="http://schemas.microsoft.com/office/drawing/2014/main" id="{1389049A-6ED9-EE65-80E4-5CA8F6C6E770}"/>
                </a:ext>
              </a:extLst>
            </p:cNvPr>
            <p:cNvSpPr/>
            <p:nvPr/>
          </p:nvSpPr>
          <p:spPr>
            <a:xfrm>
              <a:off x="10132167" y="1822537"/>
              <a:ext cx="477720" cy="360040"/>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25" name="二等辺三角形 24">
              <a:extLst>
                <a:ext uri="{FF2B5EF4-FFF2-40B4-BE49-F238E27FC236}">
                  <a16:creationId xmlns:a16="http://schemas.microsoft.com/office/drawing/2014/main" id="{1DB0F2AF-1AE6-F407-A609-538E1B7C631B}"/>
                </a:ext>
              </a:extLst>
            </p:cNvPr>
            <p:cNvSpPr/>
            <p:nvPr/>
          </p:nvSpPr>
          <p:spPr>
            <a:xfrm>
              <a:off x="9779190" y="1958964"/>
              <a:ext cx="651082" cy="569792"/>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26" name="二等辺三角形 25">
              <a:extLst>
                <a:ext uri="{FF2B5EF4-FFF2-40B4-BE49-F238E27FC236}">
                  <a16:creationId xmlns:a16="http://schemas.microsoft.com/office/drawing/2014/main" id="{E2C5CD3F-FAFC-D26E-D00F-FAC9926E9F59}"/>
                </a:ext>
              </a:extLst>
            </p:cNvPr>
            <p:cNvSpPr/>
            <p:nvPr/>
          </p:nvSpPr>
          <p:spPr>
            <a:xfrm>
              <a:off x="10191604" y="2168309"/>
              <a:ext cx="491899" cy="456828"/>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28" name="二等辺三角形 27">
              <a:extLst>
                <a:ext uri="{FF2B5EF4-FFF2-40B4-BE49-F238E27FC236}">
                  <a16:creationId xmlns:a16="http://schemas.microsoft.com/office/drawing/2014/main" id="{2F15F86F-D735-D8D3-C6B3-B2F62A407D6F}"/>
                </a:ext>
              </a:extLst>
            </p:cNvPr>
            <p:cNvSpPr/>
            <p:nvPr/>
          </p:nvSpPr>
          <p:spPr>
            <a:xfrm>
              <a:off x="9959833" y="2430849"/>
              <a:ext cx="477720" cy="360040"/>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30" name="二等辺三角形 29">
              <a:extLst>
                <a:ext uri="{FF2B5EF4-FFF2-40B4-BE49-F238E27FC236}">
                  <a16:creationId xmlns:a16="http://schemas.microsoft.com/office/drawing/2014/main" id="{36846073-B578-794C-7340-FE5408A85D2D}"/>
                </a:ext>
              </a:extLst>
            </p:cNvPr>
            <p:cNvSpPr/>
            <p:nvPr/>
          </p:nvSpPr>
          <p:spPr>
            <a:xfrm>
              <a:off x="10221666" y="2520463"/>
              <a:ext cx="477720" cy="360040"/>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31" name="二等辺三角形 30">
              <a:extLst>
                <a:ext uri="{FF2B5EF4-FFF2-40B4-BE49-F238E27FC236}">
                  <a16:creationId xmlns:a16="http://schemas.microsoft.com/office/drawing/2014/main" id="{75703D85-5725-3B1B-FA4C-86ACB22AE8FB}"/>
                </a:ext>
              </a:extLst>
            </p:cNvPr>
            <p:cNvSpPr/>
            <p:nvPr/>
          </p:nvSpPr>
          <p:spPr>
            <a:xfrm>
              <a:off x="10000778" y="2713590"/>
              <a:ext cx="477720" cy="360040"/>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34" name="二等辺三角形 33">
              <a:extLst>
                <a:ext uri="{FF2B5EF4-FFF2-40B4-BE49-F238E27FC236}">
                  <a16:creationId xmlns:a16="http://schemas.microsoft.com/office/drawing/2014/main" id="{6EC3623E-C629-1E55-B9E8-9E50B542EC3A}"/>
                </a:ext>
              </a:extLst>
            </p:cNvPr>
            <p:cNvSpPr/>
            <p:nvPr/>
          </p:nvSpPr>
          <p:spPr>
            <a:xfrm>
              <a:off x="10499736" y="2822099"/>
              <a:ext cx="274889" cy="238705"/>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grpSp>
      <p:grpSp>
        <p:nvGrpSpPr>
          <p:cNvPr id="38" name="グループ化 37">
            <a:extLst>
              <a:ext uri="{FF2B5EF4-FFF2-40B4-BE49-F238E27FC236}">
                <a16:creationId xmlns:a16="http://schemas.microsoft.com/office/drawing/2014/main" id="{5F5CBA78-A006-F82B-C5E3-7EECCA971233}"/>
              </a:ext>
            </a:extLst>
          </p:cNvPr>
          <p:cNvGrpSpPr/>
          <p:nvPr/>
        </p:nvGrpSpPr>
        <p:grpSpPr>
          <a:xfrm>
            <a:off x="445017" y="3427656"/>
            <a:ext cx="918716" cy="1045312"/>
            <a:chOff x="9779190" y="1822537"/>
            <a:chExt cx="995435" cy="1251093"/>
          </a:xfrm>
        </p:grpSpPr>
        <p:sp>
          <p:nvSpPr>
            <p:cNvPr id="39" name="二等辺三角形 38">
              <a:extLst>
                <a:ext uri="{FF2B5EF4-FFF2-40B4-BE49-F238E27FC236}">
                  <a16:creationId xmlns:a16="http://schemas.microsoft.com/office/drawing/2014/main" id="{C6D721EE-F813-0946-F8D7-BB5977BC6B3B}"/>
                </a:ext>
              </a:extLst>
            </p:cNvPr>
            <p:cNvSpPr/>
            <p:nvPr/>
          </p:nvSpPr>
          <p:spPr>
            <a:xfrm>
              <a:off x="10132167" y="1822537"/>
              <a:ext cx="477720" cy="360040"/>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40" name="二等辺三角形 39">
              <a:extLst>
                <a:ext uri="{FF2B5EF4-FFF2-40B4-BE49-F238E27FC236}">
                  <a16:creationId xmlns:a16="http://schemas.microsoft.com/office/drawing/2014/main" id="{EB84BDD3-7AAB-52D5-E4B5-2E3D81E15864}"/>
                </a:ext>
              </a:extLst>
            </p:cNvPr>
            <p:cNvSpPr/>
            <p:nvPr/>
          </p:nvSpPr>
          <p:spPr>
            <a:xfrm>
              <a:off x="9779190" y="1958964"/>
              <a:ext cx="651082" cy="569792"/>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77" name="二等辺三角形 76">
              <a:extLst>
                <a:ext uri="{FF2B5EF4-FFF2-40B4-BE49-F238E27FC236}">
                  <a16:creationId xmlns:a16="http://schemas.microsoft.com/office/drawing/2014/main" id="{37721ED2-BD9C-D566-FF42-5E13BF4E7F91}"/>
                </a:ext>
              </a:extLst>
            </p:cNvPr>
            <p:cNvSpPr/>
            <p:nvPr/>
          </p:nvSpPr>
          <p:spPr>
            <a:xfrm>
              <a:off x="10191604" y="2168309"/>
              <a:ext cx="491899" cy="456828"/>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78" name="二等辺三角形 77">
              <a:extLst>
                <a:ext uri="{FF2B5EF4-FFF2-40B4-BE49-F238E27FC236}">
                  <a16:creationId xmlns:a16="http://schemas.microsoft.com/office/drawing/2014/main" id="{20DDD0E4-EF58-7805-6A4B-2CE7F362FF3A}"/>
                </a:ext>
              </a:extLst>
            </p:cNvPr>
            <p:cNvSpPr/>
            <p:nvPr/>
          </p:nvSpPr>
          <p:spPr>
            <a:xfrm>
              <a:off x="9959833" y="2430849"/>
              <a:ext cx="477720" cy="360040"/>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79" name="二等辺三角形 78">
              <a:extLst>
                <a:ext uri="{FF2B5EF4-FFF2-40B4-BE49-F238E27FC236}">
                  <a16:creationId xmlns:a16="http://schemas.microsoft.com/office/drawing/2014/main" id="{70452DAE-B308-B43E-2ADA-1393109DCB06}"/>
                </a:ext>
              </a:extLst>
            </p:cNvPr>
            <p:cNvSpPr/>
            <p:nvPr/>
          </p:nvSpPr>
          <p:spPr>
            <a:xfrm>
              <a:off x="10221666" y="2520463"/>
              <a:ext cx="477720" cy="360040"/>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80" name="二等辺三角形 79">
              <a:extLst>
                <a:ext uri="{FF2B5EF4-FFF2-40B4-BE49-F238E27FC236}">
                  <a16:creationId xmlns:a16="http://schemas.microsoft.com/office/drawing/2014/main" id="{1D047449-B0C1-B3C4-6A08-D9B25D01603E}"/>
                </a:ext>
              </a:extLst>
            </p:cNvPr>
            <p:cNvSpPr/>
            <p:nvPr/>
          </p:nvSpPr>
          <p:spPr>
            <a:xfrm>
              <a:off x="10000778" y="2713590"/>
              <a:ext cx="477720" cy="360040"/>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82" name="二等辺三角形 81">
              <a:extLst>
                <a:ext uri="{FF2B5EF4-FFF2-40B4-BE49-F238E27FC236}">
                  <a16:creationId xmlns:a16="http://schemas.microsoft.com/office/drawing/2014/main" id="{D05F4531-32AB-E5C5-8C0D-BFD6E41F4D4E}"/>
                </a:ext>
              </a:extLst>
            </p:cNvPr>
            <p:cNvSpPr/>
            <p:nvPr/>
          </p:nvSpPr>
          <p:spPr>
            <a:xfrm>
              <a:off x="10499736" y="2822099"/>
              <a:ext cx="274889" cy="238705"/>
            </a:xfrm>
            <a:prstGeom prst="triangle">
              <a:avLst/>
            </a:prstGeom>
            <a:gradFill flip="none" rotWithShape="1">
              <a:gsLst>
                <a:gs pos="0">
                  <a:srgbClr val="669900"/>
                </a:gs>
                <a:gs pos="48000">
                  <a:srgbClr val="66FF66"/>
                </a:gs>
                <a:gs pos="100000">
                  <a:srgbClr val="99FF66"/>
                </a:gs>
              </a:gsLst>
              <a:lin ang="16200000" scaled="1"/>
              <a:tileRect/>
            </a:gradFill>
            <a:ln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grpSp>
      <p:sp>
        <p:nvSpPr>
          <p:cNvPr id="99" name="楕円 98">
            <a:extLst>
              <a:ext uri="{FF2B5EF4-FFF2-40B4-BE49-F238E27FC236}">
                <a16:creationId xmlns:a16="http://schemas.microsoft.com/office/drawing/2014/main" id="{EE843C2B-6ACA-0094-D9E4-ACF754044658}"/>
              </a:ext>
            </a:extLst>
          </p:cNvPr>
          <p:cNvSpPr/>
          <p:nvPr/>
        </p:nvSpPr>
        <p:spPr>
          <a:xfrm rot="20164150">
            <a:off x="1814465" y="4896678"/>
            <a:ext cx="641806" cy="413039"/>
          </a:xfrm>
          <a:prstGeom prst="ellipse">
            <a:avLst/>
          </a:prstGeom>
          <a:solidFill>
            <a:srgbClr val="FFC000"/>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sz="1292" dirty="0">
              <a:solidFill>
                <a:srgbClr val="FFFFFF"/>
              </a:solidFill>
              <a:latin typeface="Arial"/>
              <a:ea typeface="ＭＳ Ｐゴシック"/>
            </a:endParaRPr>
          </a:p>
        </p:txBody>
      </p:sp>
      <p:sp>
        <p:nvSpPr>
          <p:cNvPr id="105" name="テキスト ボックス 104">
            <a:extLst>
              <a:ext uri="{FF2B5EF4-FFF2-40B4-BE49-F238E27FC236}">
                <a16:creationId xmlns:a16="http://schemas.microsoft.com/office/drawing/2014/main" id="{5A1EDC7D-87F0-0472-CFBA-7955B90A4D59}"/>
              </a:ext>
            </a:extLst>
          </p:cNvPr>
          <p:cNvSpPr txBox="1"/>
          <p:nvPr/>
        </p:nvSpPr>
        <p:spPr>
          <a:xfrm>
            <a:off x="901163" y="5940526"/>
            <a:ext cx="836920" cy="307728"/>
          </a:xfrm>
          <a:prstGeom prst="rect">
            <a:avLst/>
          </a:prstGeom>
          <a:noFill/>
        </p:spPr>
        <p:txBody>
          <a:bodyPr wrap="square" rtlCol="0">
            <a:spAutoFit/>
          </a:bodyPr>
          <a:lstStyle/>
          <a:p>
            <a:pPr defTabSz="914217">
              <a:defRPr/>
            </a:pPr>
            <a:r>
              <a:rPr lang="en-US" altLang="ja-JP" sz="1400" dirty="0">
                <a:solidFill>
                  <a:srgbClr val="000000"/>
                </a:solidFill>
                <a:ea typeface="ＭＳ Ｐゴシック" charset="-128"/>
              </a:rPr>
              <a:t>IC</a:t>
            </a:r>
            <a:endParaRPr lang="ja-JP" altLang="en-US" sz="1400" dirty="0">
              <a:solidFill>
                <a:srgbClr val="000000"/>
              </a:solidFill>
              <a:ea typeface="ＭＳ Ｐゴシック" charset="-128"/>
            </a:endParaRPr>
          </a:p>
        </p:txBody>
      </p:sp>
      <p:sp>
        <p:nvSpPr>
          <p:cNvPr id="111" name="フリーフォーム: 図形 110">
            <a:extLst>
              <a:ext uri="{FF2B5EF4-FFF2-40B4-BE49-F238E27FC236}">
                <a16:creationId xmlns:a16="http://schemas.microsoft.com/office/drawing/2014/main" id="{738526F4-CDC7-7EA1-7E38-0E18E289F216}"/>
              </a:ext>
            </a:extLst>
          </p:cNvPr>
          <p:cNvSpPr/>
          <p:nvPr/>
        </p:nvSpPr>
        <p:spPr>
          <a:xfrm rot="20276734">
            <a:off x="1102175" y="5267325"/>
            <a:ext cx="767427" cy="649209"/>
          </a:xfrm>
          <a:custGeom>
            <a:avLst/>
            <a:gdLst>
              <a:gd name="connsiteX0" fmla="*/ 822960 w 822960"/>
              <a:gd name="connsiteY0" fmla="*/ 0 h 1440180"/>
              <a:gd name="connsiteX1" fmla="*/ 388620 w 822960"/>
              <a:gd name="connsiteY1" fmla="*/ 445770 h 1440180"/>
              <a:gd name="connsiteX2" fmla="*/ 0 w 822960"/>
              <a:gd name="connsiteY2" fmla="*/ 1440180 h 1440180"/>
            </a:gdLst>
            <a:ahLst/>
            <a:cxnLst>
              <a:cxn ang="0">
                <a:pos x="connsiteX0" y="connsiteY0"/>
              </a:cxn>
              <a:cxn ang="0">
                <a:pos x="connsiteX1" y="connsiteY1"/>
              </a:cxn>
              <a:cxn ang="0">
                <a:pos x="connsiteX2" y="connsiteY2"/>
              </a:cxn>
            </a:cxnLst>
            <a:rect l="l" t="t" r="r" b="b"/>
            <a:pathLst>
              <a:path w="822960" h="1440180">
                <a:moveTo>
                  <a:pt x="822960" y="0"/>
                </a:moveTo>
                <a:cubicBezTo>
                  <a:pt x="674370" y="102870"/>
                  <a:pt x="525780" y="205740"/>
                  <a:pt x="388620" y="445770"/>
                </a:cubicBezTo>
                <a:cubicBezTo>
                  <a:pt x="251460" y="685800"/>
                  <a:pt x="125730" y="1062990"/>
                  <a:pt x="0" y="1440180"/>
                </a:cubicBezTo>
              </a:path>
            </a:pathLst>
          </a:custGeom>
          <a:noFill/>
          <a:ln w="444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112" name="テキスト ボックス 111">
            <a:extLst>
              <a:ext uri="{FF2B5EF4-FFF2-40B4-BE49-F238E27FC236}">
                <a16:creationId xmlns:a16="http://schemas.microsoft.com/office/drawing/2014/main" id="{0737F30E-3031-9322-F0F6-09F28DFD850F}"/>
              </a:ext>
            </a:extLst>
          </p:cNvPr>
          <p:cNvSpPr txBox="1"/>
          <p:nvPr/>
        </p:nvSpPr>
        <p:spPr>
          <a:xfrm>
            <a:off x="2537749" y="5767501"/>
            <a:ext cx="2200555" cy="461591"/>
          </a:xfrm>
          <a:prstGeom prst="rect">
            <a:avLst/>
          </a:prstGeom>
          <a:noFill/>
        </p:spPr>
        <p:txBody>
          <a:bodyPr wrap="square" rtlCol="0">
            <a:spAutoFit/>
          </a:bodyPr>
          <a:lstStyle/>
          <a:p>
            <a:pPr defTabSz="914217">
              <a:defRPr/>
            </a:pPr>
            <a:r>
              <a:rPr lang="ja-JP" altLang="en-US" sz="1200" dirty="0">
                <a:solidFill>
                  <a:srgbClr val="000000"/>
                </a:solidFill>
                <a:latin typeface="ＭＳ Ｐゴシック"/>
                <a:ea typeface="ＭＳ Ｐゴシック"/>
              </a:rPr>
              <a:t>コワーキングスペース</a:t>
            </a:r>
            <a:r>
              <a:rPr lang="en-US" altLang="ja-JP" sz="1200" dirty="0">
                <a:solidFill>
                  <a:srgbClr val="000000"/>
                </a:solidFill>
                <a:latin typeface="ＭＳ Ｐゴシック"/>
                <a:ea typeface="ＭＳ Ｐゴシック"/>
              </a:rPr>
              <a:t>※</a:t>
            </a:r>
          </a:p>
          <a:p>
            <a:pPr defTabSz="914217">
              <a:defRPr/>
            </a:pPr>
            <a:r>
              <a:rPr lang="ja-JP" altLang="en-US" sz="1200" dirty="0">
                <a:solidFill>
                  <a:srgbClr val="000000"/>
                </a:solidFill>
                <a:latin typeface="ＭＳ Ｐゴシック"/>
                <a:ea typeface="ＭＳ Ｐゴシック"/>
              </a:rPr>
              <a:t>（</a:t>
            </a:r>
            <a:r>
              <a:rPr lang="en-US" altLang="ja-JP" sz="1200" dirty="0">
                <a:solidFill>
                  <a:srgbClr val="000000"/>
                </a:solidFill>
                <a:latin typeface="ＭＳ Ｐゴシック"/>
                <a:ea typeface="ＭＳ Ｐゴシック"/>
              </a:rPr>
              <a:t> R</a:t>
            </a:r>
            <a:r>
              <a:rPr lang="ja-JP" altLang="en-US" sz="1200" dirty="0">
                <a:solidFill>
                  <a:srgbClr val="000000"/>
                </a:solidFill>
                <a:latin typeface="ＭＳ Ｐゴシック"/>
                <a:ea typeface="ＭＳ Ｐゴシック"/>
              </a:rPr>
              <a:t>６予算で補助制度を創設）</a:t>
            </a:r>
          </a:p>
        </p:txBody>
      </p:sp>
      <p:sp>
        <p:nvSpPr>
          <p:cNvPr id="113" name="楕円 112">
            <a:extLst>
              <a:ext uri="{FF2B5EF4-FFF2-40B4-BE49-F238E27FC236}">
                <a16:creationId xmlns:a16="http://schemas.microsoft.com/office/drawing/2014/main" id="{C5E73F91-BA4A-8E20-3C3B-436F94F663DD}"/>
              </a:ext>
            </a:extLst>
          </p:cNvPr>
          <p:cNvSpPr/>
          <p:nvPr/>
        </p:nvSpPr>
        <p:spPr>
          <a:xfrm rot="21390980">
            <a:off x="4612847" y="3180911"/>
            <a:ext cx="641806" cy="413039"/>
          </a:xfrm>
          <a:prstGeom prst="ellipse">
            <a:avLst/>
          </a:prstGeom>
          <a:solidFill>
            <a:srgbClr val="FFC000"/>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sz="1292" dirty="0">
              <a:solidFill>
                <a:srgbClr val="FFFFFF"/>
              </a:solidFill>
              <a:latin typeface="Arial"/>
              <a:ea typeface="ＭＳ Ｐゴシック"/>
            </a:endParaRPr>
          </a:p>
        </p:txBody>
      </p:sp>
      <p:sp>
        <p:nvSpPr>
          <p:cNvPr id="117" name="フリーフォーム: 図形 116">
            <a:extLst>
              <a:ext uri="{FF2B5EF4-FFF2-40B4-BE49-F238E27FC236}">
                <a16:creationId xmlns:a16="http://schemas.microsoft.com/office/drawing/2014/main" id="{B78BB86C-74D1-618C-6259-385E561D6077}"/>
              </a:ext>
            </a:extLst>
          </p:cNvPr>
          <p:cNvSpPr/>
          <p:nvPr/>
        </p:nvSpPr>
        <p:spPr>
          <a:xfrm rot="21268703">
            <a:off x="5808243" y="1538236"/>
            <a:ext cx="822828" cy="1439949"/>
          </a:xfrm>
          <a:custGeom>
            <a:avLst/>
            <a:gdLst>
              <a:gd name="connsiteX0" fmla="*/ 822960 w 822960"/>
              <a:gd name="connsiteY0" fmla="*/ 0 h 1440180"/>
              <a:gd name="connsiteX1" fmla="*/ 388620 w 822960"/>
              <a:gd name="connsiteY1" fmla="*/ 445770 h 1440180"/>
              <a:gd name="connsiteX2" fmla="*/ 0 w 822960"/>
              <a:gd name="connsiteY2" fmla="*/ 1440180 h 1440180"/>
            </a:gdLst>
            <a:ahLst/>
            <a:cxnLst>
              <a:cxn ang="0">
                <a:pos x="connsiteX0" y="connsiteY0"/>
              </a:cxn>
              <a:cxn ang="0">
                <a:pos x="connsiteX1" y="connsiteY1"/>
              </a:cxn>
              <a:cxn ang="0">
                <a:pos x="connsiteX2" y="connsiteY2"/>
              </a:cxn>
            </a:cxnLst>
            <a:rect l="l" t="t" r="r" b="b"/>
            <a:pathLst>
              <a:path w="822960" h="1440180">
                <a:moveTo>
                  <a:pt x="822960" y="0"/>
                </a:moveTo>
                <a:cubicBezTo>
                  <a:pt x="674370" y="102870"/>
                  <a:pt x="525780" y="205740"/>
                  <a:pt x="388620" y="445770"/>
                </a:cubicBezTo>
                <a:cubicBezTo>
                  <a:pt x="251460" y="685800"/>
                  <a:pt x="125730" y="1062990"/>
                  <a:pt x="0" y="1440180"/>
                </a:cubicBezTo>
              </a:path>
            </a:pathLst>
          </a:custGeom>
          <a:noFill/>
          <a:ln w="53975">
            <a:solidFill>
              <a:srgbClr val="89A4A7"/>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dirty="0">
              <a:solidFill>
                <a:srgbClr val="FFFFFF"/>
              </a:solidFill>
              <a:latin typeface="Arial"/>
              <a:ea typeface="ＭＳ Ｐゴシック"/>
            </a:endParaRPr>
          </a:p>
        </p:txBody>
      </p:sp>
      <p:sp>
        <p:nvSpPr>
          <p:cNvPr id="121" name="四角形: 角を丸くする 120">
            <a:extLst>
              <a:ext uri="{FF2B5EF4-FFF2-40B4-BE49-F238E27FC236}">
                <a16:creationId xmlns:a16="http://schemas.microsoft.com/office/drawing/2014/main" id="{F4A9811D-9396-48E5-4A8F-7D8709DB4BA8}"/>
              </a:ext>
            </a:extLst>
          </p:cNvPr>
          <p:cNvSpPr/>
          <p:nvPr/>
        </p:nvSpPr>
        <p:spPr>
          <a:xfrm>
            <a:off x="267359" y="1223676"/>
            <a:ext cx="9538664" cy="5856242"/>
          </a:xfrm>
          <a:prstGeom prst="roundRect">
            <a:avLst/>
          </a:prstGeom>
          <a:noFill/>
          <a:ln>
            <a:solidFill>
              <a:srgbClr val="33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122" name="テキスト ボックス 121">
            <a:extLst>
              <a:ext uri="{FF2B5EF4-FFF2-40B4-BE49-F238E27FC236}">
                <a16:creationId xmlns:a16="http://schemas.microsoft.com/office/drawing/2014/main" id="{79834A67-7DA9-DBD5-CD04-A6C6A85A74FA}"/>
              </a:ext>
            </a:extLst>
          </p:cNvPr>
          <p:cNvSpPr txBox="1"/>
          <p:nvPr/>
        </p:nvSpPr>
        <p:spPr>
          <a:xfrm>
            <a:off x="2984065" y="1093070"/>
            <a:ext cx="1105190" cy="338500"/>
          </a:xfrm>
          <a:prstGeom prst="rect">
            <a:avLst/>
          </a:prstGeom>
          <a:solidFill>
            <a:schemeClr val="bg1"/>
          </a:solidFill>
        </p:spPr>
        <p:txBody>
          <a:bodyPr wrap="square" rtlCol="0">
            <a:spAutoFit/>
          </a:bodyPr>
          <a:lstStyle/>
          <a:p>
            <a:pPr algn="ctr" defTabSz="914217">
              <a:defRPr/>
            </a:pPr>
            <a:r>
              <a:rPr lang="en-US" altLang="ja-JP" sz="1600" dirty="0">
                <a:solidFill>
                  <a:srgbClr val="000000"/>
                </a:solidFill>
                <a:latin typeface="ＭＳ Ｐゴシック"/>
                <a:ea typeface="ＭＳ Ｐゴシック"/>
              </a:rPr>
              <a:t>A</a:t>
            </a:r>
            <a:r>
              <a:rPr lang="ja-JP" altLang="en-US" sz="1600" dirty="0">
                <a:solidFill>
                  <a:srgbClr val="000000"/>
                </a:solidFill>
                <a:latin typeface="ＭＳ Ｐゴシック"/>
                <a:ea typeface="ＭＳ Ｐゴシック"/>
              </a:rPr>
              <a:t>県</a:t>
            </a:r>
          </a:p>
        </p:txBody>
      </p:sp>
      <p:pic>
        <p:nvPicPr>
          <p:cNvPr id="128" name="図 127" descr="アイコン&#10;&#10;自動的に生成された説明">
            <a:extLst>
              <a:ext uri="{FF2B5EF4-FFF2-40B4-BE49-F238E27FC236}">
                <a16:creationId xmlns:a16="http://schemas.microsoft.com/office/drawing/2014/main" id="{07681007-DC32-B32C-6181-A7BB1F3E4F43}"/>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36598" y="6190946"/>
            <a:ext cx="471337" cy="471337"/>
          </a:xfrm>
          <a:prstGeom prst="rect">
            <a:avLst/>
          </a:prstGeom>
        </p:spPr>
      </p:pic>
      <p:sp>
        <p:nvSpPr>
          <p:cNvPr id="129" name="テキスト ボックス 128">
            <a:extLst>
              <a:ext uri="{FF2B5EF4-FFF2-40B4-BE49-F238E27FC236}">
                <a16:creationId xmlns:a16="http://schemas.microsoft.com/office/drawing/2014/main" id="{86EC9DB3-6F79-EE23-08A0-258DCCA77002}"/>
              </a:ext>
            </a:extLst>
          </p:cNvPr>
          <p:cNvSpPr txBox="1"/>
          <p:nvPr/>
        </p:nvSpPr>
        <p:spPr>
          <a:xfrm>
            <a:off x="7324079" y="5185605"/>
            <a:ext cx="3197731" cy="861636"/>
          </a:xfrm>
          <a:prstGeom prst="rect">
            <a:avLst/>
          </a:prstGeom>
          <a:noFill/>
        </p:spPr>
        <p:txBody>
          <a:bodyPr wrap="square" rtlCol="0">
            <a:spAutoFit/>
          </a:bodyPr>
          <a:lstStyle/>
          <a:p>
            <a:pPr defTabSz="914217">
              <a:defRPr/>
            </a:pPr>
            <a:r>
              <a:rPr lang="ja-JP" altLang="en-US" sz="1400" b="1" dirty="0">
                <a:ln w="3175">
                  <a:noFill/>
                </a:ln>
                <a:solidFill>
                  <a:srgbClr val="000000"/>
                </a:solidFill>
                <a:latin typeface="ＭＳ Ｐゴシック"/>
                <a:ea typeface="ＭＳ Ｐゴシック"/>
              </a:rPr>
              <a:t>○二地域居住等促進協議会</a:t>
            </a:r>
            <a:endParaRPr lang="en-US" altLang="ja-JP" sz="1400" dirty="0">
              <a:ln w="3175">
                <a:noFill/>
              </a:ln>
              <a:solidFill>
                <a:srgbClr val="000000"/>
              </a:solidFill>
              <a:latin typeface="ＭＳ Ｐゴシック"/>
              <a:ea typeface="ＭＳ Ｐゴシック"/>
            </a:endParaRPr>
          </a:p>
          <a:p>
            <a:pPr defTabSz="914217">
              <a:defRPr/>
            </a:pPr>
            <a:r>
              <a:rPr lang="ja-JP" altLang="en-US" sz="1200" dirty="0">
                <a:ln w="3175">
                  <a:noFill/>
                </a:ln>
                <a:solidFill>
                  <a:srgbClr val="000000"/>
                </a:solidFill>
                <a:latin typeface="ＭＳ Ｐゴシック"/>
                <a:ea typeface="ＭＳ Ｐゴシック"/>
              </a:rPr>
              <a:t>（</a:t>
            </a:r>
            <a:r>
              <a:rPr lang="ja-JP" altLang="en-US" sz="1200" dirty="0">
                <a:solidFill>
                  <a:srgbClr val="000000"/>
                </a:solidFill>
                <a:ea typeface="ＭＳ Ｐゴシック" charset="-128"/>
              </a:rPr>
              <a:t>市町村、県、地元宅建業者、</a:t>
            </a:r>
            <a:endParaRPr lang="en-US" altLang="ja-JP" sz="1200" dirty="0">
              <a:solidFill>
                <a:srgbClr val="000000"/>
              </a:solidFill>
              <a:ea typeface="ＭＳ Ｐゴシック" charset="-128"/>
            </a:endParaRPr>
          </a:p>
          <a:p>
            <a:pPr marL="92057" indent="-92057" defTabSz="914217">
              <a:defRPr/>
            </a:pPr>
            <a:r>
              <a:rPr lang="en-US" altLang="ja-JP" sz="1200" dirty="0">
                <a:solidFill>
                  <a:srgbClr val="000000"/>
                </a:solidFill>
                <a:ea typeface="ＭＳ Ｐゴシック" charset="-128"/>
              </a:rPr>
              <a:t> </a:t>
            </a:r>
            <a:r>
              <a:rPr lang="ja-JP" altLang="en-US" sz="1200" dirty="0">
                <a:solidFill>
                  <a:srgbClr val="000000"/>
                </a:solidFill>
                <a:ea typeface="ＭＳ Ｐゴシック" charset="-128"/>
              </a:rPr>
              <a:t>地元住民、地元商工会、農協等で</a:t>
            </a:r>
            <a:endParaRPr lang="en-US" altLang="ja-JP" sz="1200" dirty="0">
              <a:solidFill>
                <a:srgbClr val="000000"/>
              </a:solidFill>
              <a:ea typeface="ＭＳ Ｐゴシック" charset="-128"/>
            </a:endParaRPr>
          </a:p>
          <a:p>
            <a:pPr marL="92057" indent="-92057" defTabSz="914217">
              <a:defRPr/>
            </a:pPr>
            <a:r>
              <a:rPr lang="en-US" altLang="ja-JP" sz="1200" dirty="0">
                <a:solidFill>
                  <a:srgbClr val="000000"/>
                </a:solidFill>
                <a:ea typeface="ＭＳ Ｐゴシック" charset="-128"/>
              </a:rPr>
              <a:t> </a:t>
            </a:r>
            <a:r>
              <a:rPr lang="ja-JP" altLang="en-US" sz="1200" dirty="0">
                <a:solidFill>
                  <a:srgbClr val="000000"/>
                </a:solidFill>
                <a:ea typeface="ＭＳ Ｐゴシック" charset="-128"/>
              </a:rPr>
              <a:t>計画を協議）</a:t>
            </a:r>
            <a:endParaRPr lang="en-US" altLang="ja-JP" sz="1200" dirty="0">
              <a:solidFill>
                <a:srgbClr val="000000"/>
              </a:solidFill>
              <a:ea typeface="ＭＳ Ｐゴシック" charset="-128"/>
            </a:endParaRPr>
          </a:p>
        </p:txBody>
      </p:sp>
      <p:pic>
        <p:nvPicPr>
          <p:cNvPr id="134" name="図 133" descr="アイコン&#10;&#10;自動的に生成された説明">
            <a:extLst>
              <a:ext uri="{FF2B5EF4-FFF2-40B4-BE49-F238E27FC236}">
                <a16:creationId xmlns:a16="http://schemas.microsoft.com/office/drawing/2014/main" id="{E0AD56F0-651D-693C-C413-4E794F27217F}"/>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836587" y="4265121"/>
            <a:ext cx="724740" cy="724740"/>
          </a:xfrm>
          <a:prstGeom prst="rect">
            <a:avLst/>
          </a:prstGeom>
        </p:spPr>
      </p:pic>
      <p:grpSp>
        <p:nvGrpSpPr>
          <p:cNvPr id="55" name="グループ化 54">
            <a:extLst>
              <a:ext uri="{FF2B5EF4-FFF2-40B4-BE49-F238E27FC236}">
                <a16:creationId xmlns:a16="http://schemas.microsoft.com/office/drawing/2014/main" id="{58A2AE89-9922-7A47-5A69-76678EFAD7B0}"/>
              </a:ext>
            </a:extLst>
          </p:cNvPr>
          <p:cNvGrpSpPr/>
          <p:nvPr/>
        </p:nvGrpSpPr>
        <p:grpSpPr>
          <a:xfrm>
            <a:off x="8016896" y="3757725"/>
            <a:ext cx="789023" cy="1264602"/>
            <a:chOff x="4619714" y="4431222"/>
            <a:chExt cx="789149" cy="1264805"/>
          </a:xfrm>
        </p:grpSpPr>
        <p:sp>
          <p:nvSpPr>
            <p:cNvPr id="15" name="矢印: 左右 14">
              <a:extLst>
                <a:ext uri="{FF2B5EF4-FFF2-40B4-BE49-F238E27FC236}">
                  <a16:creationId xmlns:a16="http://schemas.microsoft.com/office/drawing/2014/main" id="{9E0C39FB-20ED-A46A-90F4-FE9F0CCA7AF2}"/>
                </a:ext>
              </a:extLst>
            </p:cNvPr>
            <p:cNvSpPr/>
            <p:nvPr/>
          </p:nvSpPr>
          <p:spPr>
            <a:xfrm rot="15260543">
              <a:off x="4381886" y="4669050"/>
              <a:ext cx="1264805" cy="789149"/>
            </a:xfrm>
            <a:prstGeom prst="leftRight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20" name="テキスト ボックス 19">
              <a:extLst>
                <a:ext uri="{FF2B5EF4-FFF2-40B4-BE49-F238E27FC236}">
                  <a16:creationId xmlns:a16="http://schemas.microsoft.com/office/drawing/2014/main" id="{E34C7E68-86C8-5E23-1D26-CEF96459C24C}"/>
                </a:ext>
              </a:extLst>
            </p:cNvPr>
            <p:cNvSpPr txBox="1"/>
            <p:nvPr/>
          </p:nvSpPr>
          <p:spPr>
            <a:xfrm>
              <a:off x="4691686" y="4836017"/>
              <a:ext cx="609749" cy="307777"/>
            </a:xfrm>
            <a:prstGeom prst="rect">
              <a:avLst/>
            </a:prstGeom>
            <a:solidFill>
              <a:schemeClr val="bg1">
                <a:alpha val="0"/>
              </a:schemeClr>
            </a:solidFill>
          </p:spPr>
          <p:txBody>
            <a:bodyPr wrap="square" rtlCol="0">
              <a:spAutoFit/>
            </a:bodyPr>
            <a:lstStyle/>
            <a:p>
              <a:pPr algn="ctr" defTabSz="914217">
                <a:defRPr/>
              </a:pPr>
              <a:r>
                <a:rPr lang="ja-JP" altLang="en-US" sz="1400" dirty="0">
                  <a:solidFill>
                    <a:srgbClr val="FFFFFF"/>
                  </a:solidFill>
                  <a:ea typeface="ＭＳ Ｐゴシック" charset="-128"/>
                </a:rPr>
                <a:t>連携</a:t>
              </a:r>
            </a:p>
          </p:txBody>
        </p:sp>
      </p:grpSp>
      <p:sp>
        <p:nvSpPr>
          <p:cNvPr id="8" name="テキスト ボックス 7">
            <a:extLst>
              <a:ext uri="{FF2B5EF4-FFF2-40B4-BE49-F238E27FC236}">
                <a16:creationId xmlns:a16="http://schemas.microsoft.com/office/drawing/2014/main" id="{A69417F0-5BA1-2797-BF55-AB15B5EE9E39}"/>
              </a:ext>
            </a:extLst>
          </p:cNvPr>
          <p:cNvSpPr txBox="1"/>
          <p:nvPr/>
        </p:nvSpPr>
        <p:spPr>
          <a:xfrm>
            <a:off x="-49830" y="855514"/>
            <a:ext cx="1105190" cy="338500"/>
          </a:xfrm>
          <a:prstGeom prst="rect">
            <a:avLst/>
          </a:prstGeom>
          <a:solidFill>
            <a:schemeClr val="bg1"/>
          </a:solidFill>
        </p:spPr>
        <p:txBody>
          <a:bodyPr wrap="square" rtlCol="0">
            <a:spAutoFit/>
          </a:bodyPr>
          <a:lstStyle/>
          <a:p>
            <a:pPr algn="ctr" defTabSz="914217">
              <a:defRPr/>
            </a:pPr>
            <a:r>
              <a:rPr lang="ja-JP" altLang="en-US" sz="1600" b="1" dirty="0">
                <a:solidFill>
                  <a:srgbClr val="000000"/>
                </a:solidFill>
                <a:ea typeface="ＭＳ Ｐゴシック" charset="-128"/>
              </a:rPr>
              <a:t>他地域</a:t>
            </a:r>
          </a:p>
        </p:txBody>
      </p:sp>
      <p:pic>
        <p:nvPicPr>
          <p:cNvPr id="6" name="図 5" descr="アイコン&#10;&#10;自動的に生成された説明">
            <a:extLst>
              <a:ext uri="{FF2B5EF4-FFF2-40B4-BE49-F238E27FC236}">
                <a16:creationId xmlns:a16="http://schemas.microsoft.com/office/drawing/2014/main" id="{F2BC292D-4F2B-1907-FD19-613B4DD5B232}"/>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11023" y="904666"/>
            <a:ext cx="778119" cy="778119"/>
          </a:xfrm>
          <a:prstGeom prst="rect">
            <a:avLst/>
          </a:prstGeom>
          <a:solidFill>
            <a:schemeClr val="bg1"/>
          </a:solidFill>
        </p:spPr>
      </p:pic>
      <p:sp>
        <p:nvSpPr>
          <p:cNvPr id="13" name="矢印: ストライプ 12">
            <a:extLst>
              <a:ext uri="{FF2B5EF4-FFF2-40B4-BE49-F238E27FC236}">
                <a16:creationId xmlns:a16="http://schemas.microsoft.com/office/drawing/2014/main" id="{CA88EAC8-1826-8B03-BBD9-CA9E128D38A8}"/>
              </a:ext>
            </a:extLst>
          </p:cNvPr>
          <p:cNvSpPr/>
          <p:nvPr/>
        </p:nvSpPr>
        <p:spPr>
          <a:xfrm rot="19353223">
            <a:off x="258034" y="6483409"/>
            <a:ext cx="573454" cy="448585"/>
          </a:xfrm>
          <a:prstGeom prst="stripedRightArrow">
            <a:avLst/>
          </a:prstGeom>
          <a:solidFill>
            <a:srgbClr val="D7F0A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19" name="テキスト ボックス 18">
            <a:extLst>
              <a:ext uri="{FF2B5EF4-FFF2-40B4-BE49-F238E27FC236}">
                <a16:creationId xmlns:a16="http://schemas.microsoft.com/office/drawing/2014/main" id="{893ED751-4B44-94DB-3C90-227804C0AA94}"/>
              </a:ext>
            </a:extLst>
          </p:cNvPr>
          <p:cNvSpPr txBox="1"/>
          <p:nvPr/>
        </p:nvSpPr>
        <p:spPr>
          <a:xfrm>
            <a:off x="325613" y="1763956"/>
            <a:ext cx="1863604" cy="523136"/>
          </a:xfrm>
          <a:prstGeom prst="rect">
            <a:avLst/>
          </a:prstGeom>
          <a:noFill/>
        </p:spPr>
        <p:txBody>
          <a:bodyPr wrap="square">
            <a:spAutoFit/>
          </a:bodyPr>
          <a:lstStyle/>
          <a:p>
            <a:pPr defTabSz="914217"/>
            <a:r>
              <a:rPr lang="en-US" altLang="ja-JP" sz="1400" b="1" kern="0" dirty="0">
                <a:solidFill>
                  <a:srgbClr val="000000"/>
                </a:solidFill>
                <a:highlight>
                  <a:srgbClr val="FFFF00"/>
                </a:highlight>
                <a:latin typeface="ＭＳ Ｐゴシック"/>
                <a:ea typeface="ＭＳ Ｐゴシック"/>
              </a:rPr>
              <a:t>UIJ</a:t>
            </a:r>
            <a:r>
              <a:rPr lang="ja-JP" altLang="en-US" sz="1400" b="1" kern="0" dirty="0">
                <a:solidFill>
                  <a:srgbClr val="000000"/>
                </a:solidFill>
                <a:highlight>
                  <a:srgbClr val="FFFF00"/>
                </a:highlight>
                <a:latin typeface="ＭＳ Ｐゴシック"/>
                <a:ea typeface="ＭＳ Ｐゴシック"/>
              </a:rPr>
              <a:t>ターンを含む若者・子育て世代</a:t>
            </a:r>
            <a:endParaRPr lang="ja-JP" altLang="en-US" sz="1400" b="1" dirty="0">
              <a:solidFill>
                <a:srgbClr val="000000"/>
              </a:solidFill>
              <a:latin typeface="ＭＳ Ｐゴシック"/>
              <a:ea typeface="ＭＳ Ｐゴシック"/>
            </a:endParaRPr>
          </a:p>
        </p:txBody>
      </p:sp>
      <p:sp>
        <p:nvSpPr>
          <p:cNvPr id="76" name="テキスト ボックス 75">
            <a:extLst>
              <a:ext uri="{FF2B5EF4-FFF2-40B4-BE49-F238E27FC236}">
                <a16:creationId xmlns:a16="http://schemas.microsoft.com/office/drawing/2014/main" id="{3B6A2C36-6DB7-1FBF-41AA-7ED85157594E}"/>
              </a:ext>
            </a:extLst>
          </p:cNvPr>
          <p:cNvSpPr txBox="1"/>
          <p:nvPr/>
        </p:nvSpPr>
        <p:spPr>
          <a:xfrm>
            <a:off x="2854330" y="1976903"/>
            <a:ext cx="1959229" cy="307728"/>
          </a:xfrm>
          <a:prstGeom prst="rect">
            <a:avLst/>
          </a:prstGeom>
          <a:solidFill>
            <a:schemeClr val="bg1">
              <a:alpha val="56000"/>
            </a:schemeClr>
          </a:solidFill>
        </p:spPr>
        <p:txBody>
          <a:bodyPr wrap="square" rtlCol="0">
            <a:spAutoFit/>
          </a:bodyPr>
          <a:lstStyle/>
          <a:p>
            <a:pPr defTabSz="914217">
              <a:defRPr/>
            </a:pPr>
            <a:r>
              <a:rPr lang="ja-JP" altLang="en-US" sz="1400" dirty="0">
                <a:ln w="3175">
                  <a:noFill/>
                </a:ln>
                <a:solidFill>
                  <a:srgbClr val="000000"/>
                </a:solidFill>
                <a:latin typeface="ＭＳ Ｐゴシック"/>
                <a:ea typeface="ＭＳ Ｐゴシック"/>
              </a:rPr>
              <a:t>⇒各予算事業と連携</a:t>
            </a:r>
            <a:endParaRPr lang="en-US" altLang="ja-JP" sz="1400" dirty="0">
              <a:ln w="3175">
                <a:noFill/>
              </a:ln>
              <a:solidFill>
                <a:srgbClr val="000000"/>
              </a:solidFill>
              <a:latin typeface="ＭＳ Ｐゴシック"/>
              <a:ea typeface="ＭＳ Ｐゴシック"/>
            </a:endParaRPr>
          </a:p>
        </p:txBody>
      </p:sp>
      <p:sp>
        <p:nvSpPr>
          <p:cNvPr id="33" name="矢印: 左 32">
            <a:extLst>
              <a:ext uri="{FF2B5EF4-FFF2-40B4-BE49-F238E27FC236}">
                <a16:creationId xmlns:a16="http://schemas.microsoft.com/office/drawing/2014/main" id="{43FDF78A-A542-2511-C696-5EBD53E1EFED}"/>
              </a:ext>
            </a:extLst>
          </p:cNvPr>
          <p:cNvSpPr/>
          <p:nvPr/>
        </p:nvSpPr>
        <p:spPr>
          <a:xfrm rot="17984735">
            <a:off x="5883796" y="3157665"/>
            <a:ext cx="1342007" cy="287954"/>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12" name="矢印: ストライプ 11">
            <a:extLst>
              <a:ext uri="{FF2B5EF4-FFF2-40B4-BE49-F238E27FC236}">
                <a16:creationId xmlns:a16="http://schemas.microsoft.com/office/drawing/2014/main" id="{8CD69C65-5053-CF75-5186-132949A06CBD}"/>
              </a:ext>
            </a:extLst>
          </p:cNvPr>
          <p:cNvSpPr/>
          <p:nvPr/>
        </p:nvSpPr>
        <p:spPr>
          <a:xfrm rot="1605003">
            <a:off x="428377" y="1250748"/>
            <a:ext cx="720264" cy="504476"/>
          </a:xfrm>
          <a:prstGeom prst="stripedRightArrow">
            <a:avLst/>
          </a:prstGeom>
          <a:solidFill>
            <a:srgbClr val="D7F0A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pic>
        <p:nvPicPr>
          <p:cNvPr id="43" name="図 42" descr="アイコン&#10;&#10;自動的に生成された説明">
            <a:extLst>
              <a:ext uri="{FF2B5EF4-FFF2-40B4-BE49-F238E27FC236}">
                <a16:creationId xmlns:a16="http://schemas.microsoft.com/office/drawing/2014/main" id="{F619D4A7-B6B5-381B-0297-4F41088E7721}"/>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97862" y="5709051"/>
            <a:ext cx="720301" cy="720301"/>
          </a:xfrm>
          <a:prstGeom prst="rect">
            <a:avLst/>
          </a:prstGeom>
          <a:solidFill>
            <a:schemeClr val="bg1"/>
          </a:solidFill>
        </p:spPr>
      </p:pic>
      <p:sp>
        <p:nvSpPr>
          <p:cNvPr id="10" name="四角形: 角を丸くする 9">
            <a:extLst>
              <a:ext uri="{FF2B5EF4-FFF2-40B4-BE49-F238E27FC236}">
                <a16:creationId xmlns:a16="http://schemas.microsoft.com/office/drawing/2014/main" id="{0452366E-929F-1A8A-5A35-38238233CF10}"/>
              </a:ext>
            </a:extLst>
          </p:cNvPr>
          <p:cNvSpPr/>
          <p:nvPr/>
        </p:nvSpPr>
        <p:spPr>
          <a:xfrm>
            <a:off x="6722655" y="5866083"/>
            <a:ext cx="424223" cy="191383"/>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1000" dirty="0">
                <a:solidFill>
                  <a:srgbClr val="FFFFFF"/>
                </a:solidFill>
                <a:latin typeface="Arial"/>
                <a:ea typeface="ＭＳ Ｐゴシック"/>
              </a:rPr>
              <a:t>予算</a:t>
            </a:r>
          </a:p>
        </p:txBody>
      </p:sp>
      <p:sp>
        <p:nvSpPr>
          <p:cNvPr id="11" name="テキスト ボックス 10">
            <a:extLst>
              <a:ext uri="{FF2B5EF4-FFF2-40B4-BE49-F238E27FC236}">
                <a16:creationId xmlns:a16="http://schemas.microsoft.com/office/drawing/2014/main" id="{59C3B544-0216-9847-6E5C-88D69424C7D7}"/>
              </a:ext>
            </a:extLst>
          </p:cNvPr>
          <p:cNvSpPr txBox="1"/>
          <p:nvPr/>
        </p:nvSpPr>
        <p:spPr>
          <a:xfrm>
            <a:off x="2847683" y="1486809"/>
            <a:ext cx="3134162" cy="523136"/>
          </a:xfrm>
          <a:prstGeom prst="rect">
            <a:avLst/>
          </a:prstGeom>
          <a:solidFill>
            <a:schemeClr val="bg1">
              <a:alpha val="56000"/>
            </a:schemeClr>
          </a:solidFill>
          <a:ln w="28575">
            <a:solidFill>
              <a:schemeClr val="accent1">
                <a:lumMod val="90000"/>
              </a:schemeClr>
            </a:solidFill>
          </a:ln>
        </p:spPr>
        <p:txBody>
          <a:bodyPr wrap="square" rtlCol="0">
            <a:spAutoFit/>
          </a:bodyPr>
          <a:lstStyle/>
          <a:p>
            <a:pPr defTabSz="914217">
              <a:defRPr/>
            </a:pPr>
            <a:r>
              <a:rPr lang="ja-JP" altLang="en-US" sz="1400" dirty="0">
                <a:ln w="3175">
                  <a:noFill/>
                </a:ln>
                <a:solidFill>
                  <a:srgbClr val="0000FF"/>
                </a:solidFill>
                <a:latin typeface="ＭＳ Ｐゴシック"/>
                <a:ea typeface="ＭＳ Ｐゴシック"/>
              </a:rPr>
              <a:t>特定居住促進計画に基づく</a:t>
            </a:r>
            <a:endParaRPr lang="en-US" altLang="ja-JP" sz="1400" dirty="0">
              <a:ln w="3175">
                <a:noFill/>
              </a:ln>
              <a:solidFill>
                <a:srgbClr val="0000FF"/>
              </a:solidFill>
              <a:latin typeface="ＭＳ Ｐゴシック"/>
              <a:ea typeface="ＭＳ Ｐゴシック"/>
            </a:endParaRPr>
          </a:p>
          <a:p>
            <a:pPr defTabSz="914217">
              <a:defRPr/>
            </a:pPr>
            <a:r>
              <a:rPr lang="ja-JP" altLang="en-US" sz="1400" dirty="0">
                <a:ln w="3175">
                  <a:noFill/>
                </a:ln>
                <a:solidFill>
                  <a:srgbClr val="0000FF"/>
                </a:solidFill>
                <a:latin typeface="ＭＳ Ｐゴシック"/>
                <a:ea typeface="ＭＳ Ｐゴシック"/>
              </a:rPr>
              <a:t>特定居住促進区域（市町村）</a:t>
            </a:r>
            <a:endParaRPr lang="en-US" altLang="ja-JP" sz="1400" dirty="0">
              <a:ln w="3175">
                <a:noFill/>
              </a:ln>
              <a:solidFill>
                <a:srgbClr val="0000FF"/>
              </a:solidFill>
              <a:latin typeface="ＭＳ Ｐゴシック"/>
              <a:ea typeface="ＭＳ Ｐゴシック"/>
            </a:endParaRPr>
          </a:p>
        </p:txBody>
      </p:sp>
      <p:sp>
        <p:nvSpPr>
          <p:cNvPr id="42" name="四角形: 角を丸くする 41">
            <a:extLst>
              <a:ext uri="{FF2B5EF4-FFF2-40B4-BE49-F238E27FC236}">
                <a16:creationId xmlns:a16="http://schemas.microsoft.com/office/drawing/2014/main" id="{A24918D8-D228-9A26-979A-F0AF60933C2C}"/>
              </a:ext>
            </a:extLst>
          </p:cNvPr>
          <p:cNvSpPr/>
          <p:nvPr/>
        </p:nvSpPr>
        <p:spPr>
          <a:xfrm>
            <a:off x="2580974" y="6775853"/>
            <a:ext cx="424223" cy="191383"/>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1000" dirty="0">
                <a:solidFill>
                  <a:srgbClr val="FFFFFF"/>
                </a:solidFill>
                <a:latin typeface="Arial"/>
                <a:ea typeface="ＭＳ Ｐゴシック"/>
              </a:rPr>
              <a:t>予算</a:t>
            </a:r>
          </a:p>
        </p:txBody>
      </p:sp>
      <p:sp>
        <p:nvSpPr>
          <p:cNvPr id="45" name="四角形: 角を丸くする 44">
            <a:extLst>
              <a:ext uri="{FF2B5EF4-FFF2-40B4-BE49-F238E27FC236}">
                <a16:creationId xmlns:a16="http://schemas.microsoft.com/office/drawing/2014/main" id="{6F858DB7-A85F-8248-A981-0D83240429DE}"/>
              </a:ext>
            </a:extLst>
          </p:cNvPr>
          <p:cNvSpPr/>
          <p:nvPr/>
        </p:nvSpPr>
        <p:spPr>
          <a:xfrm>
            <a:off x="4427330" y="3755468"/>
            <a:ext cx="424223" cy="191383"/>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1000" dirty="0">
                <a:solidFill>
                  <a:srgbClr val="FFFFFF"/>
                </a:solidFill>
                <a:latin typeface="Arial"/>
                <a:ea typeface="ＭＳ Ｐゴシック"/>
              </a:rPr>
              <a:t>予算</a:t>
            </a:r>
          </a:p>
        </p:txBody>
      </p:sp>
      <p:sp>
        <p:nvSpPr>
          <p:cNvPr id="48" name="四角形: 角を丸くする 47">
            <a:extLst>
              <a:ext uri="{FF2B5EF4-FFF2-40B4-BE49-F238E27FC236}">
                <a16:creationId xmlns:a16="http://schemas.microsoft.com/office/drawing/2014/main" id="{CFD36130-084B-92BB-A7E4-6FA4481D72E0}"/>
              </a:ext>
            </a:extLst>
          </p:cNvPr>
          <p:cNvSpPr/>
          <p:nvPr/>
        </p:nvSpPr>
        <p:spPr>
          <a:xfrm>
            <a:off x="7626376" y="6538960"/>
            <a:ext cx="424223" cy="191383"/>
          </a:xfrm>
          <a:prstGeom prst="roundRect">
            <a:avLst>
              <a:gd name="adj" fmla="val 5000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1000" dirty="0">
                <a:solidFill>
                  <a:srgbClr val="FFFFFF"/>
                </a:solidFill>
                <a:latin typeface="Arial"/>
                <a:ea typeface="ＭＳ Ｐゴシック"/>
              </a:rPr>
              <a:t>制度</a:t>
            </a:r>
          </a:p>
        </p:txBody>
      </p:sp>
      <p:sp>
        <p:nvSpPr>
          <p:cNvPr id="59" name="四角形: 角を丸くする 58">
            <a:extLst>
              <a:ext uri="{FF2B5EF4-FFF2-40B4-BE49-F238E27FC236}">
                <a16:creationId xmlns:a16="http://schemas.microsoft.com/office/drawing/2014/main" id="{C3692CAD-F6A1-AFD4-ADDA-5596C03CC465}"/>
              </a:ext>
            </a:extLst>
          </p:cNvPr>
          <p:cNvSpPr/>
          <p:nvPr/>
        </p:nvSpPr>
        <p:spPr>
          <a:xfrm>
            <a:off x="5415627" y="1543983"/>
            <a:ext cx="424223" cy="191383"/>
          </a:xfrm>
          <a:prstGeom prst="roundRect">
            <a:avLst>
              <a:gd name="adj" fmla="val 5000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1000" dirty="0">
                <a:solidFill>
                  <a:srgbClr val="FFFFFF"/>
                </a:solidFill>
                <a:latin typeface="Arial"/>
                <a:ea typeface="ＭＳ Ｐゴシック"/>
              </a:rPr>
              <a:t>制度</a:t>
            </a:r>
          </a:p>
        </p:txBody>
      </p:sp>
      <p:pic>
        <p:nvPicPr>
          <p:cNvPr id="73" name="図 72">
            <a:extLst>
              <a:ext uri="{FF2B5EF4-FFF2-40B4-BE49-F238E27FC236}">
                <a16:creationId xmlns:a16="http://schemas.microsoft.com/office/drawing/2014/main" id="{E431FC5E-DF9F-F83E-5667-2DBFD0D9270B}"/>
              </a:ext>
            </a:extLst>
          </p:cNvPr>
          <p:cNvPicPr>
            <a:picLocks noChangeAspect="1"/>
          </p:cNvPicPr>
          <p:nvPr/>
        </p:nvPicPr>
        <p:blipFill>
          <a:blip r:embed="rId8"/>
          <a:stretch>
            <a:fillRect/>
          </a:stretch>
        </p:blipFill>
        <p:spPr>
          <a:xfrm>
            <a:off x="6887307" y="1987840"/>
            <a:ext cx="1248734" cy="954182"/>
          </a:xfrm>
          <a:prstGeom prst="rect">
            <a:avLst/>
          </a:prstGeom>
        </p:spPr>
      </p:pic>
      <p:cxnSp>
        <p:nvCxnSpPr>
          <p:cNvPr id="14" name="直線矢印コネクタ 13">
            <a:extLst>
              <a:ext uri="{FF2B5EF4-FFF2-40B4-BE49-F238E27FC236}">
                <a16:creationId xmlns:a16="http://schemas.microsoft.com/office/drawing/2014/main" id="{9A98E27B-AE90-3F6C-0C76-3E3899045BE5}"/>
              </a:ext>
            </a:extLst>
          </p:cNvPr>
          <p:cNvCxnSpPr>
            <a:cxnSpLocks/>
            <a:stCxn id="11" idx="1"/>
          </p:cNvCxnSpPr>
          <p:nvPr/>
        </p:nvCxnSpPr>
        <p:spPr>
          <a:xfrm flipH="1">
            <a:off x="2522077" y="1748376"/>
            <a:ext cx="325607" cy="30142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CA0770C6-EB7E-57A6-1F28-80D387A7D092}"/>
              </a:ext>
            </a:extLst>
          </p:cNvPr>
          <p:cNvSpPr/>
          <p:nvPr/>
        </p:nvSpPr>
        <p:spPr>
          <a:xfrm>
            <a:off x="3002873" y="2408846"/>
            <a:ext cx="867932" cy="287954"/>
          </a:xfrm>
          <a:prstGeom prst="rect">
            <a:avLst/>
          </a:prstGeom>
          <a:solidFill>
            <a:srgbClr val="099CFF"/>
          </a:solidFill>
          <a:ln>
            <a:noFill/>
          </a:ln>
        </p:spPr>
        <p:style>
          <a:lnRef idx="2">
            <a:schemeClr val="accent1">
              <a:shade val="50000"/>
            </a:schemeClr>
          </a:lnRef>
          <a:fillRef idx="1">
            <a:schemeClr val="accent1"/>
          </a:fillRef>
          <a:effectRef idx="0">
            <a:schemeClr val="accent1"/>
          </a:effectRef>
          <a:fontRef idx="minor">
            <a:schemeClr val="lt1"/>
          </a:fontRef>
        </p:style>
        <p:txBody>
          <a:bodyPr tIns="71988" bIns="35994" rtlCol="0" anchor="ctr"/>
          <a:lstStyle/>
          <a:p>
            <a:pPr algn="ct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住まい</a:t>
            </a:r>
            <a:endParaRPr lang="en-US" altLang="ja-JP" sz="1200" b="1" dirty="0">
              <a:solidFill>
                <a:srgbClr val="FFFFFF"/>
              </a:solidFill>
              <a:latin typeface="メイリオ" panose="020B0604030504040204" pitchFamily="50" charset="-128"/>
              <a:ea typeface="メイリオ" panose="020B0604030504040204" pitchFamily="50" charset="-128"/>
            </a:endParaRPr>
          </a:p>
        </p:txBody>
      </p:sp>
      <p:sp>
        <p:nvSpPr>
          <p:cNvPr id="24" name="正方形/長方形 23">
            <a:extLst>
              <a:ext uri="{FF2B5EF4-FFF2-40B4-BE49-F238E27FC236}">
                <a16:creationId xmlns:a16="http://schemas.microsoft.com/office/drawing/2014/main" id="{8B324D3F-3341-2746-AED6-CC6740CC01BC}"/>
              </a:ext>
            </a:extLst>
          </p:cNvPr>
          <p:cNvSpPr/>
          <p:nvPr/>
        </p:nvSpPr>
        <p:spPr>
          <a:xfrm>
            <a:off x="2667286" y="4273799"/>
            <a:ext cx="1446416" cy="287954"/>
          </a:xfrm>
          <a:prstGeom prst="rect">
            <a:avLst/>
          </a:prstGeom>
          <a:solidFill>
            <a:srgbClr val="099CFF"/>
          </a:solidFill>
          <a:ln>
            <a:noFill/>
          </a:ln>
        </p:spPr>
        <p:style>
          <a:lnRef idx="2">
            <a:schemeClr val="accent1">
              <a:shade val="50000"/>
            </a:schemeClr>
          </a:lnRef>
          <a:fillRef idx="1">
            <a:schemeClr val="accent1"/>
          </a:fillRef>
          <a:effectRef idx="0">
            <a:schemeClr val="accent1"/>
          </a:effectRef>
          <a:fontRef idx="minor">
            <a:schemeClr val="lt1"/>
          </a:fontRef>
        </p:style>
        <p:txBody>
          <a:bodyPr tIns="71988" bIns="35994" rtlCol="0" anchor="ctr"/>
          <a:lstStyle/>
          <a:p>
            <a:pPr algn="ct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なりわい・働き方</a:t>
            </a:r>
            <a:endParaRPr lang="en-US" altLang="ja-JP" sz="1200" b="1" dirty="0">
              <a:solidFill>
                <a:srgbClr val="FFFFFF"/>
              </a:solidFill>
              <a:latin typeface="メイリオ" panose="020B0604030504040204" pitchFamily="50" charset="-128"/>
              <a:ea typeface="メイリオ" panose="020B0604030504040204" pitchFamily="50" charset="-128"/>
            </a:endParaRPr>
          </a:p>
        </p:txBody>
      </p:sp>
      <p:sp>
        <p:nvSpPr>
          <p:cNvPr id="32" name="正方形/長方形 31">
            <a:extLst>
              <a:ext uri="{FF2B5EF4-FFF2-40B4-BE49-F238E27FC236}">
                <a16:creationId xmlns:a16="http://schemas.microsoft.com/office/drawing/2014/main" id="{89C293E5-C2CD-52E6-C55A-41A6270AEF29}"/>
              </a:ext>
            </a:extLst>
          </p:cNvPr>
          <p:cNvSpPr/>
          <p:nvPr/>
        </p:nvSpPr>
        <p:spPr>
          <a:xfrm>
            <a:off x="6956736" y="1680900"/>
            <a:ext cx="1150704" cy="287954"/>
          </a:xfrm>
          <a:prstGeom prst="rect">
            <a:avLst/>
          </a:prstGeom>
          <a:solidFill>
            <a:srgbClr val="099CFF"/>
          </a:solidFill>
          <a:ln>
            <a:noFill/>
          </a:ln>
        </p:spPr>
        <p:style>
          <a:lnRef idx="2">
            <a:schemeClr val="accent1">
              <a:shade val="50000"/>
            </a:schemeClr>
          </a:lnRef>
          <a:fillRef idx="1">
            <a:schemeClr val="accent1"/>
          </a:fillRef>
          <a:effectRef idx="0">
            <a:schemeClr val="accent1"/>
          </a:effectRef>
          <a:fontRef idx="minor">
            <a:schemeClr val="lt1"/>
          </a:fontRef>
        </p:style>
        <p:txBody>
          <a:bodyPr tIns="71988" bIns="35994" rtlCol="0" anchor="ctr"/>
          <a:lstStyle/>
          <a:p>
            <a:pPr algn="ct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総合支援</a:t>
            </a:r>
            <a:endParaRPr lang="en-US" altLang="ja-JP" sz="1200" b="1" dirty="0">
              <a:solidFill>
                <a:srgbClr val="FFFFFF"/>
              </a:solidFill>
              <a:latin typeface="メイリオ" panose="020B0604030504040204" pitchFamily="50" charset="-128"/>
              <a:ea typeface="メイリオ" panose="020B0604030504040204" pitchFamily="50" charset="-128"/>
            </a:endParaRPr>
          </a:p>
        </p:txBody>
      </p:sp>
      <p:grpSp>
        <p:nvGrpSpPr>
          <p:cNvPr id="53" name="グループ化 52">
            <a:extLst>
              <a:ext uri="{FF2B5EF4-FFF2-40B4-BE49-F238E27FC236}">
                <a16:creationId xmlns:a16="http://schemas.microsoft.com/office/drawing/2014/main" id="{2F151240-C313-719A-D4F1-49E882D0E20B}"/>
              </a:ext>
            </a:extLst>
          </p:cNvPr>
          <p:cNvGrpSpPr/>
          <p:nvPr/>
        </p:nvGrpSpPr>
        <p:grpSpPr>
          <a:xfrm>
            <a:off x="4979338" y="3988618"/>
            <a:ext cx="4690715" cy="2769728"/>
            <a:chOff x="6548517" y="3151140"/>
            <a:chExt cx="4691467" cy="2770172"/>
          </a:xfrm>
        </p:grpSpPr>
        <p:sp>
          <p:nvSpPr>
            <p:cNvPr id="132" name="テキスト ボックス 131">
              <a:extLst>
                <a:ext uri="{FF2B5EF4-FFF2-40B4-BE49-F238E27FC236}">
                  <a16:creationId xmlns:a16="http://schemas.microsoft.com/office/drawing/2014/main" id="{02FBC9D1-21F9-C0AB-22E3-DE0E01148BBE}"/>
                </a:ext>
              </a:extLst>
            </p:cNvPr>
            <p:cNvSpPr txBox="1"/>
            <p:nvPr/>
          </p:nvSpPr>
          <p:spPr>
            <a:xfrm>
              <a:off x="6873317" y="4611443"/>
              <a:ext cx="2127712" cy="461665"/>
            </a:xfrm>
            <a:prstGeom prst="rect">
              <a:avLst/>
            </a:prstGeom>
            <a:noFill/>
          </p:spPr>
          <p:txBody>
            <a:bodyPr wrap="square" rtlCol="0">
              <a:spAutoFit/>
            </a:bodyPr>
            <a:lstStyle/>
            <a:p>
              <a:pPr defTabSz="914217">
                <a:defRPr/>
              </a:pPr>
              <a:r>
                <a:rPr lang="ja-JP" altLang="en-US" sz="1200" dirty="0">
                  <a:solidFill>
                    <a:srgbClr val="000000"/>
                  </a:solidFill>
                  <a:ea typeface="ＭＳ Ｐゴシック" charset="-128"/>
                </a:rPr>
                <a:t>交流施設</a:t>
              </a:r>
              <a:r>
                <a:rPr lang="en-US" altLang="ja-JP" sz="1200" dirty="0">
                  <a:solidFill>
                    <a:srgbClr val="000000"/>
                  </a:solidFill>
                  <a:ea typeface="ＭＳ Ｐゴシック" charset="-128"/>
                </a:rPr>
                <a:t>※</a:t>
              </a:r>
            </a:p>
            <a:p>
              <a:pPr marL="87296" indent="-87296" defTabSz="914217">
                <a:defRPr/>
              </a:pPr>
              <a:r>
                <a:rPr lang="ja-JP" altLang="en-US" sz="1200" dirty="0">
                  <a:solidFill>
                    <a:srgbClr val="000000"/>
                  </a:solidFill>
                  <a:ea typeface="ＭＳ Ｐゴシック" charset="-128"/>
                </a:rPr>
                <a:t>（地域交流の促進・情報発信）</a:t>
              </a:r>
            </a:p>
          </p:txBody>
        </p:sp>
        <p:sp>
          <p:nvSpPr>
            <p:cNvPr id="123" name="楕円 122">
              <a:extLst>
                <a:ext uri="{FF2B5EF4-FFF2-40B4-BE49-F238E27FC236}">
                  <a16:creationId xmlns:a16="http://schemas.microsoft.com/office/drawing/2014/main" id="{77D15FE4-F0ED-3322-8492-DDEF49E75829}"/>
                </a:ext>
              </a:extLst>
            </p:cNvPr>
            <p:cNvSpPr/>
            <p:nvPr/>
          </p:nvSpPr>
          <p:spPr>
            <a:xfrm rot="21390980">
              <a:off x="6548517" y="3575721"/>
              <a:ext cx="641909" cy="413105"/>
            </a:xfrm>
            <a:prstGeom prst="ellipse">
              <a:avLst/>
            </a:prstGeom>
            <a:solidFill>
              <a:srgbClr val="FFC000"/>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sz="1292" dirty="0">
                <a:solidFill>
                  <a:srgbClr val="FFFFFF"/>
                </a:solidFill>
                <a:latin typeface="Arial"/>
                <a:ea typeface="ＭＳ Ｐゴシック"/>
              </a:endParaRPr>
            </a:p>
          </p:txBody>
        </p:sp>
        <p:sp>
          <p:nvSpPr>
            <p:cNvPr id="22" name="テキスト ボックス 21">
              <a:extLst>
                <a:ext uri="{FF2B5EF4-FFF2-40B4-BE49-F238E27FC236}">
                  <a16:creationId xmlns:a16="http://schemas.microsoft.com/office/drawing/2014/main" id="{60BEC558-FFC8-2C7E-8DF9-8C87E6DCE42B}"/>
                </a:ext>
              </a:extLst>
            </p:cNvPr>
            <p:cNvSpPr txBox="1"/>
            <p:nvPr/>
          </p:nvSpPr>
          <p:spPr>
            <a:xfrm>
              <a:off x="7070039" y="5459647"/>
              <a:ext cx="3198244" cy="461665"/>
            </a:xfrm>
            <a:prstGeom prst="rect">
              <a:avLst/>
            </a:prstGeom>
            <a:noFill/>
          </p:spPr>
          <p:txBody>
            <a:bodyPr wrap="square" rtlCol="0">
              <a:spAutoFit/>
            </a:bodyPr>
            <a:lstStyle/>
            <a:p>
              <a:pPr defTabSz="914217">
                <a:defRPr/>
              </a:pPr>
              <a:r>
                <a:rPr lang="en-US" altLang="ja-JP" sz="1200" dirty="0">
                  <a:ln w="3175">
                    <a:noFill/>
                  </a:ln>
                  <a:solidFill>
                    <a:srgbClr val="000000"/>
                  </a:solidFill>
                  <a:latin typeface="ＭＳ Ｐゴシック"/>
                  <a:ea typeface="ＭＳ Ｐゴシック"/>
                </a:rPr>
                <a:t>※</a:t>
              </a:r>
              <a:r>
                <a:rPr lang="ja-JP" altLang="en-US" sz="1200" dirty="0">
                  <a:ln w="3175">
                    <a:noFill/>
                  </a:ln>
                  <a:solidFill>
                    <a:srgbClr val="000000"/>
                  </a:solidFill>
                  <a:latin typeface="ＭＳ Ｐゴシック"/>
                  <a:ea typeface="ＭＳ Ｐゴシック"/>
                </a:rPr>
                <a:t>計画に位置付けられた施設を</a:t>
              </a:r>
              <a:endParaRPr lang="en-US" altLang="ja-JP" sz="1200" dirty="0">
                <a:ln w="3175">
                  <a:noFill/>
                </a:ln>
                <a:solidFill>
                  <a:srgbClr val="000000"/>
                </a:solidFill>
                <a:latin typeface="ＭＳ Ｐゴシック"/>
                <a:ea typeface="ＭＳ Ｐゴシック"/>
              </a:endParaRPr>
            </a:p>
            <a:p>
              <a:pPr defTabSz="914217">
                <a:defRPr/>
              </a:pPr>
              <a:r>
                <a:rPr lang="ja-JP" altLang="en-US" sz="1200" dirty="0">
                  <a:ln w="3175">
                    <a:noFill/>
                  </a:ln>
                  <a:solidFill>
                    <a:srgbClr val="000000"/>
                  </a:solidFill>
                  <a:latin typeface="ＭＳ Ｐゴシック"/>
                  <a:ea typeface="ＭＳ Ｐゴシック"/>
                </a:rPr>
                <a:t>　開設しやすくする特例を措置</a:t>
              </a:r>
              <a:endParaRPr lang="en-US" altLang="ja-JP" sz="1200" dirty="0">
                <a:ln w="3175">
                  <a:noFill/>
                </a:ln>
                <a:solidFill>
                  <a:srgbClr val="000000"/>
                </a:solidFill>
                <a:latin typeface="ＭＳ Ｐゴシック"/>
                <a:ea typeface="ＭＳ Ｐゴシック"/>
              </a:endParaRPr>
            </a:p>
          </p:txBody>
        </p:sp>
        <p:sp>
          <p:nvSpPr>
            <p:cNvPr id="49" name="四角形: 角を丸くする 48">
              <a:extLst>
                <a:ext uri="{FF2B5EF4-FFF2-40B4-BE49-F238E27FC236}">
                  <a16:creationId xmlns:a16="http://schemas.microsoft.com/office/drawing/2014/main" id="{B77CB712-C01D-87D6-EA67-44928F2A8D77}"/>
                </a:ext>
              </a:extLst>
            </p:cNvPr>
            <p:cNvSpPr/>
            <p:nvPr/>
          </p:nvSpPr>
          <p:spPr>
            <a:xfrm>
              <a:off x="10815693" y="4835704"/>
              <a:ext cx="424291" cy="191414"/>
            </a:xfrm>
            <a:prstGeom prst="roundRect">
              <a:avLst>
                <a:gd name="adj" fmla="val 5000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1000" dirty="0">
                  <a:solidFill>
                    <a:srgbClr val="FFFFFF"/>
                  </a:solidFill>
                  <a:latin typeface="Arial"/>
                  <a:ea typeface="ＭＳ Ｐゴシック"/>
                </a:rPr>
                <a:t>制度</a:t>
              </a:r>
            </a:p>
          </p:txBody>
        </p:sp>
        <p:pic>
          <p:nvPicPr>
            <p:cNvPr id="58" name="図形 14" descr="20211122_151936">
              <a:extLst>
                <a:ext uri="{FF2B5EF4-FFF2-40B4-BE49-F238E27FC236}">
                  <a16:creationId xmlns:a16="http://schemas.microsoft.com/office/drawing/2014/main" id="{0614A104-8A35-FFB2-6A02-D0890BBDB9B2}"/>
                </a:ext>
              </a:extLst>
            </p:cNvPr>
            <p:cNvPicPr>
              <a:picLocks noChangeAspect="1"/>
            </p:cNvPicPr>
            <p:nvPr/>
          </p:nvPicPr>
          <p:blipFill>
            <a:blip r:embed="rId9"/>
            <a:srcRect l="15631" t="10555"/>
            <a:stretch>
              <a:fillRect/>
            </a:stretch>
          </p:blipFill>
          <p:spPr>
            <a:xfrm>
              <a:off x="7114524" y="3469824"/>
              <a:ext cx="1454748" cy="1156711"/>
            </a:xfrm>
            <a:prstGeom prst="rect">
              <a:avLst/>
            </a:prstGeom>
          </p:spPr>
        </p:pic>
        <p:sp>
          <p:nvSpPr>
            <p:cNvPr id="51" name="正方形/長方形 50">
              <a:extLst>
                <a:ext uri="{FF2B5EF4-FFF2-40B4-BE49-F238E27FC236}">
                  <a16:creationId xmlns:a16="http://schemas.microsoft.com/office/drawing/2014/main" id="{6C7D78B1-3107-06CE-9AC5-78053940E186}"/>
                </a:ext>
              </a:extLst>
            </p:cNvPr>
            <p:cNvSpPr/>
            <p:nvPr/>
          </p:nvSpPr>
          <p:spPr>
            <a:xfrm>
              <a:off x="7263072" y="3151140"/>
              <a:ext cx="1150888" cy="288000"/>
            </a:xfrm>
            <a:prstGeom prst="rect">
              <a:avLst/>
            </a:prstGeom>
            <a:solidFill>
              <a:srgbClr val="099CFF"/>
            </a:solidFill>
            <a:ln>
              <a:noFill/>
            </a:ln>
          </p:spPr>
          <p:style>
            <a:lnRef idx="2">
              <a:schemeClr val="accent1">
                <a:shade val="50000"/>
              </a:schemeClr>
            </a:lnRef>
            <a:fillRef idx="1">
              <a:schemeClr val="accent1"/>
            </a:fillRef>
            <a:effectRef idx="0">
              <a:schemeClr val="accent1"/>
            </a:effectRef>
            <a:fontRef idx="minor">
              <a:schemeClr val="lt1"/>
            </a:fontRef>
          </p:style>
          <p:txBody>
            <a:bodyPr tIns="71988" bIns="35994" rtlCol="0" anchor="ctr"/>
            <a:lstStyle/>
            <a:p>
              <a:pPr algn="ct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コミュニティ</a:t>
              </a:r>
              <a:endParaRPr lang="en-US" altLang="ja-JP" sz="1200" b="1" dirty="0">
                <a:solidFill>
                  <a:srgbClr val="FFFFFF"/>
                </a:solidFill>
                <a:latin typeface="メイリオ" panose="020B0604030504040204" pitchFamily="50" charset="-128"/>
                <a:ea typeface="メイリオ" panose="020B0604030504040204" pitchFamily="50" charset="-128"/>
              </a:endParaRPr>
            </a:p>
          </p:txBody>
        </p:sp>
      </p:grpSp>
      <p:sp>
        <p:nvSpPr>
          <p:cNvPr id="114" name="AutoShape 2">
            <a:extLst>
              <a:ext uri="{FF2B5EF4-FFF2-40B4-BE49-F238E27FC236}">
                <a16:creationId xmlns:a16="http://schemas.microsoft.com/office/drawing/2014/main" id="{7683CDCF-CA30-8867-ADCD-115FE11E383A}"/>
              </a:ext>
            </a:extLst>
          </p:cNvPr>
          <p:cNvSpPr>
            <a:spLocks noChangeAspect="1" noChangeArrowheads="1"/>
          </p:cNvSpPr>
          <p:nvPr/>
        </p:nvSpPr>
        <p:spPr bwMode="auto">
          <a:xfrm>
            <a:off x="8132928" y="2604015"/>
            <a:ext cx="304751" cy="3047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25" tIns="45713" rIns="91425" bIns="45713" numCol="1" anchor="t" anchorCtr="0" compatLnSpc="1">
            <a:prstTxWarp prst="textNoShape">
              <a:avLst/>
            </a:prstTxWarp>
          </a:bodyPr>
          <a:lstStyle/>
          <a:p>
            <a:pPr defTabSz="914217"/>
            <a:endParaRPr lang="ja-JP" altLang="en-US">
              <a:solidFill>
                <a:srgbClr val="000000"/>
              </a:solidFill>
              <a:ea typeface="ＭＳ Ｐゴシック" charset="-128"/>
            </a:endParaRPr>
          </a:p>
        </p:txBody>
      </p:sp>
      <p:sp>
        <p:nvSpPr>
          <p:cNvPr id="41" name="矢印: 右 40">
            <a:extLst>
              <a:ext uri="{FF2B5EF4-FFF2-40B4-BE49-F238E27FC236}">
                <a16:creationId xmlns:a16="http://schemas.microsoft.com/office/drawing/2014/main" id="{BF998DAE-13F8-775E-90CC-61A88D1EB534}"/>
              </a:ext>
            </a:extLst>
          </p:cNvPr>
          <p:cNvSpPr/>
          <p:nvPr/>
        </p:nvSpPr>
        <p:spPr>
          <a:xfrm rot="9720554">
            <a:off x="4654326" y="2644959"/>
            <a:ext cx="2199456" cy="287954"/>
          </a:xfrm>
          <a:prstGeom prst="rightArrow">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50" name="四角形: 角を丸くする 49">
            <a:extLst>
              <a:ext uri="{FF2B5EF4-FFF2-40B4-BE49-F238E27FC236}">
                <a16:creationId xmlns:a16="http://schemas.microsoft.com/office/drawing/2014/main" id="{5F66C48F-7E98-8BC6-057C-39B8D34850A2}"/>
              </a:ext>
            </a:extLst>
          </p:cNvPr>
          <p:cNvSpPr/>
          <p:nvPr/>
        </p:nvSpPr>
        <p:spPr>
          <a:xfrm>
            <a:off x="8915032" y="2949303"/>
            <a:ext cx="424223" cy="191383"/>
          </a:xfrm>
          <a:prstGeom prst="roundRect">
            <a:avLst>
              <a:gd name="adj" fmla="val 5000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1000" dirty="0">
                <a:solidFill>
                  <a:srgbClr val="FFFFFF"/>
                </a:solidFill>
                <a:latin typeface="Arial"/>
                <a:ea typeface="ＭＳ Ｐゴシック"/>
              </a:rPr>
              <a:t>制度</a:t>
            </a:r>
          </a:p>
        </p:txBody>
      </p:sp>
      <p:sp>
        <p:nvSpPr>
          <p:cNvPr id="131" name="テキスト ボックス 130">
            <a:extLst>
              <a:ext uri="{FF2B5EF4-FFF2-40B4-BE49-F238E27FC236}">
                <a16:creationId xmlns:a16="http://schemas.microsoft.com/office/drawing/2014/main" id="{52E43B90-08CE-C6E2-A767-1FB506EA5323}"/>
              </a:ext>
            </a:extLst>
          </p:cNvPr>
          <p:cNvSpPr txBox="1"/>
          <p:nvPr/>
        </p:nvSpPr>
        <p:spPr>
          <a:xfrm>
            <a:off x="6779707" y="3090815"/>
            <a:ext cx="3040329" cy="861636"/>
          </a:xfrm>
          <a:prstGeom prst="rect">
            <a:avLst/>
          </a:prstGeom>
          <a:noFill/>
        </p:spPr>
        <p:txBody>
          <a:bodyPr wrap="square" rtlCol="0">
            <a:spAutoFit/>
          </a:bodyPr>
          <a:lstStyle/>
          <a:p>
            <a:pPr defTabSz="914217">
              <a:defRPr/>
            </a:pPr>
            <a:r>
              <a:rPr lang="ja-JP" altLang="en-US" sz="1400" b="1" dirty="0">
                <a:ln w="3175">
                  <a:noFill/>
                </a:ln>
                <a:solidFill>
                  <a:srgbClr val="000000"/>
                </a:solidFill>
                <a:latin typeface="ＭＳ Ｐゴシック"/>
                <a:ea typeface="ＭＳ Ｐゴシック"/>
              </a:rPr>
              <a:t>○二地域居住等支援法人</a:t>
            </a:r>
            <a:endParaRPr lang="en-US" altLang="ja-JP" sz="1400" b="1" dirty="0">
              <a:ln w="3175">
                <a:noFill/>
              </a:ln>
              <a:solidFill>
                <a:srgbClr val="000000"/>
              </a:solidFill>
              <a:latin typeface="ＭＳ Ｐゴシック"/>
              <a:ea typeface="ＭＳ Ｐゴシック"/>
            </a:endParaRPr>
          </a:p>
          <a:p>
            <a:pPr defTabSz="914217">
              <a:defRPr/>
            </a:pPr>
            <a:r>
              <a:rPr lang="ja-JP" altLang="en-US" sz="1200" dirty="0">
                <a:solidFill>
                  <a:srgbClr val="000000"/>
                </a:solidFill>
                <a:latin typeface="ＭＳ Ｐゴシック"/>
                <a:ea typeface="ＭＳ Ｐゴシック"/>
              </a:rPr>
              <a:t> 住まいの相談、仕事情報の提供、</a:t>
            </a:r>
            <a:endParaRPr lang="en-US" altLang="ja-JP" sz="1200" dirty="0">
              <a:solidFill>
                <a:srgbClr val="000000"/>
              </a:solidFill>
              <a:latin typeface="ＭＳ Ｐゴシック"/>
              <a:ea typeface="ＭＳ Ｐゴシック"/>
            </a:endParaRPr>
          </a:p>
          <a:p>
            <a:pPr defTabSz="914217">
              <a:defRPr/>
            </a:pPr>
            <a:r>
              <a:rPr lang="ja-JP" altLang="en-US" sz="1200" dirty="0">
                <a:solidFill>
                  <a:srgbClr val="000000"/>
                </a:solidFill>
                <a:latin typeface="ＭＳ Ｐゴシック"/>
                <a:ea typeface="ＭＳ Ｐゴシック"/>
              </a:rPr>
              <a:t> 地域コミュニティへの誘い</a:t>
            </a:r>
            <a:r>
              <a:rPr lang="ja-JP" altLang="en-US" sz="1200" dirty="0">
                <a:ln w="3175">
                  <a:noFill/>
                </a:ln>
                <a:solidFill>
                  <a:srgbClr val="000000"/>
                </a:solidFill>
                <a:latin typeface="ＭＳ Ｐゴシック"/>
                <a:ea typeface="ＭＳ Ｐゴシック"/>
              </a:rPr>
              <a:t>など総合的支援</a:t>
            </a:r>
            <a:br>
              <a:rPr lang="en-US" altLang="ja-JP" sz="1200" dirty="0">
                <a:ln w="3175">
                  <a:noFill/>
                </a:ln>
                <a:solidFill>
                  <a:srgbClr val="000000"/>
                </a:solidFill>
                <a:latin typeface="ＭＳ Ｐゴシック"/>
                <a:ea typeface="ＭＳ Ｐゴシック"/>
              </a:rPr>
            </a:br>
            <a:r>
              <a:rPr lang="ja-JP" altLang="en-US" sz="1200" dirty="0">
                <a:solidFill>
                  <a:srgbClr val="000000"/>
                </a:solidFill>
                <a:latin typeface="ＭＳ Ｐゴシック"/>
                <a:ea typeface="ＭＳ Ｐゴシック"/>
              </a:rPr>
              <a:t>（</a:t>
            </a:r>
            <a:r>
              <a:rPr lang="en-US" altLang="ja-JP" sz="1200" dirty="0">
                <a:solidFill>
                  <a:srgbClr val="000000"/>
                </a:solidFill>
                <a:latin typeface="ＭＳ Ｐゴシック"/>
                <a:ea typeface="ＭＳ Ｐゴシック"/>
              </a:rPr>
              <a:t> R</a:t>
            </a:r>
            <a:r>
              <a:rPr lang="ja-JP" altLang="en-US" sz="1200" dirty="0">
                <a:solidFill>
                  <a:srgbClr val="000000"/>
                </a:solidFill>
                <a:latin typeface="ＭＳ Ｐゴシック"/>
                <a:ea typeface="ＭＳ Ｐゴシック"/>
              </a:rPr>
              <a:t>５補正・</a:t>
            </a:r>
            <a:r>
              <a:rPr lang="en-US" altLang="ja-JP" sz="1200" dirty="0">
                <a:solidFill>
                  <a:srgbClr val="000000"/>
                </a:solidFill>
                <a:latin typeface="ＭＳ Ｐゴシック"/>
                <a:ea typeface="ＭＳ Ｐゴシック"/>
              </a:rPr>
              <a:t>R</a:t>
            </a:r>
            <a:r>
              <a:rPr lang="ja-JP" altLang="en-US" sz="1200" dirty="0">
                <a:solidFill>
                  <a:srgbClr val="000000"/>
                </a:solidFill>
                <a:latin typeface="ＭＳ Ｐゴシック"/>
                <a:ea typeface="ＭＳ Ｐゴシック"/>
              </a:rPr>
              <a:t>６当初予算で支援）</a:t>
            </a:r>
            <a:endParaRPr lang="en-US" altLang="ja-JP" sz="1200" dirty="0">
              <a:ln w="3175">
                <a:noFill/>
              </a:ln>
              <a:solidFill>
                <a:srgbClr val="000000"/>
              </a:solidFill>
              <a:latin typeface="ＭＳ Ｐゴシック"/>
              <a:ea typeface="ＭＳ Ｐゴシック"/>
            </a:endParaRPr>
          </a:p>
        </p:txBody>
      </p:sp>
      <p:sp>
        <p:nvSpPr>
          <p:cNvPr id="7" name="四角形: 角を丸くする 6">
            <a:extLst>
              <a:ext uri="{FF2B5EF4-FFF2-40B4-BE49-F238E27FC236}">
                <a16:creationId xmlns:a16="http://schemas.microsoft.com/office/drawing/2014/main" id="{DF0D91B4-DFF9-A501-54FF-C44E80E74BDC}"/>
              </a:ext>
            </a:extLst>
          </p:cNvPr>
          <p:cNvSpPr/>
          <p:nvPr/>
        </p:nvSpPr>
        <p:spPr>
          <a:xfrm>
            <a:off x="9359483" y="3135441"/>
            <a:ext cx="424223" cy="191383"/>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1000" dirty="0">
                <a:solidFill>
                  <a:srgbClr val="FFFFFF"/>
                </a:solidFill>
                <a:latin typeface="Arial"/>
                <a:ea typeface="ＭＳ Ｐゴシック"/>
              </a:rPr>
              <a:t>予算</a:t>
            </a:r>
          </a:p>
        </p:txBody>
      </p:sp>
      <p:pic>
        <p:nvPicPr>
          <p:cNvPr id="4" name="図 3">
            <a:extLst>
              <a:ext uri="{FF2B5EF4-FFF2-40B4-BE49-F238E27FC236}">
                <a16:creationId xmlns:a16="http://schemas.microsoft.com/office/drawing/2014/main" id="{C5805992-6708-0703-3D18-B5F4AB57C4BC}"/>
              </a:ext>
            </a:extLst>
          </p:cNvPr>
          <p:cNvPicPr>
            <a:picLocks noChangeAspect="1"/>
          </p:cNvPicPr>
          <p:nvPr/>
        </p:nvPicPr>
        <p:blipFill>
          <a:blip r:embed="rId10"/>
          <a:stretch>
            <a:fillRect/>
          </a:stretch>
        </p:blipFill>
        <p:spPr>
          <a:xfrm>
            <a:off x="3355003" y="2724653"/>
            <a:ext cx="1291165" cy="968375"/>
          </a:xfrm>
          <a:prstGeom prst="rect">
            <a:avLst/>
          </a:prstGeom>
        </p:spPr>
      </p:pic>
      <p:pic>
        <p:nvPicPr>
          <p:cNvPr id="5" name="図 4">
            <a:extLst>
              <a:ext uri="{FF2B5EF4-FFF2-40B4-BE49-F238E27FC236}">
                <a16:creationId xmlns:a16="http://schemas.microsoft.com/office/drawing/2014/main" id="{7FC3069F-05F0-525F-4D42-150BA92027F2}"/>
              </a:ext>
            </a:extLst>
          </p:cNvPr>
          <p:cNvPicPr>
            <a:picLocks noChangeAspect="1"/>
          </p:cNvPicPr>
          <p:nvPr/>
        </p:nvPicPr>
        <p:blipFill rotWithShape="1">
          <a:blip r:embed="rId11"/>
          <a:srcRect l="8349" t="12493"/>
          <a:stretch/>
        </p:blipFill>
        <p:spPr>
          <a:xfrm>
            <a:off x="2478466" y="4596051"/>
            <a:ext cx="1996615" cy="1205684"/>
          </a:xfrm>
          <a:prstGeom prst="rect">
            <a:avLst/>
          </a:prstGeom>
        </p:spPr>
      </p:pic>
      <p:sp>
        <p:nvSpPr>
          <p:cNvPr id="64" name="矢印: 右 63">
            <a:extLst>
              <a:ext uri="{FF2B5EF4-FFF2-40B4-BE49-F238E27FC236}">
                <a16:creationId xmlns:a16="http://schemas.microsoft.com/office/drawing/2014/main" id="{D3DDD40A-3214-8AC6-65A1-20D4E39F752E}"/>
              </a:ext>
            </a:extLst>
          </p:cNvPr>
          <p:cNvSpPr/>
          <p:nvPr/>
        </p:nvSpPr>
        <p:spPr>
          <a:xfrm rot="8340972">
            <a:off x="4243273" y="3381215"/>
            <a:ext cx="2896726" cy="287954"/>
          </a:xfrm>
          <a:prstGeom prst="rightArrow">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65" name="四角形: 角を丸くする 64">
            <a:extLst>
              <a:ext uri="{FF2B5EF4-FFF2-40B4-BE49-F238E27FC236}">
                <a16:creationId xmlns:a16="http://schemas.microsoft.com/office/drawing/2014/main" id="{8F826914-F4DF-E469-4A44-EF266CBF4473}"/>
              </a:ext>
            </a:extLst>
          </p:cNvPr>
          <p:cNvSpPr/>
          <p:nvPr/>
        </p:nvSpPr>
        <p:spPr>
          <a:xfrm>
            <a:off x="3877143" y="6201063"/>
            <a:ext cx="424223" cy="191383"/>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1000" dirty="0">
                <a:solidFill>
                  <a:srgbClr val="FFFFFF"/>
                </a:solidFill>
                <a:latin typeface="Arial"/>
                <a:ea typeface="ＭＳ Ｐゴシック"/>
              </a:rPr>
              <a:t>予算</a:t>
            </a:r>
          </a:p>
        </p:txBody>
      </p:sp>
      <p:sp>
        <p:nvSpPr>
          <p:cNvPr id="16" name="テキスト ボックス 15">
            <a:extLst>
              <a:ext uri="{FF2B5EF4-FFF2-40B4-BE49-F238E27FC236}">
                <a16:creationId xmlns:a16="http://schemas.microsoft.com/office/drawing/2014/main" id="{E17C1208-A93E-2EF7-D369-A5661BD4BAC5}"/>
              </a:ext>
            </a:extLst>
          </p:cNvPr>
          <p:cNvSpPr txBox="1"/>
          <p:nvPr/>
        </p:nvSpPr>
        <p:spPr>
          <a:xfrm>
            <a:off x="7584555" y="2816515"/>
            <a:ext cx="585187" cy="124390"/>
          </a:xfrm>
          <a:prstGeom prst="rect">
            <a:avLst/>
          </a:prstGeom>
          <a:solidFill>
            <a:schemeClr val="bg1"/>
          </a:solidFill>
        </p:spPr>
        <p:txBody>
          <a:bodyPr wrap="square" lIns="0" tIns="0" rIns="0" bIns="0" rtlCol="0">
            <a:spAutoFit/>
          </a:bodyPr>
          <a:lstStyle/>
          <a:p>
            <a:pPr defTabSz="914217">
              <a:defRPr/>
            </a:pPr>
            <a:r>
              <a:rPr lang="ja-JP" altLang="en-US" sz="800" dirty="0">
                <a:ln w="3175">
                  <a:noFill/>
                </a:ln>
                <a:solidFill>
                  <a:srgbClr val="000000"/>
                </a:solidFill>
                <a:latin typeface="ＭＳ Ｐゴシック"/>
                <a:ea typeface="ＭＳ Ｐゴシック"/>
              </a:rPr>
              <a:t>提供：</a:t>
            </a:r>
            <a:r>
              <a:rPr lang="en-US" altLang="ja-JP" sz="800" dirty="0">
                <a:ln w="3175">
                  <a:noFill/>
                </a:ln>
                <a:solidFill>
                  <a:srgbClr val="000000"/>
                </a:solidFill>
                <a:latin typeface="ＭＳ Ｐゴシック"/>
                <a:ea typeface="ＭＳ Ｐゴシック"/>
              </a:rPr>
              <a:t>TURNS</a:t>
            </a:r>
          </a:p>
        </p:txBody>
      </p:sp>
      <p:sp>
        <p:nvSpPr>
          <p:cNvPr id="18" name="スライド番号プレースホルダー 2">
            <a:extLst>
              <a:ext uri="{FF2B5EF4-FFF2-40B4-BE49-F238E27FC236}">
                <a16:creationId xmlns:a16="http://schemas.microsoft.com/office/drawing/2014/main" id="{6AE87FDE-BF5E-DB62-3564-701417C0E009}"/>
              </a:ext>
            </a:extLst>
          </p:cNvPr>
          <p:cNvSpPr>
            <a:spLocks noGrp="1"/>
          </p:cNvSpPr>
          <p:nvPr>
            <p:ph type="sldNum" sz="quarter" idx="12"/>
          </p:nvPr>
        </p:nvSpPr>
        <p:spPr>
          <a:xfrm>
            <a:off x="7593383" y="7257989"/>
            <a:ext cx="2311030" cy="538868"/>
          </a:xfrm>
        </p:spPr>
        <p:txBody>
          <a:bodyPr/>
          <a:lstStyle/>
          <a:p>
            <a:pPr>
              <a:defRPr/>
            </a:pPr>
            <a:fld id="{06FFE511-5094-4685-A035-FB392A6605D8}" type="slidenum">
              <a:rPr lang="en-US" altLang="ja-JP" smtClean="0"/>
              <a:pPr>
                <a:defRPr/>
              </a:pPr>
              <a:t>46</a:t>
            </a:fld>
            <a:endParaRPr lang="en-US" altLang="ja-JP" dirty="0"/>
          </a:p>
        </p:txBody>
      </p:sp>
    </p:spTree>
    <p:extLst>
      <p:ext uri="{BB962C8B-B14F-4D97-AF65-F5344CB8AC3E}">
        <p14:creationId xmlns:p14="http://schemas.microsoft.com/office/powerpoint/2010/main" val="38288564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テキスト ボックス 82">
            <a:extLst>
              <a:ext uri="{FF2B5EF4-FFF2-40B4-BE49-F238E27FC236}">
                <a16:creationId xmlns:a16="http://schemas.microsoft.com/office/drawing/2014/main" id="{AA077C84-BE0B-6107-C695-6D6F0BBF36E2}"/>
              </a:ext>
            </a:extLst>
          </p:cNvPr>
          <p:cNvSpPr txBox="1"/>
          <p:nvPr/>
        </p:nvSpPr>
        <p:spPr>
          <a:xfrm>
            <a:off x="622181" y="5309684"/>
            <a:ext cx="8758161" cy="329565"/>
          </a:xfrm>
          <a:prstGeom prst="rect">
            <a:avLst/>
          </a:prstGeom>
          <a:noFill/>
          <a:ln cmpd="sng">
            <a:solidFill>
              <a:schemeClr val="tx1"/>
            </a:solidFill>
            <a:prstDash val="solid"/>
          </a:ln>
        </p:spPr>
        <p:txBody>
          <a:bodyPr wrap="square" rtlCol="0" anchor="ctr" anchorCtr="0">
            <a:noAutofit/>
          </a:bodyPr>
          <a:lstStyle/>
          <a:p>
            <a:pPr defTabSz="914217">
              <a:defRPr/>
            </a:pPr>
            <a:r>
              <a:rPr lang="ja-JP" altLang="en-US" sz="1100" dirty="0">
                <a:solidFill>
                  <a:srgbClr val="000000"/>
                </a:solidFill>
                <a:latin typeface="Meiryo UI" panose="020B0604030504040204" pitchFamily="50" charset="-128"/>
                <a:ea typeface="Meiryo UI" panose="020B0604030504040204" pitchFamily="50" charset="-128"/>
              </a:rPr>
              <a:t>市町村長が</a:t>
            </a:r>
            <a:r>
              <a:rPr lang="en-US" altLang="ja-JP" sz="1100" dirty="0">
                <a:solidFill>
                  <a:srgbClr val="000000"/>
                </a:solidFill>
                <a:latin typeface="Meiryo UI" panose="020B0604030504040204" pitchFamily="50" charset="-128"/>
                <a:ea typeface="Meiryo UI" panose="020B0604030504040204" pitchFamily="50" charset="-128"/>
              </a:rPr>
              <a:t>NPO</a:t>
            </a:r>
            <a:r>
              <a:rPr lang="ja-JP" altLang="en-US" sz="1100" dirty="0">
                <a:solidFill>
                  <a:srgbClr val="000000"/>
                </a:solidFill>
                <a:latin typeface="Meiryo UI" panose="020B0604030504040204" pitchFamily="50" charset="-128"/>
                <a:ea typeface="Meiryo UI" panose="020B0604030504040204" pitchFamily="50" charset="-128"/>
              </a:rPr>
              <a:t>法人・民間企業（不動産会社等）などを指定　</a:t>
            </a:r>
            <a:endParaRPr lang="en-US" altLang="ja-JP" sz="1100" dirty="0">
              <a:solidFill>
                <a:srgbClr val="00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6940BA02-54D3-C060-A331-7AC1429883EF}"/>
              </a:ext>
            </a:extLst>
          </p:cNvPr>
          <p:cNvSpPr/>
          <p:nvPr/>
        </p:nvSpPr>
        <p:spPr>
          <a:xfrm>
            <a:off x="708492" y="1775197"/>
            <a:ext cx="8295196" cy="303796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dirty="0">
              <a:solidFill>
                <a:srgbClr val="FFFFFF"/>
              </a:solidFill>
              <a:latin typeface="Arial"/>
              <a:ea typeface="ＭＳ Ｐゴシック"/>
            </a:endParaRPr>
          </a:p>
        </p:txBody>
      </p:sp>
      <p:sp>
        <p:nvSpPr>
          <p:cNvPr id="2" name="タイトル 1"/>
          <p:cNvSpPr>
            <a:spLocks noGrp="1"/>
          </p:cNvSpPr>
          <p:nvPr>
            <p:ph type="title"/>
          </p:nvPr>
        </p:nvSpPr>
        <p:spPr>
          <a:xfrm>
            <a:off x="90346" y="91308"/>
            <a:ext cx="7886196" cy="476174"/>
          </a:xfrm>
        </p:spPr>
        <p:txBody>
          <a:bodyPr/>
          <a:lstStyle/>
          <a:p>
            <a:r>
              <a:rPr lang="ja-JP" altLang="en-US" sz="2400" dirty="0"/>
              <a:t>地方への人の流れの創出・拡大に向けた二地域居住の促進</a:t>
            </a:r>
          </a:p>
        </p:txBody>
      </p:sp>
      <p:sp>
        <p:nvSpPr>
          <p:cNvPr id="8" name="四角形: 角を丸くする 7">
            <a:extLst>
              <a:ext uri="{FF2B5EF4-FFF2-40B4-BE49-F238E27FC236}">
                <a16:creationId xmlns:a16="http://schemas.microsoft.com/office/drawing/2014/main" id="{F8ACFF64-8E7A-C909-8A0E-9A62F8DEB8DB}"/>
              </a:ext>
            </a:extLst>
          </p:cNvPr>
          <p:cNvSpPr/>
          <p:nvPr/>
        </p:nvSpPr>
        <p:spPr>
          <a:xfrm>
            <a:off x="194062" y="2324746"/>
            <a:ext cx="390439" cy="2178608"/>
          </a:xfrm>
          <a:prstGeom prst="roundRect">
            <a:avLst>
              <a:gd name="adj"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eaVert" wrap="none" tIns="107983" rtlCol="0" anchor="ctr"/>
          <a:lstStyle/>
          <a:p>
            <a:pPr algn="ct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新たな仕組み（制度・予算）</a:t>
            </a:r>
            <a:endParaRPr lang="en-US" altLang="ja-JP" sz="1200" b="1" dirty="0">
              <a:solidFill>
                <a:srgbClr val="FFFFFF"/>
              </a:solidFill>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90D8C4FA-B668-FEE4-2DCB-7851EA15A894}"/>
              </a:ext>
            </a:extLst>
          </p:cNvPr>
          <p:cNvSpPr txBox="1"/>
          <p:nvPr/>
        </p:nvSpPr>
        <p:spPr>
          <a:xfrm>
            <a:off x="895677" y="1625447"/>
            <a:ext cx="5773413" cy="307728"/>
          </a:xfrm>
          <a:prstGeom prst="rect">
            <a:avLst/>
          </a:prstGeom>
          <a:solidFill>
            <a:schemeClr val="bg1"/>
          </a:solidFill>
        </p:spPr>
        <p:txBody>
          <a:bodyPr wrap="none" rtlCol="0">
            <a:spAutoFit/>
          </a:bodyPr>
          <a:lstStyle/>
          <a:p>
            <a:pPr defTabSz="914217">
              <a:defRPr/>
            </a:pPr>
            <a:r>
              <a:rPr lang="ja-JP" altLang="en-US" sz="1400" b="1" dirty="0">
                <a:solidFill>
                  <a:srgbClr val="000000"/>
                </a:solidFill>
                <a:ea typeface="ＭＳ Ｐゴシック" charset="-128"/>
              </a:rPr>
              <a:t>県市連携　</a:t>
            </a:r>
            <a:r>
              <a:rPr lang="en-US" altLang="ja-JP" sz="1400" b="1" dirty="0">
                <a:solidFill>
                  <a:srgbClr val="000000"/>
                </a:solidFill>
                <a:ea typeface="ＭＳ Ｐゴシック" charset="-128"/>
              </a:rPr>
              <a:t>《</a:t>
            </a:r>
            <a:r>
              <a:rPr lang="ja-JP" altLang="en-US" sz="1400" b="1" dirty="0">
                <a:solidFill>
                  <a:srgbClr val="000000"/>
                </a:solidFill>
                <a:ea typeface="ＭＳ Ｐゴシック" charset="-128"/>
              </a:rPr>
              <a:t>特定居住促進計画</a:t>
            </a:r>
            <a:r>
              <a:rPr lang="en-US" altLang="ja-JP" sz="1400" b="1" dirty="0">
                <a:solidFill>
                  <a:srgbClr val="000000"/>
                </a:solidFill>
                <a:ea typeface="ＭＳ Ｐゴシック" charset="-128"/>
              </a:rPr>
              <a:t>》</a:t>
            </a:r>
            <a:r>
              <a:rPr lang="ja-JP" altLang="en-US" sz="1400" b="1" dirty="0">
                <a:solidFill>
                  <a:srgbClr val="000000"/>
                </a:solidFill>
                <a:ea typeface="ＭＳ Ｐゴシック" charset="-128"/>
              </a:rPr>
              <a:t>　⇒　課題解決のための政策パッケージ　</a:t>
            </a:r>
          </a:p>
        </p:txBody>
      </p:sp>
      <p:sp>
        <p:nvSpPr>
          <p:cNvPr id="16" name="正方形/長方形 15">
            <a:extLst>
              <a:ext uri="{FF2B5EF4-FFF2-40B4-BE49-F238E27FC236}">
                <a16:creationId xmlns:a16="http://schemas.microsoft.com/office/drawing/2014/main" id="{F0EDC9B1-8E36-7BB8-4ED6-EC5F5F311035}"/>
              </a:ext>
            </a:extLst>
          </p:cNvPr>
          <p:cNvSpPr/>
          <p:nvPr/>
        </p:nvSpPr>
        <p:spPr>
          <a:xfrm>
            <a:off x="814552" y="2338593"/>
            <a:ext cx="1287264" cy="449720"/>
          </a:xfrm>
          <a:prstGeom prst="rect">
            <a:avLst/>
          </a:prstGeom>
          <a:gradFill flip="none" rotWithShape="1">
            <a:gsLst>
              <a:gs pos="0">
                <a:srgbClr val="0099FF"/>
              </a:gs>
              <a:gs pos="74000">
                <a:srgbClr val="0099FF">
                  <a:tint val="44500"/>
                  <a:satMod val="160000"/>
                </a:srgbClr>
              </a:gs>
              <a:gs pos="100000">
                <a:srgbClr val="0099FF">
                  <a:tint val="23500"/>
                  <a:satMod val="1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71988" bIns="35994" rtlCol="0" anchor="ctr"/>
          <a:lstStyle/>
          <a:p>
            <a:pP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住まい</a:t>
            </a:r>
            <a:endParaRPr lang="en-US" altLang="ja-JP" sz="1200" b="1" dirty="0">
              <a:solidFill>
                <a:srgbClr val="FFFFFF"/>
              </a:solidFill>
              <a:latin typeface="メイリオ" panose="020B0604030504040204" pitchFamily="50" charset="-128"/>
              <a:ea typeface="メイリオ" panose="020B0604030504040204" pitchFamily="50" charset="-128"/>
            </a:endParaRPr>
          </a:p>
          <a:p>
            <a:pP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住環境）</a:t>
            </a:r>
            <a:endParaRPr lang="en-US" altLang="ja-JP" sz="1200" b="1" dirty="0">
              <a:solidFill>
                <a:srgbClr val="FFFFFF"/>
              </a:solidFill>
              <a:latin typeface="メイリオ" panose="020B0604030504040204" pitchFamily="50" charset="-128"/>
              <a:ea typeface="メイリオ" panose="020B0604030504040204" pitchFamily="50" charset="-128"/>
            </a:endParaRPr>
          </a:p>
        </p:txBody>
      </p:sp>
      <p:sp>
        <p:nvSpPr>
          <p:cNvPr id="56" name="テキスト ボックス 55">
            <a:extLst>
              <a:ext uri="{FF2B5EF4-FFF2-40B4-BE49-F238E27FC236}">
                <a16:creationId xmlns:a16="http://schemas.microsoft.com/office/drawing/2014/main" id="{BACC6ACE-98DB-A2E7-ED87-B782DC246B50}"/>
              </a:ext>
            </a:extLst>
          </p:cNvPr>
          <p:cNvSpPr txBox="1"/>
          <p:nvPr/>
        </p:nvSpPr>
        <p:spPr>
          <a:xfrm>
            <a:off x="644130" y="6039324"/>
            <a:ext cx="8758161" cy="289756"/>
          </a:xfrm>
          <a:prstGeom prst="rect">
            <a:avLst/>
          </a:prstGeom>
          <a:noFill/>
          <a:ln cmpd="sng">
            <a:solidFill>
              <a:schemeClr val="tx1"/>
            </a:solidFill>
            <a:prstDash val="solid"/>
          </a:ln>
        </p:spPr>
        <p:txBody>
          <a:bodyPr wrap="square" rtlCol="0" anchor="ctr" anchorCtr="0">
            <a:noAutofit/>
          </a:bodyPr>
          <a:lstStyle>
            <a:defPPr>
              <a:defRPr lang="ja-JP"/>
            </a:defPPr>
            <a:lvl1pPr>
              <a:defRPr sz="1200">
                <a:latin typeface="Meiryo UI" panose="020B0604030504040204" pitchFamily="50" charset="-128"/>
                <a:ea typeface="Meiryo UI" panose="020B0604030504040204" pitchFamily="50" charset="-128"/>
              </a:defRPr>
            </a:lvl1pPr>
          </a:lstStyle>
          <a:p>
            <a:pPr defTabSz="914217">
              <a:defRPr/>
            </a:pPr>
            <a:r>
              <a:rPr lang="ja-JP" altLang="en-US" sz="1100" dirty="0">
                <a:solidFill>
                  <a:srgbClr val="000000"/>
                </a:solidFill>
              </a:rPr>
              <a:t>市町村と周辺市町村、県、民間企業などが協議会を組織</a:t>
            </a:r>
            <a:endParaRPr lang="en-US" altLang="ja-JP" sz="1100" dirty="0">
              <a:solidFill>
                <a:srgbClr val="000000"/>
              </a:solidFill>
            </a:endParaRPr>
          </a:p>
        </p:txBody>
      </p:sp>
      <p:sp>
        <p:nvSpPr>
          <p:cNvPr id="58" name="テキスト ボックス 57">
            <a:extLst>
              <a:ext uri="{FF2B5EF4-FFF2-40B4-BE49-F238E27FC236}">
                <a16:creationId xmlns:a16="http://schemas.microsoft.com/office/drawing/2014/main" id="{DF7D891A-876F-F9F4-0AF5-4C3C4DEC9E17}"/>
              </a:ext>
            </a:extLst>
          </p:cNvPr>
          <p:cNvSpPr txBox="1"/>
          <p:nvPr/>
        </p:nvSpPr>
        <p:spPr>
          <a:xfrm>
            <a:off x="750583" y="5915331"/>
            <a:ext cx="6983485" cy="184636"/>
          </a:xfrm>
          <a:prstGeom prst="rect">
            <a:avLst/>
          </a:prstGeom>
          <a:solidFill>
            <a:schemeClr val="bg1"/>
          </a:solidFill>
        </p:spPr>
        <p:txBody>
          <a:bodyPr wrap="none" tIns="0" bIns="0" rtlCol="0">
            <a:spAutoFit/>
          </a:bodyPr>
          <a:lstStyle/>
          <a:p>
            <a:pPr defTabSz="914217">
              <a:defRPr/>
            </a:pPr>
            <a:r>
              <a:rPr lang="ja-JP" altLang="en-US" sz="1200" b="1" dirty="0">
                <a:solidFill>
                  <a:srgbClr val="000000"/>
                </a:solidFill>
                <a:ea typeface="ＭＳ Ｐゴシック" charset="-128"/>
              </a:rPr>
              <a:t>関係者連携　</a:t>
            </a:r>
            <a:r>
              <a:rPr lang="en-US" altLang="ja-JP" sz="1200" b="1" dirty="0">
                <a:solidFill>
                  <a:srgbClr val="000000"/>
                </a:solidFill>
                <a:ea typeface="ＭＳ Ｐゴシック" charset="-128"/>
              </a:rPr>
              <a:t>《</a:t>
            </a:r>
            <a:r>
              <a:rPr lang="ja-JP" altLang="en-US" sz="1200" b="1" dirty="0">
                <a:solidFill>
                  <a:srgbClr val="000000"/>
                </a:solidFill>
                <a:ea typeface="ＭＳ Ｐゴシック" charset="-128"/>
              </a:rPr>
              <a:t>二地域居住等促進協議会</a:t>
            </a:r>
            <a:r>
              <a:rPr lang="en-US" altLang="ja-JP" sz="1200" b="1" dirty="0">
                <a:solidFill>
                  <a:srgbClr val="000000"/>
                </a:solidFill>
                <a:ea typeface="ＭＳ Ｐゴシック" charset="-128"/>
              </a:rPr>
              <a:t>》</a:t>
            </a:r>
            <a:r>
              <a:rPr lang="ja-JP" altLang="en-US" sz="1200" b="1" dirty="0">
                <a:solidFill>
                  <a:srgbClr val="000000"/>
                </a:solidFill>
                <a:ea typeface="ＭＳ Ｐゴシック" charset="-128"/>
              </a:rPr>
              <a:t>　⇒　住まい情報の提供、就業・就農のマッチングなどを推進　</a:t>
            </a:r>
            <a:endParaRPr lang="ja-JP" altLang="en-US" sz="1200" b="1" dirty="0">
              <a:solidFill>
                <a:srgbClr val="00B050"/>
              </a:solidFill>
              <a:ea typeface="ＭＳ Ｐゴシック" charset="-128"/>
            </a:endParaRPr>
          </a:p>
        </p:txBody>
      </p:sp>
      <p:sp>
        <p:nvSpPr>
          <p:cNvPr id="61" name="テキスト ボックス 60">
            <a:extLst>
              <a:ext uri="{FF2B5EF4-FFF2-40B4-BE49-F238E27FC236}">
                <a16:creationId xmlns:a16="http://schemas.microsoft.com/office/drawing/2014/main" id="{CCE30BCA-1BE7-D30F-D787-A1A86C8368CE}"/>
              </a:ext>
            </a:extLst>
          </p:cNvPr>
          <p:cNvSpPr txBox="1"/>
          <p:nvPr/>
        </p:nvSpPr>
        <p:spPr>
          <a:xfrm>
            <a:off x="2075759" y="2271418"/>
            <a:ext cx="3124980" cy="738546"/>
          </a:xfrm>
          <a:prstGeom prst="rect">
            <a:avLst/>
          </a:prstGeom>
          <a:noFill/>
        </p:spPr>
        <p:txBody>
          <a:bodyPr wrap="square" rtlCol="0">
            <a:spAutoFit/>
          </a:bodyPr>
          <a:lstStyle/>
          <a:p>
            <a:pPr defTabSz="914217">
              <a:defRPr/>
            </a:pPr>
            <a:r>
              <a:rPr lang="ja-JP" altLang="en-US" sz="1100" b="1" dirty="0">
                <a:solidFill>
                  <a:srgbClr val="000000"/>
                </a:solidFill>
                <a:ea typeface="ＭＳ Ｐゴシック" charset="-128"/>
              </a:rPr>
              <a:t>・空き家の活用支援</a:t>
            </a:r>
            <a:endParaRPr lang="en-US" altLang="ja-JP" sz="1100" b="1" dirty="0">
              <a:solidFill>
                <a:srgbClr val="000000"/>
              </a:solidFill>
              <a:ea typeface="ＭＳ Ｐゴシック" charset="-128"/>
            </a:endParaRPr>
          </a:p>
          <a:p>
            <a:pPr defTabSz="914217">
              <a:defRPr/>
            </a:pPr>
            <a:r>
              <a:rPr lang="ja-JP" altLang="en-US" sz="1000" b="1" dirty="0">
                <a:solidFill>
                  <a:srgbClr val="000000"/>
                </a:solidFill>
                <a:ea typeface="ＭＳ Ｐゴシック" charset="-128"/>
              </a:rPr>
              <a:t>（お試し居住・シェアハウスなど）</a:t>
            </a:r>
            <a:endParaRPr lang="en-US" altLang="ja-JP" sz="1000" b="1" dirty="0">
              <a:solidFill>
                <a:srgbClr val="000000"/>
              </a:solidFill>
              <a:ea typeface="ＭＳ Ｐゴシック" charset="-128"/>
            </a:endParaRPr>
          </a:p>
          <a:p>
            <a:pPr defTabSz="914217">
              <a:defRPr/>
            </a:pPr>
            <a:r>
              <a:rPr lang="ja-JP" altLang="en-US" sz="1100" b="1" dirty="0">
                <a:solidFill>
                  <a:srgbClr val="000000"/>
                </a:solidFill>
                <a:ea typeface="ＭＳ Ｐゴシック" charset="-128"/>
              </a:rPr>
              <a:t>・オンデマンド交通等による生活環境の向上</a:t>
            </a:r>
            <a:endParaRPr lang="en-US" altLang="ja-JP" sz="1100" b="1" dirty="0">
              <a:solidFill>
                <a:srgbClr val="000000"/>
              </a:solidFill>
              <a:ea typeface="ＭＳ Ｐゴシック" charset="-128"/>
            </a:endParaRPr>
          </a:p>
          <a:p>
            <a:pPr defTabSz="914217">
              <a:defRPr/>
            </a:pPr>
            <a:endParaRPr lang="en-US" altLang="ja-JP" sz="1000" b="1" dirty="0">
              <a:solidFill>
                <a:srgbClr val="000000"/>
              </a:solidFill>
              <a:ea typeface="ＭＳ Ｐゴシック" charset="-128"/>
            </a:endParaRPr>
          </a:p>
        </p:txBody>
      </p:sp>
      <p:sp>
        <p:nvSpPr>
          <p:cNvPr id="64" name="テキスト ボックス 63">
            <a:extLst>
              <a:ext uri="{FF2B5EF4-FFF2-40B4-BE49-F238E27FC236}">
                <a16:creationId xmlns:a16="http://schemas.microsoft.com/office/drawing/2014/main" id="{1D8142B6-EBBE-2F59-1A65-A13793DED837}"/>
              </a:ext>
            </a:extLst>
          </p:cNvPr>
          <p:cNvSpPr txBox="1"/>
          <p:nvPr/>
        </p:nvSpPr>
        <p:spPr>
          <a:xfrm flipH="1">
            <a:off x="9508630" y="2668342"/>
            <a:ext cx="413436" cy="953954"/>
          </a:xfrm>
          <a:prstGeom prst="rect">
            <a:avLst/>
          </a:prstGeom>
          <a:noFill/>
        </p:spPr>
        <p:txBody>
          <a:bodyPr wrap="square" rtlCol="0">
            <a:spAutoFit/>
          </a:bodyPr>
          <a:lstStyle/>
          <a:p>
            <a:pPr defTabSz="914217">
              <a:defRPr/>
            </a:pPr>
            <a:r>
              <a:rPr lang="ja-JP" altLang="en-US" sz="1400" b="1" dirty="0">
                <a:solidFill>
                  <a:srgbClr val="000000"/>
                </a:solidFill>
                <a:ea typeface="ＭＳ Ｐゴシック" charset="-128"/>
              </a:rPr>
              <a:t>地域住民</a:t>
            </a:r>
          </a:p>
        </p:txBody>
      </p:sp>
      <p:sp>
        <p:nvSpPr>
          <p:cNvPr id="69" name="矢印: 左右 68">
            <a:extLst>
              <a:ext uri="{FF2B5EF4-FFF2-40B4-BE49-F238E27FC236}">
                <a16:creationId xmlns:a16="http://schemas.microsoft.com/office/drawing/2014/main" id="{E968779E-4AFD-51DD-FA27-30AECAA91B23}"/>
              </a:ext>
            </a:extLst>
          </p:cNvPr>
          <p:cNvSpPr/>
          <p:nvPr/>
        </p:nvSpPr>
        <p:spPr>
          <a:xfrm>
            <a:off x="9074926" y="3005531"/>
            <a:ext cx="441854" cy="245392"/>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sp>
        <p:nvSpPr>
          <p:cNvPr id="70" name="テキスト ボックス 69">
            <a:extLst>
              <a:ext uri="{FF2B5EF4-FFF2-40B4-BE49-F238E27FC236}">
                <a16:creationId xmlns:a16="http://schemas.microsoft.com/office/drawing/2014/main" id="{937BF41C-895F-BE87-5578-2452A45DBEFA}"/>
              </a:ext>
            </a:extLst>
          </p:cNvPr>
          <p:cNvSpPr txBox="1"/>
          <p:nvPr/>
        </p:nvSpPr>
        <p:spPr>
          <a:xfrm flipH="1">
            <a:off x="9020620" y="2700137"/>
            <a:ext cx="630380" cy="276955"/>
          </a:xfrm>
          <a:prstGeom prst="rect">
            <a:avLst/>
          </a:prstGeom>
          <a:noFill/>
        </p:spPr>
        <p:txBody>
          <a:bodyPr wrap="square" rtlCol="0">
            <a:spAutoFit/>
          </a:bodyPr>
          <a:lstStyle/>
          <a:p>
            <a:pPr defTabSz="914217">
              <a:defRPr/>
            </a:pPr>
            <a:r>
              <a:rPr lang="ja-JP" altLang="en-US" sz="1200" b="1" dirty="0">
                <a:solidFill>
                  <a:srgbClr val="000000"/>
                </a:solidFill>
                <a:ea typeface="ＭＳ Ｐゴシック" charset="-128"/>
              </a:rPr>
              <a:t>公表</a:t>
            </a:r>
          </a:p>
        </p:txBody>
      </p:sp>
      <p:sp>
        <p:nvSpPr>
          <p:cNvPr id="71" name="テキスト ボックス 70">
            <a:extLst>
              <a:ext uri="{FF2B5EF4-FFF2-40B4-BE49-F238E27FC236}">
                <a16:creationId xmlns:a16="http://schemas.microsoft.com/office/drawing/2014/main" id="{242DA0FF-E89C-19D7-A664-C12A60CA2731}"/>
              </a:ext>
            </a:extLst>
          </p:cNvPr>
          <p:cNvSpPr txBox="1"/>
          <p:nvPr/>
        </p:nvSpPr>
        <p:spPr>
          <a:xfrm flipH="1">
            <a:off x="9025563" y="3309265"/>
            <a:ext cx="630380" cy="276955"/>
          </a:xfrm>
          <a:prstGeom prst="rect">
            <a:avLst/>
          </a:prstGeom>
          <a:noFill/>
        </p:spPr>
        <p:txBody>
          <a:bodyPr wrap="square" rtlCol="0">
            <a:spAutoFit/>
          </a:bodyPr>
          <a:lstStyle/>
          <a:p>
            <a:pPr defTabSz="914217">
              <a:defRPr/>
            </a:pPr>
            <a:r>
              <a:rPr lang="ja-JP" altLang="en-US" sz="1200" b="1" dirty="0">
                <a:solidFill>
                  <a:srgbClr val="000000"/>
                </a:solidFill>
                <a:ea typeface="ＭＳ Ｐゴシック" charset="-128"/>
              </a:rPr>
              <a:t>意見</a:t>
            </a:r>
          </a:p>
        </p:txBody>
      </p:sp>
      <p:sp>
        <p:nvSpPr>
          <p:cNvPr id="72" name="テキスト ボックス 71">
            <a:extLst>
              <a:ext uri="{FF2B5EF4-FFF2-40B4-BE49-F238E27FC236}">
                <a16:creationId xmlns:a16="http://schemas.microsoft.com/office/drawing/2014/main" id="{A25640CF-F971-9AE0-FB2E-18A34FC29BAF}"/>
              </a:ext>
            </a:extLst>
          </p:cNvPr>
          <p:cNvSpPr txBox="1"/>
          <p:nvPr/>
        </p:nvSpPr>
        <p:spPr>
          <a:xfrm>
            <a:off x="2074940" y="3019925"/>
            <a:ext cx="2884407" cy="600068"/>
          </a:xfrm>
          <a:prstGeom prst="rect">
            <a:avLst/>
          </a:prstGeom>
          <a:noFill/>
        </p:spPr>
        <p:txBody>
          <a:bodyPr wrap="square" rtlCol="0">
            <a:spAutoFit/>
          </a:bodyPr>
          <a:lstStyle/>
          <a:p>
            <a:pPr marL="71986" indent="-71986" defTabSz="914217">
              <a:defRPr/>
            </a:pPr>
            <a:r>
              <a:rPr lang="ja-JP" altLang="en-US" sz="1100" b="1" dirty="0">
                <a:solidFill>
                  <a:srgbClr val="000000"/>
                </a:solidFill>
                <a:ea typeface="ＭＳ Ｐゴシック" charset="-128"/>
              </a:rPr>
              <a:t>・副業・兼業などの新しい働き方に対応した</a:t>
            </a:r>
            <a:endParaRPr lang="en-US" altLang="ja-JP" sz="1100" b="1" dirty="0">
              <a:solidFill>
                <a:srgbClr val="000000"/>
              </a:solidFill>
              <a:ea typeface="ＭＳ Ｐゴシック" charset="-128"/>
            </a:endParaRPr>
          </a:p>
          <a:p>
            <a:pPr marL="71986" indent="-71986" defTabSz="914217">
              <a:defRPr/>
            </a:pPr>
            <a:r>
              <a:rPr lang="ja-JP" altLang="en-US" sz="1100" b="1" dirty="0">
                <a:solidFill>
                  <a:srgbClr val="000000"/>
                </a:solidFill>
                <a:ea typeface="ＭＳ Ｐゴシック" charset="-128"/>
              </a:rPr>
              <a:t>　コワーキングスペース等の整備</a:t>
            </a:r>
            <a:endParaRPr lang="en-US" altLang="ja-JP" sz="1100" b="1" dirty="0">
              <a:solidFill>
                <a:srgbClr val="000000"/>
              </a:solidFill>
              <a:ea typeface="ＭＳ Ｐゴシック" charset="-128"/>
            </a:endParaRPr>
          </a:p>
          <a:p>
            <a:pPr marL="71986" indent="-71986" defTabSz="914217">
              <a:defRPr/>
            </a:pPr>
            <a:r>
              <a:rPr lang="ja-JP" altLang="en-US" sz="1100" b="1" dirty="0">
                <a:solidFill>
                  <a:srgbClr val="000000"/>
                </a:solidFill>
                <a:ea typeface="ＭＳ Ｐゴシック" charset="-128"/>
              </a:rPr>
              <a:t>・地域での就業支援</a:t>
            </a:r>
          </a:p>
        </p:txBody>
      </p:sp>
      <p:sp>
        <p:nvSpPr>
          <p:cNvPr id="73" name="正方形/長方形 72">
            <a:extLst>
              <a:ext uri="{FF2B5EF4-FFF2-40B4-BE49-F238E27FC236}">
                <a16:creationId xmlns:a16="http://schemas.microsoft.com/office/drawing/2014/main" id="{E6624308-8E02-FAEC-F1E5-C75F805A8BB7}"/>
              </a:ext>
            </a:extLst>
          </p:cNvPr>
          <p:cNvSpPr/>
          <p:nvPr/>
        </p:nvSpPr>
        <p:spPr>
          <a:xfrm>
            <a:off x="809517" y="3894312"/>
            <a:ext cx="1288593" cy="557404"/>
          </a:xfrm>
          <a:prstGeom prst="rect">
            <a:avLst/>
          </a:prstGeom>
          <a:gradFill flip="none" rotWithShape="1">
            <a:gsLst>
              <a:gs pos="0">
                <a:srgbClr val="0099FF"/>
              </a:gs>
              <a:gs pos="74000">
                <a:srgbClr val="0099FF">
                  <a:tint val="44500"/>
                  <a:satMod val="160000"/>
                </a:srgbClr>
              </a:gs>
              <a:gs pos="100000">
                <a:srgbClr val="0099FF">
                  <a:tint val="23500"/>
                  <a:satMod val="1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71988" bIns="35994" rtlCol="0" anchor="ctr"/>
          <a:lstStyle/>
          <a:p>
            <a:pP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コミュニティ（地域づくり）　　　への参加</a:t>
            </a:r>
            <a:endParaRPr lang="en-US" altLang="ja-JP" sz="1200" b="1" dirty="0">
              <a:solidFill>
                <a:srgbClr val="FFFFFF"/>
              </a:solidFill>
              <a:latin typeface="メイリオ" panose="020B0604030504040204" pitchFamily="50" charset="-128"/>
              <a:ea typeface="メイリオ" panose="020B0604030504040204" pitchFamily="50" charset="-128"/>
            </a:endParaRPr>
          </a:p>
        </p:txBody>
      </p:sp>
      <p:sp>
        <p:nvSpPr>
          <p:cNvPr id="74" name="テキスト ボックス 73">
            <a:extLst>
              <a:ext uri="{FF2B5EF4-FFF2-40B4-BE49-F238E27FC236}">
                <a16:creationId xmlns:a16="http://schemas.microsoft.com/office/drawing/2014/main" id="{0086C93F-0EBE-13AC-F89B-3C91C957F4A5}"/>
              </a:ext>
            </a:extLst>
          </p:cNvPr>
          <p:cNvSpPr txBox="1"/>
          <p:nvPr/>
        </p:nvSpPr>
        <p:spPr>
          <a:xfrm>
            <a:off x="2066609" y="3860699"/>
            <a:ext cx="3274897" cy="600068"/>
          </a:xfrm>
          <a:prstGeom prst="rect">
            <a:avLst/>
          </a:prstGeom>
          <a:noFill/>
        </p:spPr>
        <p:txBody>
          <a:bodyPr wrap="square" rtlCol="0">
            <a:spAutoFit/>
          </a:bodyPr>
          <a:lstStyle/>
          <a:p>
            <a:pPr marL="71986" indent="-71986" defTabSz="914217">
              <a:defRPr/>
            </a:pPr>
            <a:r>
              <a:rPr lang="ja-JP" altLang="en-US" sz="1100" b="1" dirty="0">
                <a:solidFill>
                  <a:srgbClr val="000000"/>
                </a:solidFill>
                <a:ea typeface="ＭＳ Ｐゴシック" charset="-128"/>
              </a:rPr>
              <a:t>・交流施設の整備等による地域交流の場の創出</a:t>
            </a:r>
            <a:endParaRPr lang="en-US" altLang="ja-JP" sz="1100" b="1" dirty="0">
              <a:solidFill>
                <a:srgbClr val="000000"/>
              </a:solidFill>
              <a:ea typeface="ＭＳ Ｐゴシック" charset="-128"/>
            </a:endParaRPr>
          </a:p>
          <a:p>
            <a:pPr marL="71986" indent="-71986" defTabSz="914217">
              <a:defRPr/>
            </a:pPr>
            <a:r>
              <a:rPr lang="ja-JP" altLang="en-US" sz="1100" b="1" dirty="0">
                <a:solidFill>
                  <a:srgbClr val="000000"/>
                </a:solidFill>
                <a:ea typeface="ＭＳ Ｐゴシック" charset="-128"/>
              </a:rPr>
              <a:t>・地域のビジョンやどのような人に来てほしいか等の</a:t>
            </a:r>
            <a:endParaRPr lang="en-US" altLang="ja-JP" sz="1100" b="1" dirty="0">
              <a:solidFill>
                <a:srgbClr val="000000"/>
              </a:solidFill>
              <a:ea typeface="ＭＳ Ｐゴシック" charset="-128"/>
            </a:endParaRPr>
          </a:p>
          <a:p>
            <a:pPr marL="71986" indent="-71986" defTabSz="914217">
              <a:defRPr/>
            </a:pPr>
            <a:r>
              <a:rPr lang="ja-JP" altLang="en-US" sz="1100" b="1" dirty="0">
                <a:solidFill>
                  <a:srgbClr val="000000"/>
                </a:solidFill>
                <a:ea typeface="ＭＳ Ｐゴシック" charset="-128"/>
              </a:rPr>
              <a:t>　情報発信</a:t>
            </a:r>
          </a:p>
        </p:txBody>
      </p:sp>
      <p:sp>
        <p:nvSpPr>
          <p:cNvPr id="81" name="テキスト ボックス 80">
            <a:extLst>
              <a:ext uri="{FF2B5EF4-FFF2-40B4-BE49-F238E27FC236}">
                <a16:creationId xmlns:a16="http://schemas.microsoft.com/office/drawing/2014/main" id="{742B1E31-401C-8E42-3921-15CE1839C788}"/>
              </a:ext>
            </a:extLst>
          </p:cNvPr>
          <p:cNvSpPr txBox="1"/>
          <p:nvPr/>
        </p:nvSpPr>
        <p:spPr>
          <a:xfrm>
            <a:off x="750584" y="6877163"/>
            <a:ext cx="8880906" cy="253875"/>
          </a:xfrm>
          <a:prstGeom prst="rect">
            <a:avLst/>
          </a:prstGeom>
          <a:noFill/>
          <a:ln cmpd="sng">
            <a:noFill/>
            <a:prstDash val="solid"/>
          </a:ln>
        </p:spPr>
        <p:txBody>
          <a:bodyPr wrap="square" rtlCol="0">
            <a:spAutoFit/>
          </a:bodyPr>
          <a:lstStyle>
            <a:defPPr>
              <a:defRPr lang="ja-JP"/>
            </a:defPPr>
            <a:lvl1pPr>
              <a:defRPr sz="1100">
                <a:latin typeface="Meiryo UI" panose="020B0604030504040204" pitchFamily="50" charset="-128"/>
                <a:ea typeface="Meiryo UI" panose="020B0604030504040204" pitchFamily="50" charset="-128"/>
              </a:defRPr>
            </a:lvl1pPr>
          </a:lstStyle>
          <a:p>
            <a:pPr defTabSz="914217">
              <a:defRPr/>
            </a:pPr>
            <a:r>
              <a:rPr lang="ja-JP" altLang="en-US" sz="1050" dirty="0">
                <a:solidFill>
                  <a:srgbClr val="000000"/>
                </a:solidFill>
              </a:rPr>
              <a:t>関連制度・施策の紹介、各地域の官民連携の先進事例の共有、対外プロモーション等を担う場。</a:t>
            </a:r>
            <a:endParaRPr lang="en-US" altLang="ja-JP" sz="1050" dirty="0">
              <a:solidFill>
                <a:srgbClr val="000000"/>
              </a:solidFill>
            </a:endParaRPr>
          </a:p>
        </p:txBody>
      </p:sp>
      <p:cxnSp>
        <p:nvCxnSpPr>
          <p:cNvPr id="88" name="直線矢印コネクタ 87">
            <a:extLst>
              <a:ext uri="{FF2B5EF4-FFF2-40B4-BE49-F238E27FC236}">
                <a16:creationId xmlns:a16="http://schemas.microsoft.com/office/drawing/2014/main" id="{732005A2-C3C6-A7B5-C1D1-39BBCA7C6B98}"/>
              </a:ext>
            </a:extLst>
          </p:cNvPr>
          <p:cNvCxnSpPr>
            <a:cxnSpLocks/>
          </p:cNvCxnSpPr>
          <p:nvPr/>
        </p:nvCxnSpPr>
        <p:spPr>
          <a:xfrm flipV="1">
            <a:off x="8725697" y="4813161"/>
            <a:ext cx="0" cy="4965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テキスト ボックス 89">
            <a:extLst>
              <a:ext uri="{FF2B5EF4-FFF2-40B4-BE49-F238E27FC236}">
                <a16:creationId xmlns:a16="http://schemas.microsoft.com/office/drawing/2014/main" id="{63FFA79E-20C7-C247-48B7-BC674D029730}"/>
              </a:ext>
            </a:extLst>
          </p:cNvPr>
          <p:cNvSpPr txBox="1"/>
          <p:nvPr/>
        </p:nvSpPr>
        <p:spPr>
          <a:xfrm flipH="1">
            <a:off x="8773445" y="4935169"/>
            <a:ext cx="597844" cy="276955"/>
          </a:xfrm>
          <a:prstGeom prst="rect">
            <a:avLst/>
          </a:prstGeom>
          <a:noFill/>
        </p:spPr>
        <p:txBody>
          <a:bodyPr wrap="square" rtlCol="0">
            <a:spAutoFit/>
          </a:bodyPr>
          <a:lstStyle/>
          <a:p>
            <a:pPr defTabSz="914217">
              <a:defRPr/>
            </a:pPr>
            <a:r>
              <a:rPr lang="ja-JP" altLang="en-US" sz="1200" dirty="0">
                <a:solidFill>
                  <a:srgbClr val="000000"/>
                </a:solidFill>
                <a:ea typeface="ＭＳ Ｐゴシック" charset="-128"/>
              </a:rPr>
              <a:t>提案</a:t>
            </a:r>
          </a:p>
        </p:txBody>
      </p:sp>
      <p:sp>
        <p:nvSpPr>
          <p:cNvPr id="91" name="テキスト ボックス 90">
            <a:extLst>
              <a:ext uri="{FF2B5EF4-FFF2-40B4-BE49-F238E27FC236}">
                <a16:creationId xmlns:a16="http://schemas.microsoft.com/office/drawing/2014/main" id="{17F79D65-2DB1-A5C3-9A99-EC4F4F9AD2D0}"/>
              </a:ext>
            </a:extLst>
          </p:cNvPr>
          <p:cNvSpPr txBox="1"/>
          <p:nvPr/>
        </p:nvSpPr>
        <p:spPr>
          <a:xfrm>
            <a:off x="732873" y="5162363"/>
            <a:ext cx="6904951" cy="184636"/>
          </a:xfrm>
          <a:prstGeom prst="rect">
            <a:avLst/>
          </a:prstGeom>
          <a:solidFill>
            <a:schemeClr val="bg1"/>
          </a:solidFill>
        </p:spPr>
        <p:txBody>
          <a:bodyPr wrap="none" tIns="0" bIns="0" rtlCol="0">
            <a:spAutoFit/>
          </a:bodyPr>
          <a:lstStyle/>
          <a:p>
            <a:pPr defTabSz="914217">
              <a:defRPr/>
            </a:pPr>
            <a:r>
              <a:rPr lang="ja-JP" altLang="en-US" sz="1200" b="1" dirty="0">
                <a:solidFill>
                  <a:srgbClr val="000000"/>
                </a:solidFill>
                <a:ea typeface="ＭＳ Ｐゴシック" charset="-128"/>
              </a:rPr>
              <a:t>官民連携　</a:t>
            </a:r>
            <a:r>
              <a:rPr lang="en-US" altLang="ja-JP" sz="1200" b="1" dirty="0">
                <a:solidFill>
                  <a:srgbClr val="000000"/>
                </a:solidFill>
                <a:ea typeface="ＭＳ Ｐゴシック" charset="-128"/>
              </a:rPr>
              <a:t>《</a:t>
            </a:r>
            <a:r>
              <a:rPr lang="ja-JP" altLang="en-US" sz="1200" b="1" dirty="0">
                <a:solidFill>
                  <a:srgbClr val="000000"/>
                </a:solidFill>
                <a:ea typeface="ＭＳ Ｐゴシック" charset="-128"/>
              </a:rPr>
              <a:t>二地域居住等支援法人</a:t>
            </a:r>
            <a:r>
              <a:rPr lang="en-US" altLang="ja-JP" sz="1200" b="1" dirty="0">
                <a:solidFill>
                  <a:srgbClr val="000000"/>
                </a:solidFill>
                <a:ea typeface="ＭＳ Ｐゴシック" charset="-128"/>
              </a:rPr>
              <a:t>》</a:t>
            </a:r>
            <a:r>
              <a:rPr lang="ja-JP" altLang="en-US" sz="1200" b="1" dirty="0">
                <a:solidFill>
                  <a:srgbClr val="000000"/>
                </a:solidFill>
                <a:ea typeface="ＭＳ Ｐゴシック" charset="-128"/>
              </a:rPr>
              <a:t>　</a:t>
            </a:r>
            <a:r>
              <a:rPr lang="ja-JP" altLang="en-US" sz="1200" b="1" dirty="0">
                <a:solidFill>
                  <a:srgbClr val="000000"/>
                </a:solidFill>
                <a:latin typeface="ＭＳ Ｐゴシック"/>
                <a:ea typeface="ＭＳ Ｐゴシック"/>
              </a:rPr>
              <a:t>⇒　住まい・なりわい・コミュニティへの参加をパッケージで支援　</a:t>
            </a:r>
            <a:endParaRPr lang="ja-JP" altLang="en-US" sz="1200" b="1" dirty="0">
              <a:solidFill>
                <a:srgbClr val="FF0000"/>
              </a:solidFill>
              <a:latin typeface="ＭＳ Ｐゴシック"/>
              <a:ea typeface="ＭＳ Ｐゴシック"/>
            </a:endParaRPr>
          </a:p>
        </p:txBody>
      </p:sp>
      <p:cxnSp>
        <p:nvCxnSpPr>
          <p:cNvPr id="97" name="直線矢印コネクタ 96">
            <a:extLst>
              <a:ext uri="{FF2B5EF4-FFF2-40B4-BE49-F238E27FC236}">
                <a16:creationId xmlns:a16="http://schemas.microsoft.com/office/drawing/2014/main" id="{3DA8A155-E552-8850-9B01-66CC2D256535}"/>
              </a:ext>
            </a:extLst>
          </p:cNvPr>
          <p:cNvCxnSpPr>
            <a:cxnSpLocks/>
          </p:cNvCxnSpPr>
          <p:nvPr/>
        </p:nvCxnSpPr>
        <p:spPr>
          <a:xfrm flipH="1">
            <a:off x="9017949" y="4573876"/>
            <a:ext cx="593116"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0" name="テキスト ボックス 99">
            <a:extLst>
              <a:ext uri="{FF2B5EF4-FFF2-40B4-BE49-F238E27FC236}">
                <a16:creationId xmlns:a16="http://schemas.microsoft.com/office/drawing/2014/main" id="{73D2C5F1-9B53-DC1B-54EC-E3F9E8C07C9C}"/>
              </a:ext>
            </a:extLst>
          </p:cNvPr>
          <p:cNvSpPr txBox="1"/>
          <p:nvPr/>
        </p:nvSpPr>
        <p:spPr>
          <a:xfrm>
            <a:off x="684751" y="6695073"/>
            <a:ext cx="5859961" cy="169250"/>
          </a:xfrm>
          <a:prstGeom prst="rect">
            <a:avLst/>
          </a:prstGeom>
          <a:solidFill>
            <a:schemeClr val="bg1"/>
          </a:solidFill>
        </p:spPr>
        <p:txBody>
          <a:bodyPr wrap="none" tIns="0" bIns="0" rtlCol="0">
            <a:spAutoFit/>
          </a:bodyPr>
          <a:lstStyle/>
          <a:p>
            <a:pPr defTabSz="914217">
              <a:defRPr/>
            </a:pPr>
            <a:r>
              <a:rPr lang="en-US" altLang="ja-JP" sz="1100" b="1" dirty="0">
                <a:solidFill>
                  <a:srgbClr val="000000"/>
                </a:solidFill>
                <a:ea typeface="ＭＳ Ｐゴシック" charset="-128"/>
              </a:rPr>
              <a:t>《</a:t>
            </a:r>
            <a:r>
              <a:rPr lang="ja-JP" altLang="en-US" sz="1100" b="1" dirty="0">
                <a:solidFill>
                  <a:srgbClr val="000000"/>
                </a:solidFill>
                <a:ea typeface="ＭＳ Ｐゴシック" charset="-128"/>
              </a:rPr>
              <a:t>全国ニ地域居住等促進プラットフォーム</a:t>
            </a:r>
            <a:r>
              <a:rPr lang="en-US" altLang="ja-JP" sz="1100" b="1" dirty="0">
                <a:solidFill>
                  <a:srgbClr val="000000"/>
                </a:solidFill>
                <a:ea typeface="ＭＳ Ｐゴシック" charset="-128"/>
              </a:rPr>
              <a:t>(</a:t>
            </a:r>
            <a:r>
              <a:rPr lang="ja-JP" altLang="en-US" sz="1100" b="1" dirty="0">
                <a:solidFill>
                  <a:srgbClr val="000000"/>
                </a:solidFill>
                <a:ea typeface="ＭＳ Ｐゴシック" charset="-128"/>
              </a:rPr>
              <a:t>仮称</a:t>
            </a:r>
            <a:r>
              <a:rPr lang="en-US" altLang="ja-JP" sz="1100" b="1" dirty="0">
                <a:solidFill>
                  <a:srgbClr val="000000"/>
                </a:solidFill>
                <a:ea typeface="ＭＳ Ｐゴシック" charset="-128"/>
              </a:rPr>
              <a:t>)》</a:t>
            </a:r>
            <a:r>
              <a:rPr lang="ja-JP" altLang="en-US" sz="1100" b="1" dirty="0">
                <a:solidFill>
                  <a:srgbClr val="000000"/>
                </a:solidFill>
                <a:ea typeface="ＭＳ Ｐゴシック" charset="-128"/>
              </a:rPr>
              <a:t>　⇒　関係省庁・自治体・民間事業者等が参画。</a:t>
            </a:r>
            <a:endParaRPr lang="en-US" altLang="ja-JP" sz="1100" b="1" dirty="0">
              <a:solidFill>
                <a:srgbClr val="000000"/>
              </a:solidFill>
              <a:ea typeface="ＭＳ Ｐゴシック" charset="-128"/>
            </a:endParaRPr>
          </a:p>
        </p:txBody>
      </p:sp>
      <p:sp>
        <p:nvSpPr>
          <p:cNvPr id="101" name="テキスト ボックス 100">
            <a:extLst>
              <a:ext uri="{FF2B5EF4-FFF2-40B4-BE49-F238E27FC236}">
                <a16:creationId xmlns:a16="http://schemas.microsoft.com/office/drawing/2014/main" id="{DB800108-3B62-6CA9-6DCA-7CF27D785BF7}"/>
              </a:ext>
            </a:extLst>
          </p:cNvPr>
          <p:cNvSpPr txBox="1"/>
          <p:nvPr/>
        </p:nvSpPr>
        <p:spPr>
          <a:xfrm flipH="1">
            <a:off x="9560250" y="5316712"/>
            <a:ext cx="396394" cy="461591"/>
          </a:xfrm>
          <a:prstGeom prst="rect">
            <a:avLst/>
          </a:prstGeom>
          <a:noFill/>
        </p:spPr>
        <p:txBody>
          <a:bodyPr wrap="square" rtlCol="0">
            <a:spAutoFit/>
          </a:bodyPr>
          <a:lstStyle/>
          <a:p>
            <a:pPr defTabSz="914217">
              <a:defRPr/>
            </a:pPr>
            <a:r>
              <a:rPr lang="ja-JP" altLang="en-US" sz="1200" dirty="0">
                <a:solidFill>
                  <a:srgbClr val="000000"/>
                </a:solidFill>
                <a:ea typeface="ＭＳ Ｐゴシック" charset="-128"/>
              </a:rPr>
              <a:t>協議</a:t>
            </a:r>
          </a:p>
        </p:txBody>
      </p:sp>
      <p:cxnSp>
        <p:nvCxnSpPr>
          <p:cNvPr id="103" name="直線コネクタ 102">
            <a:extLst>
              <a:ext uri="{FF2B5EF4-FFF2-40B4-BE49-F238E27FC236}">
                <a16:creationId xmlns:a16="http://schemas.microsoft.com/office/drawing/2014/main" id="{B4B9C9AB-4244-A8BB-1528-9C82FDB7DD7B}"/>
              </a:ext>
            </a:extLst>
          </p:cNvPr>
          <p:cNvCxnSpPr>
            <a:cxnSpLocks/>
          </p:cNvCxnSpPr>
          <p:nvPr/>
        </p:nvCxnSpPr>
        <p:spPr>
          <a:xfrm flipV="1">
            <a:off x="9402291" y="6212629"/>
            <a:ext cx="208774" cy="143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C986AE97-B8C6-0FC8-4934-0F46A9F84F5C}"/>
              </a:ext>
            </a:extLst>
          </p:cNvPr>
          <p:cNvCxnSpPr>
            <a:cxnSpLocks/>
          </p:cNvCxnSpPr>
          <p:nvPr/>
        </p:nvCxnSpPr>
        <p:spPr>
          <a:xfrm flipV="1">
            <a:off x="9600735" y="4573876"/>
            <a:ext cx="0" cy="163732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11372F8D-96CB-8336-37A6-7743F5D1306B}"/>
              </a:ext>
            </a:extLst>
          </p:cNvPr>
          <p:cNvSpPr/>
          <p:nvPr/>
        </p:nvSpPr>
        <p:spPr>
          <a:xfrm>
            <a:off x="62974" y="1311341"/>
            <a:ext cx="9799196" cy="5177751"/>
          </a:xfrm>
          <a:prstGeom prst="rect">
            <a:avLst/>
          </a:prstGeom>
          <a:noFill/>
          <a:ln w="31750">
            <a:solidFill>
              <a:srgbClr val="00B0F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dirty="0">
              <a:solidFill>
                <a:srgbClr val="FFFFFF"/>
              </a:solidFill>
              <a:latin typeface="Arial"/>
              <a:ea typeface="ＭＳ Ｐゴシック"/>
            </a:endParaRPr>
          </a:p>
        </p:txBody>
      </p:sp>
      <p:sp>
        <p:nvSpPr>
          <p:cNvPr id="24" name="楕円 23">
            <a:extLst>
              <a:ext uri="{FF2B5EF4-FFF2-40B4-BE49-F238E27FC236}">
                <a16:creationId xmlns:a16="http://schemas.microsoft.com/office/drawing/2014/main" id="{8EC23A02-5AE2-4C33-774C-EFB4000A8E50}"/>
              </a:ext>
            </a:extLst>
          </p:cNvPr>
          <p:cNvSpPr/>
          <p:nvPr/>
        </p:nvSpPr>
        <p:spPr>
          <a:xfrm>
            <a:off x="4909571" y="2306262"/>
            <a:ext cx="4005548" cy="2040680"/>
          </a:xfrm>
          <a:prstGeom prst="ellipse">
            <a:avLst/>
          </a:prstGeom>
          <a:solidFill>
            <a:schemeClr val="accent5">
              <a:lumMod val="90000"/>
              <a:alpha val="20000"/>
            </a:schemeClr>
          </a:solidFill>
          <a:ln w="38100">
            <a:solidFill>
              <a:schemeClr val="bg2">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grpSp>
        <p:nvGrpSpPr>
          <p:cNvPr id="37" name="グループ化 36">
            <a:extLst>
              <a:ext uri="{FF2B5EF4-FFF2-40B4-BE49-F238E27FC236}">
                <a16:creationId xmlns:a16="http://schemas.microsoft.com/office/drawing/2014/main" id="{00A2FAC4-81BD-1902-C7E7-39B5090171D5}"/>
              </a:ext>
            </a:extLst>
          </p:cNvPr>
          <p:cNvGrpSpPr/>
          <p:nvPr/>
        </p:nvGrpSpPr>
        <p:grpSpPr>
          <a:xfrm>
            <a:off x="5270545" y="2485418"/>
            <a:ext cx="3678219" cy="1676095"/>
            <a:chOff x="6025139" y="2507207"/>
            <a:chExt cx="2925059" cy="1497807"/>
          </a:xfrm>
        </p:grpSpPr>
        <p:sp>
          <p:nvSpPr>
            <p:cNvPr id="35" name="フリーフォーム: 図形 34">
              <a:extLst>
                <a:ext uri="{FF2B5EF4-FFF2-40B4-BE49-F238E27FC236}">
                  <a16:creationId xmlns:a16="http://schemas.microsoft.com/office/drawing/2014/main" id="{FF6EC5FC-14CD-680F-278B-CBF357FB29D0}"/>
                </a:ext>
              </a:extLst>
            </p:cNvPr>
            <p:cNvSpPr/>
            <p:nvPr/>
          </p:nvSpPr>
          <p:spPr>
            <a:xfrm>
              <a:off x="6025139" y="2507207"/>
              <a:ext cx="2195512" cy="1497807"/>
            </a:xfrm>
            <a:custGeom>
              <a:avLst/>
              <a:gdLst>
                <a:gd name="connsiteX0" fmla="*/ 0 w 2195512"/>
                <a:gd name="connsiteY0" fmla="*/ 1497807 h 1497807"/>
                <a:gd name="connsiteX1" fmla="*/ 276225 w 2195512"/>
                <a:gd name="connsiteY1" fmla="*/ 1178719 h 1497807"/>
                <a:gd name="connsiteX2" fmla="*/ 800100 w 2195512"/>
                <a:gd name="connsiteY2" fmla="*/ 1019175 h 1497807"/>
                <a:gd name="connsiteX3" fmla="*/ 1164431 w 2195512"/>
                <a:gd name="connsiteY3" fmla="*/ 964407 h 1497807"/>
                <a:gd name="connsiteX4" fmla="*/ 1314450 w 2195512"/>
                <a:gd name="connsiteY4" fmla="*/ 1000125 h 1497807"/>
                <a:gd name="connsiteX5" fmla="*/ 1509712 w 2195512"/>
                <a:gd name="connsiteY5" fmla="*/ 919163 h 1497807"/>
                <a:gd name="connsiteX6" fmla="*/ 1981200 w 2195512"/>
                <a:gd name="connsiteY6" fmla="*/ 626269 h 1497807"/>
                <a:gd name="connsiteX7" fmla="*/ 2121694 w 2195512"/>
                <a:gd name="connsiteY7" fmla="*/ 392907 h 1497807"/>
                <a:gd name="connsiteX8" fmla="*/ 2162175 w 2195512"/>
                <a:gd name="connsiteY8" fmla="*/ 292894 h 1497807"/>
                <a:gd name="connsiteX9" fmla="*/ 2195512 w 2195512"/>
                <a:gd name="connsiteY9" fmla="*/ 0 h 149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512" h="1497807">
                  <a:moveTo>
                    <a:pt x="0" y="1497807"/>
                  </a:moveTo>
                  <a:cubicBezTo>
                    <a:pt x="71437" y="1378149"/>
                    <a:pt x="142875" y="1258491"/>
                    <a:pt x="276225" y="1178719"/>
                  </a:cubicBezTo>
                  <a:cubicBezTo>
                    <a:pt x="409575" y="1098947"/>
                    <a:pt x="652066" y="1054894"/>
                    <a:pt x="800100" y="1019175"/>
                  </a:cubicBezTo>
                  <a:cubicBezTo>
                    <a:pt x="948134" y="983456"/>
                    <a:pt x="1078706" y="967582"/>
                    <a:pt x="1164431" y="964407"/>
                  </a:cubicBezTo>
                  <a:cubicBezTo>
                    <a:pt x="1250156" y="961232"/>
                    <a:pt x="1256903" y="1007666"/>
                    <a:pt x="1314450" y="1000125"/>
                  </a:cubicBezTo>
                  <a:cubicBezTo>
                    <a:pt x="1371997" y="992584"/>
                    <a:pt x="1398587" y="981472"/>
                    <a:pt x="1509712" y="919163"/>
                  </a:cubicBezTo>
                  <a:cubicBezTo>
                    <a:pt x="1620837" y="856854"/>
                    <a:pt x="1879203" y="713978"/>
                    <a:pt x="1981200" y="626269"/>
                  </a:cubicBezTo>
                  <a:cubicBezTo>
                    <a:pt x="2083197" y="538560"/>
                    <a:pt x="2091532" y="448469"/>
                    <a:pt x="2121694" y="392907"/>
                  </a:cubicBezTo>
                  <a:cubicBezTo>
                    <a:pt x="2151856" y="337345"/>
                    <a:pt x="2149872" y="358378"/>
                    <a:pt x="2162175" y="292894"/>
                  </a:cubicBezTo>
                  <a:cubicBezTo>
                    <a:pt x="2174478" y="227409"/>
                    <a:pt x="2184995" y="113704"/>
                    <a:pt x="2195512" y="0"/>
                  </a:cubicBezTo>
                </a:path>
              </a:pathLst>
            </a:cu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sp>
          <p:nvSpPr>
            <p:cNvPr id="36" name="フリーフォーム: 図形 35">
              <a:extLst>
                <a:ext uri="{FF2B5EF4-FFF2-40B4-BE49-F238E27FC236}">
                  <a16:creationId xmlns:a16="http://schemas.microsoft.com/office/drawing/2014/main" id="{FDD1CA71-9AC1-8EB5-8442-2E20BC1C2783}"/>
                </a:ext>
              </a:extLst>
            </p:cNvPr>
            <p:cNvSpPr/>
            <p:nvPr/>
          </p:nvSpPr>
          <p:spPr>
            <a:xfrm>
              <a:off x="7578598" y="3209434"/>
              <a:ext cx="1371600" cy="207443"/>
            </a:xfrm>
            <a:custGeom>
              <a:avLst/>
              <a:gdLst>
                <a:gd name="connsiteX0" fmla="*/ 0 w 1371600"/>
                <a:gd name="connsiteY0" fmla="*/ 197643 h 207443"/>
                <a:gd name="connsiteX1" fmla="*/ 402431 w 1371600"/>
                <a:gd name="connsiteY1" fmla="*/ 207168 h 207443"/>
                <a:gd name="connsiteX2" fmla="*/ 731044 w 1371600"/>
                <a:gd name="connsiteY2" fmla="*/ 188118 h 207443"/>
                <a:gd name="connsiteX3" fmla="*/ 1104900 w 1371600"/>
                <a:gd name="connsiteY3" fmla="*/ 109537 h 207443"/>
                <a:gd name="connsiteX4" fmla="*/ 1371600 w 1371600"/>
                <a:gd name="connsiteY4" fmla="*/ 0 h 207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207443">
                  <a:moveTo>
                    <a:pt x="0" y="197643"/>
                  </a:moveTo>
                  <a:cubicBezTo>
                    <a:pt x="140295" y="203199"/>
                    <a:pt x="280590" y="208756"/>
                    <a:pt x="402431" y="207168"/>
                  </a:cubicBezTo>
                  <a:cubicBezTo>
                    <a:pt x="524272" y="205581"/>
                    <a:pt x="613966" y="204390"/>
                    <a:pt x="731044" y="188118"/>
                  </a:cubicBezTo>
                  <a:cubicBezTo>
                    <a:pt x="848122" y="171846"/>
                    <a:pt x="998141" y="140890"/>
                    <a:pt x="1104900" y="109537"/>
                  </a:cubicBezTo>
                  <a:cubicBezTo>
                    <a:pt x="1211659" y="78184"/>
                    <a:pt x="1315641" y="75406"/>
                    <a:pt x="1371600" y="0"/>
                  </a:cubicBezTo>
                </a:path>
              </a:pathLst>
            </a:cu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srgbClr val="FFFFFF"/>
                </a:solidFill>
                <a:latin typeface="Arial"/>
                <a:ea typeface="ＭＳ Ｐゴシック"/>
              </a:endParaRPr>
            </a:p>
          </p:txBody>
        </p:sp>
      </p:grpSp>
      <p:sp>
        <p:nvSpPr>
          <p:cNvPr id="27" name="テキスト ボックス 26">
            <a:extLst>
              <a:ext uri="{FF2B5EF4-FFF2-40B4-BE49-F238E27FC236}">
                <a16:creationId xmlns:a16="http://schemas.microsoft.com/office/drawing/2014/main" id="{D4F039FB-7174-6CD1-63C0-3E9099C62486}"/>
              </a:ext>
            </a:extLst>
          </p:cNvPr>
          <p:cNvSpPr txBox="1"/>
          <p:nvPr/>
        </p:nvSpPr>
        <p:spPr>
          <a:xfrm>
            <a:off x="5508431" y="3908294"/>
            <a:ext cx="838557" cy="369273"/>
          </a:xfrm>
          <a:prstGeom prst="rect">
            <a:avLst/>
          </a:prstGeom>
          <a:noFill/>
        </p:spPr>
        <p:txBody>
          <a:bodyPr wrap="none" rtlCol="0">
            <a:spAutoFit/>
          </a:bodyPr>
          <a:lstStyle/>
          <a:p>
            <a:pPr defTabSz="914217">
              <a:defRPr/>
            </a:pPr>
            <a:r>
              <a:rPr lang="ja-JP" altLang="en-US" sz="900" dirty="0">
                <a:ln w="3175">
                  <a:noFill/>
                </a:ln>
                <a:solidFill>
                  <a:srgbClr val="000000"/>
                </a:solidFill>
                <a:latin typeface="ＭＳ Ｐゴシック"/>
                <a:ea typeface="ＭＳ Ｐゴシック"/>
              </a:rPr>
              <a:t>道路整備</a:t>
            </a:r>
            <a:endParaRPr lang="en-US" altLang="ja-JP" sz="900" dirty="0">
              <a:ln w="3175">
                <a:noFill/>
              </a:ln>
              <a:solidFill>
                <a:srgbClr val="000000"/>
              </a:solidFill>
              <a:latin typeface="ＭＳ Ｐゴシック"/>
              <a:ea typeface="ＭＳ Ｐゴシック"/>
            </a:endParaRPr>
          </a:p>
          <a:p>
            <a:pPr defTabSz="914217">
              <a:defRPr/>
            </a:pPr>
            <a:r>
              <a:rPr lang="ja-JP" altLang="en-US" sz="900" dirty="0">
                <a:ln w="3175">
                  <a:noFill/>
                </a:ln>
                <a:solidFill>
                  <a:srgbClr val="000000"/>
                </a:solidFill>
                <a:latin typeface="ＭＳ Ｐゴシック"/>
                <a:ea typeface="ＭＳ Ｐゴシック"/>
              </a:rPr>
              <a:t>（県、社総交）</a:t>
            </a:r>
          </a:p>
        </p:txBody>
      </p:sp>
      <p:sp>
        <p:nvSpPr>
          <p:cNvPr id="29" name="テキスト ボックス 28">
            <a:extLst>
              <a:ext uri="{FF2B5EF4-FFF2-40B4-BE49-F238E27FC236}">
                <a16:creationId xmlns:a16="http://schemas.microsoft.com/office/drawing/2014/main" id="{13CE1839-F16A-0052-6BCE-EBE59A910113}"/>
              </a:ext>
            </a:extLst>
          </p:cNvPr>
          <p:cNvSpPr txBox="1"/>
          <p:nvPr/>
        </p:nvSpPr>
        <p:spPr>
          <a:xfrm>
            <a:off x="7577288" y="3487292"/>
            <a:ext cx="1547001" cy="230795"/>
          </a:xfrm>
          <a:prstGeom prst="rect">
            <a:avLst/>
          </a:prstGeom>
          <a:noFill/>
        </p:spPr>
        <p:txBody>
          <a:bodyPr wrap="square" rtlCol="0">
            <a:spAutoFit/>
          </a:bodyPr>
          <a:lstStyle/>
          <a:p>
            <a:pPr defTabSz="914217">
              <a:defRPr/>
            </a:pPr>
            <a:r>
              <a:rPr lang="ja-JP" altLang="en-US" sz="900" dirty="0">
                <a:ln w="3175">
                  <a:noFill/>
                </a:ln>
                <a:solidFill>
                  <a:srgbClr val="000000"/>
                </a:solidFill>
                <a:latin typeface="ＭＳ Ｐゴシック"/>
                <a:ea typeface="ＭＳ Ｐゴシック"/>
              </a:rPr>
              <a:t>地域公共交通のリ・デザイン</a:t>
            </a:r>
          </a:p>
        </p:txBody>
      </p:sp>
      <p:sp>
        <p:nvSpPr>
          <p:cNvPr id="76" name="テキスト ボックス 75">
            <a:extLst>
              <a:ext uri="{FF2B5EF4-FFF2-40B4-BE49-F238E27FC236}">
                <a16:creationId xmlns:a16="http://schemas.microsoft.com/office/drawing/2014/main" id="{3B6A2C36-6DB7-1FBF-41AA-7ED85157594E}"/>
              </a:ext>
            </a:extLst>
          </p:cNvPr>
          <p:cNvSpPr txBox="1"/>
          <p:nvPr/>
        </p:nvSpPr>
        <p:spPr>
          <a:xfrm>
            <a:off x="4541813" y="1962632"/>
            <a:ext cx="2012256" cy="276955"/>
          </a:xfrm>
          <a:prstGeom prst="rect">
            <a:avLst/>
          </a:prstGeom>
          <a:noFill/>
        </p:spPr>
        <p:txBody>
          <a:bodyPr wrap="square" rtlCol="0">
            <a:spAutoFit/>
          </a:bodyPr>
          <a:lstStyle/>
          <a:p>
            <a:pPr algn="ctr" defTabSz="914217">
              <a:defRPr/>
            </a:pPr>
            <a:r>
              <a:rPr lang="ja-JP" altLang="en-US" sz="1200" dirty="0">
                <a:ln w="3175">
                  <a:noFill/>
                </a:ln>
                <a:solidFill>
                  <a:srgbClr val="000000"/>
                </a:solidFill>
                <a:latin typeface="ＭＳ Ｐゴシック"/>
                <a:ea typeface="ＭＳ Ｐゴシック"/>
              </a:rPr>
              <a:t>特定居住促進区域（市）</a:t>
            </a:r>
            <a:endParaRPr lang="en-US" altLang="ja-JP" sz="1200" dirty="0">
              <a:ln w="3175">
                <a:noFill/>
              </a:ln>
              <a:solidFill>
                <a:srgbClr val="000000"/>
              </a:solidFill>
              <a:latin typeface="ＭＳ Ｐゴシック"/>
              <a:ea typeface="ＭＳ Ｐゴシック"/>
            </a:endParaRPr>
          </a:p>
        </p:txBody>
      </p:sp>
      <p:pic>
        <p:nvPicPr>
          <p:cNvPr id="93" name="グラフィックス 92" descr="バス 単色塗りつぶし">
            <a:extLst>
              <a:ext uri="{FF2B5EF4-FFF2-40B4-BE49-F238E27FC236}">
                <a16:creationId xmlns:a16="http://schemas.microsoft.com/office/drawing/2014/main" id="{F385EE91-9CBB-E9D9-72B5-05C1CB2C38C1}"/>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21331834" flipH="1">
            <a:off x="7969346" y="3172243"/>
            <a:ext cx="333923" cy="333923"/>
          </a:xfrm>
          <a:prstGeom prst="rect">
            <a:avLst/>
          </a:prstGeom>
        </p:spPr>
      </p:pic>
      <p:pic>
        <p:nvPicPr>
          <p:cNvPr id="106" name="グラフィックス 105" descr="在宅勤務デスク 単色塗りつぶし">
            <a:extLst>
              <a:ext uri="{FF2B5EF4-FFF2-40B4-BE49-F238E27FC236}">
                <a16:creationId xmlns:a16="http://schemas.microsoft.com/office/drawing/2014/main" id="{06187162-2215-9D54-0EC9-56FA75FCA13D}"/>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62351" y="2398390"/>
            <a:ext cx="291345" cy="291345"/>
          </a:xfrm>
          <a:prstGeom prst="rect">
            <a:avLst/>
          </a:prstGeom>
        </p:spPr>
      </p:pic>
      <p:pic>
        <p:nvPicPr>
          <p:cNvPr id="110" name="グラフィックス 109" descr="グループでのブレーンストーミング 単色塗りつぶし">
            <a:extLst>
              <a:ext uri="{FF2B5EF4-FFF2-40B4-BE49-F238E27FC236}">
                <a16:creationId xmlns:a16="http://schemas.microsoft.com/office/drawing/2014/main" id="{DBB6F403-DB9B-9825-F89A-B7A30B85C715}"/>
              </a:ext>
            </a:extLst>
          </p:cNvPr>
          <p:cNvPicPr>
            <a:picLocks noChangeAspect="1"/>
          </p:cNvPicPr>
          <p:nvPr/>
        </p:nvPicPr>
        <p: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28105" y="3632068"/>
            <a:ext cx="381646" cy="381646"/>
          </a:xfrm>
          <a:prstGeom prst="rect">
            <a:avLst/>
          </a:prstGeom>
        </p:spPr>
      </p:pic>
      <p:sp>
        <p:nvSpPr>
          <p:cNvPr id="32" name="大かっこ 31">
            <a:extLst>
              <a:ext uri="{FF2B5EF4-FFF2-40B4-BE49-F238E27FC236}">
                <a16:creationId xmlns:a16="http://schemas.microsoft.com/office/drawing/2014/main" id="{C86D1BA7-34A4-7A1F-C4DA-3B8306125C82}"/>
              </a:ext>
            </a:extLst>
          </p:cNvPr>
          <p:cNvSpPr/>
          <p:nvPr/>
        </p:nvSpPr>
        <p:spPr>
          <a:xfrm>
            <a:off x="622181" y="6632144"/>
            <a:ext cx="8758161" cy="532348"/>
          </a:xfrm>
          <a:prstGeom prst="bracketPair">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217">
              <a:defRPr/>
            </a:pPr>
            <a:endParaRPr lang="ja-JP" altLang="en-US">
              <a:solidFill>
                <a:srgbClr val="000000"/>
              </a:solidFill>
              <a:latin typeface="Arial"/>
              <a:ea typeface="ＭＳ Ｐゴシック"/>
            </a:endParaRPr>
          </a:p>
        </p:txBody>
      </p:sp>
      <p:sp>
        <p:nvSpPr>
          <p:cNvPr id="127" name="テキスト ボックス 126">
            <a:extLst>
              <a:ext uri="{FF2B5EF4-FFF2-40B4-BE49-F238E27FC236}">
                <a16:creationId xmlns:a16="http://schemas.microsoft.com/office/drawing/2014/main" id="{38D3BE0F-ECC7-91F6-9F69-801E084967B0}"/>
              </a:ext>
            </a:extLst>
          </p:cNvPr>
          <p:cNvSpPr txBox="1"/>
          <p:nvPr/>
        </p:nvSpPr>
        <p:spPr>
          <a:xfrm>
            <a:off x="4779581" y="2846775"/>
            <a:ext cx="1807708" cy="230795"/>
          </a:xfrm>
          <a:prstGeom prst="rect">
            <a:avLst/>
          </a:prstGeom>
          <a:noFill/>
        </p:spPr>
        <p:txBody>
          <a:bodyPr wrap="square" rtlCol="0">
            <a:spAutoFit/>
          </a:bodyPr>
          <a:lstStyle/>
          <a:p>
            <a:pPr defTabSz="914217">
              <a:defRPr/>
            </a:pPr>
            <a:r>
              <a:rPr lang="ja-JP" altLang="en-US" sz="900" dirty="0">
                <a:solidFill>
                  <a:srgbClr val="000000"/>
                </a:solidFill>
                <a:latin typeface="ＭＳ Ｐゴシック"/>
                <a:ea typeface="ＭＳ Ｐゴシック"/>
              </a:rPr>
              <a:t>空き家を改修したお試し居住施設</a:t>
            </a:r>
            <a:endParaRPr lang="en-US" altLang="ja-JP" sz="900" dirty="0">
              <a:solidFill>
                <a:srgbClr val="000000"/>
              </a:solidFill>
              <a:latin typeface="ＭＳ Ｐゴシック"/>
              <a:ea typeface="ＭＳ Ｐゴシック"/>
            </a:endParaRPr>
          </a:p>
        </p:txBody>
      </p:sp>
      <p:sp>
        <p:nvSpPr>
          <p:cNvPr id="130" name="四角形: 角を丸くする 129">
            <a:extLst>
              <a:ext uri="{FF2B5EF4-FFF2-40B4-BE49-F238E27FC236}">
                <a16:creationId xmlns:a16="http://schemas.microsoft.com/office/drawing/2014/main" id="{C8413C88-90EB-58AC-3871-550981F58C9B}"/>
              </a:ext>
            </a:extLst>
          </p:cNvPr>
          <p:cNvSpPr/>
          <p:nvPr/>
        </p:nvSpPr>
        <p:spPr>
          <a:xfrm>
            <a:off x="4985307" y="3070221"/>
            <a:ext cx="341087" cy="147390"/>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900" dirty="0">
                <a:solidFill>
                  <a:srgbClr val="FFFFFF"/>
                </a:solidFill>
                <a:latin typeface="Arial"/>
                <a:ea typeface="ＭＳ Ｐゴシック"/>
              </a:rPr>
              <a:t>予算</a:t>
            </a:r>
          </a:p>
        </p:txBody>
      </p:sp>
      <p:sp>
        <p:nvSpPr>
          <p:cNvPr id="132" name="テキスト ボックス 131">
            <a:extLst>
              <a:ext uri="{FF2B5EF4-FFF2-40B4-BE49-F238E27FC236}">
                <a16:creationId xmlns:a16="http://schemas.microsoft.com/office/drawing/2014/main" id="{02FBC9D1-21F9-C0AB-22E3-DE0E01148BBE}"/>
              </a:ext>
            </a:extLst>
          </p:cNvPr>
          <p:cNvSpPr txBox="1"/>
          <p:nvPr/>
        </p:nvSpPr>
        <p:spPr>
          <a:xfrm>
            <a:off x="6469195" y="4526816"/>
            <a:ext cx="1208486" cy="230795"/>
          </a:xfrm>
          <a:prstGeom prst="rect">
            <a:avLst/>
          </a:prstGeom>
          <a:noFill/>
        </p:spPr>
        <p:txBody>
          <a:bodyPr wrap="square" rtlCol="0">
            <a:spAutoFit/>
          </a:bodyPr>
          <a:lstStyle/>
          <a:p>
            <a:pPr defTabSz="914217">
              <a:defRPr/>
            </a:pPr>
            <a:r>
              <a:rPr lang="ja-JP" altLang="en-US" sz="900" dirty="0">
                <a:solidFill>
                  <a:srgbClr val="000000"/>
                </a:solidFill>
                <a:ea typeface="ＭＳ Ｐゴシック" charset="-128"/>
              </a:rPr>
              <a:t>交流施設の整備</a:t>
            </a:r>
          </a:p>
        </p:txBody>
      </p:sp>
      <p:sp>
        <p:nvSpPr>
          <p:cNvPr id="141" name="テキスト ボックス 140">
            <a:extLst>
              <a:ext uri="{FF2B5EF4-FFF2-40B4-BE49-F238E27FC236}">
                <a16:creationId xmlns:a16="http://schemas.microsoft.com/office/drawing/2014/main" id="{94920F79-B08C-7D36-A663-E4E140783E46}"/>
              </a:ext>
            </a:extLst>
          </p:cNvPr>
          <p:cNvSpPr txBox="1"/>
          <p:nvPr/>
        </p:nvSpPr>
        <p:spPr>
          <a:xfrm>
            <a:off x="6547206" y="2580529"/>
            <a:ext cx="1480135" cy="369273"/>
          </a:xfrm>
          <a:prstGeom prst="rect">
            <a:avLst/>
          </a:prstGeom>
          <a:noFill/>
        </p:spPr>
        <p:txBody>
          <a:bodyPr wrap="square" rtlCol="0">
            <a:spAutoFit/>
          </a:bodyPr>
          <a:lstStyle/>
          <a:p>
            <a:pPr defTabSz="914217">
              <a:defRPr/>
            </a:pPr>
            <a:r>
              <a:rPr lang="ja-JP" altLang="en-US" sz="900" dirty="0">
                <a:solidFill>
                  <a:srgbClr val="000000"/>
                </a:solidFill>
                <a:ea typeface="ＭＳ Ｐゴシック" charset="-128"/>
              </a:rPr>
              <a:t>コワーキングスペースの</a:t>
            </a:r>
            <a:endParaRPr lang="en-US" altLang="ja-JP" sz="900" dirty="0">
              <a:solidFill>
                <a:srgbClr val="000000"/>
              </a:solidFill>
              <a:ea typeface="ＭＳ Ｐゴシック" charset="-128"/>
            </a:endParaRPr>
          </a:p>
          <a:p>
            <a:pPr defTabSz="914217">
              <a:defRPr/>
            </a:pPr>
            <a:r>
              <a:rPr lang="ja-JP" altLang="en-US" sz="900" dirty="0">
                <a:solidFill>
                  <a:srgbClr val="000000"/>
                </a:solidFill>
                <a:ea typeface="ＭＳ Ｐゴシック" charset="-128"/>
              </a:rPr>
              <a:t>整備</a:t>
            </a:r>
          </a:p>
        </p:txBody>
      </p:sp>
      <p:sp>
        <p:nvSpPr>
          <p:cNvPr id="33" name="四角形: 角を丸くする 32">
            <a:extLst>
              <a:ext uri="{FF2B5EF4-FFF2-40B4-BE49-F238E27FC236}">
                <a16:creationId xmlns:a16="http://schemas.microsoft.com/office/drawing/2014/main" id="{ECE61F78-3EBD-E848-5E8B-22FE8B6A5953}"/>
              </a:ext>
            </a:extLst>
          </p:cNvPr>
          <p:cNvSpPr/>
          <p:nvPr/>
        </p:nvSpPr>
        <p:spPr>
          <a:xfrm>
            <a:off x="6467879" y="3166160"/>
            <a:ext cx="833957" cy="231834"/>
          </a:xfrm>
          <a:prstGeom prst="roundRect">
            <a:avLst>
              <a:gd name="adj" fmla="val 50000"/>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800" dirty="0">
                <a:solidFill>
                  <a:srgbClr val="FFFFFF"/>
                </a:solidFill>
                <a:latin typeface="Arial"/>
                <a:ea typeface="ＭＳ Ｐゴシック"/>
              </a:rPr>
              <a:t>建築基準法の</a:t>
            </a:r>
            <a:endParaRPr lang="en-US" altLang="ja-JP" sz="800" dirty="0">
              <a:solidFill>
                <a:srgbClr val="FFFFFF"/>
              </a:solidFill>
              <a:latin typeface="Arial"/>
              <a:ea typeface="ＭＳ Ｐゴシック"/>
            </a:endParaRPr>
          </a:p>
          <a:p>
            <a:pPr algn="ctr" defTabSz="914217">
              <a:defRPr/>
            </a:pPr>
            <a:r>
              <a:rPr lang="ja-JP" altLang="en-US" sz="800" dirty="0">
                <a:solidFill>
                  <a:srgbClr val="FFFFFF"/>
                </a:solidFill>
                <a:latin typeface="Arial"/>
                <a:ea typeface="ＭＳ Ｐゴシック"/>
              </a:rPr>
              <a:t>特例等</a:t>
            </a:r>
          </a:p>
        </p:txBody>
      </p:sp>
      <p:pic>
        <p:nvPicPr>
          <p:cNvPr id="86" name="図 85" descr="ロゴ, アイコン&#10;&#10;自動的に生成された説明">
            <a:extLst>
              <a:ext uri="{FF2B5EF4-FFF2-40B4-BE49-F238E27FC236}">
                <a16:creationId xmlns:a16="http://schemas.microsoft.com/office/drawing/2014/main" id="{825EC70E-7DC1-B7B9-FDB7-0C0E02C1A828}"/>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8197419" y="2913062"/>
            <a:ext cx="258603" cy="258603"/>
          </a:xfrm>
          <a:prstGeom prst="rect">
            <a:avLst/>
          </a:prstGeom>
        </p:spPr>
      </p:pic>
      <p:sp>
        <p:nvSpPr>
          <p:cNvPr id="89" name="テキスト ボックス 88">
            <a:extLst>
              <a:ext uri="{FF2B5EF4-FFF2-40B4-BE49-F238E27FC236}">
                <a16:creationId xmlns:a16="http://schemas.microsoft.com/office/drawing/2014/main" id="{4B79B557-CAD4-A37D-E491-2A72412A1E45}"/>
              </a:ext>
            </a:extLst>
          </p:cNvPr>
          <p:cNvSpPr txBox="1"/>
          <p:nvPr/>
        </p:nvSpPr>
        <p:spPr>
          <a:xfrm>
            <a:off x="7982704" y="2746205"/>
            <a:ext cx="1292317" cy="230795"/>
          </a:xfrm>
          <a:prstGeom prst="rect">
            <a:avLst/>
          </a:prstGeom>
          <a:noFill/>
        </p:spPr>
        <p:txBody>
          <a:bodyPr wrap="square" rtlCol="0">
            <a:spAutoFit/>
          </a:bodyPr>
          <a:lstStyle/>
          <a:p>
            <a:pPr defTabSz="914217">
              <a:defRPr/>
            </a:pPr>
            <a:r>
              <a:rPr lang="ja-JP" altLang="en-US" sz="900" dirty="0">
                <a:ln w="3175">
                  <a:noFill/>
                </a:ln>
                <a:solidFill>
                  <a:srgbClr val="000000"/>
                </a:solidFill>
                <a:latin typeface="ＭＳ Ｐゴシック"/>
                <a:ea typeface="ＭＳ Ｐゴシック"/>
              </a:rPr>
              <a:t>再来訪促進（観光）</a:t>
            </a:r>
            <a:endParaRPr lang="en-US" altLang="ja-JP" sz="900" dirty="0">
              <a:ln w="3175">
                <a:noFill/>
              </a:ln>
              <a:solidFill>
                <a:srgbClr val="000000"/>
              </a:solidFill>
              <a:latin typeface="ＭＳ Ｐゴシック"/>
              <a:ea typeface="ＭＳ Ｐゴシック"/>
            </a:endParaRPr>
          </a:p>
        </p:txBody>
      </p:sp>
      <p:pic>
        <p:nvPicPr>
          <p:cNvPr id="115" name="図 114" descr="アイコン&#10;&#10;自動的に生成された説明">
            <a:extLst>
              <a:ext uri="{FF2B5EF4-FFF2-40B4-BE49-F238E27FC236}">
                <a16:creationId xmlns:a16="http://schemas.microsoft.com/office/drawing/2014/main" id="{B5B025BE-911A-16CE-D379-1099D17BD3F5}"/>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5295315" y="4229342"/>
            <a:ext cx="264979" cy="264979"/>
          </a:xfrm>
          <a:prstGeom prst="rect">
            <a:avLst/>
          </a:prstGeom>
        </p:spPr>
      </p:pic>
      <p:pic>
        <p:nvPicPr>
          <p:cNvPr id="135" name="図 134">
            <a:extLst>
              <a:ext uri="{FF2B5EF4-FFF2-40B4-BE49-F238E27FC236}">
                <a16:creationId xmlns:a16="http://schemas.microsoft.com/office/drawing/2014/main" id="{59ADFE05-C65D-39C8-F66E-42C9935B8368}"/>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181122" y="2237293"/>
            <a:ext cx="662754" cy="530203"/>
          </a:xfrm>
          <a:prstGeom prst="roundRect">
            <a:avLst>
              <a:gd name="adj" fmla="val 0"/>
            </a:avLst>
          </a:prstGeom>
        </p:spPr>
      </p:pic>
      <p:sp>
        <p:nvSpPr>
          <p:cNvPr id="147" name="四角形: 角を丸くする 146">
            <a:extLst>
              <a:ext uri="{FF2B5EF4-FFF2-40B4-BE49-F238E27FC236}">
                <a16:creationId xmlns:a16="http://schemas.microsoft.com/office/drawing/2014/main" id="{38B9A417-4D5B-F9CB-C991-DC27F1CDC331}"/>
              </a:ext>
            </a:extLst>
          </p:cNvPr>
          <p:cNvSpPr/>
          <p:nvPr/>
        </p:nvSpPr>
        <p:spPr>
          <a:xfrm>
            <a:off x="7423322" y="4573876"/>
            <a:ext cx="341087" cy="147390"/>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900" dirty="0">
                <a:solidFill>
                  <a:srgbClr val="FFFFFF"/>
                </a:solidFill>
                <a:latin typeface="Arial"/>
                <a:ea typeface="ＭＳ Ｐゴシック"/>
              </a:rPr>
              <a:t>予算</a:t>
            </a:r>
          </a:p>
        </p:txBody>
      </p:sp>
      <p:sp>
        <p:nvSpPr>
          <p:cNvPr id="148" name="四角形: 角を丸くする 147">
            <a:extLst>
              <a:ext uri="{FF2B5EF4-FFF2-40B4-BE49-F238E27FC236}">
                <a16:creationId xmlns:a16="http://schemas.microsoft.com/office/drawing/2014/main" id="{0211E0CC-DA75-ADB5-838B-E4B60F077BC8}"/>
              </a:ext>
            </a:extLst>
          </p:cNvPr>
          <p:cNvSpPr/>
          <p:nvPr/>
        </p:nvSpPr>
        <p:spPr>
          <a:xfrm>
            <a:off x="8489947" y="3681398"/>
            <a:ext cx="341087" cy="147390"/>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900" dirty="0">
                <a:solidFill>
                  <a:srgbClr val="FFFFFF"/>
                </a:solidFill>
                <a:latin typeface="Arial"/>
                <a:ea typeface="ＭＳ Ｐゴシック"/>
              </a:rPr>
              <a:t>予算</a:t>
            </a:r>
          </a:p>
        </p:txBody>
      </p:sp>
      <p:sp>
        <p:nvSpPr>
          <p:cNvPr id="149" name="四角形: 角を丸くする 148">
            <a:extLst>
              <a:ext uri="{FF2B5EF4-FFF2-40B4-BE49-F238E27FC236}">
                <a16:creationId xmlns:a16="http://schemas.microsoft.com/office/drawing/2014/main" id="{2207776C-5444-6853-C640-B81B3D38BC0E}"/>
              </a:ext>
            </a:extLst>
          </p:cNvPr>
          <p:cNvSpPr/>
          <p:nvPr/>
        </p:nvSpPr>
        <p:spPr>
          <a:xfrm>
            <a:off x="8513035" y="2948788"/>
            <a:ext cx="341087" cy="147390"/>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900" dirty="0">
                <a:solidFill>
                  <a:srgbClr val="FFFFFF"/>
                </a:solidFill>
                <a:latin typeface="Arial"/>
                <a:ea typeface="ＭＳ Ｐゴシック"/>
              </a:rPr>
              <a:t>予算</a:t>
            </a:r>
          </a:p>
        </p:txBody>
      </p:sp>
      <p:sp>
        <p:nvSpPr>
          <p:cNvPr id="150" name="四角形: 角を丸くする 149">
            <a:extLst>
              <a:ext uri="{FF2B5EF4-FFF2-40B4-BE49-F238E27FC236}">
                <a16:creationId xmlns:a16="http://schemas.microsoft.com/office/drawing/2014/main" id="{F719FE81-4F91-C1C7-2DF6-6469FCF522A0}"/>
              </a:ext>
            </a:extLst>
          </p:cNvPr>
          <p:cNvSpPr/>
          <p:nvPr/>
        </p:nvSpPr>
        <p:spPr>
          <a:xfrm>
            <a:off x="7364064" y="2808567"/>
            <a:ext cx="341087" cy="147390"/>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900" dirty="0">
                <a:solidFill>
                  <a:srgbClr val="FFFFFF"/>
                </a:solidFill>
                <a:latin typeface="Arial"/>
                <a:ea typeface="ＭＳ Ｐゴシック"/>
              </a:rPr>
              <a:t>予算</a:t>
            </a:r>
          </a:p>
        </p:txBody>
      </p:sp>
      <p:sp>
        <p:nvSpPr>
          <p:cNvPr id="151" name="四角形: 角を丸くする 150">
            <a:extLst>
              <a:ext uri="{FF2B5EF4-FFF2-40B4-BE49-F238E27FC236}">
                <a16:creationId xmlns:a16="http://schemas.microsoft.com/office/drawing/2014/main" id="{BD1CB60A-5C81-55B4-0D98-292EB5E092BE}"/>
              </a:ext>
            </a:extLst>
          </p:cNvPr>
          <p:cNvSpPr/>
          <p:nvPr/>
        </p:nvSpPr>
        <p:spPr>
          <a:xfrm>
            <a:off x="7372528" y="5193554"/>
            <a:ext cx="341087" cy="147390"/>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900" dirty="0">
                <a:solidFill>
                  <a:srgbClr val="FFFFFF"/>
                </a:solidFill>
                <a:latin typeface="Arial"/>
                <a:ea typeface="ＭＳ Ｐゴシック"/>
              </a:rPr>
              <a:t>予算</a:t>
            </a:r>
          </a:p>
        </p:txBody>
      </p:sp>
      <p:sp>
        <p:nvSpPr>
          <p:cNvPr id="22" name="四角形: 角を丸くする 21">
            <a:extLst>
              <a:ext uri="{FF2B5EF4-FFF2-40B4-BE49-F238E27FC236}">
                <a16:creationId xmlns:a16="http://schemas.microsoft.com/office/drawing/2014/main" id="{36B43713-7708-8175-03E0-84F1C6F8E089}"/>
              </a:ext>
            </a:extLst>
          </p:cNvPr>
          <p:cNvSpPr/>
          <p:nvPr/>
        </p:nvSpPr>
        <p:spPr>
          <a:xfrm>
            <a:off x="5942016" y="4261074"/>
            <a:ext cx="341087" cy="147390"/>
          </a:xfrm>
          <a:prstGeom prst="roundRect">
            <a:avLst>
              <a:gd name="adj" fmla="val 50000"/>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217">
              <a:defRPr/>
            </a:pPr>
            <a:r>
              <a:rPr lang="ja-JP" altLang="en-US" sz="900" dirty="0">
                <a:solidFill>
                  <a:srgbClr val="FFFFFF"/>
                </a:solidFill>
                <a:latin typeface="Arial"/>
                <a:ea typeface="ＭＳ Ｐゴシック"/>
              </a:rPr>
              <a:t>予算</a:t>
            </a:r>
          </a:p>
        </p:txBody>
      </p:sp>
      <p:sp>
        <p:nvSpPr>
          <p:cNvPr id="75" name="テキスト ボックス 74">
            <a:extLst>
              <a:ext uri="{FF2B5EF4-FFF2-40B4-BE49-F238E27FC236}">
                <a16:creationId xmlns:a16="http://schemas.microsoft.com/office/drawing/2014/main" id="{6F0C8EA9-4C4F-0BB4-0BED-064633936DBE}"/>
              </a:ext>
            </a:extLst>
          </p:cNvPr>
          <p:cNvSpPr txBox="1"/>
          <p:nvPr/>
        </p:nvSpPr>
        <p:spPr>
          <a:xfrm>
            <a:off x="7818642" y="4272229"/>
            <a:ext cx="1471053" cy="215409"/>
          </a:xfrm>
          <a:prstGeom prst="rect">
            <a:avLst/>
          </a:prstGeom>
          <a:noFill/>
        </p:spPr>
        <p:txBody>
          <a:bodyPr wrap="square" rtlCol="0">
            <a:spAutoFit/>
          </a:bodyPr>
          <a:lstStyle/>
          <a:p>
            <a:pPr defTabSz="914217">
              <a:defRPr/>
            </a:pPr>
            <a:r>
              <a:rPr lang="en-US" altLang="ja-JP" sz="800" dirty="0">
                <a:ln w="3175">
                  <a:noFill/>
                </a:ln>
                <a:solidFill>
                  <a:srgbClr val="000000"/>
                </a:solidFill>
                <a:latin typeface="ＭＳ Ｐゴシック"/>
                <a:ea typeface="ＭＳ Ｐゴシック"/>
              </a:rPr>
              <a:t>※</a:t>
            </a:r>
            <a:r>
              <a:rPr lang="ja-JP" altLang="en-US" sz="800" dirty="0">
                <a:ln w="3175">
                  <a:noFill/>
                </a:ln>
                <a:solidFill>
                  <a:srgbClr val="000000"/>
                </a:solidFill>
                <a:latin typeface="ＭＳ Ｐゴシック"/>
                <a:ea typeface="ＭＳ Ｐゴシック"/>
              </a:rPr>
              <a:t>デジ田交付金とも連携</a:t>
            </a:r>
          </a:p>
        </p:txBody>
      </p:sp>
      <p:sp>
        <p:nvSpPr>
          <p:cNvPr id="6" name="正方形/長方形 5">
            <a:extLst>
              <a:ext uri="{FF2B5EF4-FFF2-40B4-BE49-F238E27FC236}">
                <a16:creationId xmlns:a16="http://schemas.microsoft.com/office/drawing/2014/main" id="{EFF451F9-0988-2995-7C90-A9DEA1748309}"/>
              </a:ext>
            </a:extLst>
          </p:cNvPr>
          <p:cNvSpPr/>
          <p:nvPr/>
        </p:nvSpPr>
        <p:spPr>
          <a:xfrm>
            <a:off x="803923" y="3014777"/>
            <a:ext cx="1287265" cy="654379"/>
          </a:xfrm>
          <a:prstGeom prst="rect">
            <a:avLst/>
          </a:prstGeom>
          <a:gradFill flip="none" rotWithShape="1">
            <a:gsLst>
              <a:gs pos="0">
                <a:srgbClr val="0099FF"/>
              </a:gs>
              <a:gs pos="74000">
                <a:srgbClr val="0099FF">
                  <a:tint val="44500"/>
                  <a:satMod val="160000"/>
                </a:srgbClr>
              </a:gs>
              <a:gs pos="100000">
                <a:srgbClr val="0099FF">
                  <a:tint val="23500"/>
                  <a:satMod val="16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tIns="71988" bIns="35994" rtlCol="0" anchor="ctr"/>
          <a:lstStyle/>
          <a:p>
            <a:pP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なりわい</a:t>
            </a:r>
            <a:endParaRPr lang="en-US" altLang="ja-JP" sz="1200" b="1" dirty="0">
              <a:solidFill>
                <a:srgbClr val="FFFFFF"/>
              </a:solidFill>
              <a:latin typeface="メイリオ" panose="020B0604030504040204" pitchFamily="50" charset="-128"/>
              <a:ea typeface="メイリオ" panose="020B0604030504040204" pitchFamily="50" charset="-128"/>
            </a:endParaRPr>
          </a:p>
          <a:p>
            <a:pPr defTabSz="914217">
              <a:defRPr/>
            </a:pPr>
            <a:r>
              <a:rPr lang="en-US" altLang="ja-JP" sz="1200" b="1" dirty="0">
                <a:solidFill>
                  <a:srgbClr val="FFFFFF"/>
                </a:solidFill>
                <a:latin typeface="メイリオ" panose="020B0604030504040204" pitchFamily="50" charset="-128"/>
                <a:ea typeface="メイリオ" panose="020B0604030504040204" pitchFamily="50" charset="-128"/>
              </a:rPr>
              <a:t>(</a:t>
            </a:r>
            <a:r>
              <a:rPr lang="ja-JP" altLang="en-US" sz="1200" b="1" dirty="0">
                <a:solidFill>
                  <a:srgbClr val="FFFFFF"/>
                </a:solidFill>
                <a:latin typeface="メイリオ" panose="020B0604030504040204" pitchFamily="50" charset="-128"/>
                <a:ea typeface="メイリオ" panose="020B0604030504040204" pitchFamily="50" charset="-128"/>
              </a:rPr>
              <a:t>仕事</a:t>
            </a:r>
            <a:r>
              <a:rPr lang="en-US" altLang="ja-JP" sz="1200" b="1" dirty="0">
                <a:solidFill>
                  <a:srgbClr val="FFFFFF"/>
                </a:solidFill>
                <a:latin typeface="メイリオ" panose="020B0604030504040204" pitchFamily="50" charset="-128"/>
                <a:ea typeface="メイリオ" panose="020B0604030504040204" pitchFamily="50" charset="-128"/>
              </a:rPr>
              <a:t>)</a:t>
            </a:r>
            <a:r>
              <a:rPr lang="ja-JP" altLang="en-US" sz="1200" b="1" dirty="0">
                <a:solidFill>
                  <a:srgbClr val="FFFFFF"/>
                </a:solidFill>
                <a:latin typeface="メイリオ" panose="020B0604030504040204" pitchFamily="50" charset="-128"/>
                <a:ea typeface="メイリオ" panose="020B0604030504040204" pitchFamily="50" charset="-128"/>
              </a:rPr>
              <a:t>の確保・</a:t>
            </a:r>
            <a:endParaRPr lang="en-US" altLang="ja-JP" sz="1200" b="1" dirty="0">
              <a:solidFill>
                <a:srgbClr val="FFFFFF"/>
              </a:solidFill>
              <a:latin typeface="メイリオ" panose="020B0604030504040204" pitchFamily="50" charset="-128"/>
              <a:ea typeface="メイリオ" panose="020B0604030504040204" pitchFamily="50" charset="-128"/>
            </a:endParaRPr>
          </a:p>
          <a:p>
            <a:pPr defTabSz="914217">
              <a:defRPr/>
            </a:pPr>
            <a:r>
              <a:rPr lang="ja-JP" altLang="en-US" sz="1200" b="1" dirty="0">
                <a:solidFill>
                  <a:srgbClr val="FFFFFF"/>
                </a:solidFill>
                <a:latin typeface="メイリオ" panose="020B0604030504040204" pitchFamily="50" charset="-128"/>
                <a:ea typeface="メイリオ" panose="020B0604030504040204" pitchFamily="50" charset="-128"/>
              </a:rPr>
              <a:t>新しい働き方</a:t>
            </a:r>
            <a:endParaRPr lang="en-US" altLang="ja-JP" sz="1200" b="1" dirty="0">
              <a:solidFill>
                <a:srgbClr val="FFFFFF"/>
              </a:solidFill>
              <a:latin typeface="メイリオ" panose="020B0604030504040204" pitchFamily="50" charset="-128"/>
              <a:ea typeface="メイリオ" panose="020B0604030504040204" pitchFamily="50" charset="-128"/>
            </a:endParaRPr>
          </a:p>
        </p:txBody>
      </p:sp>
      <p:sp>
        <p:nvSpPr>
          <p:cNvPr id="42" name="コンテンツ プレースホルダー 2">
            <a:extLst>
              <a:ext uri="{FF2B5EF4-FFF2-40B4-BE49-F238E27FC236}">
                <a16:creationId xmlns:a16="http://schemas.microsoft.com/office/drawing/2014/main" id="{84959443-FD06-7588-02E1-EC2528F4AC17}"/>
              </a:ext>
            </a:extLst>
          </p:cNvPr>
          <p:cNvSpPr txBox="1">
            <a:spLocks/>
          </p:cNvSpPr>
          <p:nvPr/>
        </p:nvSpPr>
        <p:spPr>
          <a:xfrm>
            <a:off x="178568" y="1101801"/>
            <a:ext cx="8277454" cy="351144"/>
          </a:xfrm>
          <a:prstGeom prst="rect">
            <a:avLst/>
          </a:prstGeom>
          <a:solidFill>
            <a:schemeClr val="bg1"/>
          </a:solidFill>
          <a:ln>
            <a:noFill/>
            <a:prstDash val="sysDash"/>
          </a:ln>
        </p:spPr>
        <p:style>
          <a:lnRef idx="2">
            <a:schemeClr val="dk1"/>
          </a:lnRef>
          <a:fillRef idx="1">
            <a:schemeClr val="lt1"/>
          </a:fillRef>
          <a:effectRef idx="0">
            <a:schemeClr val="dk1"/>
          </a:effectRef>
          <a:fontRef idx="minor">
            <a:schemeClr val="dk1"/>
          </a:fontRef>
        </p:style>
        <p:txBody>
          <a:bodyPr vert="horz" wrap="square" lIns="91425" tIns="45713" rIns="91425" bIns="45713" numCol="1" anchor="t" anchorCtr="0" compatLnSpc="1">
            <a:prstTxWarp prst="textNoShape">
              <a:avLst/>
            </a:prstTxWarp>
          </a:bodyPr>
          <a:lstStyle>
            <a:lvl1pPr marL="316531" indent="-316531" algn="l" rtl="0" eaLnBrk="1" fontAlgn="base" hangingPunct="1">
              <a:spcBef>
                <a:spcPct val="20000"/>
              </a:spcBef>
              <a:spcAft>
                <a:spcPct val="0"/>
              </a:spcAft>
              <a:buChar char="•"/>
              <a:defRPr kumimoji="1" sz="2954">
                <a:solidFill>
                  <a:schemeClr val="tx1"/>
                </a:solidFill>
                <a:latin typeface="+mn-lt"/>
                <a:ea typeface="+mn-ea"/>
                <a:cs typeface="+mn-cs"/>
              </a:defRPr>
            </a:lvl1pPr>
            <a:lvl2pPr marL="685817" indent="-263776" algn="l" rtl="0" eaLnBrk="1" fontAlgn="base" hangingPunct="1">
              <a:spcBef>
                <a:spcPct val="20000"/>
              </a:spcBef>
              <a:spcAft>
                <a:spcPct val="0"/>
              </a:spcAft>
              <a:buChar char="–"/>
              <a:defRPr kumimoji="1" sz="2585">
                <a:solidFill>
                  <a:schemeClr val="tx1"/>
                </a:solidFill>
                <a:latin typeface="+mn-lt"/>
                <a:ea typeface="+mn-ea"/>
              </a:defRPr>
            </a:lvl2pPr>
            <a:lvl3pPr marL="1055103" indent="-211021" algn="l" rtl="0" eaLnBrk="1" fontAlgn="base" hangingPunct="1">
              <a:spcBef>
                <a:spcPct val="20000"/>
              </a:spcBef>
              <a:spcAft>
                <a:spcPct val="0"/>
              </a:spcAft>
              <a:buChar char="•"/>
              <a:defRPr kumimoji="1" sz="2215">
                <a:solidFill>
                  <a:schemeClr val="tx1"/>
                </a:solidFill>
                <a:latin typeface="+mn-lt"/>
                <a:ea typeface="+mn-ea"/>
              </a:defRPr>
            </a:lvl3pPr>
            <a:lvl4pPr marL="1477145" indent="-211021" algn="l" rtl="0" eaLnBrk="1" fontAlgn="base" hangingPunct="1">
              <a:spcBef>
                <a:spcPct val="20000"/>
              </a:spcBef>
              <a:spcAft>
                <a:spcPct val="0"/>
              </a:spcAft>
              <a:buChar char="–"/>
              <a:defRPr kumimoji="1" sz="1846">
                <a:solidFill>
                  <a:schemeClr val="tx1"/>
                </a:solidFill>
                <a:latin typeface="+mn-lt"/>
                <a:ea typeface="+mn-ea"/>
              </a:defRPr>
            </a:lvl4pPr>
            <a:lvl5pPr marL="1899186" indent="-211021" algn="l" rtl="0" eaLnBrk="1" fontAlgn="base" hangingPunct="1">
              <a:spcBef>
                <a:spcPct val="20000"/>
              </a:spcBef>
              <a:spcAft>
                <a:spcPct val="0"/>
              </a:spcAft>
              <a:buChar char="»"/>
              <a:defRPr kumimoji="1" sz="1846">
                <a:solidFill>
                  <a:schemeClr val="tx1"/>
                </a:solidFill>
                <a:latin typeface="+mn-lt"/>
                <a:ea typeface="+mn-ea"/>
              </a:defRPr>
            </a:lvl5pPr>
            <a:lvl6pPr marL="2321227" indent="-211021" algn="l" rtl="0" eaLnBrk="1" fontAlgn="base" hangingPunct="1">
              <a:spcBef>
                <a:spcPct val="20000"/>
              </a:spcBef>
              <a:spcAft>
                <a:spcPct val="0"/>
              </a:spcAft>
              <a:buChar char="»"/>
              <a:defRPr kumimoji="1" sz="1846">
                <a:solidFill>
                  <a:schemeClr val="tx1"/>
                </a:solidFill>
                <a:latin typeface="+mn-lt"/>
                <a:ea typeface="+mn-ea"/>
              </a:defRPr>
            </a:lvl6pPr>
            <a:lvl7pPr marL="2743269" indent="-211021" algn="l" rtl="0" eaLnBrk="1" fontAlgn="base" hangingPunct="1">
              <a:spcBef>
                <a:spcPct val="20000"/>
              </a:spcBef>
              <a:spcAft>
                <a:spcPct val="0"/>
              </a:spcAft>
              <a:buChar char="»"/>
              <a:defRPr kumimoji="1" sz="1846">
                <a:solidFill>
                  <a:schemeClr val="tx1"/>
                </a:solidFill>
                <a:latin typeface="+mn-lt"/>
                <a:ea typeface="+mn-ea"/>
              </a:defRPr>
            </a:lvl7pPr>
            <a:lvl8pPr marL="3165310" indent="-211021" algn="l" rtl="0" eaLnBrk="1" fontAlgn="base" hangingPunct="1">
              <a:spcBef>
                <a:spcPct val="20000"/>
              </a:spcBef>
              <a:spcAft>
                <a:spcPct val="0"/>
              </a:spcAft>
              <a:buChar char="»"/>
              <a:defRPr kumimoji="1" sz="1846">
                <a:solidFill>
                  <a:schemeClr val="tx1"/>
                </a:solidFill>
                <a:latin typeface="+mn-lt"/>
                <a:ea typeface="+mn-ea"/>
              </a:defRPr>
            </a:lvl8pPr>
            <a:lvl9pPr marL="3587351" indent="-211021" algn="l" rtl="0" eaLnBrk="1" fontAlgn="base" hangingPunct="1">
              <a:spcBef>
                <a:spcPct val="20000"/>
              </a:spcBef>
              <a:spcAft>
                <a:spcPct val="0"/>
              </a:spcAft>
              <a:buChar char="»"/>
              <a:defRPr kumimoji="1" sz="1846">
                <a:solidFill>
                  <a:schemeClr val="tx1"/>
                </a:solidFill>
                <a:latin typeface="+mn-lt"/>
                <a:ea typeface="+mn-ea"/>
              </a:defRPr>
            </a:lvl9pPr>
          </a:lstStyle>
          <a:p>
            <a:pPr marL="93644" indent="-93644" defTabSz="914217">
              <a:buNone/>
              <a:defRPr/>
            </a:pPr>
            <a:r>
              <a:rPr lang="ja-JP" altLang="en-US" sz="1600" b="1" dirty="0">
                <a:solidFill>
                  <a:srgbClr val="000000"/>
                </a:solidFill>
                <a:latin typeface="BIZ UDPゴシック" panose="020B0400000000000000" pitchFamily="50" charset="-128"/>
                <a:ea typeface="BIZ UDPゴシック" panose="020B0400000000000000" pitchFamily="50" charset="-128"/>
              </a:rPr>
              <a:t>＜二地域居住の促進による地方への新たな人の流れの創出・拡大　⇒　地域生活圏の形成＞</a:t>
            </a:r>
            <a:endParaRPr lang="en-US" altLang="ja-JP" sz="1600" b="1" dirty="0">
              <a:solidFill>
                <a:srgbClr val="000000"/>
              </a:solidFill>
              <a:latin typeface="BIZ UDPゴシック" panose="020B0400000000000000" pitchFamily="50" charset="-128"/>
              <a:ea typeface="BIZ UDPゴシック" panose="020B0400000000000000" pitchFamily="50" charset="-128"/>
            </a:endParaRPr>
          </a:p>
        </p:txBody>
      </p:sp>
      <p:pic>
        <p:nvPicPr>
          <p:cNvPr id="3" name="図 2">
            <a:extLst>
              <a:ext uri="{FF2B5EF4-FFF2-40B4-BE49-F238E27FC236}">
                <a16:creationId xmlns:a16="http://schemas.microsoft.com/office/drawing/2014/main" id="{4CE62D31-94E9-BAAE-EC4E-8DF12038AB5B}"/>
              </a:ext>
            </a:extLst>
          </p:cNvPr>
          <p:cNvPicPr>
            <a:picLocks noChangeAspect="1"/>
          </p:cNvPicPr>
          <p:nvPr/>
        </p:nvPicPr>
        <p:blipFill>
          <a:blip r:embed="rId12"/>
          <a:stretch>
            <a:fillRect/>
          </a:stretch>
        </p:blipFill>
        <p:spPr>
          <a:xfrm>
            <a:off x="4931363" y="2356022"/>
            <a:ext cx="684615" cy="513216"/>
          </a:xfrm>
          <a:prstGeom prst="rect">
            <a:avLst/>
          </a:prstGeom>
        </p:spPr>
      </p:pic>
      <p:pic>
        <p:nvPicPr>
          <p:cNvPr id="4" name="図 3">
            <a:extLst>
              <a:ext uri="{FF2B5EF4-FFF2-40B4-BE49-F238E27FC236}">
                <a16:creationId xmlns:a16="http://schemas.microsoft.com/office/drawing/2014/main" id="{C5805992-6708-0703-3D18-B5F4AB57C4BC}"/>
              </a:ext>
            </a:extLst>
          </p:cNvPr>
          <p:cNvPicPr>
            <a:picLocks noChangeAspect="1"/>
          </p:cNvPicPr>
          <p:nvPr/>
        </p:nvPicPr>
        <p:blipFill>
          <a:blip r:embed="rId13"/>
          <a:stretch>
            <a:fillRect/>
          </a:stretch>
        </p:blipFill>
        <p:spPr>
          <a:xfrm>
            <a:off x="5680441" y="2354329"/>
            <a:ext cx="684288" cy="513217"/>
          </a:xfrm>
          <a:prstGeom prst="rect">
            <a:avLst/>
          </a:prstGeom>
        </p:spPr>
      </p:pic>
      <p:pic>
        <p:nvPicPr>
          <p:cNvPr id="5" name="図 4">
            <a:extLst>
              <a:ext uri="{FF2B5EF4-FFF2-40B4-BE49-F238E27FC236}">
                <a16:creationId xmlns:a16="http://schemas.microsoft.com/office/drawing/2014/main" id="{7FC3069F-05F0-525F-4D42-150BA92027F2}"/>
              </a:ext>
            </a:extLst>
          </p:cNvPr>
          <p:cNvPicPr>
            <a:picLocks noChangeAspect="1"/>
          </p:cNvPicPr>
          <p:nvPr/>
        </p:nvPicPr>
        <p:blipFill rotWithShape="1">
          <a:blip r:embed="rId14"/>
          <a:srcRect l="8349" t="12493"/>
          <a:stretch/>
        </p:blipFill>
        <p:spPr>
          <a:xfrm>
            <a:off x="6768615" y="2100994"/>
            <a:ext cx="816382" cy="492984"/>
          </a:xfrm>
          <a:prstGeom prst="rect">
            <a:avLst/>
          </a:prstGeom>
        </p:spPr>
      </p:pic>
      <p:pic>
        <p:nvPicPr>
          <p:cNvPr id="7" name="図 6">
            <a:extLst>
              <a:ext uri="{FF2B5EF4-FFF2-40B4-BE49-F238E27FC236}">
                <a16:creationId xmlns:a16="http://schemas.microsoft.com/office/drawing/2014/main" id="{0CD22BD6-9047-D75F-98DC-AFCA343CAC02}"/>
              </a:ext>
            </a:extLst>
          </p:cNvPr>
          <p:cNvPicPr>
            <a:picLocks noChangeAspect="1"/>
          </p:cNvPicPr>
          <p:nvPr/>
        </p:nvPicPr>
        <p:blipFill>
          <a:blip r:embed="rId15"/>
          <a:stretch>
            <a:fillRect/>
          </a:stretch>
        </p:blipFill>
        <p:spPr>
          <a:xfrm>
            <a:off x="6716288" y="4025262"/>
            <a:ext cx="829508" cy="479420"/>
          </a:xfrm>
          <a:prstGeom prst="rect">
            <a:avLst/>
          </a:prstGeom>
        </p:spPr>
      </p:pic>
      <p:sp>
        <p:nvSpPr>
          <p:cNvPr id="9" name="テキスト ボックス 8">
            <a:extLst>
              <a:ext uri="{FF2B5EF4-FFF2-40B4-BE49-F238E27FC236}">
                <a16:creationId xmlns:a16="http://schemas.microsoft.com/office/drawing/2014/main" id="{ACC1B174-C74A-8C73-C8D0-D2F0FE9500AD}"/>
              </a:ext>
            </a:extLst>
          </p:cNvPr>
          <p:cNvSpPr txBox="1"/>
          <p:nvPr/>
        </p:nvSpPr>
        <p:spPr>
          <a:xfrm flipH="1">
            <a:off x="5271449" y="3006936"/>
            <a:ext cx="334330" cy="276955"/>
          </a:xfrm>
          <a:prstGeom prst="rect">
            <a:avLst/>
          </a:prstGeom>
          <a:noFill/>
        </p:spPr>
        <p:txBody>
          <a:bodyPr wrap="square" rtlCol="0">
            <a:spAutoFit/>
          </a:bodyPr>
          <a:lstStyle/>
          <a:p>
            <a:pPr defTabSz="914217">
              <a:defRPr/>
            </a:pPr>
            <a:r>
              <a:rPr lang="ja-JP" altLang="en-US" sz="1200" dirty="0">
                <a:solidFill>
                  <a:srgbClr val="FF0000"/>
                </a:solidFill>
                <a:ea typeface="ＭＳ Ｐゴシック" charset="-128"/>
              </a:rPr>
              <a:t>①</a:t>
            </a:r>
          </a:p>
        </p:txBody>
      </p:sp>
      <p:sp>
        <p:nvSpPr>
          <p:cNvPr id="10" name="テキスト ボックス 9">
            <a:extLst>
              <a:ext uri="{FF2B5EF4-FFF2-40B4-BE49-F238E27FC236}">
                <a16:creationId xmlns:a16="http://schemas.microsoft.com/office/drawing/2014/main" id="{0223E226-DC92-5EE2-EB24-1465C552EF7D}"/>
              </a:ext>
            </a:extLst>
          </p:cNvPr>
          <p:cNvSpPr txBox="1"/>
          <p:nvPr/>
        </p:nvSpPr>
        <p:spPr>
          <a:xfrm flipH="1">
            <a:off x="7647368" y="2735668"/>
            <a:ext cx="334330" cy="276955"/>
          </a:xfrm>
          <a:prstGeom prst="rect">
            <a:avLst/>
          </a:prstGeom>
          <a:noFill/>
        </p:spPr>
        <p:txBody>
          <a:bodyPr wrap="square" rtlCol="0">
            <a:spAutoFit/>
          </a:bodyPr>
          <a:lstStyle/>
          <a:p>
            <a:pPr defTabSz="914217">
              <a:defRPr/>
            </a:pPr>
            <a:r>
              <a:rPr lang="ja-JP" altLang="en-US" sz="1200" dirty="0">
                <a:solidFill>
                  <a:srgbClr val="FF0000"/>
                </a:solidFill>
                <a:ea typeface="ＭＳ Ｐゴシック" charset="-128"/>
              </a:rPr>
              <a:t>②</a:t>
            </a:r>
          </a:p>
        </p:txBody>
      </p:sp>
      <p:sp>
        <p:nvSpPr>
          <p:cNvPr id="11" name="テキスト ボックス 10">
            <a:extLst>
              <a:ext uri="{FF2B5EF4-FFF2-40B4-BE49-F238E27FC236}">
                <a16:creationId xmlns:a16="http://schemas.microsoft.com/office/drawing/2014/main" id="{0220821C-1858-8743-9D1B-228F75B6FB75}"/>
              </a:ext>
            </a:extLst>
          </p:cNvPr>
          <p:cNvSpPr txBox="1"/>
          <p:nvPr/>
        </p:nvSpPr>
        <p:spPr>
          <a:xfrm flipH="1">
            <a:off x="7647368" y="5122774"/>
            <a:ext cx="334330" cy="276955"/>
          </a:xfrm>
          <a:prstGeom prst="rect">
            <a:avLst/>
          </a:prstGeom>
          <a:noFill/>
        </p:spPr>
        <p:txBody>
          <a:bodyPr wrap="square" rtlCol="0">
            <a:spAutoFit/>
          </a:bodyPr>
          <a:lstStyle/>
          <a:p>
            <a:pPr defTabSz="914217">
              <a:defRPr/>
            </a:pPr>
            <a:r>
              <a:rPr lang="ja-JP" altLang="en-US" sz="1200" dirty="0">
                <a:solidFill>
                  <a:srgbClr val="FF0000"/>
                </a:solidFill>
                <a:ea typeface="ＭＳ Ｐゴシック" charset="-128"/>
              </a:rPr>
              <a:t>③</a:t>
            </a:r>
          </a:p>
        </p:txBody>
      </p:sp>
      <p:sp>
        <p:nvSpPr>
          <p:cNvPr id="13" name="テキスト ボックス 12">
            <a:extLst>
              <a:ext uri="{FF2B5EF4-FFF2-40B4-BE49-F238E27FC236}">
                <a16:creationId xmlns:a16="http://schemas.microsoft.com/office/drawing/2014/main" id="{575EC6FF-90E5-24A0-99E3-21E8B81BB6C0}"/>
              </a:ext>
            </a:extLst>
          </p:cNvPr>
          <p:cNvSpPr txBox="1"/>
          <p:nvPr/>
        </p:nvSpPr>
        <p:spPr>
          <a:xfrm flipH="1">
            <a:off x="6208807" y="4227066"/>
            <a:ext cx="334330" cy="276955"/>
          </a:xfrm>
          <a:prstGeom prst="rect">
            <a:avLst/>
          </a:prstGeom>
          <a:noFill/>
        </p:spPr>
        <p:txBody>
          <a:bodyPr wrap="square" rtlCol="0">
            <a:spAutoFit/>
          </a:bodyPr>
          <a:lstStyle/>
          <a:p>
            <a:pPr defTabSz="914217">
              <a:defRPr/>
            </a:pPr>
            <a:r>
              <a:rPr lang="ja-JP" altLang="en-US" sz="1200" dirty="0">
                <a:solidFill>
                  <a:srgbClr val="FF0000"/>
                </a:solidFill>
                <a:ea typeface="ＭＳ Ｐゴシック" charset="-128"/>
              </a:rPr>
              <a:t>④</a:t>
            </a:r>
          </a:p>
        </p:txBody>
      </p:sp>
      <p:sp>
        <p:nvSpPr>
          <p:cNvPr id="17" name="テキスト ボックス 16">
            <a:extLst>
              <a:ext uri="{FF2B5EF4-FFF2-40B4-BE49-F238E27FC236}">
                <a16:creationId xmlns:a16="http://schemas.microsoft.com/office/drawing/2014/main" id="{FDB8ED8C-4B66-6CB2-0551-E5D17A40A075}"/>
              </a:ext>
            </a:extLst>
          </p:cNvPr>
          <p:cNvSpPr txBox="1"/>
          <p:nvPr/>
        </p:nvSpPr>
        <p:spPr>
          <a:xfrm flipH="1">
            <a:off x="7705151" y="4506526"/>
            <a:ext cx="334330" cy="276955"/>
          </a:xfrm>
          <a:prstGeom prst="rect">
            <a:avLst/>
          </a:prstGeom>
          <a:noFill/>
        </p:spPr>
        <p:txBody>
          <a:bodyPr wrap="square" rtlCol="0">
            <a:spAutoFit/>
          </a:bodyPr>
          <a:lstStyle/>
          <a:p>
            <a:pPr defTabSz="914217">
              <a:defRPr/>
            </a:pPr>
            <a:r>
              <a:rPr lang="ja-JP" altLang="en-US" sz="1200" dirty="0">
                <a:solidFill>
                  <a:srgbClr val="FF0000"/>
                </a:solidFill>
                <a:ea typeface="ＭＳ Ｐゴシック" charset="-128"/>
              </a:rPr>
              <a:t>②</a:t>
            </a:r>
          </a:p>
        </p:txBody>
      </p:sp>
      <p:sp>
        <p:nvSpPr>
          <p:cNvPr id="18" name="テキスト ボックス 17">
            <a:extLst>
              <a:ext uri="{FF2B5EF4-FFF2-40B4-BE49-F238E27FC236}">
                <a16:creationId xmlns:a16="http://schemas.microsoft.com/office/drawing/2014/main" id="{9C37D56C-CDAF-7B23-5CDD-4CB387791B6B}"/>
              </a:ext>
            </a:extLst>
          </p:cNvPr>
          <p:cNvSpPr txBox="1"/>
          <p:nvPr/>
        </p:nvSpPr>
        <p:spPr>
          <a:xfrm flipH="1">
            <a:off x="8763534" y="2879125"/>
            <a:ext cx="334330" cy="276955"/>
          </a:xfrm>
          <a:prstGeom prst="rect">
            <a:avLst/>
          </a:prstGeom>
          <a:noFill/>
        </p:spPr>
        <p:txBody>
          <a:bodyPr wrap="square" rtlCol="0">
            <a:spAutoFit/>
          </a:bodyPr>
          <a:lstStyle/>
          <a:p>
            <a:pPr defTabSz="914217">
              <a:defRPr/>
            </a:pPr>
            <a:r>
              <a:rPr lang="ja-JP" altLang="en-US" sz="1200" dirty="0">
                <a:solidFill>
                  <a:srgbClr val="FF0000"/>
                </a:solidFill>
                <a:ea typeface="ＭＳ Ｐゴシック" charset="-128"/>
              </a:rPr>
              <a:t>⑤</a:t>
            </a:r>
          </a:p>
        </p:txBody>
      </p:sp>
      <p:sp>
        <p:nvSpPr>
          <p:cNvPr id="19" name="テキスト ボックス 18">
            <a:extLst>
              <a:ext uri="{FF2B5EF4-FFF2-40B4-BE49-F238E27FC236}">
                <a16:creationId xmlns:a16="http://schemas.microsoft.com/office/drawing/2014/main" id="{ADB4421D-58C2-A17B-87E2-80844F4CF241}"/>
              </a:ext>
            </a:extLst>
          </p:cNvPr>
          <p:cNvSpPr txBox="1"/>
          <p:nvPr/>
        </p:nvSpPr>
        <p:spPr>
          <a:xfrm flipH="1">
            <a:off x="8753991" y="3610371"/>
            <a:ext cx="334330" cy="276955"/>
          </a:xfrm>
          <a:prstGeom prst="rect">
            <a:avLst/>
          </a:prstGeom>
          <a:noFill/>
        </p:spPr>
        <p:txBody>
          <a:bodyPr wrap="square" rtlCol="0">
            <a:spAutoFit/>
          </a:bodyPr>
          <a:lstStyle/>
          <a:p>
            <a:pPr defTabSz="914217">
              <a:defRPr/>
            </a:pPr>
            <a:r>
              <a:rPr lang="ja-JP" altLang="en-US" sz="1200" dirty="0">
                <a:solidFill>
                  <a:srgbClr val="FF0000"/>
                </a:solidFill>
                <a:ea typeface="ＭＳ Ｐゴシック" charset="-128"/>
              </a:rPr>
              <a:t>⑥</a:t>
            </a:r>
          </a:p>
        </p:txBody>
      </p:sp>
      <p:sp>
        <p:nvSpPr>
          <p:cNvPr id="20" name="テキスト ボックス 19">
            <a:extLst>
              <a:ext uri="{FF2B5EF4-FFF2-40B4-BE49-F238E27FC236}">
                <a16:creationId xmlns:a16="http://schemas.microsoft.com/office/drawing/2014/main" id="{631DB9BA-8477-F813-FAFA-5FF724C9C520}"/>
              </a:ext>
            </a:extLst>
          </p:cNvPr>
          <p:cNvSpPr txBox="1"/>
          <p:nvPr/>
        </p:nvSpPr>
        <p:spPr>
          <a:xfrm flipH="1">
            <a:off x="8733852" y="4401200"/>
            <a:ext cx="334330" cy="276955"/>
          </a:xfrm>
          <a:prstGeom prst="rect">
            <a:avLst/>
          </a:prstGeom>
          <a:noFill/>
        </p:spPr>
        <p:txBody>
          <a:bodyPr wrap="square" rtlCol="0">
            <a:spAutoFit/>
          </a:bodyPr>
          <a:lstStyle/>
          <a:p>
            <a:pPr defTabSz="914217">
              <a:defRPr/>
            </a:pPr>
            <a:r>
              <a:rPr lang="ja-JP" altLang="en-US" sz="1200" dirty="0">
                <a:solidFill>
                  <a:srgbClr val="FF0000"/>
                </a:solidFill>
                <a:ea typeface="ＭＳ Ｐゴシック" charset="-128"/>
              </a:rPr>
              <a:t>⑦</a:t>
            </a:r>
          </a:p>
        </p:txBody>
      </p:sp>
      <p:sp>
        <p:nvSpPr>
          <p:cNvPr id="21" name="スライド番号プレースホルダー 2">
            <a:extLst>
              <a:ext uri="{FF2B5EF4-FFF2-40B4-BE49-F238E27FC236}">
                <a16:creationId xmlns:a16="http://schemas.microsoft.com/office/drawing/2014/main" id="{6486A9D2-6A80-1240-37E4-89094DC4BA04}"/>
              </a:ext>
            </a:extLst>
          </p:cNvPr>
          <p:cNvSpPr>
            <a:spLocks noGrp="1"/>
          </p:cNvSpPr>
          <p:nvPr>
            <p:ph type="sldNum" sz="quarter" idx="12"/>
          </p:nvPr>
        </p:nvSpPr>
        <p:spPr>
          <a:xfrm>
            <a:off x="7593383" y="7257989"/>
            <a:ext cx="2311030" cy="538868"/>
          </a:xfrm>
        </p:spPr>
        <p:txBody>
          <a:bodyPr/>
          <a:lstStyle/>
          <a:p>
            <a:pPr>
              <a:defRPr/>
            </a:pPr>
            <a:fld id="{06FFE511-5094-4685-A035-FB392A6605D8}" type="slidenum">
              <a:rPr lang="en-US" altLang="ja-JP" smtClean="0"/>
              <a:pPr>
                <a:defRPr/>
              </a:pPr>
              <a:t>47</a:t>
            </a:fld>
            <a:endParaRPr lang="en-US" altLang="ja-JP" dirty="0"/>
          </a:p>
        </p:txBody>
      </p:sp>
    </p:spTree>
    <p:extLst>
      <p:ext uri="{BB962C8B-B14F-4D97-AF65-F5344CB8AC3E}">
        <p14:creationId xmlns:p14="http://schemas.microsoft.com/office/powerpoint/2010/main" val="36864341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E59B2BC5-4FE5-9BFE-E2B2-BEBD2480B56A}"/>
              </a:ext>
            </a:extLst>
          </p:cNvPr>
          <p:cNvSpPr>
            <a:spLocks noGrp="1"/>
          </p:cNvSpPr>
          <p:nvPr>
            <p:ph type="title"/>
          </p:nvPr>
        </p:nvSpPr>
        <p:spPr>
          <a:xfrm>
            <a:off x="9525" y="0"/>
            <a:ext cx="5333013" cy="538868"/>
          </a:xfrm>
        </p:spPr>
        <p:txBody>
          <a:bodyPr/>
          <a:lstStyle/>
          <a:p>
            <a:r>
              <a:rPr lang="ja-JP" altLang="en-US" sz="2400" dirty="0"/>
              <a:t>今回の法改正による主な連携予算</a:t>
            </a:r>
          </a:p>
        </p:txBody>
      </p:sp>
      <p:graphicFrame>
        <p:nvGraphicFramePr>
          <p:cNvPr id="4" name="表 4">
            <a:extLst>
              <a:ext uri="{FF2B5EF4-FFF2-40B4-BE49-F238E27FC236}">
                <a16:creationId xmlns:a16="http://schemas.microsoft.com/office/drawing/2014/main" id="{DA619289-A3A6-0927-BA56-32CF8E3A5DD7}"/>
              </a:ext>
            </a:extLst>
          </p:cNvPr>
          <p:cNvGraphicFramePr>
            <a:graphicFrameLocks noGrp="1"/>
          </p:cNvGraphicFramePr>
          <p:nvPr/>
        </p:nvGraphicFramePr>
        <p:xfrm>
          <a:off x="492107" y="1264143"/>
          <a:ext cx="8900961" cy="2529352"/>
        </p:xfrm>
        <a:graphic>
          <a:graphicData uri="http://schemas.openxmlformats.org/drawingml/2006/table">
            <a:tbl>
              <a:tblPr firstRow="1" bandRow="1">
                <a:tableStyleId>{5940675A-B579-460E-94D1-54222C63F5DA}</a:tableStyleId>
              </a:tblPr>
              <a:tblGrid>
                <a:gridCol w="397182">
                  <a:extLst>
                    <a:ext uri="{9D8B030D-6E8A-4147-A177-3AD203B41FA5}">
                      <a16:colId xmlns:a16="http://schemas.microsoft.com/office/drawing/2014/main" val="2494020701"/>
                    </a:ext>
                  </a:extLst>
                </a:gridCol>
                <a:gridCol w="913758">
                  <a:extLst>
                    <a:ext uri="{9D8B030D-6E8A-4147-A177-3AD203B41FA5}">
                      <a16:colId xmlns:a16="http://schemas.microsoft.com/office/drawing/2014/main" val="1357440885"/>
                    </a:ext>
                  </a:extLst>
                </a:gridCol>
                <a:gridCol w="2380868">
                  <a:extLst>
                    <a:ext uri="{9D8B030D-6E8A-4147-A177-3AD203B41FA5}">
                      <a16:colId xmlns:a16="http://schemas.microsoft.com/office/drawing/2014/main" val="3423526890"/>
                    </a:ext>
                  </a:extLst>
                </a:gridCol>
                <a:gridCol w="3269726">
                  <a:extLst>
                    <a:ext uri="{9D8B030D-6E8A-4147-A177-3AD203B41FA5}">
                      <a16:colId xmlns:a16="http://schemas.microsoft.com/office/drawing/2014/main" val="313477842"/>
                    </a:ext>
                  </a:extLst>
                </a:gridCol>
                <a:gridCol w="1939427">
                  <a:extLst>
                    <a:ext uri="{9D8B030D-6E8A-4147-A177-3AD203B41FA5}">
                      <a16:colId xmlns:a16="http://schemas.microsoft.com/office/drawing/2014/main" val="2502511674"/>
                    </a:ext>
                  </a:extLst>
                </a:gridCol>
              </a:tblGrid>
              <a:tr h="374427">
                <a:tc>
                  <a:txBody>
                    <a:bodyPr/>
                    <a:lstStyle/>
                    <a:p>
                      <a:pPr algn="ctr"/>
                      <a:endParaRPr kumimoji="1" lang="ja-JP" altLang="en-US" sz="1200" b="1" dirty="0">
                        <a:solidFill>
                          <a:schemeClr val="bg1"/>
                        </a:solidFill>
                      </a:endParaRPr>
                    </a:p>
                  </a:txBody>
                  <a:tcPr marL="91425" marR="91425" marT="45713" marB="45713" anchor="ctr">
                    <a:solidFill>
                      <a:srgbClr val="00B0F0"/>
                    </a:solidFill>
                  </a:tcPr>
                </a:tc>
                <a:tc>
                  <a:txBody>
                    <a:bodyPr/>
                    <a:lstStyle/>
                    <a:p>
                      <a:pPr algn="ctr"/>
                      <a:r>
                        <a:rPr kumimoji="1" lang="ja-JP" altLang="en-US" sz="1200" b="1" dirty="0">
                          <a:solidFill>
                            <a:schemeClr val="bg1"/>
                          </a:solidFill>
                        </a:rPr>
                        <a:t>分野</a:t>
                      </a:r>
                    </a:p>
                  </a:txBody>
                  <a:tcPr marL="91425" marR="91425" marT="45713" marB="45713" anchor="ctr">
                    <a:solidFill>
                      <a:srgbClr val="00B0F0"/>
                    </a:solidFill>
                  </a:tcPr>
                </a:tc>
                <a:tc>
                  <a:txBody>
                    <a:bodyPr/>
                    <a:lstStyle/>
                    <a:p>
                      <a:pPr algn="ctr"/>
                      <a:r>
                        <a:rPr kumimoji="1" lang="ja-JP" altLang="en-US" sz="1200" b="1" dirty="0">
                          <a:solidFill>
                            <a:schemeClr val="bg1"/>
                          </a:solidFill>
                        </a:rPr>
                        <a:t>予算（項目）</a:t>
                      </a:r>
                      <a:endParaRPr kumimoji="1" lang="en-US" altLang="ja-JP" sz="1200" b="1" dirty="0">
                        <a:solidFill>
                          <a:schemeClr val="bg1"/>
                        </a:solidFill>
                      </a:endParaRPr>
                    </a:p>
                  </a:txBody>
                  <a:tcPr marL="91425" marR="91425" marT="45713" marB="45713" anchor="ctr">
                    <a:solidFill>
                      <a:srgbClr val="00B0F0"/>
                    </a:solidFill>
                  </a:tcPr>
                </a:tc>
                <a:tc>
                  <a:txBody>
                    <a:bodyPr/>
                    <a:lstStyle/>
                    <a:p>
                      <a:pPr algn="ctr"/>
                      <a:r>
                        <a:rPr kumimoji="1" lang="ja-JP" altLang="en-US" sz="1200" b="1" dirty="0">
                          <a:solidFill>
                            <a:schemeClr val="bg1"/>
                          </a:solidFill>
                        </a:rPr>
                        <a:t>内容</a:t>
                      </a:r>
                    </a:p>
                  </a:txBody>
                  <a:tcPr marL="91425" marR="91425" marT="45713" marB="45713" anchor="ctr">
                    <a:solidFill>
                      <a:srgbClr val="00B0F0"/>
                    </a:solidFill>
                  </a:tcPr>
                </a:tc>
                <a:tc>
                  <a:txBody>
                    <a:bodyPr/>
                    <a:lstStyle/>
                    <a:p>
                      <a:pPr algn="ctr"/>
                      <a:r>
                        <a:rPr kumimoji="1" lang="en-US" altLang="ja-JP" sz="1200" b="1" dirty="0">
                          <a:solidFill>
                            <a:schemeClr val="bg1"/>
                          </a:solidFill>
                        </a:rPr>
                        <a:t>R6</a:t>
                      </a:r>
                      <a:r>
                        <a:rPr kumimoji="1" lang="ja-JP" altLang="en-US" sz="1200" b="1" dirty="0">
                          <a:solidFill>
                            <a:schemeClr val="bg1"/>
                          </a:solidFill>
                        </a:rPr>
                        <a:t>予算額（参考）</a:t>
                      </a:r>
                    </a:p>
                  </a:txBody>
                  <a:tcPr marL="91425" marR="91425" marT="45713" marB="45713" anchor="ctr">
                    <a:solidFill>
                      <a:srgbClr val="00B0F0"/>
                    </a:solidFill>
                  </a:tcPr>
                </a:tc>
                <a:extLst>
                  <a:ext uri="{0D108BD9-81ED-4DB2-BD59-A6C34878D82A}">
                    <a16:rowId xmlns:a16="http://schemas.microsoft.com/office/drawing/2014/main" val="478229645"/>
                  </a:ext>
                </a:extLst>
              </a:tr>
              <a:tr h="735338">
                <a:tc>
                  <a:txBody>
                    <a:bodyPr/>
                    <a:lstStyle/>
                    <a:p>
                      <a:pPr algn="ctr"/>
                      <a:r>
                        <a:rPr kumimoji="1" lang="ja-JP" altLang="en-US" sz="1200" dirty="0"/>
                        <a:t>①</a:t>
                      </a:r>
                    </a:p>
                  </a:txBody>
                  <a:tcPr marL="91425" marR="91425" marT="45713" marB="45713" anchor="ctr">
                    <a:noFill/>
                  </a:tcPr>
                </a:tc>
                <a:tc>
                  <a:txBody>
                    <a:bodyPr/>
                    <a:lstStyle/>
                    <a:p>
                      <a:pPr algn="ctr"/>
                      <a:r>
                        <a:rPr kumimoji="1" lang="ja-JP" altLang="en-US" sz="1200" dirty="0"/>
                        <a:t>住まい</a:t>
                      </a:r>
                    </a:p>
                  </a:txBody>
                  <a:tcPr marL="91425" marR="91425" marT="45713" marB="45713" anchor="ctr">
                    <a:noFill/>
                  </a:tcPr>
                </a:tc>
                <a:tc>
                  <a:txBody>
                    <a:bodyPr/>
                    <a:lstStyle/>
                    <a:p>
                      <a:r>
                        <a:rPr kumimoji="1" lang="ja-JP" altLang="en-US" sz="1200" dirty="0"/>
                        <a:t>空き家対策総合支援事業</a:t>
                      </a:r>
                      <a:endParaRPr kumimoji="1" lang="en-US" altLang="ja-JP" sz="1200" dirty="0"/>
                    </a:p>
                    <a:p>
                      <a:r>
                        <a:rPr kumimoji="1" lang="ja-JP" altLang="en-US" sz="1200" dirty="0">
                          <a:solidFill>
                            <a:schemeClr val="tx1"/>
                          </a:solidFill>
                        </a:rPr>
                        <a:t>空き家再生等推進事業</a:t>
                      </a:r>
                      <a:endParaRPr kumimoji="1" lang="en-US" altLang="ja-JP" sz="1200" dirty="0">
                        <a:solidFill>
                          <a:schemeClr val="tx1"/>
                        </a:solidFill>
                      </a:endParaRPr>
                    </a:p>
                    <a:p>
                      <a:endParaRPr kumimoji="1" lang="en-US" altLang="ja-JP" sz="1200" dirty="0">
                        <a:solidFill>
                          <a:srgbClr val="FF0000"/>
                        </a:solidFill>
                      </a:endParaRPr>
                    </a:p>
                  </a:txBody>
                  <a:tcPr marL="91425" marR="91425" marT="45713" marB="45713">
                    <a:noFill/>
                  </a:tcPr>
                </a:tc>
                <a:tc>
                  <a:txBody>
                    <a:bodyPr/>
                    <a:lstStyle/>
                    <a:p>
                      <a:r>
                        <a:rPr kumimoji="1" lang="ja-JP" altLang="en-US" sz="1200" dirty="0">
                          <a:solidFill>
                            <a:schemeClr val="tx1"/>
                          </a:solidFill>
                        </a:rPr>
                        <a:t>二地域居住の促進に資する取組について重点的に支援を行う方向</a:t>
                      </a:r>
                      <a:endParaRPr kumimoji="1" lang="en-US" altLang="ja-JP" sz="1200" dirty="0">
                        <a:solidFill>
                          <a:schemeClr val="tx1"/>
                        </a:solidFill>
                      </a:endParaRPr>
                    </a:p>
                    <a:p>
                      <a:endParaRPr kumimoji="1" lang="en-US" altLang="ja-JP" sz="1200" dirty="0">
                        <a:solidFill>
                          <a:schemeClr val="tx1"/>
                        </a:solidFill>
                      </a:endParaRPr>
                    </a:p>
                  </a:txBody>
                  <a:tcPr marL="91425" marR="91425" marT="45713" marB="45713">
                    <a:noFill/>
                  </a:tcPr>
                </a:tc>
                <a:tc>
                  <a:txBody>
                    <a:bodyPr/>
                    <a:lstStyle/>
                    <a:p>
                      <a:r>
                        <a:rPr kumimoji="1" lang="en-US" altLang="ja-JP" sz="1200" b="0" dirty="0">
                          <a:solidFill>
                            <a:schemeClr val="tx1"/>
                          </a:solidFill>
                        </a:rPr>
                        <a:t>5,900</a:t>
                      </a:r>
                      <a:r>
                        <a:rPr kumimoji="1" lang="ja-JP" altLang="en-US" sz="1200" b="0" dirty="0">
                          <a:solidFill>
                            <a:schemeClr val="tx1"/>
                          </a:solidFill>
                        </a:rPr>
                        <a:t>百万円</a:t>
                      </a:r>
                      <a:endParaRPr kumimoji="1" lang="en-US" altLang="ja-JP" sz="1200" b="0" dirty="0">
                        <a:solidFill>
                          <a:schemeClr val="tx1"/>
                        </a:solidFill>
                      </a:endParaRPr>
                    </a:p>
                    <a:p>
                      <a:r>
                        <a:rPr kumimoji="1" lang="ja-JP" altLang="en-US" sz="1200" dirty="0"/>
                        <a:t>社会資本整備総合交付金</a:t>
                      </a:r>
                      <a:endParaRPr kumimoji="1" lang="en-US" altLang="ja-JP" sz="1200" dirty="0"/>
                    </a:p>
                    <a:p>
                      <a:r>
                        <a:rPr kumimoji="1" lang="en-US" altLang="ja-JP" sz="1200" dirty="0"/>
                        <a:t>506,453</a:t>
                      </a:r>
                      <a:r>
                        <a:rPr kumimoji="1" lang="ja-JP" altLang="en-US" sz="1200" dirty="0"/>
                        <a:t>百万円の内数</a:t>
                      </a:r>
                    </a:p>
                  </a:txBody>
                  <a:tcPr marL="91425" marR="91425" marT="45713" marB="45713">
                    <a:noFill/>
                  </a:tcPr>
                </a:tc>
                <a:extLst>
                  <a:ext uri="{0D108BD9-81ED-4DB2-BD59-A6C34878D82A}">
                    <a16:rowId xmlns:a16="http://schemas.microsoft.com/office/drawing/2014/main" val="327038892"/>
                  </a:ext>
                </a:extLst>
              </a:tr>
              <a:tr h="779521">
                <a:tc>
                  <a:txBody>
                    <a:bodyPr/>
                    <a:lstStyle/>
                    <a:p>
                      <a:pPr algn="ctr"/>
                      <a:r>
                        <a:rPr kumimoji="1" lang="ja-JP" altLang="en-US" sz="1200" dirty="0"/>
                        <a:t>②</a:t>
                      </a:r>
                    </a:p>
                  </a:txBody>
                  <a:tcPr marL="91425" marR="91425" marT="45713" marB="45713" anchor="ctr">
                    <a:noFill/>
                  </a:tcPr>
                </a:tc>
                <a:tc>
                  <a:txBody>
                    <a:bodyPr/>
                    <a:lstStyle/>
                    <a:p>
                      <a:pPr algn="ctr"/>
                      <a:r>
                        <a:rPr kumimoji="1" lang="ja-JP" altLang="en-US" sz="1200" dirty="0"/>
                        <a:t>なりわい（仕事）</a:t>
                      </a:r>
                      <a:br>
                        <a:rPr kumimoji="1" lang="en-US" altLang="ja-JP" sz="1200" dirty="0"/>
                      </a:br>
                      <a:r>
                        <a:rPr kumimoji="1" lang="ja-JP" altLang="en-US" sz="1200" dirty="0"/>
                        <a:t>コミュニティ</a:t>
                      </a:r>
                    </a:p>
                  </a:txBody>
                  <a:tcPr marL="91425" marR="91425" marT="45713" marB="45713" anchor="ctr">
                    <a:noFill/>
                  </a:tcPr>
                </a:tc>
                <a:tc>
                  <a:txBody>
                    <a:bodyPr/>
                    <a:lstStyle/>
                    <a:p>
                      <a:r>
                        <a:rPr kumimoji="1" lang="ja-JP" altLang="en-US" sz="1200" dirty="0"/>
                        <a:t>地方移住促進テレワーク拠点施設整備支援事業</a:t>
                      </a:r>
                    </a:p>
                  </a:txBody>
                  <a:tcPr marL="91425" marR="91425" marT="45713" marB="45713">
                    <a:noFill/>
                  </a:tcPr>
                </a:tc>
                <a:tc>
                  <a:txBody>
                    <a:bodyPr/>
                    <a:lstStyle/>
                    <a:p>
                      <a:r>
                        <a:rPr kumimoji="1" lang="ja-JP" altLang="en-US" sz="1200" dirty="0">
                          <a:solidFill>
                            <a:schemeClr val="tx1"/>
                          </a:solidFill>
                        </a:rPr>
                        <a:t>特定居住促進計画区域内でのコワーキングスペース等の整備に対する個別補助を創設</a:t>
                      </a:r>
                    </a:p>
                  </a:txBody>
                  <a:tcPr marL="91425" marR="91425" marT="45713" marB="45713">
                    <a:noFill/>
                  </a:tcPr>
                </a:tc>
                <a:tc>
                  <a:txBody>
                    <a:bodyPr/>
                    <a:lstStyle/>
                    <a:p>
                      <a:r>
                        <a:rPr kumimoji="1" lang="en-US" altLang="ja-JP" sz="1200" dirty="0"/>
                        <a:t>30</a:t>
                      </a:r>
                      <a:r>
                        <a:rPr kumimoji="1" lang="ja-JP" altLang="en-US" sz="1200" dirty="0"/>
                        <a:t>百万円</a:t>
                      </a:r>
                      <a:endParaRPr kumimoji="1" lang="ja-JP" altLang="en-US" sz="1200" dirty="0">
                        <a:solidFill>
                          <a:srgbClr val="FF0000"/>
                        </a:solidFill>
                      </a:endParaRPr>
                    </a:p>
                  </a:txBody>
                  <a:tcPr marL="91425" marR="91425" marT="45713" marB="45713">
                    <a:noFill/>
                  </a:tcPr>
                </a:tc>
                <a:extLst>
                  <a:ext uri="{0D108BD9-81ED-4DB2-BD59-A6C34878D82A}">
                    <a16:rowId xmlns:a16="http://schemas.microsoft.com/office/drawing/2014/main" val="588553964"/>
                  </a:ext>
                </a:extLst>
              </a:tr>
              <a:tr h="639977">
                <a:tc>
                  <a:txBody>
                    <a:bodyPr/>
                    <a:lstStyle/>
                    <a:p>
                      <a:pPr algn="ctr"/>
                      <a:r>
                        <a:rPr kumimoji="1" lang="ja-JP" altLang="en-US" sz="1200" dirty="0"/>
                        <a:t>③</a:t>
                      </a:r>
                    </a:p>
                  </a:txBody>
                  <a:tcPr marL="91425" marR="91425" marT="45713" marB="45713" anchor="ctr">
                    <a:noFill/>
                  </a:tcPr>
                </a:tc>
                <a:tc>
                  <a:txBody>
                    <a:bodyPr/>
                    <a:lstStyle/>
                    <a:p>
                      <a:pPr algn="ctr"/>
                      <a:r>
                        <a:rPr kumimoji="1" lang="ja-JP" altLang="en-US" sz="1200" dirty="0"/>
                        <a:t>二地域居住等支援法人</a:t>
                      </a:r>
                    </a:p>
                  </a:txBody>
                  <a:tcPr marL="91425" marR="91425" marT="45713" marB="45713" anchor="ctr">
                    <a:noFill/>
                  </a:tcPr>
                </a:tc>
                <a:tc>
                  <a:txBody>
                    <a:bodyPr/>
                    <a:lstStyle/>
                    <a:p>
                      <a:r>
                        <a:rPr kumimoji="1" lang="ja-JP" altLang="en-US" sz="1200" dirty="0"/>
                        <a:t>移住・二地域居住等の促進に向けた実証調査</a:t>
                      </a:r>
                      <a:endParaRPr kumimoji="1" lang="ja-JP" altLang="en-US" sz="1200" dirty="0">
                        <a:solidFill>
                          <a:srgbClr val="FF0000"/>
                        </a:solidFill>
                      </a:endParaRPr>
                    </a:p>
                  </a:txBody>
                  <a:tcPr marL="91425" marR="91425" marT="45713" marB="45713">
                    <a:noFill/>
                  </a:tcPr>
                </a:tc>
                <a:tc>
                  <a:txBody>
                    <a:bodyPr/>
                    <a:lstStyle/>
                    <a:p>
                      <a:r>
                        <a:rPr kumimoji="1" lang="ja-JP" altLang="en-US" sz="1200" dirty="0">
                          <a:solidFill>
                            <a:schemeClr val="tx1"/>
                          </a:solidFill>
                        </a:rPr>
                        <a:t>移住・二地域居住等の促進に向けた実証調査</a:t>
                      </a:r>
                      <a:endParaRPr kumimoji="1" lang="en-US" altLang="ja-JP" sz="1200" dirty="0">
                        <a:solidFill>
                          <a:schemeClr val="tx1"/>
                        </a:solidFill>
                      </a:endParaRPr>
                    </a:p>
                    <a:p>
                      <a:r>
                        <a:rPr kumimoji="1" lang="ja-JP" altLang="en-US" sz="1200" dirty="0">
                          <a:solidFill>
                            <a:schemeClr val="tx1"/>
                          </a:solidFill>
                        </a:rPr>
                        <a:t>（先導的な二地域居住等支援法人の活動支援等）</a:t>
                      </a:r>
                      <a:r>
                        <a:rPr kumimoji="1" lang="en-US" altLang="ja-JP" sz="1200" dirty="0">
                          <a:solidFill>
                            <a:schemeClr val="tx1"/>
                          </a:solidFill>
                        </a:rPr>
                        <a:t>【</a:t>
                      </a:r>
                      <a:r>
                        <a:rPr kumimoji="1" lang="ja-JP" altLang="en-US" sz="1200" dirty="0">
                          <a:solidFill>
                            <a:schemeClr val="tx1"/>
                          </a:solidFill>
                        </a:rPr>
                        <a:t>定額補助</a:t>
                      </a:r>
                      <a:r>
                        <a:rPr kumimoji="1" lang="en-US" altLang="ja-JP" sz="1200" dirty="0">
                          <a:solidFill>
                            <a:schemeClr val="tx1"/>
                          </a:solidFill>
                        </a:rPr>
                        <a:t>】</a:t>
                      </a:r>
                      <a:endParaRPr kumimoji="1" lang="ja-JP" altLang="en-US" sz="1200" dirty="0">
                        <a:solidFill>
                          <a:schemeClr val="tx1"/>
                        </a:solidFill>
                      </a:endParaRPr>
                    </a:p>
                  </a:txBody>
                  <a:tcPr marL="91425" marR="91425" marT="45713" marB="45713">
                    <a:noFill/>
                  </a:tcPr>
                </a:tc>
                <a:tc>
                  <a:txBody>
                    <a:bodyPr/>
                    <a:lstStyle/>
                    <a:p>
                      <a:r>
                        <a:rPr kumimoji="1" lang="en-US" altLang="ja-JP" sz="1200" dirty="0"/>
                        <a:t>30</a:t>
                      </a:r>
                      <a:r>
                        <a:rPr kumimoji="1" lang="ja-JP" altLang="en-US" sz="1200" dirty="0"/>
                        <a:t>百万円（</a:t>
                      </a:r>
                      <a:r>
                        <a:rPr kumimoji="1" lang="en-US" altLang="ja-JP" sz="1200" dirty="0"/>
                        <a:t>R</a:t>
                      </a:r>
                      <a:r>
                        <a:rPr kumimoji="1" lang="ja-JP" altLang="en-US" sz="1200" dirty="0"/>
                        <a:t>５補正）</a:t>
                      </a:r>
                      <a:endParaRPr kumimoji="1" lang="en-US" altLang="ja-JP" sz="1200" dirty="0"/>
                    </a:p>
                    <a:p>
                      <a:r>
                        <a:rPr kumimoji="1" lang="en-US" altLang="ja-JP" sz="1200" dirty="0"/>
                        <a:t>13</a:t>
                      </a:r>
                      <a:r>
                        <a:rPr kumimoji="1" lang="ja-JP" altLang="en-US" sz="1200" dirty="0"/>
                        <a:t>百万円</a:t>
                      </a:r>
                    </a:p>
                  </a:txBody>
                  <a:tcPr marL="91425" marR="91425" marT="45713" marB="45713">
                    <a:noFill/>
                  </a:tcPr>
                </a:tc>
                <a:extLst>
                  <a:ext uri="{0D108BD9-81ED-4DB2-BD59-A6C34878D82A}">
                    <a16:rowId xmlns:a16="http://schemas.microsoft.com/office/drawing/2014/main" val="30255369"/>
                  </a:ext>
                </a:extLst>
              </a:tr>
            </a:tbl>
          </a:graphicData>
        </a:graphic>
      </p:graphicFrame>
      <p:graphicFrame>
        <p:nvGraphicFramePr>
          <p:cNvPr id="2" name="表 4">
            <a:extLst>
              <a:ext uri="{FF2B5EF4-FFF2-40B4-BE49-F238E27FC236}">
                <a16:creationId xmlns:a16="http://schemas.microsoft.com/office/drawing/2014/main" id="{E26E3D4E-B814-1CA5-D5A9-AAC78F6AC35F}"/>
              </a:ext>
            </a:extLst>
          </p:cNvPr>
          <p:cNvGraphicFramePr>
            <a:graphicFrameLocks noGrp="1"/>
          </p:cNvGraphicFramePr>
          <p:nvPr/>
        </p:nvGraphicFramePr>
        <p:xfrm>
          <a:off x="492107" y="4107779"/>
          <a:ext cx="8939222" cy="545841"/>
        </p:xfrm>
        <a:graphic>
          <a:graphicData uri="http://schemas.openxmlformats.org/drawingml/2006/table">
            <a:tbl>
              <a:tblPr firstRow="1" bandRow="1">
                <a:tableStyleId>{5940675A-B579-460E-94D1-54222C63F5DA}</a:tableStyleId>
              </a:tblPr>
              <a:tblGrid>
                <a:gridCol w="409448">
                  <a:extLst>
                    <a:ext uri="{9D8B030D-6E8A-4147-A177-3AD203B41FA5}">
                      <a16:colId xmlns:a16="http://schemas.microsoft.com/office/drawing/2014/main" val="2494020701"/>
                    </a:ext>
                  </a:extLst>
                </a:gridCol>
                <a:gridCol w="914253">
                  <a:extLst>
                    <a:ext uri="{9D8B030D-6E8A-4147-A177-3AD203B41FA5}">
                      <a16:colId xmlns:a16="http://schemas.microsoft.com/office/drawing/2014/main" val="687602084"/>
                    </a:ext>
                  </a:extLst>
                </a:gridCol>
                <a:gridCol w="2368170">
                  <a:extLst>
                    <a:ext uri="{9D8B030D-6E8A-4147-A177-3AD203B41FA5}">
                      <a16:colId xmlns:a16="http://schemas.microsoft.com/office/drawing/2014/main" val="3423526890"/>
                    </a:ext>
                  </a:extLst>
                </a:gridCol>
                <a:gridCol w="3307820">
                  <a:extLst>
                    <a:ext uri="{9D8B030D-6E8A-4147-A177-3AD203B41FA5}">
                      <a16:colId xmlns:a16="http://schemas.microsoft.com/office/drawing/2014/main" val="313477842"/>
                    </a:ext>
                  </a:extLst>
                </a:gridCol>
                <a:gridCol w="1939531">
                  <a:extLst>
                    <a:ext uri="{9D8B030D-6E8A-4147-A177-3AD203B41FA5}">
                      <a16:colId xmlns:a16="http://schemas.microsoft.com/office/drawing/2014/main" val="2502511674"/>
                    </a:ext>
                  </a:extLst>
                </a:gridCol>
              </a:tblGrid>
              <a:tr h="545841">
                <a:tc>
                  <a:txBody>
                    <a:bodyPr/>
                    <a:lstStyle/>
                    <a:p>
                      <a:pPr algn="ctr"/>
                      <a:r>
                        <a:rPr kumimoji="1" lang="ja-JP" altLang="en-US" sz="1200" dirty="0"/>
                        <a:t>④</a:t>
                      </a:r>
                    </a:p>
                  </a:txBody>
                  <a:tcPr marL="91425" marR="91425" marT="45713" marB="45713" anchor="ctr"/>
                </a:tc>
                <a:tc>
                  <a:txBody>
                    <a:bodyPr/>
                    <a:lstStyle/>
                    <a:p>
                      <a:pPr algn="ctr"/>
                      <a:r>
                        <a:rPr kumimoji="1" lang="ja-JP" altLang="en-US" sz="1200" dirty="0"/>
                        <a:t>インフラ</a:t>
                      </a:r>
                    </a:p>
                  </a:txBody>
                  <a:tcPr marL="91425" marR="91425" marT="45713" marB="45713" anchor="ctr"/>
                </a:tc>
                <a:tc>
                  <a:txBody>
                    <a:bodyPr/>
                    <a:lstStyle/>
                    <a:p>
                      <a:pPr marL="0" marR="0" lvl="0" indent="0" algn="l" defTabSz="844073"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社会資本整備総合交付金（広域連携事業）</a:t>
                      </a:r>
                      <a:endParaRPr kumimoji="1" lang="en-US" altLang="ja-JP" sz="1200" dirty="0">
                        <a:solidFill>
                          <a:srgbClr val="00B0F0"/>
                        </a:solidFill>
                      </a:endParaRPr>
                    </a:p>
                  </a:txBody>
                  <a:tcPr marL="91425" marR="91425" marT="45713" marB="45713"/>
                </a:tc>
                <a:tc>
                  <a:txBody>
                    <a:bodyPr/>
                    <a:lstStyle/>
                    <a:p>
                      <a:pPr marL="0" marR="0" lvl="0" indent="0" algn="l" defTabSz="844073"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交付金の対象に、二地域居住等の拠点施設に関連した都道府県による基盤整備を追加</a:t>
                      </a:r>
                    </a:p>
                  </a:txBody>
                  <a:tcPr marL="91425" marR="91425" marT="45713" marB="45713"/>
                </a:tc>
                <a:tc>
                  <a:txBody>
                    <a:bodyPr/>
                    <a:lstStyle/>
                    <a:p>
                      <a:r>
                        <a:rPr kumimoji="1" lang="ja-JP" altLang="en-US" sz="1200" dirty="0"/>
                        <a:t>社会資本整備総合交付金</a:t>
                      </a:r>
                      <a:endParaRPr kumimoji="1" lang="en-US" altLang="ja-JP" sz="1200" dirty="0"/>
                    </a:p>
                    <a:p>
                      <a:r>
                        <a:rPr kumimoji="1" lang="en-US" altLang="ja-JP" sz="1200" dirty="0"/>
                        <a:t>506,453</a:t>
                      </a:r>
                      <a:r>
                        <a:rPr kumimoji="1" lang="ja-JP" altLang="en-US" sz="1200" dirty="0"/>
                        <a:t>百万円の内数</a:t>
                      </a:r>
                    </a:p>
                  </a:txBody>
                  <a:tcPr marL="91425" marR="91425" marT="45713" marB="45713"/>
                </a:tc>
                <a:extLst>
                  <a:ext uri="{0D108BD9-81ED-4DB2-BD59-A6C34878D82A}">
                    <a16:rowId xmlns:a16="http://schemas.microsoft.com/office/drawing/2014/main" val="2035977827"/>
                  </a:ext>
                </a:extLst>
              </a:tr>
            </a:tbl>
          </a:graphicData>
        </a:graphic>
      </p:graphicFrame>
      <p:graphicFrame>
        <p:nvGraphicFramePr>
          <p:cNvPr id="5" name="表 4">
            <a:extLst>
              <a:ext uri="{FF2B5EF4-FFF2-40B4-BE49-F238E27FC236}">
                <a16:creationId xmlns:a16="http://schemas.microsoft.com/office/drawing/2014/main" id="{A418F3BE-9A8F-4969-237F-4B22A7D4FCBE}"/>
              </a:ext>
            </a:extLst>
          </p:cNvPr>
          <p:cNvGraphicFramePr>
            <a:graphicFrameLocks noGrp="1"/>
          </p:cNvGraphicFramePr>
          <p:nvPr/>
        </p:nvGraphicFramePr>
        <p:xfrm>
          <a:off x="498520" y="4953649"/>
          <a:ext cx="8907372" cy="1920198"/>
        </p:xfrm>
        <a:graphic>
          <a:graphicData uri="http://schemas.openxmlformats.org/drawingml/2006/table">
            <a:tbl>
              <a:tblPr firstRow="1" bandRow="1">
                <a:tableStyleId>{5940675A-B579-460E-94D1-54222C63F5DA}</a:tableStyleId>
              </a:tblPr>
              <a:tblGrid>
                <a:gridCol w="403035">
                  <a:extLst>
                    <a:ext uri="{9D8B030D-6E8A-4147-A177-3AD203B41FA5}">
                      <a16:colId xmlns:a16="http://schemas.microsoft.com/office/drawing/2014/main" val="4027510391"/>
                    </a:ext>
                  </a:extLst>
                </a:gridCol>
                <a:gridCol w="914253">
                  <a:extLst>
                    <a:ext uri="{9D8B030D-6E8A-4147-A177-3AD203B41FA5}">
                      <a16:colId xmlns:a16="http://schemas.microsoft.com/office/drawing/2014/main" val="563435815"/>
                    </a:ext>
                  </a:extLst>
                </a:gridCol>
                <a:gridCol w="2372403">
                  <a:extLst>
                    <a:ext uri="{9D8B030D-6E8A-4147-A177-3AD203B41FA5}">
                      <a16:colId xmlns:a16="http://schemas.microsoft.com/office/drawing/2014/main" val="16246528"/>
                    </a:ext>
                  </a:extLst>
                </a:gridCol>
                <a:gridCol w="3328983">
                  <a:extLst>
                    <a:ext uri="{9D8B030D-6E8A-4147-A177-3AD203B41FA5}">
                      <a16:colId xmlns:a16="http://schemas.microsoft.com/office/drawing/2014/main" val="490839964"/>
                    </a:ext>
                  </a:extLst>
                </a:gridCol>
                <a:gridCol w="1888698">
                  <a:extLst>
                    <a:ext uri="{9D8B030D-6E8A-4147-A177-3AD203B41FA5}">
                      <a16:colId xmlns:a16="http://schemas.microsoft.com/office/drawing/2014/main" val="350375698"/>
                    </a:ext>
                  </a:extLst>
                </a:gridCol>
              </a:tblGrid>
              <a:tr h="639977">
                <a:tc>
                  <a:txBody>
                    <a:bodyPr/>
                    <a:lstStyle/>
                    <a:p>
                      <a:pPr algn="ctr"/>
                      <a:r>
                        <a:rPr kumimoji="1" lang="ja-JP" altLang="en-US" sz="1200" dirty="0"/>
                        <a:t>⑤</a:t>
                      </a:r>
                    </a:p>
                  </a:txBody>
                  <a:tcPr marL="91425" marR="91425" marT="45713" marB="45713" anchor="ctr">
                    <a:noFill/>
                  </a:tcPr>
                </a:tc>
                <a:tc>
                  <a:txBody>
                    <a:bodyPr/>
                    <a:lstStyle/>
                    <a:p>
                      <a:pPr algn="ctr"/>
                      <a:r>
                        <a:rPr kumimoji="1" lang="ja-JP" altLang="en-US" sz="1200" dirty="0"/>
                        <a:t>観光</a:t>
                      </a:r>
                    </a:p>
                  </a:txBody>
                  <a:tcPr marL="91425" marR="91425" marT="45713" marB="45713" anchor="ctr">
                    <a:noFill/>
                  </a:tcPr>
                </a:tc>
                <a:tc>
                  <a:txBody>
                    <a:bodyPr/>
                    <a:lstStyle/>
                    <a:p>
                      <a:pPr marL="0" marR="0" lvl="0" indent="0" algn="l" defTabSz="844073" rtl="0" eaLnBrk="1" fontAlgn="auto" latinLnBrk="0" hangingPunct="1">
                        <a:lnSpc>
                          <a:spcPct val="100000"/>
                        </a:lnSpc>
                        <a:spcBef>
                          <a:spcPts val="0"/>
                        </a:spcBef>
                        <a:spcAft>
                          <a:spcPts val="0"/>
                        </a:spcAft>
                        <a:buClrTx/>
                        <a:buSzTx/>
                        <a:buFontTx/>
                        <a:buNone/>
                        <a:tabLst/>
                        <a:defRPr/>
                      </a:pPr>
                      <a:r>
                        <a:rPr kumimoji="1" lang="ja-JP" altLang="en-US" sz="1200" dirty="0"/>
                        <a:t>第２のふるさとづくりプロジェクト</a:t>
                      </a:r>
                      <a:endParaRPr kumimoji="1" lang="en-US" altLang="ja-JP" sz="1200" dirty="0"/>
                    </a:p>
                    <a:p>
                      <a:pPr marL="0" marR="0" lvl="0" indent="0" algn="l" defTabSz="844073" rtl="0" eaLnBrk="1" fontAlgn="auto" latinLnBrk="0" hangingPunct="1">
                        <a:lnSpc>
                          <a:spcPct val="100000"/>
                        </a:lnSpc>
                        <a:spcBef>
                          <a:spcPts val="0"/>
                        </a:spcBef>
                        <a:spcAft>
                          <a:spcPts val="0"/>
                        </a:spcAft>
                        <a:buClrTx/>
                        <a:buSzTx/>
                        <a:buFontTx/>
                        <a:buNone/>
                        <a:tabLst/>
                        <a:defRPr/>
                      </a:pPr>
                      <a:endParaRPr kumimoji="1" lang="en-US" altLang="ja-JP" sz="1200" kern="1200" dirty="0">
                        <a:solidFill>
                          <a:srgbClr val="FF0000"/>
                        </a:solidFill>
                        <a:latin typeface="+mn-lt"/>
                        <a:ea typeface="+mn-ea"/>
                        <a:cs typeface="+mn-cs"/>
                      </a:endParaRPr>
                    </a:p>
                  </a:txBody>
                  <a:tcPr marL="91425" marR="91425" marT="45713" marB="45713">
                    <a:noFill/>
                  </a:tcPr>
                </a:tc>
                <a:tc>
                  <a:txBody>
                    <a:bodyPr/>
                    <a:lstStyle/>
                    <a:p>
                      <a:r>
                        <a:rPr kumimoji="1" lang="ja-JP" altLang="en-US" sz="1200" dirty="0"/>
                        <a:t>二地域居住等の促進に</a:t>
                      </a:r>
                      <a:r>
                        <a:rPr kumimoji="1" lang="ja-JP" altLang="en-US" sz="1200" dirty="0">
                          <a:solidFill>
                            <a:schemeClr val="tx1"/>
                          </a:solidFill>
                        </a:rPr>
                        <a:t>関する施策と連携して実施する申請案件について連携</a:t>
                      </a:r>
                    </a:p>
                  </a:txBody>
                  <a:tcPr marL="91425" marR="91425" marT="45713" marB="45713">
                    <a:noFill/>
                  </a:tcPr>
                </a:tc>
                <a:tc>
                  <a:txBody>
                    <a:bodyPr/>
                    <a:lstStyle/>
                    <a:p>
                      <a:r>
                        <a:rPr kumimoji="1" lang="ja-JP" altLang="en-US" sz="1200" dirty="0"/>
                        <a:t>新たな交流市場・観光資源の創出事業</a:t>
                      </a:r>
                      <a:r>
                        <a:rPr kumimoji="1" lang="en-US" altLang="ja-JP" sz="1200" dirty="0"/>
                        <a:t>615</a:t>
                      </a:r>
                      <a:r>
                        <a:rPr kumimoji="1" lang="ja-JP" altLang="en-US" sz="1200" dirty="0"/>
                        <a:t>百万円の内数</a:t>
                      </a:r>
                    </a:p>
                  </a:txBody>
                  <a:tcPr marL="91425" marR="91425" marT="45713" marB="45713">
                    <a:noFill/>
                  </a:tcPr>
                </a:tc>
                <a:extLst>
                  <a:ext uri="{0D108BD9-81ED-4DB2-BD59-A6C34878D82A}">
                    <a16:rowId xmlns:a16="http://schemas.microsoft.com/office/drawing/2014/main" val="2888209753"/>
                  </a:ext>
                </a:extLst>
              </a:tr>
              <a:tr h="639977">
                <a:tc>
                  <a:txBody>
                    <a:bodyPr/>
                    <a:lstStyle/>
                    <a:p>
                      <a:pPr algn="ctr"/>
                      <a:r>
                        <a:rPr kumimoji="1" lang="ja-JP" altLang="en-US" sz="1200" dirty="0"/>
                        <a:t>⑥</a:t>
                      </a:r>
                    </a:p>
                  </a:txBody>
                  <a:tcPr marL="91425" marR="91425" marT="45713" marB="45713" anchor="ctr">
                    <a:noFill/>
                  </a:tcPr>
                </a:tc>
                <a:tc>
                  <a:txBody>
                    <a:bodyPr/>
                    <a:lstStyle/>
                    <a:p>
                      <a:pPr algn="ctr"/>
                      <a:r>
                        <a:rPr kumimoji="1" lang="ja-JP" altLang="en-US" sz="1200" dirty="0"/>
                        <a:t>地域交通</a:t>
                      </a:r>
                    </a:p>
                  </a:txBody>
                  <a:tcPr marL="91425" marR="91425" marT="45713" marB="45713" anchor="ctr">
                    <a:noFill/>
                  </a:tcPr>
                </a:tc>
                <a:tc>
                  <a:txBody>
                    <a:bodyPr/>
                    <a:lstStyle/>
                    <a:p>
                      <a:pPr marL="0" marR="0" lvl="0" indent="0" algn="l" defTabSz="844073" rtl="0" eaLnBrk="1" fontAlgn="base" latinLnBrk="0" hangingPunct="1">
                        <a:lnSpc>
                          <a:spcPct val="100000"/>
                        </a:lnSpc>
                        <a:spcBef>
                          <a:spcPct val="0"/>
                        </a:spcBef>
                        <a:spcAft>
                          <a:spcPct val="0"/>
                        </a:spcAft>
                        <a:buClrTx/>
                        <a:buSzTx/>
                        <a:buFontTx/>
                        <a:buNone/>
                        <a:tabLst/>
                        <a:defRPr/>
                      </a:pPr>
                      <a:r>
                        <a:rPr kumimoji="1" lang="ja-JP" altLang="en-US" sz="1200" dirty="0"/>
                        <a:t>共創・</a:t>
                      </a:r>
                      <a:r>
                        <a:rPr kumimoji="1" lang="en-US" altLang="ja-JP" sz="1200" dirty="0" err="1"/>
                        <a:t>MaaS</a:t>
                      </a:r>
                      <a:r>
                        <a:rPr kumimoji="1" lang="ja-JP" altLang="en-US" sz="1200" dirty="0"/>
                        <a:t>実証プロジェクト</a:t>
                      </a:r>
                      <a:r>
                        <a:rPr kumimoji="1" lang="en-US" altLang="ja-JP" sz="1200" b="1" kern="1200" dirty="0">
                          <a:solidFill>
                            <a:schemeClr val="lt1"/>
                          </a:solidFill>
                          <a:latin typeface="メイリオ" panose="020B0604030504040204" pitchFamily="50" charset="-128"/>
                          <a:ea typeface="メイリオ" panose="020B0604030504040204" pitchFamily="50" charset="-128"/>
                          <a:cs typeface="+mn-cs"/>
                        </a:rPr>
                        <a:t>【</a:t>
                      </a:r>
                    </a:p>
                    <a:p>
                      <a:pPr marL="0" marR="0" lvl="0" indent="0" algn="l" defTabSz="844073" rtl="0" eaLnBrk="1" fontAlgn="base" latinLnBrk="0" hangingPunct="1">
                        <a:lnSpc>
                          <a:spcPct val="100000"/>
                        </a:lnSpc>
                        <a:spcBef>
                          <a:spcPct val="0"/>
                        </a:spcBef>
                        <a:spcAft>
                          <a:spcPct val="0"/>
                        </a:spcAft>
                        <a:buClrTx/>
                        <a:buSzTx/>
                        <a:buFontTx/>
                        <a:buNone/>
                        <a:tabLst/>
                        <a:defRPr/>
                      </a:pPr>
                      <a:endParaRPr kumimoji="1" lang="en-US" altLang="ja-JP" sz="1200" kern="1200" dirty="0">
                        <a:solidFill>
                          <a:srgbClr val="FF0000"/>
                        </a:solidFill>
                        <a:latin typeface="+mn-lt"/>
                        <a:ea typeface="+mn-ea"/>
                        <a:cs typeface="+mn-cs"/>
                      </a:endParaRPr>
                    </a:p>
                  </a:txBody>
                  <a:tcPr marL="91425" marR="91425" marT="45713" marB="45713">
                    <a:noFill/>
                  </a:tcPr>
                </a:tc>
                <a:tc>
                  <a:txBody>
                    <a:bodyPr/>
                    <a:lstStyle/>
                    <a:p>
                      <a:r>
                        <a:rPr kumimoji="1" lang="ja-JP" altLang="en-US" sz="1200" dirty="0"/>
                        <a:t>二地域居住等の促進</a:t>
                      </a:r>
                      <a:r>
                        <a:rPr kumimoji="1" lang="ja-JP" altLang="en-US" sz="1200" dirty="0">
                          <a:solidFill>
                            <a:schemeClr val="tx1"/>
                          </a:solidFill>
                        </a:rPr>
                        <a:t>に関する施策と連携して実施する申請案件について連携</a:t>
                      </a:r>
                    </a:p>
                  </a:txBody>
                  <a:tcPr marL="91425" marR="91425" marT="45713" marB="45713">
                    <a:noFill/>
                  </a:tcPr>
                </a:tc>
                <a:tc>
                  <a:txBody>
                    <a:bodyPr/>
                    <a:lstStyle/>
                    <a:p>
                      <a:r>
                        <a:rPr kumimoji="1" lang="ja-JP" altLang="en-US" sz="1200" dirty="0"/>
                        <a:t>地域公共交通確保維持改善事業</a:t>
                      </a:r>
                      <a:r>
                        <a:rPr kumimoji="1" lang="en-US" altLang="ja-JP" sz="1200" b="0" dirty="0">
                          <a:solidFill>
                            <a:schemeClr val="tx1"/>
                          </a:solidFill>
                        </a:rPr>
                        <a:t>55,849</a:t>
                      </a:r>
                      <a:r>
                        <a:rPr kumimoji="1" lang="ja-JP" altLang="en-US" sz="1200" b="0" dirty="0">
                          <a:solidFill>
                            <a:schemeClr val="tx1"/>
                          </a:solidFill>
                        </a:rPr>
                        <a:t>百万円の内数（</a:t>
                      </a:r>
                      <a:r>
                        <a:rPr kumimoji="1" lang="en-US" altLang="ja-JP" sz="1200" b="0" dirty="0">
                          <a:solidFill>
                            <a:schemeClr val="tx1"/>
                          </a:solidFill>
                        </a:rPr>
                        <a:t>R5</a:t>
                      </a:r>
                      <a:r>
                        <a:rPr kumimoji="1" lang="ja-JP" altLang="en-US" sz="1200" b="0" dirty="0">
                          <a:solidFill>
                            <a:schemeClr val="tx1"/>
                          </a:solidFill>
                        </a:rPr>
                        <a:t>補正）</a:t>
                      </a:r>
                    </a:p>
                  </a:txBody>
                  <a:tcPr marL="91425" marR="91425" marT="45713" marB="45713">
                    <a:noFill/>
                  </a:tcPr>
                </a:tc>
                <a:extLst>
                  <a:ext uri="{0D108BD9-81ED-4DB2-BD59-A6C34878D82A}">
                    <a16:rowId xmlns:a16="http://schemas.microsoft.com/office/drawing/2014/main" val="524604659"/>
                  </a:ext>
                </a:extLst>
              </a:tr>
              <a:tr h="639977">
                <a:tc>
                  <a:txBody>
                    <a:bodyPr/>
                    <a:lstStyle/>
                    <a:p>
                      <a:pPr marL="0" marR="0" lvl="0" indent="0" algn="ctr" defTabSz="844073" rtl="0" eaLnBrk="1" fontAlgn="auto" latinLnBrk="0" hangingPunct="1">
                        <a:lnSpc>
                          <a:spcPct val="100000"/>
                        </a:lnSpc>
                        <a:spcBef>
                          <a:spcPts val="0"/>
                        </a:spcBef>
                        <a:spcAft>
                          <a:spcPts val="0"/>
                        </a:spcAft>
                        <a:buClrTx/>
                        <a:buSzTx/>
                        <a:buFontTx/>
                        <a:buNone/>
                        <a:tabLst/>
                        <a:defRPr/>
                      </a:pPr>
                      <a:r>
                        <a:rPr kumimoji="1" lang="ja-JP" altLang="en-US" sz="1200" dirty="0"/>
                        <a:t>⑦</a:t>
                      </a:r>
                    </a:p>
                  </a:txBody>
                  <a:tcPr marL="91425" marR="91425" marT="45713" marB="45713" anchor="ctr">
                    <a:noFill/>
                  </a:tcPr>
                </a:tc>
                <a:tc>
                  <a:txBody>
                    <a:bodyPr/>
                    <a:lstStyle/>
                    <a:p>
                      <a:pPr marL="0" marR="0" lvl="0" indent="0" algn="ctr" defTabSz="844073"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デジタル</a:t>
                      </a:r>
                    </a:p>
                  </a:txBody>
                  <a:tcPr marL="91425" marR="91425" marT="45713" marB="45713" anchor="ctr">
                    <a:noFill/>
                  </a:tcPr>
                </a:tc>
                <a:tc>
                  <a:txBody>
                    <a:bodyPr/>
                    <a:lstStyle/>
                    <a:p>
                      <a:pPr marL="0" marR="0" lvl="0" indent="0" algn="l" defTabSz="844073" rtl="0" eaLnBrk="1" fontAlgn="base" latinLnBrk="0" hangingPunct="1">
                        <a:lnSpc>
                          <a:spcPct val="100000"/>
                        </a:lnSpc>
                        <a:spcBef>
                          <a:spcPct val="0"/>
                        </a:spcBef>
                        <a:spcAft>
                          <a:spcPct val="0"/>
                        </a:spcAft>
                        <a:buClrTx/>
                        <a:buSzTx/>
                        <a:buFontTx/>
                        <a:buNone/>
                        <a:tabLst/>
                        <a:defRPr/>
                      </a:pPr>
                      <a:r>
                        <a:rPr kumimoji="1" lang="ja-JP" altLang="en-US" sz="1200" kern="1200" dirty="0">
                          <a:solidFill>
                            <a:schemeClr val="tx1"/>
                          </a:solidFill>
                          <a:latin typeface="+mn-lt"/>
                          <a:ea typeface="+mn-ea"/>
                          <a:cs typeface="+mn-cs"/>
                        </a:rPr>
                        <a:t>デジタル田園都市国家構想交付金</a:t>
                      </a:r>
                      <a:endParaRPr kumimoji="1" lang="en-US" altLang="ja-JP" sz="1200" kern="1200" dirty="0">
                        <a:solidFill>
                          <a:srgbClr val="FF0000"/>
                        </a:solidFill>
                        <a:latin typeface="+mn-lt"/>
                        <a:ea typeface="+mn-ea"/>
                        <a:cs typeface="+mn-cs"/>
                      </a:endParaRPr>
                    </a:p>
                    <a:p>
                      <a:pPr marL="0" marR="0" lvl="0" indent="0" algn="l" defTabSz="844073" rtl="0" eaLnBrk="1" fontAlgn="base" latinLnBrk="0" hangingPunct="1">
                        <a:lnSpc>
                          <a:spcPct val="100000"/>
                        </a:lnSpc>
                        <a:spcBef>
                          <a:spcPct val="0"/>
                        </a:spcBef>
                        <a:spcAft>
                          <a:spcPct val="0"/>
                        </a:spcAft>
                        <a:buClrTx/>
                        <a:buSzTx/>
                        <a:buFontTx/>
                        <a:buNone/>
                        <a:tabLst/>
                        <a:defRPr/>
                      </a:pPr>
                      <a:endParaRPr kumimoji="1" lang="en-US" altLang="ja-JP" sz="1200" kern="1200" dirty="0">
                        <a:solidFill>
                          <a:schemeClr val="tx1"/>
                        </a:solidFill>
                        <a:latin typeface="+mn-lt"/>
                        <a:ea typeface="+mn-ea"/>
                        <a:cs typeface="+mn-cs"/>
                      </a:endParaRPr>
                    </a:p>
                  </a:txBody>
                  <a:tcPr marL="91425" marR="91425" marT="45713" marB="45713">
                    <a:noFill/>
                  </a:tcPr>
                </a:tc>
                <a:tc>
                  <a:txBody>
                    <a:bodyPr/>
                    <a:lstStyle/>
                    <a:p>
                      <a:r>
                        <a:rPr kumimoji="1" lang="ja-JP" altLang="en-US" sz="1200" dirty="0"/>
                        <a:t>二地域居住等の促進</a:t>
                      </a:r>
                      <a:r>
                        <a:rPr kumimoji="1" lang="ja-JP" altLang="en-US" sz="1200" dirty="0">
                          <a:solidFill>
                            <a:schemeClr val="tx1"/>
                          </a:solidFill>
                        </a:rPr>
                        <a:t>に関する施策と連携して実施する申請案件について連携</a:t>
                      </a:r>
                    </a:p>
                  </a:txBody>
                  <a:tcPr marL="91425" marR="91425" marT="45713" marB="45713">
                    <a:noFill/>
                  </a:tcPr>
                </a:tc>
                <a:tc>
                  <a:txBody>
                    <a:bodyPr/>
                    <a:lstStyle/>
                    <a:p>
                      <a:r>
                        <a:rPr kumimoji="1" lang="en-US" altLang="ja-JP" sz="1200" b="0" dirty="0">
                          <a:solidFill>
                            <a:schemeClr val="tx1"/>
                          </a:solidFill>
                        </a:rPr>
                        <a:t>73,500</a:t>
                      </a:r>
                      <a:r>
                        <a:rPr kumimoji="1" lang="ja-JP" altLang="en-US" sz="1200" b="0" dirty="0">
                          <a:solidFill>
                            <a:schemeClr val="tx1"/>
                          </a:solidFill>
                        </a:rPr>
                        <a:t>百万円（</a:t>
                      </a:r>
                      <a:r>
                        <a:rPr kumimoji="1" lang="en-US" altLang="ja-JP" sz="1200" b="0" dirty="0">
                          <a:solidFill>
                            <a:schemeClr val="tx1"/>
                          </a:solidFill>
                        </a:rPr>
                        <a:t>R5</a:t>
                      </a:r>
                      <a:r>
                        <a:rPr kumimoji="1" lang="ja-JP" altLang="en-US" sz="1200" b="0" dirty="0">
                          <a:solidFill>
                            <a:schemeClr val="tx1"/>
                          </a:solidFill>
                        </a:rPr>
                        <a:t>補正）、</a:t>
                      </a:r>
                      <a:endParaRPr kumimoji="1" lang="en-US" altLang="ja-JP" sz="1200" b="0" dirty="0">
                        <a:solidFill>
                          <a:schemeClr val="tx1"/>
                        </a:solidFill>
                      </a:endParaRPr>
                    </a:p>
                    <a:p>
                      <a:r>
                        <a:rPr kumimoji="1" lang="en-US" altLang="ja-JP" sz="1200" b="0" dirty="0">
                          <a:solidFill>
                            <a:schemeClr val="tx1"/>
                          </a:solidFill>
                        </a:rPr>
                        <a:t>100,000</a:t>
                      </a:r>
                      <a:r>
                        <a:rPr kumimoji="1" lang="ja-JP" altLang="en-US" sz="1200" b="0" dirty="0">
                          <a:solidFill>
                            <a:schemeClr val="tx1"/>
                          </a:solidFill>
                        </a:rPr>
                        <a:t>百万円の内数</a:t>
                      </a:r>
                    </a:p>
                  </a:txBody>
                  <a:tcPr marL="91425" marR="91425" marT="45713" marB="45713">
                    <a:noFill/>
                  </a:tcPr>
                </a:tc>
                <a:extLst>
                  <a:ext uri="{0D108BD9-81ED-4DB2-BD59-A6C34878D82A}">
                    <a16:rowId xmlns:a16="http://schemas.microsoft.com/office/drawing/2014/main" val="1734405850"/>
                  </a:ext>
                </a:extLst>
              </a:tr>
            </a:tbl>
          </a:graphicData>
        </a:graphic>
      </p:graphicFrame>
      <p:sp>
        <p:nvSpPr>
          <p:cNvPr id="6" name="スライド番号プレースホルダー 2">
            <a:extLst>
              <a:ext uri="{FF2B5EF4-FFF2-40B4-BE49-F238E27FC236}">
                <a16:creationId xmlns:a16="http://schemas.microsoft.com/office/drawing/2014/main" id="{994181FA-8A24-E173-A76B-E521481872BA}"/>
              </a:ext>
            </a:extLst>
          </p:cNvPr>
          <p:cNvSpPr>
            <a:spLocks noGrp="1"/>
          </p:cNvSpPr>
          <p:nvPr>
            <p:ph type="sldNum" sz="quarter" idx="12"/>
          </p:nvPr>
        </p:nvSpPr>
        <p:spPr>
          <a:xfrm>
            <a:off x="7593383" y="7257989"/>
            <a:ext cx="2311030" cy="538868"/>
          </a:xfrm>
        </p:spPr>
        <p:txBody>
          <a:bodyPr/>
          <a:lstStyle/>
          <a:p>
            <a:pPr>
              <a:defRPr/>
            </a:pPr>
            <a:fld id="{06FFE511-5094-4685-A035-FB392A6605D8}" type="slidenum">
              <a:rPr lang="en-US" altLang="ja-JP" smtClean="0"/>
              <a:pPr>
                <a:defRPr/>
              </a:pPr>
              <a:t>48</a:t>
            </a:fld>
            <a:endParaRPr lang="en-US" altLang="ja-JP" dirty="0"/>
          </a:p>
        </p:txBody>
      </p:sp>
    </p:spTree>
    <p:extLst>
      <p:ext uri="{BB962C8B-B14F-4D97-AF65-F5344CB8AC3E}">
        <p14:creationId xmlns:p14="http://schemas.microsoft.com/office/powerpoint/2010/main" val="27037154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lang="ja-JP" altLang="en-US" sz="3000" dirty="0">
                <a:solidFill>
                  <a:schemeClr val="accent6"/>
                </a:solidFill>
                <a:latin typeface="ＤＦ特太ゴシック体" panose="020B0509000000000000" pitchFamily="49" charset="-128"/>
                <a:ea typeface="ＤＦ特太ゴシック体" panose="020B0509000000000000" pitchFamily="49" charset="-128"/>
              </a:rPr>
              <a:t>２．</a:t>
            </a:r>
            <a:r>
              <a:rPr kumimoji="1" lang="ja-JP" altLang="en-US" sz="3000" dirty="0">
                <a:solidFill>
                  <a:schemeClr val="accent6"/>
                </a:solidFill>
                <a:latin typeface="ＤＦ特太ゴシック体" panose="020B0509000000000000" pitchFamily="49" charset="-128"/>
                <a:ea typeface="ＤＦ特太ゴシック体" panose="020B0509000000000000" pitchFamily="49" charset="-128"/>
              </a:rPr>
              <a:t>国土形成計画（全国計画）について</a:t>
            </a:r>
          </a:p>
        </p:txBody>
      </p:sp>
    </p:spTree>
    <p:extLst>
      <p:ext uri="{BB962C8B-B14F-4D97-AF65-F5344CB8AC3E}">
        <p14:creationId xmlns:p14="http://schemas.microsoft.com/office/powerpoint/2010/main" val="14856655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3" name="正方形/長方形 77"/>
          <p:cNvSpPr/>
          <p:nvPr/>
        </p:nvSpPr>
        <p:spPr>
          <a:xfrm>
            <a:off x="810277" y="2275260"/>
            <a:ext cx="8217327" cy="4622832"/>
          </a:xfrm>
          <a:prstGeom prst="rect">
            <a:avLst/>
          </a:prstGeom>
          <a:solidFill>
            <a:schemeClr val="accent5"/>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cxnSp>
        <p:nvCxnSpPr>
          <p:cNvPr id="1994" name="直線コネクタ 37"/>
          <p:cNvCxnSpPr/>
          <p:nvPr/>
        </p:nvCxnSpPr>
        <p:spPr>
          <a:xfrm>
            <a:off x="6407990" y="4887049"/>
            <a:ext cx="0" cy="1461889"/>
          </a:xfrm>
          <a:prstGeom prst="line">
            <a:avLst/>
          </a:prstGeom>
          <a:ln w="9525" cap="flat" cmpd="sng" algn="ctr">
            <a:solidFill>
              <a:schemeClr val="accent2"/>
            </a:solidFill>
            <a:prstDash val="solid"/>
            <a:round/>
            <a:headEnd type="none" w="med" len="med"/>
            <a:tailEnd type="none" w="med" len="med"/>
          </a:ln>
        </p:spPr>
        <p:style>
          <a:lnRef idx="0">
            <a:srgbClr val="000000"/>
          </a:lnRef>
          <a:fillRef idx="0">
            <a:srgbClr val="000000"/>
          </a:fillRef>
          <a:effectRef idx="0">
            <a:srgbClr val="000000"/>
          </a:effectRef>
          <a:fontRef idx="minor">
            <a:schemeClr val="tx1"/>
          </a:fontRef>
        </p:style>
      </p:cxnSp>
      <p:cxnSp>
        <p:nvCxnSpPr>
          <p:cNvPr id="1995" name="直線コネクタ 67"/>
          <p:cNvCxnSpPr/>
          <p:nvPr/>
        </p:nvCxnSpPr>
        <p:spPr>
          <a:xfrm>
            <a:off x="8319413" y="4876918"/>
            <a:ext cx="0" cy="664390"/>
          </a:xfrm>
          <a:prstGeom prst="line">
            <a:avLst/>
          </a:prstGeom>
          <a:ln w="9525" cap="flat" cmpd="sng" algn="ctr">
            <a:solidFill>
              <a:schemeClr val="accent2"/>
            </a:solidFill>
            <a:prstDash val="dash"/>
            <a:round/>
            <a:headEnd type="none" w="med" len="med"/>
            <a:tailEnd type="none" w="med" len="med"/>
          </a:ln>
        </p:spPr>
        <p:style>
          <a:lnRef idx="0">
            <a:srgbClr val="000000"/>
          </a:lnRef>
          <a:fillRef idx="0">
            <a:srgbClr val="000000"/>
          </a:fillRef>
          <a:effectRef idx="0">
            <a:srgbClr val="000000"/>
          </a:effectRef>
          <a:fontRef idx="minor">
            <a:schemeClr val="tx1"/>
          </a:fontRef>
        </p:style>
      </p:cxnSp>
      <p:cxnSp>
        <p:nvCxnSpPr>
          <p:cNvPr id="1996" name="直線コネクタ 69"/>
          <p:cNvCxnSpPr/>
          <p:nvPr/>
        </p:nvCxnSpPr>
        <p:spPr>
          <a:xfrm>
            <a:off x="7118252" y="4411442"/>
            <a:ext cx="0" cy="461656"/>
          </a:xfrm>
          <a:prstGeom prst="line">
            <a:avLst/>
          </a:prstGeom>
          <a:ln w="9525" cap="flat" cmpd="sng" algn="ctr">
            <a:solidFill>
              <a:schemeClr val="accent2"/>
            </a:solidFill>
            <a:prstDash val="solid"/>
            <a:round/>
            <a:headEnd type="none" w="med" len="med"/>
            <a:tailEnd type="none" w="med" len="med"/>
          </a:ln>
        </p:spPr>
        <p:style>
          <a:lnRef idx="0">
            <a:srgbClr val="000000"/>
          </a:lnRef>
          <a:fillRef idx="0">
            <a:srgbClr val="000000"/>
          </a:fillRef>
          <a:effectRef idx="0">
            <a:srgbClr val="000000"/>
          </a:effectRef>
          <a:fontRef idx="minor">
            <a:schemeClr val="tx1"/>
          </a:fontRef>
        </p:style>
      </p:cxnSp>
      <p:sp>
        <p:nvSpPr>
          <p:cNvPr id="1997" name="Rectangle 2"/>
          <p:cNvSpPr txBox="1">
            <a:spLocks noChangeArrowheads="1"/>
          </p:cNvSpPr>
          <p:nvPr/>
        </p:nvSpPr>
        <p:spPr>
          <a:xfrm>
            <a:off x="0" y="58372"/>
            <a:ext cx="8140669" cy="439545"/>
          </a:xfrm>
          <a:prstGeom prst="rect">
            <a:avLst/>
          </a:prstGeom>
        </p:spPr>
        <p:txBody>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marL="166125" defTabSz="914217"/>
            <a:r>
              <a:rPr lang="ja-JP" altLang="en-US" sz="2215" kern="0" dirty="0">
                <a:solidFill>
                  <a:srgbClr val="0070C0"/>
                </a:solidFill>
                <a:latin typeface="HGP創英角ｺﾞｼｯｸUB"/>
                <a:ea typeface="HGP創英角ｺﾞｼｯｸUB"/>
              </a:rPr>
              <a:t>全国二地域居住等促進協議会（令和３年設立）について</a:t>
            </a:r>
          </a:p>
        </p:txBody>
      </p:sp>
      <p:sp>
        <p:nvSpPr>
          <p:cNvPr id="1998" name="正方形/長方形 6"/>
          <p:cNvSpPr/>
          <p:nvPr/>
        </p:nvSpPr>
        <p:spPr>
          <a:xfrm>
            <a:off x="797681" y="2226290"/>
            <a:ext cx="4376824" cy="362171"/>
          </a:xfrm>
          <a:prstGeom prst="rect">
            <a:avLst/>
          </a:prstGeom>
          <a:solidFill>
            <a:srgbClr val="0070C0"/>
          </a:solidFill>
        </p:spPr>
        <p:txBody>
          <a:bodyPr wrap="square" lIns="84392" tIns="42196" rIns="84392" bIns="42196">
            <a:spAutoFit/>
          </a:bodyPr>
          <a:lstStyle/>
          <a:p>
            <a:pPr algn="ctr" defTabSz="914217"/>
            <a:r>
              <a:rPr lang="ja-JP" altLang="en-US" b="1" dirty="0">
                <a:solidFill>
                  <a:srgbClr val="FFFFFF"/>
                </a:solidFill>
                <a:latin typeface="ＭＳ ゴシック" panose="020B0609070205080204" pitchFamily="49" charset="-128"/>
                <a:ea typeface="ＭＳ ゴシック" panose="020B0609070205080204" pitchFamily="49" charset="-128"/>
              </a:rPr>
              <a:t>全国二地域居住等促進協議会</a:t>
            </a:r>
          </a:p>
        </p:txBody>
      </p:sp>
      <p:sp>
        <p:nvSpPr>
          <p:cNvPr id="1999" name="テキスト ボックス 7"/>
          <p:cNvSpPr txBox="1"/>
          <p:nvPr/>
        </p:nvSpPr>
        <p:spPr>
          <a:xfrm>
            <a:off x="722992" y="1269435"/>
            <a:ext cx="8379320" cy="688733"/>
          </a:xfrm>
          <a:prstGeom prst="rect">
            <a:avLst/>
          </a:prstGeom>
          <a:noFill/>
          <a:ln>
            <a:solidFill>
              <a:schemeClr val="tx1"/>
            </a:solidFill>
          </a:ln>
        </p:spPr>
        <p:txBody>
          <a:bodyPr wrap="square" rtlCol="0">
            <a:spAutoFit/>
          </a:bodyPr>
          <a:lstStyle/>
          <a:p>
            <a:pPr defTabSz="914217"/>
            <a:r>
              <a:rPr lang="ja-JP" altLang="en-US" sz="1292" dirty="0">
                <a:solidFill>
                  <a:srgbClr val="000000"/>
                </a:solidFill>
                <a:ea typeface="ＭＳ Ｐゴシック" charset="-128"/>
              </a:rPr>
              <a:t>　二地域居住等の推進に係る様々な施策や事例等の情報の交換・共有や発信、課題の整理や対応策の検討・提言等を行うことにより、二地域居住等の機運を一層高めるため、「全国二地域居住等促進協議会」を設立。　</a:t>
            </a:r>
            <a:r>
              <a:rPr lang="en-US" altLang="ja-JP" sz="1292" dirty="0">
                <a:solidFill>
                  <a:srgbClr val="000000"/>
                </a:solidFill>
                <a:ea typeface="ＭＳ Ｐゴシック" charset="-128"/>
              </a:rPr>
              <a:t>※</a:t>
            </a:r>
            <a:r>
              <a:rPr lang="ja-JP" altLang="en-US" sz="1292" dirty="0">
                <a:solidFill>
                  <a:srgbClr val="000000"/>
                </a:solidFill>
                <a:ea typeface="ＭＳ Ｐゴシック" charset="-128"/>
              </a:rPr>
              <a:t>今後拡充予定。</a:t>
            </a:r>
            <a:endParaRPr lang="en-US" altLang="ja-JP" sz="1292" dirty="0">
              <a:solidFill>
                <a:srgbClr val="000000"/>
              </a:solidFill>
              <a:ea typeface="ＭＳ Ｐゴシック" charset="-128"/>
            </a:endParaRPr>
          </a:p>
          <a:p>
            <a:pPr defTabSz="914217"/>
            <a:r>
              <a:rPr lang="ja-JP" altLang="en-US" sz="1292" dirty="0">
                <a:solidFill>
                  <a:srgbClr val="000000"/>
                </a:solidFill>
                <a:ea typeface="ＭＳ Ｐゴシック" charset="-128"/>
              </a:rPr>
              <a:t>（令和３年３月９日設立）</a:t>
            </a:r>
            <a:r>
              <a:rPr lang="ja-JP" altLang="en-US" sz="1108" dirty="0">
                <a:solidFill>
                  <a:srgbClr val="000000"/>
                </a:solidFill>
                <a:ea typeface="ＭＳ Ｐゴシック" charset="-128"/>
              </a:rPr>
              <a:t>　</a:t>
            </a:r>
            <a:r>
              <a:rPr lang="en-US" altLang="ja-JP" sz="1108" dirty="0">
                <a:solidFill>
                  <a:srgbClr val="000000"/>
                </a:solidFill>
                <a:latin typeface="ＭＳ Ｐゴシック"/>
                <a:ea typeface="ＭＳ Ｐゴシック" charset="-128"/>
              </a:rPr>
              <a:t>※</a:t>
            </a:r>
            <a:r>
              <a:rPr lang="ja-JP" altLang="en-US" sz="1108" dirty="0">
                <a:solidFill>
                  <a:srgbClr val="000000"/>
                </a:solidFill>
                <a:latin typeface="ＭＳ Ｐゴシック"/>
                <a:ea typeface="ＭＳ Ｐゴシック" charset="-128"/>
              </a:rPr>
              <a:t>参加団体数 ７５３団体（令和６年３月１日時点）　　（ＨＰ ： </a:t>
            </a:r>
            <a:r>
              <a:rPr lang="en-US" altLang="ja-JP" sz="1108" dirty="0">
                <a:solidFill>
                  <a:srgbClr val="000000"/>
                </a:solidFill>
                <a:latin typeface="ＭＳ Ｐゴシック"/>
                <a:ea typeface="ＭＳ Ｐゴシック" charset="-128"/>
              </a:rPr>
              <a:t>https://www.mlit.go.jp/2chiiki/index.html</a:t>
            </a:r>
            <a:r>
              <a:rPr lang="ja-JP" altLang="en-US" sz="1108" dirty="0">
                <a:solidFill>
                  <a:srgbClr val="000000"/>
                </a:solidFill>
                <a:latin typeface="ＭＳ Ｐゴシック"/>
                <a:ea typeface="ＭＳ Ｐゴシック" charset="-128"/>
              </a:rPr>
              <a:t>）</a:t>
            </a:r>
            <a:endParaRPr lang="ja-JP" altLang="en-US" sz="1108" dirty="0">
              <a:solidFill>
                <a:srgbClr val="FF0000"/>
              </a:solidFill>
              <a:latin typeface="ＭＳ Ｐゴシック"/>
              <a:ea typeface="ＭＳ Ｐゴシック" charset="-128"/>
            </a:endParaRPr>
          </a:p>
        </p:txBody>
      </p:sp>
      <p:cxnSp>
        <p:nvCxnSpPr>
          <p:cNvPr id="2000" name="直線コネクタ 32"/>
          <p:cNvCxnSpPr/>
          <p:nvPr/>
        </p:nvCxnSpPr>
        <p:spPr>
          <a:xfrm>
            <a:off x="2899003" y="2678953"/>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01" name="直線コネクタ 33"/>
          <p:cNvCxnSpPr/>
          <p:nvPr/>
        </p:nvCxnSpPr>
        <p:spPr>
          <a:xfrm>
            <a:off x="6066742" y="2650767"/>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02" name="直線コネクタ 34"/>
          <p:cNvCxnSpPr/>
          <p:nvPr/>
        </p:nvCxnSpPr>
        <p:spPr>
          <a:xfrm>
            <a:off x="6261178" y="2665187"/>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2003" name="正方形/長方形 40"/>
          <p:cNvSpPr/>
          <p:nvPr/>
        </p:nvSpPr>
        <p:spPr>
          <a:xfrm>
            <a:off x="5221476" y="3688171"/>
            <a:ext cx="3809251" cy="729590"/>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3333CC"/>
              </a:solidFill>
              <a:latin typeface="Arial"/>
              <a:ea typeface="ＭＳ Ｐゴシック"/>
            </a:endParaRPr>
          </a:p>
        </p:txBody>
      </p:sp>
      <p:sp>
        <p:nvSpPr>
          <p:cNvPr id="2004" name="正方形/長方形 41"/>
          <p:cNvSpPr/>
          <p:nvPr/>
        </p:nvSpPr>
        <p:spPr>
          <a:xfrm>
            <a:off x="5632441" y="3894906"/>
            <a:ext cx="3136358" cy="440706"/>
          </a:xfrm>
          <a:prstGeom prst="rect">
            <a:avLst/>
          </a:prstGeom>
          <a:noFill/>
          <a:ln>
            <a:noFill/>
          </a:ln>
        </p:spPr>
        <p:txBody>
          <a:bodyPr wrap="square" lIns="84392" tIns="42196" rIns="84392" bIns="42196">
            <a:spAutoFit/>
          </a:bodyPr>
          <a:lstStyle/>
          <a:p>
            <a:pPr marL="79117" indent="-79117" defTabSz="914217"/>
            <a:r>
              <a:rPr lang="ja-JP" altLang="en-US" sz="1477" dirty="0">
                <a:solidFill>
                  <a:srgbClr val="3333CC"/>
                </a:solidFill>
                <a:latin typeface="ＭＳ ゴシック" panose="020B0609070205080204" pitchFamily="49" charset="-128"/>
                <a:ea typeface="ＭＳ ゴシック" panose="020B0609070205080204" pitchFamily="49" charset="-128"/>
              </a:rPr>
              <a:t>会　長</a:t>
            </a:r>
            <a:r>
              <a:rPr lang="ja-JP" altLang="en-US" sz="1477" dirty="0">
                <a:solidFill>
                  <a:srgbClr val="3333CC"/>
                </a:solidFill>
                <a:ea typeface="ＭＳ Ｐゴシック" charset="-128"/>
              </a:rPr>
              <a:t>　　長野県 （知事：阿部 守一）</a:t>
            </a:r>
            <a:endParaRPr lang="en-US" altLang="ja-JP" sz="1477" dirty="0">
              <a:solidFill>
                <a:srgbClr val="3333CC"/>
              </a:solidFill>
              <a:ea typeface="ＭＳ Ｐゴシック" charset="-128"/>
            </a:endParaRPr>
          </a:p>
          <a:p>
            <a:pPr marL="79117" indent="-79117" defTabSz="914217">
              <a:lnSpc>
                <a:spcPts val="997"/>
              </a:lnSpc>
            </a:pPr>
            <a:r>
              <a:rPr lang="ja-JP" altLang="en-US" sz="1108" dirty="0">
                <a:solidFill>
                  <a:srgbClr val="3333CC"/>
                </a:solidFill>
                <a:ea typeface="ＭＳ Ｐゴシック" charset="-128"/>
              </a:rPr>
              <a:t>　　　　　　　　　　　　</a:t>
            </a:r>
            <a:endParaRPr lang="en-US" altLang="ja-JP" sz="831" dirty="0">
              <a:solidFill>
                <a:srgbClr val="3333CC"/>
              </a:solidFill>
              <a:ea typeface="ＭＳ Ｐゴシック" charset="-128"/>
            </a:endParaRPr>
          </a:p>
        </p:txBody>
      </p:sp>
      <p:sp>
        <p:nvSpPr>
          <p:cNvPr id="2005" name="テキスト ボックス 47"/>
          <p:cNvSpPr txBox="1"/>
          <p:nvPr/>
        </p:nvSpPr>
        <p:spPr>
          <a:xfrm>
            <a:off x="3303250" y="6725406"/>
            <a:ext cx="3731292" cy="272307"/>
          </a:xfrm>
          <a:prstGeom prst="rect">
            <a:avLst/>
          </a:prstGeom>
          <a:solidFill>
            <a:schemeClr val="bg1"/>
          </a:solidFill>
          <a:ln w="952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algn="ctr">
              <a:defRPr>
                <a:solidFill>
                  <a:srgbClr val="3333CC"/>
                </a:solidFill>
                <a:latin typeface="+mn-lt"/>
                <a:ea typeface="+mn-ea"/>
              </a:defRPr>
            </a:lvl1pPr>
            <a:lvl2pPr>
              <a:defRPr>
                <a:solidFill>
                  <a:schemeClr val="lt1"/>
                </a:solidFill>
                <a:latin typeface="+mn-lt"/>
                <a:ea typeface="+mn-ea"/>
              </a:defRPr>
            </a:lvl2pPr>
            <a:lvl3pPr>
              <a:defRPr>
                <a:solidFill>
                  <a:schemeClr val="lt1"/>
                </a:solidFill>
                <a:latin typeface="+mn-lt"/>
                <a:ea typeface="+mn-ea"/>
              </a:defRPr>
            </a:lvl3pPr>
            <a:lvl4pPr>
              <a:defRPr>
                <a:solidFill>
                  <a:schemeClr val="lt1"/>
                </a:solidFill>
                <a:latin typeface="+mn-lt"/>
                <a:ea typeface="+mn-ea"/>
              </a:defRPr>
            </a:lvl4pPr>
            <a:lvl5pPr>
              <a:defRPr>
                <a:solidFill>
                  <a:schemeClr val="lt1"/>
                </a:solidFill>
                <a:latin typeface="+mn-lt"/>
                <a:ea typeface="+mn-ea"/>
              </a:defRPr>
            </a:lvl5pPr>
            <a:lvl6pPr>
              <a:defRPr>
                <a:solidFill>
                  <a:schemeClr val="lt1"/>
                </a:solidFill>
                <a:latin typeface="+mn-lt"/>
                <a:ea typeface="+mn-ea"/>
              </a:defRPr>
            </a:lvl6pPr>
            <a:lvl7pPr>
              <a:defRPr>
                <a:solidFill>
                  <a:schemeClr val="lt1"/>
                </a:solidFill>
                <a:latin typeface="+mn-lt"/>
                <a:ea typeface="+mn-ea"/>
              </a:defRPr>
            </a:lvl7pPr>
            <a:lvl8pPr>
              <a:defRPr>
                <a:solidFill>
                  <a:schemeClr val="lt1"/>
                </a:solidFill>
                <a:latin typeface="+mn-lt"/>
                <a:ea typeface="+mn-ea"/>
              </a:defRPr>
            </a:lvl8pPr>
            <a:lvl9pPr>
              <a:defRPr>
                <a:solidFill>
                  <a:schemeClr val="lt1"/>
                </a:solidFill>
                <a:latin typeface="+mn-lt"/>
                <a:ea typeface="+mn-ea"/>
              </a:defRPr>
            </a:lvl9pPr>
          </a:lstStyle>
          <a:p>
            <a:pPr defTabSz="914217"/>
            <a:r>
              <a:rPr lang="ja-JP" altLang="en-US" sz="1108" dirty="0">
                <a:solidFill>
                  <a:srgbClr val="000000"/>
                </a:solidFill>
                <a:latin typeface="Arial" charset="0"/>
                <a:ea typeface="ＭＳ Ｐゴシック" charset="-128"/>
              </a:rPr>
              <a:t>＜運営事務局＞　国土交通省国土政策局地方振興課　</a:t>
            </a:r>
            <a:endParaRPr lang="en-US" altLang="ja-JP" sz="1108" dirty="0">
              <a:solidFill>
                <a:srgbClr val="000000"/>
              </a:solidFill>
              <a:latin typeface="Arial" charset="0"/>
              <a:ea typeface="ＭＳ Ｐゴシック" charset="-128"/>
            </a:endParaRPr>
          </a:p>
        </p:txBody>
      </p:sp>
      <p:sp>
        <p:nvSpPr>
          <p:cNvPr id="2006" name="正方形/長方形 56"/>
          <p:cNvSpPr/>
          <p:nvPr/>
        </p:nvSpPr>
        <p:spPr>
          <a:xfrm flipH="1" flipV="1">
            <a:off x="5200503" y="5136953"/>
            <a:ext cx="2410034" cy="1512623"/>
          </a:xfrm>
          <a:prstGeom prst="rect">
            <a:avLst/>
          </a:prstGeom>
          <a:solidFill>
            <a:schemeClr val="bg1"/>
          </a:solidFill>
          <a:ln w="952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cxnSp>
        <p:nvCxnSpPr>
          <p:cNvPr id="2007" name="直線コネクタ 71"/>
          <p:cNvCxnSpPr/>
          <p:nvPr/>
        </p:nvCxnSpPr>
        <p:spPr>
          <a:xfrm flipV="1">
            <a:off x="6411088" y="4886731"/>
            <a:ext cx="718079" cy="0"/>
          </a:xfrm>
          <a:prstGeom prst="line">
            <a:avLst/>
          </a:prstGeom>
          <a:ln w="9525" cap="flat" cmpd="sng" algn="ctr">
            <a:solidFill>
              <a:schemeClr val="accent2"/>
            </a:solidFill>
            <a:prstDash val="solid"/>
            <a:round/>
            <a:headEnd type="none" w="med" len="med"/>
            <a:tailEnd type="none" w="med" len="med"/>
          </a:ln>
        </p:spPr>
        <p:style>
          <a:lnRef idx="0">
            <a:srgbClr val="000000"/>
          </a:lnRef>
          <a:fillRef idx="0">
            <a:srgbClr val="000000"/>
          </a:fillRef>
          <a:effectRef idx="0">
            <a:srgbClr val="000000"/>
          </a:effectRef>
          <a:fontRef idx="minor">
            <a:schemeClr val="tx1"/>
          </a:fontRef>
        </p:style>
      </p:cxnSp>
      <p:sp>
        <p:nvSpPr>
          <p:cNvPr id="2008" name="正方形/長方形 57"/>
          <p:cNvSpPr/>
          <p:nvPr/>
        </p:nvSpPr>
        <p:spPr>
          <a:xfrm>
            <a:off x="919894" y="2618836"/>
            <a:ext cx="4180424" cy="2432868"/>
          </a:xfrm>
          <a:prstGeom prst="rect">
            <a:avLst/>
          </a:prstGeom>
          <a:solidFill>
            <a:schemeClr val="bg1"/>
          </a:solidFill>
          <a:ln w="9525">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3333CC"/>
              </a:solidFill>
              <a:latin typeface="Arial"/>
              <a:ea typeface="ＭＳ Ｐゴシック"/>
            </a:endParaRPr>
          </a:p>
        </p:txBody>
      </p:sp>
      <p:sp>
        <p:nvSpPr>
          <p:cNvPr id="2009" name="テキスト ボックス 58"/>
          <p:cNvSpPr txBox="1"/>
          <p:nvPr/>
        </p:nvSpPr>
        <p:spPr>
          <a:xfrm>
            <a:off x="943743" y="2903452"/>
            <a:ext cx="3942006" cy="1796999"/>
          </a:xfrm>
          <a:prstGeom prst="rect">
            <a:avLst/>
          </a:prstGeom>
          <a:noFill/>
        </p:spPr>
        <p:txBody>
          <a:bodyPr wrap="square" rtlCol="0">
            <a:spAutoFit/>
          </a:bodyPr>
          <a:lstStyle/>
          <a:p>
            <a:pPr defTabSz="914217"/>
            <a:r>
              <a:rPr lang="ja-JP" altLang="en-US" sz="1108" dirty="0">
                <a:solidFill>
                  <a:srgbClr val="000000"/>
                </a:solidFill>
                <a:ea typeface="ＭＳ Ｐゴシック" charset="-128"/>
              </a:rPr>
              <a:t>○正会員（地方公共団体　６６８団体）</a:t>
            </a:r>
          </a:p>
          <a:p>
            <a:pPr defTabSz="914217"/>
            <a:r>
              <a:rPr lang="ja-JP" altLang="en-US" sz="1108" dirty="0">
                <a:solidFill>
                  <a:srgbClr val="000000"/>
                </a:solidFill>
                <a:ea typeface="ＭＳ Ｐゴシック" charset="-128"/>
              </a:rPr>
              <a:t>　・都道府県 （　４２団体）</a:t>
            </a:r>
          </a:p>
          <a:p>
            <a:pPr defTabSz="914217"/>
            <a:r>
              <a:rPr lang="ja-JP" altLang="en-US" sz="1108" dirty="0">
                <a:solidFill>
                  <a:srgbClr val="000000"/>
                </a:solidFill>
                <a:ea typeface="ＭＳ Ｐゴシック" charset="-128"/>
              </a:rPr>
              <a:t>　・市区町村 （６２６団体）</a:t>
            </a:r>
            <a:endParaRPr lang="en-US" altLang="ja-JP" sz="1108" dirty="0">
              <a:solidFill>
                <a:srgbClr val="000000"/>
              </a:solidFill>
              <a:ea typeface="ＭＳ Ｐゴシック" charset="-128"/>
            </a:endParaRPr>
          </a:p>
          <a:p>
            <a:pPr defTabSz="914217"/>
            <a:endParaRPr lang="en-US" altLang="ja-JP" sz="1108" dirty="0">
              <a:solidFill>
                <a:srgbClr val="000000"/>
              </a:solidFill>
              <a:ea typeface="ＭＳ Ｐゴシック" charset="-128"/>
            </a:endParaRPr>
          </a:p>
          <a:p>
            <a:pPr defTabSz="914217"/>
            <a:r>
              <a:rPr lang="ja-JP" altLang="en-US" sz="1108" dirty="0">
                <a:solidFill>
                  <a:srgbClr val="000000"/>
                </a:solidFill>
                <a:ea typeface="ＭＳ Ｐゴシック" charset="-128"/>
              </a:rPr>
              <a:t>○ 協力会員（関係団体、事業者等</a:t>
            </a:r>
            <a:r>
              <a:rPr lang="ja-JP" altLang="en-US" sz="1108" dirty="0">
                <a:solidFill>
                  <a:srgbClr val="FF0000"/>
                </a:solidFill>
                <a:ea typeface="ＭＳ Ｐゴシック" charset="-128"/>
              </a:rPr>
              <a:t>　</a:t>
            </a:r>
            <a:r>
              <a:rPr lang="ja-JP" altLang="en-US" sz="1108" dirty="0">
                <a:solidFill>
                  <a:srgbClr val="000000"/>
                </a:solidFill>
                <a:ea typeface="ＭＳ Ｐゴシック" charset="-128"/>
              </a:rPr>
              <a:t>８５団体）</a:t>
            </a:r>
          </a:p>
          <a:p>
            <a:pPr defTabSz="914217"/>
            <a:r>
              <a:rPr lang="ja-JP" altLang="en-US" sz="1108" dirty="0">
                <a:solidFill>
                  <a:srgbClr val="000000"/>
                </a:solidFill>
                <a:ea typeface="ＭＳ Ｐゴシック" charset="-128"/>
              </a:rPr>
              <a:t>　・移住等支援機関</a:t>
            </a:r>
          </a:p>
          <a:p>
            <a:pPr defTabSz="914217"/>
            <a:r>
              <a:rPr lang="ja-JP" altLang="en-US" sz="1108" dirty="0">
                <a:solidFill>
                  <a:srgbClr val="000000"/>
                </a:solidFill>
                <a:ea typeface="ＭＳ Ｐゴシック" charset="-128"/>
              </a:rPr>
              <a:t>　・不動産関係団体、全国版空き家・空き地バンク運営主体</a:t>
            </a:r>
            <a:endParaRPr lang="en-US" altLang="ja-JP" sz="1108" dirty="0">
              <a:solidFill>
                <a:srgbClr val="000000"/>
              </a:solidFill>
              <a:ea typeface="ＭＳ Ｐゴシック" charset="-128"/>
            </a:endParaRPr>
          </a:p>
          <a:p>
            <a:pPr defTabSz="914217"/>
            <a:r>
              <a:rPr lang="ja-JP" altLang="en-US" sz="1108" dirty="0">
                <a:solidFill>
                  <a:srgbClr val="000000"/>
                </a:solidFill>
                <a:ea typeface="ＭＳ Ｐゴシック" charset="-128"/>
              </a:rPr>
              <a:t>　・交通関係団体</a:t>
            </a:r>
          </a:p>
          <a:p>
            <a:pPr defTabSz="914217"/>
            <a:r>
              <a:rPr lang="ja-JP" altLang="en-US" sz="1108" dirty="0">
                <a:solidFill>
                  <a:srgbClr val="000000"/>
                </a:solidFill>
                <a:ea typeface="ＭＳ Ｐゴシック" charset="-128"/>
              </a:rPr>
              <a:t>　・関連民間事業者</a:t>
            </a:r>
          </a:p>
          <a:p>
            <a:pPr defTabSz="914217"/>
            <a:r>
              <a:rPr lang="ja-JP" altLang="en-US" sz="1108" dirty="0">
                <a:solidFill>
                  <a:srgbClr val="000000"/>
                </a:solidFill>
                <a:ea typeface="ＭＳ Ｐゴシック" charset="-128"/>
              </a:rPr>
              <a:t>　・関連メディア　等　</a:t>
            </a:r>
            <a:endParaRPr lang="en-US" altLang="ja-JP" sz="1108" dirty="0">
              <a:solidFill>
                <a:srgbClr val="000000"/>
              </a:solidFill>
              <a:ea typeface="ＭＳ Ｐゴシック" charset="-128"/>
            </a:endParaRPr>
          </a:p>
        </p:txBody>
      </p:sp>
      <p:sp>
        <p:nvSpPr>
          <p:cNvPr id="2010" name="テキスト ボックス 59"/>
          <p:cNvSpPr txBox="1"/>
          <p:nvPr/>
        </p:nvSpPr>
        <p:spPr>
          <a:xfrm>
            <a:off x="931119" y="2611539"/>
            <a:ext cx="3755254" cy="291123"/>
          </a:xfrm>
          <a:prstGeom prst="rect">
            <a:avLst/>
          </a:prstGeom>
          <a:noFill/>
        </p:spPr>
        <p:txBody>
          <a:bodyPr wrap="square" rtlCol="0">
            <a:spAutoFit/>
          </a:bodyPr>
          <a:lstStyle/>
          <a:p>
            <a:pPr marL="99675" indent="-421957" defTabSz="914217">
              <a:spcAft>
                <a:spcPts val="277"/>
              </a:spcAft>
            </a:pPr>
            <a:r>
              <a:rPr lang="ja-JP" altLang="en-US" sz="1292" dirty="0">
                <a:solidFill>
                  <a:srgbClr val="000000"/>
                </a:solidFill>
                <a:ea typeface="ＭＳ Ｐゴシック" charset="-128"/>
              </a:rPr>
              <a:t>＜ 協議会の構成員 ＞ </a:t>
            </a:r>
            <a:r>
              <a:rPr lang="ja-JP" altLang="en-US" sz="969" dirty="0">
                <a:solidFill>
                  <a:srgbClr val="000000"/>
                </a:solidFill>
                <a:ea typeface="ＭＳ Ｐゴシック" charset="-128"/>
              </a:rPr>
              <a:t>（順次案内し申込み受付中）</a:t>
            </a:r>
            <a:endParaRPr lang="en-US" altLang="ja-JP" sz="969" dirty="0">
              <a:solidFill>
                <a:srgbClr val="000000"/>
              </a:solidFill>
              <a:ea typeface="ＭＳ Ｐゴシック" charset="-128"/>
            </a:endParaRPr>
          </a:p>
        </p:txBody>
      </p:sp>
      <p:sp>
        <p:nvSpPr>
          <p:cNvPr id="2011" name="テキスト ボックス 60"/>
          <p:cNvSpPr txBox="1"/>
          <p:nvPr/>
        </p:nvSpPr>
        <p:spPr>
          <a:xfrm>
            <a:off x="2895596" y="4482676"/>
            <a:ext cx="2291469" cy="518329"/>
          </a:xfrm>
          <a:prstGeom prst="rect">
            <a:avLst/>
          </a:prstGeom>
          <a:noFill/>
        </p:spPr>
        <p:txBody>
          <a:bodyPr wrap="square" rtlCol="0">
            <a:spAutoFit/>
          </a:bodyPr>
          <a:lstStyle/>
          <a:p>
            <a:pPr marL="79117" indent="-79117" defTabSz="914217"/>
            <a:r>
              <a:rPr lang="ja-JP" altLang="en-US" sz="923" dirty="0">
                <a:solidFill>
                  <a:srgbClr val="0070C0"/>
                </a:solidFill>
                <a:ea typeface="ＭＳ Ｐゴシック" charset="-128"/>
              </a:rPr>
              <a:t>・参加を希望する地方公共団体等が参加</a:t>
            </a:r>
            <a:endParaRPr lang="en-US" altLang="ja-JP" sz="923" dirty="0">
              <a:solidFill>
                <a:srgbClr val="0070C0"/>
              </a:solidFill>
              <a:ea typeface="ＭＳ Ｐゴシック" charset="-128"/>
            </a:endParaRPr>
          </a:p>
          <a:p>
            <a:pPr marL="79117" indent="-79117" defTabSz="914217"/>
            <a:r>
              <a:rPr lang="ja-JP" altLang="en-US" sz="923" dirty="0">
                <a:solidFill>
                  <a:srgbClr val="0070C0"/>
                </a:solidFill>
                <a:ea typeface="ＭＳ Ｐゴシック" charset="-128"/>
              </a:rPr>
              <a:t>・会費は無料</a:t>
            </a:r>
            <a:endParaRPr lang="en-US" altLang="ja-JP" sz="923" dirty="0">
              <a:solidFill>
                <a:srgbClr val="0070C0"/>
              </a:solidFill>
              <a:ea typeface="ＭＳ Ｐゴシック" charset="-128"/>
            </a:endParaRPr>
          </a:p>
          <a:p>
            <a:pPr marL="79117" indent="-79117" defTabSz="914217"/>
            <a:r>
              <a:rPr lang="ja-JP" altLang="en-US" sz="923" dirty="0">
                <a:solidFill>
                  <a:srgbClr val="0070C0"/>
                </a:solidFill>
                <a:ea typeface="ＭＳ Ｐゴシック" charset="-128"/>
              </a:rPr>
              <a:t>・関係省庁はオブザーバーとして参加</a:t>
            </a:r>
          </a:p>
        </p:txBody>
      </p:sp>
      <p:sp>
        <p:nvSpPr>
          <p:cNvPr id="2012" name="テキスト ボックス 1"/>
          <p:cNvSpPr txBox="1"/>
          <p:nvPr/>
        </p:nvSpPr>
        <p:spPr>
          <a:xfrm>
            <a:off x="8265710" y="4780688"/>
            <a:ext cx="953361" cy="205857"/>
          </a:xfrm>
          <a:prstGeom prst="rect">
            <a:avLst/>
          </a:prstGeom>
          <a:noFill/>
          <a:ln>
            <a:noFill/>
          </a:ln>
        </p:spPr>
        <p:txBody>
          <a:bodyPr wrap="square" rtlCol="0">
            <a:spAutoFit/>
          </a:bodyPr>
          <a:lstStyle/>
          <a:p>
            <a:pPr defTabSz="914217"/>
            <a:r>
              <a:rPr lang="ja-JP" altLang="en-US" sz="738" dirty="0">
                <a:solidFill>
                  <a:srgbClr val="000000"/>
                </a:solidFill>
                <a:ea typeface="ＭＳ Ｐゴシック" charset="-128"/>
              </a:rPr>
              <a:t>（必要に応じて）</a:t>
            </a:r>
          </a:p>
        </p:txBody>
      </p:sp>
      <p:sp>
        <p:nvSpPr>
          <p:cNvPr id="2013" name="正方形/長方形 44"/>
          <p:cNvSpPr/>
          <p:nvPr/>
        </p:nvSpPr>
        <p:spPr>
          <a:xfrm>
            <a:off x="5783234" y="4984747"/>
            <a:ext cx="1232087" cy="241388"/>
          </a:xfrm>
          <a:prstGeom prst="rect">
            <a:avLst/>
          </a:prstGeom>
          <a:solidFill>
            <a:schemeClr val="bg1"/>
          </a:solidFill>
          <a:ln w="9525">
            <a:solidFill>
              <a:schemeClr val="accent6"/>
            </a:solidFill>
            <a:prstDash val="solid"/>
          </a:ln>
        </p:spPr>
        <p:txBody>
          <a:bodyPr wrap="square" lIns="84392" tIns="42196" rIns="84392" bIns="42196">
            <a:spAutoFit/>
          </a:bodyPr>
          <a:lstStyle/>
          <a:p>
            <a:pPr algn="ctr" defTabSz="914217"/>
            <a:r>
              <a:rPr lang="ja-JP" altLang="en-US" sz="1015" dirty="0">
                <a:solidFill>
                  <a:srgbClr val="3333CC"/>
                </a:solidFill>
                <a:ea typeface="ＭＳ Ｐゴシック" charset="-128"/>
              </a:rPr>
              <a:t>企画・普及部会</a:t>
            </a:r>
          </a:p>
        </p:txBody>
      </p:sp>
      <p:sp>
        <p:nvSpPr>
          <p:cNvPr id="2014" name="フローチャート: 代替処理 38"/>
          <p:cNvSpPr/>
          <p:nvPr/>
        </p:nvSpPr>
        <p:spPr>
          <a:xfrm flipH="1" flipV="1">
            <a:off x="919893" y="5276085"/>
            <a:ext cx="4174639" cy="1370002"/>
          </a:xfrm>
          <a:prstGeom prst="flowChartAlternateProcess">
            <a:avLst/>
          </a:prstGeom>
          <a:solidFill>
            <a:srgbClr val="FFFFCC"/>
          </a:solidFill>
          <a:ln w="31750">
            <a:solidFill>
              <a:srgbClr val="FFFFCC"/>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2015" name="テキスト ボックス 48"/>
          <p:cNvSpPr txBox="1"/>
          <p:nvPr/>
        </p:nvSpPr>
        <p:spPr>
          <a:xfrm>
            <a:off x="944583" y="5262548"/>
            <a:ext cx="4125261" cy="1456063"/>
          </a:xfrm>
          <a:prstGeom prst="rect">
            <a:avLst/>
          </a:prstGeom>
          <a:noFill/>
        </p:spPr>
        <p:txBody>
          <a:bodyPr wrap="square" rtlCol="0">
            <a:spAutoFit/>
          </a:bodyPr>
          <a:lstStyle/>
          <a:p>
            <a:pPr marL="66450" indent="-421957" defTabSz="914217"/>
            <a:r>
              <a:rPr lang="en-US" altLang="ja-JP" sz="1108" b="1" dirty="0">
                <a:solidFill>
                  <a:srgbClr val="000000"/>
                </a:solidFill>
                <a:ea typeface="ＭＳ Ｐゴシック" charset="-128"/>
              </a:rPr>
              <a:t>〔</a:t>
            </a:r>
            <a:r>
              <a:rPr lang="ja-JP" altLang="en-US" sz="1108" b="1" dirty="0">
                <a:solidFill>
                  <a:srgbClr val="000000"/>
                </a:solidFill>
                <a:ea typeface="ＭＳ Ｐゴシック" charset="-128"/>
              </a:rPr>
              <a:t>主な活動内容</a:t>
            </a:r>
            <a:r>
              <a:rPr lang="en-US" altLang="ja-JP" sz="1108" b="1" dirty="0">
                <a:solidFill>
                  <a:srgbClr val="000000"/>
                </a:solidFill>
                <a:ea typeface="ＭＳ Ｐゴシック" charset="-128"/>
              </a:rPr>
              <a:t>〕</a:t>
            </a:r>
          </a:p>
          <a:p>
            <a:pPr marL="66450" indent="-421957" defTabSz="914217"/>
            <a:r>
              <a:rPr lang="ja-JP" altLang="en-US" sz="1108" dirty="0">
                <a:solidFill>
                  <a:srgbClr val="000000"/>
                </a:solidFill>
                <a:ea typeface="ＭＳ Ｐゴシック" charset="-128"/>
              </a:rPr>
              <a:t>・二地域居住等の促進に関する施策、事例等の情報の交換と共有、発信</a:t>
            </a:r>
          </a:p>
          <a:p>
            <a:pPr marL="66450" indent="-421957" defTabSz="914217"/>
            <a:r>
              <a:rPr lang="ja-JP" altLang="en-US" sz="1108" dirty="0">
                <a:solidFill>
                  <a:srgbClr val="000000"/>
                </a:solidFill>
                <a:ea typeface="ＭＳ Ｐゴシック" charset="-128"/>
              </a:rPr>
              <a:t>・二地域居住等の促進に共通する具体的課題等について対応方策の協議・検討</a:t>
            </a:r>
          </a:p>
          <a:p>
            <a:pPr marL="66450" indent="-421957" defTabSz="914217"/>
            <a:r>
              <a:rPr lang="ja-JP" altLang="en-US" sz="1108" dirty="0">
                <a:solidFill>
                  <a:srgbClr val="000000"/>
                </a:solidFill>
                <a:ea typeface="ＭＳ Ｐゴシック" charset="-128"/>
              </a:rPr>
              <a:t>・二地域居住等の促進に係るノウハウ等の周知・普及、機運醸成</a:t>
            </a:r>
          </a:p>
          <a:p>
            <a:pPr marL="66450" indent="-421957" defTabSz="914217"/>
            <a:r>
              <a:rPr lang="ja-JP" altLang="en-US" sz="1108" dirty="0">
                <a:solidFill>
                  <a:srgbClr val="000000"/>
                </a:solidFill>
                <a:ea typeface="ＭＳ Ｐゴシック" charset="-128"/>
              </a:rPr>
              <a:t>・二地域居住等の促進のための実践的な政策検討・提言等</a:t>
            </a:r>
            <a:endParaRPr lang="en-US" altLang="ja-JP" sz="1108" dirty="0">
              <a:solidFill>
                <a:srgbClr val="000000"/>
              </a:solidFill>
              <a:ea typeface="ＭＳ Ｐゴシック" charset="-128"/>
            </a:endParaRPr>
          </a:p>
          <a:p>
            <a:pPr marL="66450" indent="-421957" defTabSz="914217"/>
            <a:r>
              <a:rPr lang="ja-JP" altLang="en-US" sz="1108" dirty="0">
                <a:solidFill>
                  <a:srgbClr val="000000"/>
                </a:solidFill>
                <a:ea typeface="ＭＳ Ｐゴシック" charset="-128"/>
              </a:rPr>
              <a:t>・その他</a:t>
            </a:r>
          </a:p>
        </p:txBody>
      </p:sp>
      <p:sp>
        <p:nvSpPr>
          <p:cNvPr id="2016" name="テキスト ボックス 49"/>
          <p:cNvSpPr txBox="1"/>
          <p:nvPr/>
        </p:nvSpPr>
        <p:spPr>
          <a:xfrm>
            <a:off x="3421623" y="2891682"/>
            <a:ext cx="1796335" cy="262787"/>
          </a:xfrm>
          <a:prstGeom prst="rect">
            <a:avLst/>
          </a:prstGeom>
          <a:noFill/>
        </p:spPr>
        <p:txBody>
          <a:bodyPr wrap="square" rtlCol="0">
            <a:spAutoFit/>
          </a:bodyPr>
          <a:lstStyle/>
          <a:p>
            <a:pPr defTabSz="914217"/>
            <a:r>
              <a:rPr lang="ja-JP" altLang="en-US" sz="1108" dirty="0">
                <a:solidFill>
                  <a:srgbClr val="000000"/>
                </a:solidFill>
                <a:ea typeface="ＭＳ Ｐゴシック" charset="-128"/>
              </a:rPr>
              <a:t>○顧問　学識経験者等</a:t>
            </a:r>
          </a:p>
        </p:txBody>
      </p:sp>
      <p:sp>
        <p:nvSpPr>
          <p:cNvPr id="2017" name="正方形/長方形 3"/>
          <p:cNvSpPr/>
          <p:nvPr/>
        </p:nvSpPr>
        <p:spPr>
          <a:xfrm>
            <a:off x="5177718" y="2207414"/>
            <a:ext cx="3916521" cy="1013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cxnSp>
        <p:nvCxnSpPr>
          <p:cNvPr id="2018" name="直線コネクタ 42"/>
          <p:cNvCxnSpPr/>
          <p:nvPr/>
        </p:nvCxnSpPr>
        <p:spPr>
          <a:xfrm>
            <a:off x="6066742" y="2650767"/>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19" name="直線コネクタ 46"/>
          <p:cNvCxnSpPr/>
          <p:nvPr/>
        </p:nvCxnSpPr>
        <p:spPr>
          <a:xfrm>
            <a:off x="6261178" y="2665187"/>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2020" name="正方形/長方形 50"/>
          <p:cNvSpPr/>
          <p:nvPr/>
        </p:nvSpPr>
        <p:spPr>
          <a:xfrm flipH="1" flipV="1">
            <a:off x="5237472" y="2409393"/>
            <a:ext cx="3819600" cy="727853"/>
          </a:xfrm>
          <a:prstGeom prst="rect">
            <a:avLst/>
          </a:prstGeom>
          <a:noFill/>
          <a:ln w="31750">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2021" name="テキスト ボックス 51"/>
          <p:cNvSpPr txBox="1"/>
          <p:nvPr/>
        </p:nvSpPr>
        <p:spPr>
          <a:xfrm>
            <a:off x="5678914" y="2529215"/>
            <a:ext cx="3089886" cy="546857"/>
          </a:xfrm>
          <a:prstGeom prst="rect">
            <a:avLst/>
          </a:prstGeom>
          <a:noFill/>
        </p:spPr>
        <p:txBody>
          <a:bodyPr wrap="square" rtlCol="0">
            <a:spAutoFit/>
          </a:bodyPr>
          <a:lstStyle/>
          <a:p>
            <a:pPr marL="79117" indent="-79117" defTabSz="914217"/>
            <a:r>
              <a:rPr lang="ja-JP" altLang="en-US" sz="1477" dirty="0">
                <a:solidFill>
                  <a:srgbClr val="000000"/>
                </a:solidFill>
                <a:latin typeface="ＭＳ ゴシック" panose="020B0609070205080204" pitchFamily="49" charset="-128"/>
                <a:ea typeface="ＭＳ ゴシック" panose="020B0609070205080204" pitchFamily="49" charset="-128"/>
              </a:rPr>
              <a:t>国土交通省、内閣官房・内閣府、</a:t>
            </a:r>
            <a:endParaRPr lang="en-US" altLang="ja-JP" sz="1477" dirty="0">
              <a:solidFill>
                <a:srgbClr val="000000"/>
              </a:solidFill>
              <a:latin typeface="ＭＳ ゴシック" panose="020B0609070205080204" pitchFamily="49" charset="-128"/>
              <a:ea typeface="ＭＳ ゴシック" panose="020B0609070205080204" pitchFamily="49" charset="-128"/>
            </a:endParaRPr>
          </a:p>
          <a:p>
            <a:pPr marL="79117" indent="-79117" defTabSz="914217"/>
            <a:r>
              <a:rPr lang="ja-JP" altLang="en-US" sz="1477" dirty="0">
                <a:solidFill>
                  <a:srgbClr val="000000"/>
                </a:solidFill>
                <a:latin typeface="ＭＳ ゴシック" panose="020B0609070205080204" pitchFamily="49" charset="-128"/>
                <a:ea typeface="ＭＳ ゴシック" panose="020B0609070205080204" pitchFamily="49" charset="-128"/>
              </a:rPr>
              <a:t>総務省、農林水産省</a:t>
            </a:r>
          </a:p>
        </p:txBody>
      </p:sp>
      <p:sp>
        <p:nvSpPr>
          <p:cNvPr id="2022" name="正方形/長方形 52"/>
          <p:cNvSpPr/>
          <p:nvPr/>
        </p:nvSpPr>
        <p:spPr>
          <a:xfrm>
            <a:off x="6614938" y="2225663"/>
            <a:ext cx="1037216" cy="284021"/>
          </a:xfrm>
          <a:prstGeom prst="rect">
            <a:avLst/>
          </a:prstGeom>
          <a:solidFill>
            <a:schemeClr val="bg1"/>
          </a:solidFill>
          <a:ln>
            <a:solidFill>
              <a:srgbClr val="00B050"/>
            </a:solidFill>
          </a:ln>
        </p:spPr>
        <p:txBody>
          <a:bodyPr wrap="square" lIns="84392" tIns="42196" rIns="84392" bIns="42196">
            <a:spAutoFit/>
          </a:bodyPr>
          <a:lstStyle/>
          <a:p>
            <a:pPr algn="ctr" defTabSz="914217"/>
            <a:r>
              <a:rPr lang="ja-JP" altLang="en-US" sz="1292" dirty="0">
                <a:solidFill>
                  <a:srgbClr val="00B050"/>
                </a:solidFill>
                <a:ea typeface="ＭＳ Ｐゴシック" charset="-128"/>
              </a:rPr>
              <a:t>協力</a:t>
            </a:r>
          </a:p>
        </p:txBody>
      </p:sp>
      <p:cxnSp>
        <p:nvCxnSpPr>
          <p:cNvPr id="2023" name="直線コネクタ 5"/>
          <p:cNvCxnSpPr/>
          <p:nvPr/>
        </p:nvCxnSpPr>
        <p:spPr>
          <a:xfrm flipH="1">
            <a:off x="5168897" y="2236151"/>
            <a:ext cx="1" cy="979459"/>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24" name="直線コネクタ 11"/>
          <p:cNvCxnSpPr/>
          <p:nvPr/>
        </p:nvCxnSpPr>
        <p:spPr>
          <a:xfrm flipV="1">
            <a:off x="5160061" y="3215612"/>
            <a:ext cx="3905807" cy="551"/>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2025" name="正方形/長方形 53"/>
          <p:cNvSpPr/>
          <p:nvPr/>
        </p:nvSpPr>
        <p:spPr>
          <a:xfrm flipH="1" flipV="1">
            <a:off x="7682829" y="5131224"/>
            <a:ext cx="1329705" cy="1512624"/>
          </a:xfrm>
          <a:prstGeom prst="rect">
            <a:avLst/>
          </a:prstGeom>
          <a:solidFill>
            <a:schemeClr val="bg1"/>
          </a:solidFill>
          <a:ln w="9525">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ja-JP" altLang="en-US">
              <a:solidFill>
                <a:srgbClr val="FFFFFF"/>
              </a:solidFill>
              <a:latin typeface="Arial"/>
              <a:ea typeface="ＭＳ Ｐゴシック"/>
            </a:endParaRPr>
          </a:p>
        </p:txBody>
      </p:sp>
      <p:sp>
        <p:nvSpPr>
          <p:cNvPr id="2026" name="正方形/長方形 54"/>
          <p:cNvSpPr/>
          <p:nvPr/>
        </p:nvSpPr>
        <p:spPr>
          <a:xfrm>
            <a:off x="7857860" y="4984746"/>
            <a:ext cx="910938" cy="241388"/>
          </a:xfrm>
          <a:prstGeom prst="rect">
            <a:avLst/>
          </a:prstGeom>
          <a:solidFill>
            <a:schemeClr val="bg1"/>
          </a:solidFill>
          <a:ln w="9525">
            <a:solidFill>
              <a:schemeClr val="accent6"/>
            </a:solidFill>
            <a:prstDash val="dash"/>
          </a:ln>
        </p:spPr>
        <p:txBody>
          <a:bodyPr wrap="square" lIns="84392" tIns="42196" rIns="84392" bIns="42196">
            <a:spAutoFit/>
          </a:bodyPr>
          <a:lstStyle/>
          <a:p>
            <a:pPr algn="ctr" defTabSz="914217"/>
            <a:r>
              <a:rPr lang="ja-JP" altLang="en-US" sz="1015" dirty="0">
                <a:solidFill>
                  <a:srgbClr val="3333CC"/>
                </a:solidFill>
                <a:ea typeface="ＭＳ Ｐゴシック" charset="-128"/>
              </a:rPr>
              <a:t>○○部会</a:t>
            </a:r>
          </a:p>
        </p:txBody>
      </p:sp>
      <p:sp>
        <p:nvSpPr>
          <p:cNvPr id="2027" name="テキスト ボックス 62"/>
          <p:cNvSpPr txBox="1"/>
          <p:nvPr/>
        </p:nvSpPr>
        <p:spPr>
          <a:xfrm>
            <a:off x="5298672" y="5227874"/>
            <a:ext cx="2209669" cy="660331"/>
          </a:xfrm>
          <a:prstGeom prst="rect">
            <a:avLst/>
          </a:prstGeom>
          <a:noFill/>
        </p:spPr>
        <p:txBody>
          <a:bodyPr wrap="square" rtlCol="0">
            <a:spAutoFit/>
          </a:bodyPr>
          <a:lstStyle/>
          <a:p>
            <a:pPr marL="66450" indent="-421957" defTabSz="914217"/>
            <a:r>
              <a:rPr lang="ja-JP" altLang="en-US" sz="923" dirty="0">
                <a:solidFill>
                  <a:srgbClr val="000000"/>
                </a:solidFill>
                <a:latin typeface="ＭＳ ゴシック" panose="020B0609070205080204" pitchFamily="49" charset="-128"/>
                <a:ea typeface="ＭＳ ゴシック" panose="020B0609070205080204" pitchFamily="49" charset="-128"/>
              </a:rPr>
              <a:t>部 会 長　栃木県那須町</a:t>
            </a:r>
            <a:endParaRPr lang="en-US" altLang="ja-JP" sz="923" dirty="0">
              <a:solidFill>
                <a:srgbClr val="000000"/>
              </a:solidFill>
              <a:latin typeface="ＭＳ ゴシック" panose="020B0609070205080204" pitchFamily="49" charset="-128"/>
              <a:ea typeface="ＭＳ ゴシック" panose="020B0609070205080204" pitchFamily="49" charset="-128"/>
            </a:endParaRPr>
          </a:p>
          <a:p>
            <a:pPr marL="66450" indent="-421957" defTabSz="914217"/>
            <a:r>
              <a:rPr lang="ja-JP" altLang="en-US" sz="923" dirty="0">
                <a:solidFill>
                  <a:srgbClr val="000000"/>
                </a:solidFill>
                <a:latin typeface="ＭＳ ゴシック" panose="020B0609070205080204" pitchFamily="49" charset="-128"/>
                <a:ea typeface="ＭＳ ゴシック" panose="020B0609070205080204" pitchFamily="49" charset="-128"/>
              </a:rPr>
              <a:t>部会構成　５県１０市町村（北海道厚</a:t>
            </a:r>
            <a:endParaRPr lang="en-US" altLang="ja-JP" sz="923" dirty="0">
              <a:solidFill>
                <a:srgbClr val="000000"/>
              </a:solidFill>
              <a:latin typeface="ＭＳ ゴシック" panose="020B0609070205080204" pitchFamily="49" charset="-128"/>
              <a:ea typeface="ＭＳ ゴシック" panose="020B0609070205080204" pitchFamily="49" charset="-128"/>
            </a:endParaRPr>
          </a:p>
          <a:p>
            <a:pPr marL="66450" indent="-421957" defTabSz="914217"/>
            <a:r>
              <a:rPr lang="ja-JP" altLang="en-US" sz="923" dirty="0">
                <a:solidFill>
                  <a:srgbClr val="000000"/>
                </a:solidFill>
                <a:latin typeface="ＭＳ ゴシック" panose="020B0609070205080204" pitchFamily="49" charset="-128"/>
                <a:ea typeface="ＭＳ ゴシック" panose="020B0609070205080204" pitchFamily="49" charset="-128"/>
              </a:rPr>
              <a:t>　　　　　真町等）</a:t>
            </a:r>
            <a:endParaRPr lang="en-US" altLang="ja-JP" sz="923" dirty="0">
              <a:solidFill>
                <a:srgbClr val="000000"/>
              </a:solidFill>
              <a:latin typeface="ＭＳ ゴシック" panose="020B0609070205080204" pitchFamily="49" charset="-128"/>
              <a:ea typeface="ＭＳ ゴシック" panose="020B0609070205080204" pitchFamily="49" charset="-128"/>
            </a:endParaRPr>
          </a:p>
          <a:p>
            <a:pPr marL="66450" indent="-421957" defTabSz="914217"/>
            <a:r>
              <a:rPr lang="ja-JP" altLang="en-US" sz="923" dirty="0">
                <a:solidFill>
                  <a:srgbClr val="000000"/>
                </a:solidFill>
                <a:latin typeface="ＭＳ ゴシック" panose="020B0609070205080204" pitchFamily="49" charset="-128"/>
                <a:ea typeface="ＭＳ ゴシック" panose="020B0609070205080204" pitchFamily="49" charset="-128"/>
              </a:rPr>
              <a:t>設 置 日　令和３年７月２９日</a:t>
            </a:r>
            <a:endParaRPr lang="en-US" altLang="ja-JP" sz="923" dirty="0">
              <a:solidFill>
                <a:srgbClr val="000000"/>
              </a:solidFill>
              <a:latin typeface="ＭＳ ゴシック" panose="020B0609070205080204" pitchFamily="49" charset="-128"/>
              <a:ea typeface="ＭＳ ゴシック" panose="020B0609070205080204" pitchFamily="49" charset="-128"/>
            </a:endParaRPr>
          </a:p>
        </p:txBody>
      </p:sp>
      <p:sp>
        <p:nvSpPr>
          <p:cNvPr id="2028" name="テキスト ボックス 45"/>
          <p:cNvSpPr/>
          <p:nvPr/>
        </p:nvSpPr>
        <p:spPr>
          <a:xfrm>
            <a:off x="7580633" y="5482703"/>
            <a:ext cx="1534098" cy="840879"/>
          </a:xfrm>
          <a:prstGeom prst="roundRect">
            <a:avLst>
              <a:gd name="adj" fmla="val 13798"/>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marL="66450" indent="-421957" defTabSz="914217"/>
            <a:r>
              <a:rPr lang="ja-JP" altLang="en-US" sz="738" dirty="0">
                <a:solidFill>
                  <a:srgbClr val="000000"/>
                </a:solidFill>
                <a:latin typeface="ＭＳ 明朝" panose="02020609040205080304" pitchFamily="17" charset="-128"/>
                <a:ea typeface="ＭＳ 明朝" panose="02020609040205080304" pitchFamily="17" charset="-128"/>
              </a:rPr>
              <a:t>・</a:t>
            </a:r>
            <a:r>
              <a:rPr lang="ja-JP" altLang="ja-JP" sz="738" dirty="0">
                <a:solidFill>
                  <a:srgbClr val="000000"/>
                </a:solidFill>
                <a:latin typeface="ＭＳ 明朝" panose="02020609040205080304" pitchFamily="17" charset="-128"/>
                <a:ea typeface="ＭＳ 明朝" panose="02020609040205080304" pitchFamily="17" charset="-128"/>
              </a:rPr>
              <a:t>会長が必要と認めるときに</a:t>
            </a:r>
            <a:r>
              <a:rPr lang="ja-JP" altLang="en-US" sz="738" dirty="0">
                <a:solidFill>
                  <a:srgbClr val="000000"/>
                </a:solidFill>
                <a:latin typeface="ＭＳ 明朝" panose="02020609040205080304" pitchFamily="17" charset="-128"/>
                <a:ea typeface="ＭＳ 明朝" panose="02020609040205080304" pitchFamily="17" charset="-128"/>
              </a:rPr>
              <a:t>は、</a:t>
            </a:r>
            <a:r>
              <a:rPr lang="ja-JP" altLang="ja-JP" sz="738" dirty="0">
                <a:solidFill>
                  <a:srgbClr val="000000"/>
                </a:solidFill>
                <a:latin typeface="ＭＳ 明朝" panose="02020609040205080304" pitchFamily="17" charset="-128"/>
                <a:ea typeface="ＭＳ 明朝" panose="02020609040205080304" pitchFamily="17" charset="-128"/>
              </a:rPr>
              <a:t>協議会に部会を置くことができる</a:t>
            </a:r>
            <a:r>
              <a:rPr lang="ja-JP" altLang="en-US" sz="738" dirty="0">
                <a:solidFill>
                  <a:srgbClr val="000000"/>
                </a:solidFill>
                <a:latin typeface="ＭＳ 明朝" panose="02020609040205080304" pitchFamily="17" charset="-128"/>
                <a:ea typeface="ＭＳ 明朝" panose="02020609040205080304" pitchFamily="17" charset="-128"/>
              </a:rPr>
              <a:t>。</a:t>
            </a:r>
            <a:endParaRPr lang="ja-JP" altLang="ja-JP" sz="738" dirty="0">
              <a:solidFill>
                <a:srgbClr val="000000"/>
              </a:solidFill>
              <a:latin typeface="ＭＳ 明朝" panose="02020609040205080304" pitchFamily="17" charset="-128"/>
              <a:ea typeface="ＭＳ 明朝" panose="02020609040205080304" pitchFamily="17" charset="-128"/>
            </a:endParaRPr>
          </a:p>
          <a:p>
            <a:pPr marL="66450" indent="-421957" defTabSz="914217"/>
            <a:r>
              <a:rPr lang="ja-JP" altLang="en-US" sz="738" dirty="0">
                <a:solidFill>
                  <a:srgbClr val="000000"/>
                </a:solidFill>
                <a:latin typeface="ＭＳ 明朝" panose="02020609040205080304" pitchFamily="17" charset="-128"/>
                <a:ea typeface="ＭＳ 明朝" panose="02020609040205080304" pitchFamily="17" charset="-128"/>
              </a:rPr>
              <a:t>・</a:t>
            </a:r>
            <a:r>
              <a:rPr lang="ja-JP" altLang="ja-JP" sz="738" dirty="0">
                <a:solidFill>
                  <a:srgbClr val="000000"/>
                </a:solidFill>
                <a:latin typeface="ＭＳ 明朝" panose="02020609040205080304" pitchFamily="17" charset="-128"/>
                <a:ea typeface="ＭＳ 明朝" panose="02020609040205080304" pitchFamily="17" charset="-128"/>
              </a:rPr>
              <a:t>部会を置く場合には、部会長</a:t>
            </a:r>
            <a:r>
              <a:rPr lang="ja-JP" altLang="en-US" sz="738" dirty="0">
                <a:solidFill>
                  <a:srgbClr val="000000"/>
                </a:solidFill>
                <a:latin typeface="ＭＳ 明朝" panose="02020609040205080304" pitchFamily="17" charset="-128"/>
                <a:ea typeface="ＭＳ 明朝" panose="02020609040205080304" pitchFamily="17" charset="-128"/>
              </a:rPr>
              <a:t>は、</a:t>
            </a:r>
            <a:r>
              <a:rPr lang="ja-JP" altLang="ja-JP" sz="738" dirty="0">
                <a:solidFill>
                  <a:srgbClr val="000000"/>
                </a:solidFill>
                <a:latin typeface="ＭＳ 明朝" panose="02020609040205080304" pitchFamily="17" charset="-128"/>
                <a:ea typeface="ＭＳ 明朝" panose="02020609040205080304" pitchFamily="17" charset="-128"/>
              </a:rPr>
              <a:t>正会員の中から会長が指名する</a:t>
            </a:r>
            <a:r>
              <a:rPr lang="ja-JP" altLang="en-US" sz="738" dirty="0">
                <a:solidFill>
                  <a:srgbClr val="000000"/>
                </a:solidFill>
                <a:latin typeface="ＭＳ 明朝" panose="02020609040205080304" pitchFamily="17" charset="-128"/>
                <a:ea typeface="ＭＳ 明朝" panose="02020609040205080304" pitchFamily="17" charset="-128"/>
              </a:rPr>
              <a:t>。</a:t>
            </a:r>
            <a:endParaRPr lang="en-US" altLang="ja-JP" sz="738" dirty="0">
              <a:solidFill>
                <a:srgbClr val="000000"/>
              </a:solidFill>
              <a:latin typeface="ＭＳ 明朝" panose="02020609040205080304" pitchFamily="17" charset="-128"/>
              <a:ea typeface="ＭＳ 明朝" panose="02020609040205080304" pitchFamily="17" charset="-128"/>
            </a:endParaRPr>
          </a:p>
        </p:txBody>
      </p:sp>
      <p:sp>
        <p:nvSpPr>
          <p:cNvPr id="2029" name="テキスト ボックス 42"/>
          <p:cNvSpPr txBox="1"/>
          <p:nvPr/>
        </p:nvSpPr>
        <p:spPr>
          <a:xfrm>
            <a:off x="8463850" y="4174453"/>
            <a:ext cx="650881" cy="220153"/>
          </a:xfrm>
          <a:prstGeom prst="rect">
            <a:avLst/>
          </a:prstGeom>
          <a:noFill/>
        </p:spPr>
        <p:txBody>
          <a:bodyPr wrap="square" rtlCol="0">
            <a:spAutoFit/>
          </a:bodyPr>
          <a:lstStyle/>
          <a:p>
            <a:pPr marL="79117" indent="-79117" defTabSz="914217"/>
            <a:r>
              <a:rPr lang="ja-JP" altLang="en-US" sz="831" dirty="0">
                <a:solidFill>
                  <a:srgbClr val="000000"/>
                </a:solidFill>
                <a:ea typeface="ＭＳ Ｐゴシック" charset="-128"/>
              </a:rPr>
              <a:t>※敬称略</a:t>
            </a:r>
            <a:endParaRPr lang="ja-JP" altLang="en-US" sz="923" dirty="0">
              <a:solidFill>
                <a:srgbClr val="000000"/>
              </a:solidFill>
              <a:ea typeface="ＭＳ Ｐゴシック" charset="-128"/>
            </a:endParaRPr>
          </a:p>
        </p:txBody>
      </p:sp>
      <p:cxnSp>
        <p:nvCxnSpPr>
          <p:cNvPr id="2030" name="直線コネクタ 71"/>
          <p:cNvCxnSpPr/>
          <p:nvPr/>
        </p:nvCxnSpPr>
        <p:spPr>
          <a:xfrm flipV="1">
            <a:off x="7126102" y="4886538"/>
            <a:ext cx="1196116" cy="0"/>
          </a:xfrm>
          <a:prstGeom prst="line">
            <a:avLst/>
          </a:prstGeom>
          <a:ln w="9525" cap="flat" cmpd="sng" algn="ctr">
            <a:solidFill>
              <a:schemeClr val="accent2"/>
            </a:solidFill>
            <a:prstDash val="dash"/>
            <a:round/>
            <a:headEnd type="none" w="med" len="med"/>
            <a:tailEnd type="none" w="med" len="med"/>
          </a:ln>
        </p:spPr>
        <p:style>
          <a:lnRef idx="0">
            <a:srgbClr val="000000"/>
          </a:lnRef>
          <a:fillRef idx="0">
            <a:srgbClr val="000000"/>
          </a:fillRef>
          <a:effectRef idx="0">
            <a:srgbClr val="000000"/>
          </a:effectRef>
          <a:fontRef idx="minor">
            <a:schemeClr val="tx1"/>
          </a:fontRef>
        </p:style>
      </p:cxnSp>
      <p:sp>
        <p:nvSpPr>
          <p:cNvPr id="2031" name="テキスト ボックス 62"/>
          <p:cNvSpPr txBox="1"/>
          <p:nvPr/>
        </p:nvSpPr>
        <p:spPr>
          <a:xfrm>
            <a:off x="5215464" y="5903143"/>
            <a:ext cx="2321745" cy="731494"/>
          </a:xfrm>
          <a:prstGeom prst="rect">
            <a:avLst/>
          </a:prstGeom>
          <a:noFill/>
        </p:spPr>
        <p:txBody>
          <a:bodyPr wrap="square" rtlCol="0">
            <a:spAutoFit/>
          </a:bodyPr>
          <a:lstStyle/>
          <a:p>
            <a:pPr marL="66450" indent="-421957" defTabSz="914217"/>
            <a:r>
              <a:rPr lang="en-US" altLang="ja-JP" sz="831" dirty="0">
                <a:solidFill>
                  <a:srgbClr val="000000"/>
                </a:solidFill>
                <a:latin typeface="ＭＳ ゴシック" panose="020B0609070205080204" pitchFamily="49" charset="-128"/>
                <a:ea typeface="ＭＳ ゴシック" panose="020B0609070205080204" pitchFamily="49" charset="-128"/>
              </a:rPr>
              <a:t>【</a:t>
            </a:r>
            <a:r>
              <a:rPr lang="ja-JP" altLang="en-US" sz="831" dirty="0">
                <a:solidFill>
                  <a:srgbClr val="000000"/>
                </a:solidFill>
                <a:latin typeface="ＭＳ ゴシック" panose="020B0609070205080204" pitchFamily="49" charset="-128"/>
                <a:ea typeface="ＭＳ ゴシック" panose="020B0609070205080204" pitchFamily="49" charset="-128"/>
              </a:rPr>
              <a:t>主な活動内容</a:t>
            </a:r>
            <a:r>
              <a:rPr lang="en-US" altLang="ja-JP" sz="831" dirty="0">
                <a:solidFill>
                  <a:srgbClr val="000000"/>
                </a:solidFill>
                <a:latin typeface="ＭＳ ゴシック" panose="020B0609070205080204" pitchFamily="49" charset="-128"/>
                <a:ea typeface="ＭＳ ゴシック" panose="020B0609070205080204" pitchFamily="49" charset="-128"/>
              </a:rPr>
              <a:t>】</a:t>
            </a:r>
          </a:p>
          <a:p>
            <a:pPr marL="66450" indent="-421957" defTabSz="914217"/>
            <a:r>
              <a:rPr lang="ja-JP" altLang="en-US" sz="831" dirty="0">
                <a:solidFill>
                  <a:srgbClr val="000000"/>
                </a:solidFill>
                <a:latin typeface="ＭＳ ゴシック" panose="020B0609070205080204" pitchFamily="49" charset="-128"/>
                <a:ea typeface="ＭＳ ゴシック" panose="020B0609070205080204" pitchFamily="49" charset="-128"/>
              </a:rPr>
              <a:t>・協議会の取組方針等についての協議・検討</a:t>
            </a:r>
            <a:endParaRPr lang="en-US" altLang="ja-JP" sz="831" dirty="0">
              <a:solidFill>
                <a:srgbClr val="000000"/>
              </a:solidFill>
              <a:latin typeface="ＭＳ ゴシック" panose="020B0609070205080204" pitchFamily="49" charset="-128"/>
              <a:ea typeface="ＭＳ ゴシック" panose="020B0609070205080204" pitchFamily="49" charset="-128"/>
            </a:endParaRPr>
          </a:p>
          <a:p>
            <a:pPr marL="66450" indent="-421957" defTabSz="914217"/>
            <a:r>
              <a:rPr lang="ja-JP" altLang="en-US" sz="831" dirty="0">
                <a:solidFill>
                  <a:srgbClr val="000000"/>
                </a:solidFill>
                <a:latin typeface="ＭＳ ゴシック" panose="020B0609070205080204" pitchFamily="49" charset="-128"/>
                <a:ea typeface="ＭＳ ゴシック" panose="020B0609070205080204" pitchFamily="49" charset="-128"/>
              </a:rPr>
              <a:t>・先進的取組事例の収集・情報発信の検討</a:t>
            </a:r>
            <a:endParaRPr lang="en-US" altLang="ja-JP" sz="831" dirty="0">
              <a:solidFill>
                <a:srgbClr val="000000"/>
              </a:solidFill>
              <a:latin typeface="ＭＳ ゴシック" panose="020B0609070205080204" pitchFamily="49" charset="-128"/>
              <a:ea typeface="ＭＳ ゴシック" panose="020B0609070205080204" pitchFamily="49" charset="-128"/>
            </a:endParaRPr>
          </a:p>
          <a:p>
            <a:pPr marL="66450" indent="-421957" defTabSz="914217"/>
            <a:r>
              <a:rPr lang="ja-JP" altLang="en-US" sz="831" dirty="0">
                <a:solidFill>
                  <a:srgbClr val="000000"/>
                </a:solidFill>
                <a:latin typeface="ＭＳ ゴシック" panose="020B0609070205080204" pitchFamily="49" charset="-128"/>
                <a:ea typeface="ＭＳ ゴシック" panose="020B0609070205080204" pitchFamily="49" charset="-128"/>
              </a:rPr>
              <a:t>・国への要望・提言の内容検討</a:t>
            </a:r>
            <a:endParaRPr lang="en-US" altLang="ja-JP" sz="831" dirty="0">
              <a:solidFill>
                <a:srgbClr val="000000"/>
              </a:solidFill>
              <a:latin typeface="ＭＳ ゴシック" panose="020B0609070205080204" pitchFamily="49" charset="-128"/>
              <a:ea typeface="ＭＳ ゴシック" panose="020B0609070205080204" pitchFamily="49" charset="-128"/>
            </a:endParaRPr>
          </a:p>
          <a:p>
            <a:pPr marL="66450" indent="-421957" defTabSz="914217"/>
            <a:r>
              <a:rPr lang="ja-JP" altLang="en-US" sz="831" dirty="0">
                <a:solidFill>
                  <a:srgbClr val="000000"/>
                </a:solidFill>
                <a:latin typeface="ＭＳ ゴシック" panose="020B0609070205080204" pitchFamily="49" charset="-128"/>
                <a:ea typeface="ＭＳ ゴシック" panose="020B0609070205080204" pitchFamily="49" charset="-128"/>
              </a:rPr>
              <a:t>・総会に関する企画検討・事前審査　等</a:t>
            </a:r>
            <a:endParaRPr lang="en-US" altLang="ja-JP" sz="831" dirty="0">
              <a:solidFill>
                <a:srgbClr val="000000"/>
              </a:solidFill>
              <a:latin typeface="ＭＳ ゴシック" panose="020B0609070205080204" pitchFamily="49" charset="-128"/>
              <a:ea typeface="ＭＳ ゴシック" panose="020B0609070205080204" pitchFamily="49" charset="-128"/>
            </a:endParaRPr>
          </a:p>
        </p:txBody>
      </p:sp>
      <p:sp>
        <p:nvSpPr>
          <p:cNvPr id="3" name="正方形/長方形 2">
            <a:extLst>
              <a:ext uri="{FF2B5EF4-FFF2-40B4-BE49-F238E27FC236}">
                <a16:creationId xmlns:a16="http://schemas.microsoft.com/office/drawing/2014/main" id="{236E2756-CE4A-A6A9-7040-36E5D7099FD9}"/>
              </a:ext>
            </a:extLst>
          </p:cNvPr>
          <p:cNvSpPr/>
          <p:nvPr/>
        </p:nvSpPr>
        <p:spPr>
          <a:xfrm>
            <a:off x="10063955" y="689486"/>
            <a:ext cx="2231890" cy="647968"/>
          </a:xfrm>
          <a:prstGeom prst="rect">
            <a:avLst/>
          </a:prstGeom>
          <a:solidFill>
            <a:srgbClr val="00CC66"/>
          </a:solidFill>
        </p:spPr>
        <p:style>
          <a:lnRef idx="0">
            <a:schemeClr val="accent2"/>
          </a:lnRef>
          <a:fillRef idx="3">
            <a:schemeClr val="accent2"/>
          </a:fillRef>
          <a:effectRef idx="3">
            <a:schemeClr val="accent2"/>
          </a:effectRef>
          <a:fontRef idx="minor">
            <a:schemeClr val="lt1"/>
          </a:fontRef>
        </p:style>
        <p:txBody>
          <a:bodyPr rtlCol="0" anchor="ctr"/>
          <a:lstStyle/>
          <a:p>
            <a:pPr algn="ctr" defTabSz="914217"/>
            <a:r>
              <a:rPr lang="en-US" altLang="ja-JP" sz="2000" b="1" dirty="0">
                <a:solidFill>
                  <a:srgbClr val="FFFFFF"/>
                </a:solidFill>
                <a:latin typeface="Arial"/>
                <a:ea typeface="ＭＳ Ｐゴシック"/>
              </a:rPr>
              <a:t>240314 </a:t>
            </a:r>
            <a:r>
              <a:rPr lang="ja-JP" altLang="en-US" sz="2000" b="1" dirty="0">
                <a:solidFill>
                  <a:srgbClr val="FFFFFF"/>
                </a:solidFill>
                <a:latin typeface="Arial"/>
                <a:ea typeface="ＭＳ Ｐゴシック"/>
              </a:rPr>
              <a:t>更新</a:t>
            </a:r>
          </a:p>
        </p:txBody>
      </p:sp>
      <p:sp>
        <p:nvSpPr>
          <p:cNvPr id="2" name="正方形/長方形 1">
            <a:extLst>
              <a:ext uri="{FF2B5EF4-FFF2-40B4-BE49-F238E27FC236}">
                <a16:creationId xmlns:a16="http://schemas.microsoft.com/office/drawing/2014/main" id="{AD3BA650-2939-6156-7C9D-1BF5A6D129DB}"/>
              </a:ext>
            </a:extLst>
          </p:cNvPr>
          <p:cNvSpPr/>
          <p:nvPr/>
        </p:nvSpPr>
        <p:spPr>
          <a:xfrm>
            <a:off x="10302042" y="3154468"/>
            <a:ext cx="2231890" cy="1096246"/>
          </a:xfrm>
          <a:prstGeom prst="rect">
            <a:avLst/>
          </a:prstGeom>
          <a:solidFill>
            <a:srgbClr val="FFC000"/>
          </a:solidFill>
        </p:spPr>
        <p:style>
          <a:lnRef idx="0">
            <a:schemeClr val="accent2"/>
          </a:lnRef>
          <a:fillRef idx="3">
            <a:schemeClr val="accent2"/>
          </a:fillRef>
          <a:effectRef idx="3">
            <a:schemeClr val="accent2"/>
          </a:effectRef>
          <a:fontRef idx="minor">
            <a:schemeClr val="lt1"/>
          </a:fontRef>
        </p:style>
        <p:txBody>
          <a:bodyPr rtlCol="0" anchor="ctr"/>
          <a:lstStyle/>
          <a:p>
            <a:pPr algn="ctr" defTabSz="914217"/>
            <a:r>
              <a:rPr lang="en-US" altLang="ja-JP" sz="2000" b="1" dirty="0">
                <a:solidFill>
                  <a:srgbClr val="FFFFFF"/>
                </a:solidFill>
                <a:latin typeface="Arial"/>
                <a:ea typeface="ＭＳ Ｐゴシック"/>
              </a:rPr>
              <a:t>240509 </a:t>
            </a:r>
            <a:r>
              <a:rPr lang="ja-JP" altLang="en-US" sz="2000" b="1" dirty="0">
                <a:solidFill>
                  <a:srgbClr val="FFFFFF"/>
                </a:solidFill>
                <a:latin typeface="Arial"/>
                <a:ea typeface="ＭＳ Ｐゴシック"/>
              </a:rPr>
              <a:t>更新</a:t>
            </a:r>
            <a:endParaRPr lang="en-US" altLang="ja-JP" sz="2000" b="1" dirty="0">
              <a:solidFill>
                <a:srgbClr val="FFFFFF"/>
              </a:solidFill>
              <a:latin typeface="Arial"/>
              <a:ea typeface="ＭＳ Ｐゴシック"/>
            </a:endParaRPr>
          </a:p>
          <a:p>
            <a:pPr algn="ctr" defTabSz="914217"/>
            <a:r>
              <a:rPr lang="en-US" altLang="ja-JP" sz="2000" b="1" dirty="0">
                <a:solidFill>
                  <a:srgbClr val="FFFFFF"/>
                </a:solidFill>
                <a:latin typeface="Arial"/>
                <a:ea typeface="ＭＳ Ｐゴシック"/>
              </a:rPr>
              <a:t>※</a:t>
            </a:r>
            <a:r>
              <a:rPr lang="ja-JP" altLang="en-US" sz="2000" b="1" dirty="0">
                <a:solidFill>
                  <a:srgbClr val="FFFFFF"/>
                </a:solidFill>
                <a:latin typeface="Arial"/>
                <a:ea typeface="ＭＳ Ｐゴシック"/>
              </a:rPr>
              <a:t>二地域議連用</a:t>
            </a:r>
            <a:endParaRPr lang="en-US" altLang="ja-JP" sz="2000" b="1" dirty="0">
              <a:solidFill>
                <a:srgbClr val="FFFFFF"/>
              </a:solidFill>
              <a:latin typeface="Arial"/>
              <a:ea typeface="ＭＳ Ｐゴシック"/>
            </a:endParaRPr>
          </a:p>
        </p:txBody>
      </p:sp>
      <p:sp>
        <p:nvSpPr>
          <p:cNvPr id="5" name="スライド番号プレースホルダー 4">
            <a:extLst>
              <a:ext uri="{FF2B5EF4-FFF2-40B4-BE49-F238E27FC236}">
                <a16:creationId xmlns:a16="http://schemas.microsoft.com/office/drawing/2014/main" id="{AD0AF2F9-1BCA-39A0-5B21-30EF20549554}"/>
              </a:ext>
            </a:extLst>
          </p:cNvPr>
          <p:cNvSpPr>
            <a:spLocks noGrp="1"/>
          </p:cNvSpPr>
          <p:nvPr>
            <p:ph type="sldNum" sz="quarter" idx="12"/>
          </p:nvPr>
        </p:nvSpPr>
        <p:spPr/>
        <p:txBody>
          <a:bodyPr/>
          <a:lstStyle/>
          <a:p>
            <a:pPr>
              <a:defRPr/>
            </a:pPr>
            <a:fld id="{DE9C2EA1-6911-4BAC-954D-0A2DD024DDCF}" type="slidenum">
              <a:rPr lang="en-US" altLang="ja-JP" smtClean="0">
                <a:solidFill>
                  <a:srgbClr val="000000"/>
                </a:solidFill>
              </a:rPr>
              <a:pPr>
                <a:defRPr/>
              </a:pPr>
              <a:t>49</a:t>
            </a:fld>
            <a:endParaRPr lang="en-US" altLang="ja-JP">
              <a:solidFill>
                <a:srgbClr val="000000"/>
              </a:solidFill>
            </a:endParaRPr>
          </a:p>
        </p:txBody>
      </p:sp>
    </p:spTree>
    <p:extLst>
      <p:ext uri="{BB962C8B-B14F-4D97-AF65-F5344CB8AC3E}">
        <p14:creationId xmlns:p14="http://schemas.microsoft.com/office/powerpoint/2010/main" val="7638467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a:extLst>
              <a:ext uri="{FF2B5EF4-FFF2-40B4-BE49-F238E27FC236}">
                <a16:creationId xmlns:a16="http://schemas.microsoft.com/office/drawing/2014/main" id="{CB086C44-AB44-1812-496B-F69D39B4DB2D}"/>
              </a:ext>
            </a:extLst>
          </p:cNvPr>
          <p:cNvSpPr/>
          <p:nvPr/>
        </p:nvSpPr>
        <p:spPr>
          <a:xfrm>
            <a:off x="5866753" y="3303164"/>
            <a:ext cx="1263155" cy="170132"/>
          </a:xfrm>
          <a:prstGeom prst="rect">
            <a:avLst/>
          </a:prstGeom>
          <a:solidFill>
            <a:srgbClr val="CA6E6C"/>
          </a:solidFill>
          <a:ln>
            <a:solidFill>
              <a:srgbClr val="CA6E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prstClr val="white"/>
              </a:solidFill>
              <a:latin typeface="Arial"/>
              <a:ea typeface="ＭＳ Ｐゴシック"/>
            </a:endParaRPr>
          </a:p>
        </p:txBody>
      </p:sp>
      <p:sp>
        <p:nvSpPr>
          <p:cNvPr id="6679" name="Rectangle 2"/>
          <p:cNvSpPr>
            <a:spLocks noGrp="1" noChangeArrowheads="1"/>
          </p:cNvSpPr>
          <p:nvPr>
            <p:ph type="title"/>
          </p:nvPr>
        </p:nvSpPr>
        <p:spPr>
          <a:xfrm>
            <a:off x="0" y="23458"/>
            <a:ext cx="10205288" cy="439545"/>
          </a:xfrm>
        </p:spPr>
        <p:txBody>
          <a:bodyPr/>
          <a:lstStyle/>
          <a:p>
            <a:pPr lvl="1" eaLnBrk="0" hangingPunct="0"/>
            <a:r>
              <a:rPr lang="ja-JP" altLang="en-US" sz="2000" dirty="0">
                <a:latin typeface="+mj-lt"/>
                <a:ea typeface="+mj-ea"/>
                <a:cs typeface="+mj-cs"/>
              </a:rPr>
              <a:t>広域的地域活性化のための基盤整備に関する法律の一部を改正する法律　　　　　　　　　　　　　　　　　　</a:t>
            </a:r>
          </a:p>
        </p:txBody>
      </p:sp>
      <p:sp>
        <p:nvSpPr>
          <p:cNvPr id="2" name="正方形/長方形 1">
            <a:extLst>
              <a:ext uri="{FF2B5EF4-FFF2-40B4-BE49-F238E27FC236}">
                <a16:creationId xmlns:a16="http://schemas.microsoft.com/office/drawing/2014/main" id="{DAF3651C-DB14-FBEB-584B-C1BE11399291}"/>
              </a:ext>
            </a:extLst>
          </p:cNvPr>
          <p:cNvSpPr/>
          <p:nvPr/>
        </p:nvSpPr>
        <p:spPr>
          <a:xfrm>
            <a:off x="98031" y="1096619"/>
            <a:ext cx="9675378" cy="1659467"/>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prstClr val="white"/>
              </a:solidFill>
              <a:latin typeface="Arial"/>
              <a:ea typeface="ＭＳ Ｐゴシック"/>
            </a:endParaRPr>
          </a:p>
        </p:txBody>
      </p:sp>
      <p:sp>
        <p:nvSpPr>
          <p:cNvPr id="3" name="正方形/長方形 2">
            <a:extLst>
              <a:ext uri="{FF2B5EF4-FFF2-40B4-BE49-F238E27FC236}">
                <a16:creationId xmlns:a16="http://schemas.microsoft.com/office/drawing/2014/main" id="{7262ECA2-616A-B47C-CD26-978185811BEC}"/>
              </a:ext>
            </a:extLst>
          </p:cNvPr>
          <p:cNvSpPr/>
          <p:nvPr/>
        </p:nvSpPr>
        <p:spPr>
          <a:xfrm>
            <a:off x="157374" y="1246203"/>
            <a:ext cx="7875325" cy="623338"/>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lIns="0" tIns="0" rIns="0" bIns="0" anchor="ctr"/>
          <a:lstStyle/>
          <a:p>
            <a:pPr marL="161968" lvl="1" indent="-719856" algn="just" defTabSz="914217" eaLnBrk="0" fontAlgn="auto" hangingPunct="0">
              <a:lnSpc>
                <a:spcPts val="1400"/>
              </a:lnSpc>
              <a:spcBef>
                <a:spcPts val="0"/>
              </a:spcBef>
              <a:spcAft>
                <a:spcPts val="300"/>
              </a:spcAft>
              <a:defRPr/>
            </a:pPr>
            <a:r>
              <a:rPr lang="ja-JP" altLang="en-US" sz="1100" dirty="0">
                <a:solidFill>
                  <a:prstClr val="black"/>
                </a:solidFill>
                <a:latin typeface="ＭＳ Ｐゴシック"/>
                <a:ea typeface="ＭＳ Ｐゴシック"/>
                <a:cs typeface="メイリオ" panose="020B0604030504040204" pitchFamily="50" charset="-128"/>
              </a:rPr>
              <a:t>○コロナ禍を経て、</a:t>
            </a:r>
            <a:r>
              <a:rPr lang="en-US" altLang="ja-JP" sz="1100" u="sng" dirty="0">
                <a:solidFill>
                  <a:prstClr val="black"/>
                </a:solidFill>
                <a:latin typeface="ＭＳ Ｐゴシック"/>
                <a:ea typeface="ＭＳ Ｐゴシック"/>
                <a:cs typeface="メイリオ" panose="020B0604030504040204" pitchFamily="50" charset="-128"/>
              </a:rPr>
              <a:t>UIJ</a:t>
            </a:r>
            <a:r>
              <a:rPr lang="ja-JP" altLang="en-US" sz="1100" u="sng" dirty="0">
                <a:solidFill>
                  <a:prstClr val="black"/>
                </a:solidFill>
                <a:latin typeface="ＭＳ Ｐゴシック"/>
                <a:ea typeface="ＭＳ Ｐゴシック"/>
                <a:cs typeface="メイリオ" panose="020B0604030504040204" pitchFamily="50" charset="-128"/>
              </a:rPr>
              <a:t>ターンを含めた若者・子育て世帯を中心とする二地域居住へのニーズが高まっている</a:t>
            </a:r>
            <a:r>
              <a:rPr lang="ja-JP" altLang="en-US" sz="1100" dirty="0">
                <a:solidFill>
                  <a:prstClr val="black"/>
                </a:solidFill>
                <a:latin typeface="ＭＳ Ｐゴシック"/>
                <a:ea typeface="ＭＳ Ｐゴシック"/>
                <a:cs typeface="メイリオ" panose="020B0604030504040204" pitchFamily="50" charset="-128"/>
              </a:rPr>
              <a:t>ことから、地方への人の流れの創出・拡大の手段として、二地域居住の促進が重要。しかし、その促進に当たっては、</a:t>
            </a:r>
            <a:r>
              <a:rPr lang="ja-JP" altLang="en-US" sz="1100" u="sng" dirty="0">
                <a:solidFill>
                  <a:prstClr val="black"/>
                </a:solidFill>
                <a:latin typeface="ＭＳ Ｐゴシック"/>
                <a:ea typeface="ＭＳ Ｐゴシック"/>
                <a:cs typeface="メイリオ" panose="020B0604030504040204" pitchFamily="50" charset="-128"/>
              </a:rPr>
              <a:t>「住まい」「なりわい（仕事）」「コミュニティ」に関するハードル</a:t>
            </a:r>
            <a:r>
              <a:rPr lang="ja-JP" altLang="en-US" sz="1100" dirty="0">
                <a:solidFill>
                  <a:prstClr val="black"/>
                </a:solidFill>
                <a:latin typeface="ＭＳ Ｐゴシック"/>
                <a:ea typeface="ＭＳ Ｐゴシック"/>
                <a:cs typeface="メイリオ" panose="020B0604030504040204" pitchFamily="50" charset="-128"/>
              </a:rPr>
              <a:t>が存在。</a:t>
            </a:r>
            <a:endParaRPr lang="en-US" altLang="ja-JP" sz="1100" dirty="0">
              <a:solidFill>
                <a:prstClr val="black"/>
              </a:solidFill>
              <a:latin typeface="ＭＳ Ｐゴシック"/>
              <a:ea typeface="ＭＳ Ｐゴシック"/>
              <a:cs typeface="メイリオ" panose="020B0604030504040204" pitchFamily="50" charset="-128"/>
            </a:endParaRPr>
          </a:p>
        </p:txBody>
      </p:sp>
      <p:sp>
        <p:nvSpPr>
          <p:cNvPr id="4" name="正方形/長方形 3">
            <a:extLst>
              <a:ext uri="{FF2B5EF4-FFF2-40B4-BE49-F238E27FC236}">
                <a16:creationId xmlns:a16="http://schemas.microsoft.com/office/drawing/2014/main" id="{91A7ECB8-6F69-A40E-C381-BE77D141D5CD}"/>
              </a:ext>
            </a:extLst>
          </p:cNvPr>
          <p:cNvSpPr/>
          <p:nvPr/>
        </p:nvSpPr>
        <p:spPr>
          <a:xfrm>
            <a:off x="149873" y="1736820"/>
            <a:ext cx="7882826" cy="623338"/>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lIns="0" tIns="0" rIns="0" bIns="0" anchor="ctr"/>
          <a:lstStyle/>
          <a:p>
            <a:pPr marL="161968" lvl="1" indent="-719856" algn="just" defTabSz="914217" eaLnBrk="0" fontAlgn="auto" hangingPunct="0">
              <a:lnSpc>
                <a:spcPts val="1400"/>
              </a:lnSpc>
              <a:spcBef>
                <a:spcPts val="0"/>
              </a:spcBef>
              <a:spcAft>
                <a:spcPts val="300"/>
              </a:spcAft>
              <a:defRPr/>
            </a:pPr>
            <a:r>
              <a:rPr lang="ja-JP" altLang="en-US" sz="1100" dirty="0">
                <a:solidFill>
                  <a:prstClr val="black"/>
                </a:solidFill>
                <a:latin typeface="ＭＳ Ｐゴシック"/>
                <a:ea typeface="ＭＳ Ｐゴシック"/>
                <a:cs typeface="メイリオ" panose="020B0604030504040204" pitchFamily="50" charset="-128"/>
              </a:rPr>
              <a:t>○このため、二地域居住者向けの</a:t>
            </a:r>
            <a:r>
              <a:rPr lang="ja-JP" altLang="en-US" sz="1100" u="sng" dirty="0">
                <a:solidFill>
                  <a:prstClr val="black"/>
                </a:solidFill>
                <a:latin typeface="ＭＳ Ｐゴシック"/>
                <a:ea typeface="ＭＳ Ｐゴシック"/>
                <a:cs typeface="メイリオ" panose="020B0604030504040204" pitchFamily="50" charset="-128"/>
              </a:rPr>
              <a:t>住宅、コワーキングスペース、交流施設等の整備</a:t>
            </a:r>
            <a:r>
              <a:rPr lang="ja-JP" altLang="en-US" sz="1100" dirty="0">
                <a:solidFill>
                  <a:prstClr val="black"/>
                </a:solidFill>
                <a:latin typeface="ＭＳ Ｐゴシック"/>
                <a:ea typeface="ＭＳ Ｐゴシック"/>
                <a:cs typeface="メイリオ" panose="020B0604030504040204" pitchFamily="50" charset="-128"/>
              </a:rPr>
              <a:t>や、</a:t>
            </a:r>
            <a:r>
              <a:rPr lang="ja-JP" altLang="en-US" sz="1100" u="sng" dirty="0">
                <a:solidFill>
                  <a:prstClr val="black"/>
                </a:solidFill>
                <a:latin typeface="ＭＳ Ｐゴシック"/>
                <a:ea typeface="ＭＳ Ｐゴシック"/>
                <a:cs typeface="メイリオ" panose="020B0604030504040204" pitchFamily="50" charset="-128"/>
              </a:rPr>
              <a:t>市町村による地域の実情を踏まえた居住環境の整備</a:t>
            </a:r>
            <a:r>
              <a:rPr lang="ja-JP" altLang="en-US" sz="1100" dirty="0">
                <a:solidFill>
                  <a:prstClr val="black"/>
                </a:solidFill>
                <a:latin typeface="ＭＳ Ｐゴシック"/>
                <a:ea typeface="ＭＳ Ｐゴシック"/>
                <a:cs typeface="メイリオ" panose="020B0604030504040204" pitchFamily="50" charset="-128"/>
              </a:rPr>
              <a:t>の取組に対する制度的な支援が必要。</a:t>
            </a:r>
            <a:endParaRPr lang="en-US" altLang="ja-JP" sz="1100" dirty="0">
              <a:solidFill>
                <a:prstClr val="black"/>
              </a:solidFill>
              <a:latin typeface="ＭＳ Ｐゴシック"/>
              <a:ea typeface="ＭＳ Ｐゴシック"/>
              <a:cs typeface="メイリオ" panose="020B0604030504040204" pitchFamily="50" charset="-128"/>
            </a:endParaRPr>
          </a:p>
        </p:txBody>
      </p:sp>
      <p:sp>
        <p:nvSpPr>
          <p:cNvPr id="6" name="正方形/長方形 5">
            <a:extLst>
              <a:ext uri="{FF2B5EF4-FFF2-40B4-BE49-F238E27FC236}">
                <a16:creationId xmlns:a16="http://schemas.microsoft.com/office/drawing/2014/main" id="{7357C155-0006-263C-EC93-82D325A70271}"/>
              </a:ext>
            </a:extLst>
          </p:cNvPr>
          <p:cNvSpPr/>
          <p:nvPr/>
        </p:nvSpPr>
        <p:spPr>
          <a:xfrm>
            <a:off x="150261" y="2147762"/>
            <a:ext cx="7889277" cy="623338"/>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lIns="0" tIns="0" rIns="0" bIns="0" anchor="ctr"/>
          <a:lstStyle/>
          <a:p>
            <a:pPr marL="161968" lvl="1" indent="-719856" algn="just" defTabSz="914217" eaLnBrk="0" fontAlgn="auto" hangingPunct="0">
              <a:lnSpc>
                <a:spcPts val="1400"/>
              </a:lnSpc>
              <a:spcBef>
                <a:spcPts val="0"/>
              </a:spcBef>
              <a:spcAft>
                <a:spcPts val="300"/>
              </a:spcAft>
              <a:defRPr/>
            </a:pPr>
            <a:r>
              <a:rPr lang="ja-JP" altLang="en-US" sz="1100" dirty="0">
                <a:solidFill>
                  <a:prstClr val="black"/>
                </a:solidFill>
                <a:latin typeface="ＭＳ Ｐゴシック"/>
                <a:ea typeface="ＭＳ Ｐゴシック"/>
                <a:cs typeface="メイリオ" panose="020B0604030504040204" pitchFamily="50" charset="-128"/>
              </a:rPr>
              <a:t>○そこで、</a:t>
            </a:r>
            <a:r>
              <a:rPr lang="ja-JP" altLang="en-US" sz="1100" u="sng" dirty="0">
                <a:solidFill>
                  <a:srgbClr val="FF0000"/>
                </a:solidFill>
                <a:uFill>
                  <a:solidFill>
                    <a:prstClr val="black"/>
                  </a:solidFill>
                </a:uFill>
                <a:latin typeface="ＭＳ Ｐゴシック"/>
                <a:ea typeface="ＭＳ Ｐゴシック"/>
                <a:cs typeface="メイリオ" panose="020B0604030504040204" pitchFamily="50" charset="-128"/>
              </a:rPr>
              <a:t>二地域居住</a:t>
            </a:r>
            <a:r>
              <a:rPr lang="ja-JP" altLang="en-US" sz="1100" u="sng" dirty="0">
                <a:solidFill>
                  <a:prstClr val="black"/>
                </a:solidFill>
                <a:latin typeface="ＭＳ Ｐゴシック"/>
                <a:ea typeface="ＭＳ Ｐゴシック"/>
                <a:cs typeface="メイリオ" panose="020B0604030504040204" pitchFamily="50" charset="-128"/>
              </a:rPr>
              <a:t>の促進を通じた広域的地域活性化のための基盤整備</a:t>
            </a:r>
            <a:r>
              <a:rPr lang="ja-JP" altLang="en-US" sz="1100" dirty="0">
                <a:solidFill>
                  <a:prstClr val="black"/>
                </a:solidFill>
                <a:latin typeface="ＭＳ Ｐゴシック"/>
                <a:ea typeface="ＭＳ Ｐゴシック"/>
                <a:cs typeface="メイリオ" panose="020B0604030504040204" pitchFamily="50" charset="-128"/>
              </a:rPr>
              <a:t>を一層推進し、</a:t>
            </a:r>
            <a:r>
              <a:rPr lang="ja-JP" altLang="en-US" sz="1100" u="sng" dirty="0">
                <a:solidFill>
                  <a:srgbClr val="FF0000"/>
                </a:solidFill>
                <a:uFill>
                  <a:solidFill>
                    <a:prstClr val="black"/>
                  </a:solidFill>
                </a:uFill>
                <a:latin typeface="ＭＳ Ｐゴシック"/>
                <a:ea typeface="ＭＳ Ｐゴシック"/>
                <a:cs typeface="メイリオ" panose="020B0604030504040204" pitchFamily="50" charset="-128"/>
              </a:rPr>
              <a:t>地方への人の流れの創出・拡大</a:t>
            </a:r>
            <a:r>
              <a:rPr lang="ja-JP" altLang="en-US" sz="1100" dirty="0">
                <a:solidFill>
                  <a:prstClr val="black"/>
                </a:solidFill>
                <a:latin typeface="ＭＳ Ｐゴシック"/>
                <a:ea typeface="ＭＳ Ｐゴシック"/>
                <a:cs typeface="メイリオ" panose="020B0604030504040204" pitchFamily="50" charset="-128"/>
              </a:rPr>
              <a:t>を図ることが必要。</a:t>
            </a:r>
            <a:endParaRPr lang="en-US" altLang="ja-JP" sz="1100" dirty="0">
              <a:solidFill>
                <a:prstClr val="black"/>
              </a:solidFill>
              <a:latin typeface="ＭＳ Ｐゴシック"/>
              <a:ea typeface="ＭＳ Ｐゴシック"/>
              <a:cs typeface="メイリオ" panose="020B0604030504040204" pitchFamily="50" charset="-128"/>
            </a:endParaRPr>
          </a:p>
        </p:txBody>
      </p:sp>
      <p:grpSp>
        <p:nvGrpSpPr>
          <p:cNvPr id="8" name="グループ化 7">
            <a:extLst>
              <a:ext uri="{FF2B5EF4-FFF2-40B4-BE49-F238E27FC236}">
                <a16:creationId xmlns:a16="http://schemas.microsoft.com/office/drawing/2014/main" id="{FA883CDE-9E01-7A7A-B7F7-FB339CA98050}"/>
              </a:ext>
            </a:extLst>
          </p:cNvPr>
          <p:cNvGrpSpPr/>
          <p:nvPr/>
        </p:nvGrpSpPr>
        <p:grpSpPr>
          <a:xfrm>
            <a:off x="8104500" y="1048719"/>
            <a:ext cx="1954668" cy="991228"/>
            <a:chOff x="4866116" y="475412"/>
            <a:chExt cx="2766956" cy="1403146"/>
          </a:xfrm>
        </p:grpSpPr>
        <p:pic>
          <p:nvPicPr>
            <p:cNvPr id="9" name="図 8">
              <a:extLst>
                <a:ext uri="{FF2B5EF4-FFF2-40B4-BE49-F238E27FC236}">
                  <a16:creationId xmlns:a16="http://schemas.microsoft.com/office/drawing/2014/main" id="{6B9276A1-832E-F944-8B66-275FDB3755E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85184" y="562880"/>
              <a:ext cx="1822665" cy="1315678"/>
            </a:xfrm>
            <a:prstGeom prst="rect">
              <a:avLst/>
            </a:prstGeom>
          </p:spPr>
        </p:pic>
        <p:grpSp>
          <p:nvGrpSpPr>
            <p:cNvPr id="10" name="グループ化 9">
              <a:extLst>
                <a:ext uri="{FF2B5EF4-FFF2-40B4-BE49-F238E27FC236}">
                  <a16:creationId xmlns:a16="http://schemas.microsoft.com/office/drawing/2014/main" id="{0D5C87C1-3A2C-DCAA-0135-1FCDBFFD1761}"/>
                </a:ext>
              </a:extLst>
            </p:cNvPr>
            <p:cNvGrpSpPr/>
            <p:nvPr/>
          </p:nvGrpSpPr>
          <p:grpSpPr>
            <a:xfrm>
              <a:off x="4866116" y="475412"/>
              <a:ext cx="2766956" cy="735105"/>
              <a:chOff x="7071665" y="515451"/>
              <a:chExt cx="2766956" cy="735105"/>
            </a:xfrm>
          </p:grpSpPr>
          <p:grpSp>
            <p:nvGrpSpPr>
              <p:cNvPr id="11" name="グループ化 10">
                <a:extLst>
                  <a:ext uri="{FF2B5EF4-FFF2-40B4-BE49-F238E27FC236}">
                    <a16:creationId xmlns:a16="http://schemas.microsoft.com/office/drawing/2014/main" id="{BE2267AB-70A0-AF39-E040-3FEAD826694C}"/>
                  </a:ext>
                </a:extLst>
              </p:cNvPr>
              <p:cNvGrpSpPr/>
              <p:nvPr/>
            </p:nvGrpSpPr>
            <p:grpSpPr>
              <a:xfrm>
                <a:off x="7071665" y="515451"/>
                <a:ext cx="1795071" cy="735105"/>
                <a:chOff x="7071665" y="515451"/>
                <a:chExt cx="1795071" cy="735105"/>
              </a:xfrm>
            </p:grpSpPr>
            <p:sp>
              <p:nvSpPr>
                <p:cNvPr id="13" name="テキスト ボックス 12">
                  <a:extLst>
                    <a:ext uri="{FF2B5EF4-FFF2-40B4-BE49-F238E27FC236}">
                      <a16:creationId xmlns:a16="http://schemas.microsoft.com/office/drawing/2014/main" id="{44E3634B-970F-8FB9-7300-63980F7A4663}"/>
                    </a:ext>
                  </a:extLst>
                </p:cNvPr>
                <p:cNvSpPr txBox="1"/>
                <p:nvPr/>
              </p:nvSpPr>
              <p:spPr>
                <a:xfrm flipH="1">
                  <a:off x="7071665" y="515451"/>
                  <a:ext cx="1795071" cy="304925"/>
                </a:xfrm>
                <a:prstGeom prst="rect">
                  <a:avLst/>
                </a:prstGeom>
                <a:noFill/>
              </p:spPr>
              <p:txBody>
                <a:bodyPr wrap="square" rtlCol="0">
                  <a:spAutoFit/>
                </a:bodyPr>
                <a:lstStyle/>
                <a:p>
                  <a:pPr marL="179964" indent="-457109" algn="ctr" defTabSz="914217">
                    <a:defRPr/>
                  </a:pPr>
                  <a:r>
                    <a:rPr lang="ja-JP" altLang="en-US" sz="800" b="1" dirty="0">
                      <a:solidFill>
                        <a:srgbClr val="000000"/>
                      </a:solidFill>
                      <a:latin typeface="BIZ UDPゴシック" panose="020B0400000000000000" pitchFamily="50" charset="-128"/>
                      <a:ea typeface="BIZ UDPゴシック" panose="020B0400000000000000" pitchFamily="50" charset="-128"/>
                    </a:rPr>
                    <a:t>二地域居住等への関心</a:t>
                  </a:r>
                </a:p>
              </p:txBody>
            </p:sp>
            <p:sp>
              <p:nvSpPr>
                <p:cNvPr id="14" name="正方形/長方形 13">
                  <a:extLst>
                    <a:ext uri="{FF2B5EF4-FFF2-40B4-BE49-F238E27FC236}">
                      <a16:creationId xmlns:a16="http://schemas.microsoft.com/office/drawing/2014/main" id="{22E49854-C7F2-1D62-1F6A-5B11783A1BFB}"/>
                    </a:ext>
                  </a:extLst>
                </p:cNvPr>
                <p:cNvSpPr/>
                <p:nvPr/>
              </p:nvSpPr>
              <p:spPr>
                <a:xfrm>
                  <a:off x="8257744" y="968156"/>
                  <a:ext cx="329790" cy="2824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prstClr val="white"/>
                    </a:solidFill>
                    <a:latin typeface="Arial"/>
                    <a:ea typeface="ＭＳ Ｐゴシック"/>
                  </a:endParaRPr>
                </a:p>
              </p:txBody>
            </p:sp>
            <p:cxnSp>
              <p:nvCxnSpPr>
                <p:cNvPr id="15" name="直線矢印コネクタ 14">
                  <a:extLst>
                    <a:ext uri="{FF2B5EF4-FFF2-40B4-BE49-F238E27FC236}">
                      <a16:creationId xmlns:a16="http://schemas.microsoft.com/office/drawing/2014/main" id="{B2084132-F006-2BE6-3743-3FC154B3CAC5}"/>
                    </a:ext>
                  </a:extLst>
                </p:cNvPr>
                <p:cNvCxnSpPr>
                  <a:cxnSpLocks/>
                </p:cNvCxnSpPr>
                <p:nvPr/>
              </p:nvCxnSpPr>
              <p:spPr>
                <a:xfrm flipH="1">
                  <a:off x="8467923" y="856862"/>
                  <a:ext cx="145397" cy="9951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36D24D86-7E75-23B9-8784-585B14B21F31}"/>
                  </a:ext>
                </a:extLst>
              </p:cNvPr>
              <p:cNvSpPr txBox="1"/>
              <p:nvPr/>
            </p:nvSpPr>
            <p:spPr>
              <a:xfrm>
                <a:off x="8470469" y="640432"/>
                <a:ext cx="1368152" cy="348485"/>
              </a:xfrm>
              <a:prstGeom prst="rect">
                <a:avLst/>
              </a:prstGeom>
              <a:noFill/>
            </p:spPr>
            <p:txBody>
              <a:bodyPr wrap="square" rtlCol="0">
                <a:spAutoFit/>
              </a:bodyPr>
              <a:lstStyle/>
              <a:p>
                <a:pPr defTabSz="914217">
                  <a:defRPr/>
                </a:pPr>
                <a:r>
                  <a:rPr lang="ja-JP" altLang="en-US" sz="1000" dirty="0">
                    <a:solidFill>
                      <a:srgbClr val="FF0000"/>
                    </a:solidFill>
                    <a:latin typeface="BIZ UDPゴシック" panose="020B0400000000000000" pitchFamily="50" charset="-128"/>
                    <a:ea typeface="BIZ UDPゴシック" panose="020B0400000000000000" pitchFamily="50" charset="-128"/>
                  </a:rPr>
                  <a:t>約３割</a:t>
                </a:r>
              </a:p>
            </p:txBody>
          </p:sp>
        </p:grpSp>
      </p:grpSp>
      <p:grpSp>
        <p:nvGrpSpPr>
          <p:cNvPr id="16" name="グループ化 15">
            <a:extLst>
              <a:ext uri="{FF2B5EF4-FFF2-40B4-BE49-F238E27FC236}">
                <a16:creationId xmlns:a16="http://schemas.microsoft.com/office/drawing/2014/main" id="{8BCBBA3B-D952-B66C-9586-D63985006F6A}"/>
              </a:ext>
            </a:extLst>
          </p:cNvPr>
          <p:cNvGrpSpPr/>
          <p:nvPr/>
        </p:nvGrpSpPr>
        <p:grpSpPr>
          <a:xfrm>
            <a:off x="8109711" y="1914795"/>
            <a:ext cx="1853854" cy="819495"/>
            <a:chOff x="5093006" y="1424608"/>
            <a:chExt cx="1854151" cy="819626"/>
          </a:xfrm>
        </p:grpSpPr>
        <p:grpSp>
          <p:nvGrpSpPr>
            <p:cNvPr id="17" name="グループ化 16">
              <a:extLst>
                <a:ext uri="{FF2B5EF4-FFF2-40B4-BE49-F238E27FC236}">
                  <a16:creationId xmlns:a16="http://schemas.microsoft.com/office/drawing/2014/main" id="{FFB0F713-657E-BC77-0DCC-FBA113169690}"/>
                </a:ext>
              </a:extLst>
            </p:cNvPr>
            <p:cNvGrpSpPr/>
            <p:nvPr/>
          </p:nvGrpSpPr>
          <p:grpSpPr>
            <a:xfrm>
              <a:off x="5093006" y="1424608"/>
              <a:ext cx="1632527" cy="819626"/>
              <a:chOff x="6986675" y="1165118"/>
              <a:chExt cx="2215891" cy="1112510"/>
            </a:xfrm>
          </p:grpSpPr>
          <p:sp>
            <p:nvSpPr>
              <p:cNvPr id="19" name="テキスト ボックス 18">
                <a:extLst>
                  <a:ext uri="{FF2B5EF4-FFF2-40B4-BE49-F238E27FC236}">
                    <a16:creationId xmlns:a16="http://schemas.microsoft.com/office/drawing/2014/main" id="{3AE51D2E-2B0B-0EF6-3A76-12FDCDCE0CE9}"/>
                  </a:ext>
                </a:extLst>
              </p:cNvPr>
              <p:cNvSpPr txBox="1"/>
              <p:nvPr/>
            </p:nvSpPr>
            <p:spPr>
              <a:xfrm flipH="1">
                <a:off x="6986675" y="1165118"/>
                <a:ext cx="2184380" cy="292430"/>
              </a:xfrm>
              <a:prstGeom prst="rect">
                <a:avLst/>
              </a:prstGeom>
              <a:noFill/>
            </p:spPr>
            <p:txBody>
              <a:bodyPr wrap="square" rtlCol="0">
                <a:spAutoFit/>
              </a:bodyPr>
              <a:lstStyle/>
              <a:p>
                <a:pPr marL="179964" indent="-457109" algn="ctr" defTabSz="914217">
                  <a:defRPr/>
                </a:pPr>
                <a:r>
                  <a:rPr lang="ja-JP" altLang="en-US" sz="800" b="1" dirty="0">
                    <a:solidFill>
                      <a:srgbClr val="000000"/>
                    </a:solidFill>
                    <a:latin typeface="BIZ UDPゴシック" panose="020B0400000000000000" pitchFamily="50" charset="-128"/>
                    <a:ea typeface="BIZ UDPゴシック" panose="020B0400000000000000" pitchFamily="50" charset="-128"/>
                  </a:rPr>
                  <a:t>地方移住への関心（</a:t>
                </a:r>
                <a:r>
                  <a:rPr lang="en-US" altLang="ja-JP" sz="800" b="1" dirty="0">
                    <a:solidFill>
                      <a:srgbClr val="000000"/>
                    </a:solidFill>
                    <a:latin typeface="BIZ UDPゴシック" panose="020B0400000000000000" pitchFamily="50" charset="-128"/>
                    <a:ea typeface="BIZ UDPゴシック" panose="020B0400000000000000" pitchFamily="50" charset="-128"/>
                  </a:rPr>
                  <a:t>20</a:t>
                </a:r>
                <a:r>
                  <a:rPr lang="ja-JP" altLang="en-US" sz="800" b="1" dirty="0">
                    <a:solidFill>
                      <a:srgbClr val="000000"/>
                    </a:solidFill>
                    <a:latin typeface="BIZ UDPゴシック" panose="020B0400000000000000" pitchFamily="50" charset="-128"/>
                    <a:ea typeface="BIZ UDPゴシック" panose="020B0400000000000000" pitchFamily="50" charset="-128"/>
                  </a:rPr>
                  <a:t>歳代）</a:t>
                </a:r>
              </a:p>
            </p:txBody>
          </p:sp>
          <p:pic>
            <p:nvPicPr>
              <p:cNvPr id="20" name="図 19">
                <a:extLst>
                  <a:ext uri="{FF2B5EF4-FFF2-40B4-BE49-F238E27FC236}">
                    <a16:creationId xmlns:a16="http://schemas.microsoft.com/office/drawing/2014/main" id="{2F42B056-173C-E19B-1EA1-126D1B3F352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05318" y="1566369"/>
                <a:ext cx="2196720" cy="711259"/>
              </a:xfrm>
              <a:prstGeom prst="rect">
                <a:avLst/>
              </a:prstGeom>
            </p:spPr>
          </p:pic>
          <p:sp>
            <p:nvSpPr>
              <p:cNvPr id="21" name="正方形/長方形 20">
                <a:extLst>
                  <a:ext uri="{FF2B5EF4-FFF2-40B4-BE49-F238E27FC236}">
                    <a16:creationId xmlns:a16="http://schemas.microsoft.com/office/drawing/2014/main" id="{FF8DE786-3A80-F1D4-AD54-312CD6BD7061}"/>
                  </a:ext>
                </a:extLst>
              </p:cNvPr>
              <p:cNvSpPr/>
              <p:nvPr/>
            </p:nvSpPr>
            <p:spPr>
              <a:xfrm>
                <a:off x="8070482" y="1624230"/>
                <a:ext cx="996244" cy="183600"/>
              </a:xfrm>
              <a:prstGeom prst="rect">
                <a:avLst/>
              </a:prstGeom>
              <a:solidFill>
                <a:srgbClr val="4087C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prstClr val="white"/>
                  </a:solidFill>
                  <a:latin typeface="Arial"/>
                  <a:ea typeface="ＭＳ Ｐゴシック"/>
                </a:endParaRPr>
              </a:p>
            </p:txBody>
          </p:sp>
          <p:sp>
            <p:nvSpPr>
              <p:cNvPr id="22" name="正方形/長方形 21">
                <a:extLst>
                  <a:ext uri="{FF2B5EF4-FFF2-40B4-BE49-F238E27FC236}">
                    <a16:creationId xmlns:a16="http://schemas.microsoft.com/office/drawing/2014/main" id="{674F937C-2F6C-F24B-48BA-F258EE57C048}"/>
                  </a:ext>
                </a:extLst>
              </p:cNvPr>
              <p:cNvSpPr/>
              <p:nvPr/>
            </p:nvSpPr>
            <p:spPr>
              <a:xfrm>
                <a:off x="8167229" y="1885663"/>
                <a:ext cx="899497" cy="183600"/>
              </a:xfrm>
              <a:prstGeom prst="rect">
                <a:avLst/>
              </a:prstGeom>
              <a:solidFill>
                <a:srgbClr val="4087C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prstClr val="white"/>
                  </a:solidFill>
                  <a:latin typeface="Arial"/>
                  <a:ea typeface="ＭＳ Ｐゴシック"/>
                </a:endParaRPr>
              </a:p>
            </p:txBody>
          </p:sp>
          <p:cxnSp>
            <p:nvCxnSpPr>
              <p:cNvPr id="23" name="直線矢印コネクタ 22">
                <a:extLst>
                  <a:ext uri="{FF2B5EF4-FFF2-40B4-BE49-F238E27FC236}">
                    <a16:creationId xmlns:a16="http://schemas.microsoft.com/office/drawing/2014/main" id="{B79D5EE2-3AF2-2D09-5E37-F793B8119E8F}"/>
                  </a:ext>
                </a:extLst>
              </p:cNvPr>
              <p:cNvCxnSpPr>
                <a:cxnSpLocks/>
              </p:cNvCxnSpPr>
              <p:nvPr/>
            </p:nvCxnSpPr>
            <p:spPr>
              <a:xfrm flipH="1">
                <a:off x="8153577" y="1548081"/>
                <a:ext cx="549299" cy="33318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C49B6C9A-C963-DD92-EC8D-175F2BCABF48}"/>
                  </a:ext>
                </a:extLst>
              </p:cNvPr>
              <p:cNvSpPr/>
              <p:nvPr/>
            </p:nvSpPr>
            <p:spPr>
              <a:xfrm>
                <a:off x="7437048" y="1626770"/>
                <a:ext cx="641473" cy="182229"/>
              </a:xfrm>
              <a:prstGeom prst="rect">
                <a:avLst/>
              </a:prstGeom>
              <a:solidFill>
                <a:srgbClr val="FFC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dirty="0">
                  <a:solidFill>
                    <a:prstClr val="white"/>
                  </a:solidFill>
                  <a:highlight>
                    <a:srgbClr val="FF6600"/>
                  </a:highlight>
                  <a:latin typeface="Arial"/>
                  <a:ea typeface="ＭＳ Ｐゴシック"/>
                </a:endParaRPr>
              </a:p>
            </p:txBody>
          </p:sp>
          <p:sp>
            <p:nvSpPr>
              <p:cNvPr id="25" name="テキスト ボックス 24">
                <a:extLst>
                  <a:ext uri="{FF2B5EF4-FFF2-40B4-BE49-F238E27FC236}">
                    <a16:creationId xmlns:a16="http://schemas.microsoft.com/office/drawing/2014/main" id="{D81739BA-21F2-D931-0E39-E12B9DF16BA6}"/>
                  </a:ext>
                </a:extLst>
              </p:cNvPr>
              <p:cNvSpPr txBox="1"/>
              <p:nvPr/>
            </p:nvSpPr>
            <p:spPr>
              <a:xfrm>
                <a:off x="7464674" y="1590447"/>
                <a:ext cx="919382" cy="250654"/>
              </a:xfrm>
              <a:prstGeom prst="rect">
                <a:avLst/>
              </a:prstGeom>
              <a:noFill/>
            </p:spPr>
            <p:txBody>
              <a:bodyPr wrap="square" rtlCol="0">
                <a:spAutoFit/>
              </a:bodyPr>
              <a:lstStyle/>
              <a:p>
                <a:pPr defTabSz="914217">
                  <a:defRPr/>
                </a:pPr>
                <a:r>
                  <a:rPr lang="en-US" altLang="ja-JP" sz="600" dirty="0">
                    <a:solidFill>
                      <a:prstClr val="black"/>
                    </a:solidFill>
                    <a:latin typeface="ＭＳ ゴシック" panose="020B0609070205080204" pitchFamily="49" charset="-128"/>
                    <a:ea typeface="ＭＳ ゴシック" panose="020B0609070205080204" pitchFamily="49" charset="-128"/>
                  </a:rPr>
                  <a:t>39.2</a:t>
                </a:r>
                <a:r>
                  <a:rPr lang="ja-JP" altLang="en-US" sz="600" dirty="0">
                    <a:solidFill>
                      <a:prstClr val="black"/>
                    </a:solidFill>
                    <a:latin typeface="ＭＳ ゴシック" panose="020B0609070205080204" pitchFamily="49" charset="-128"/>
                    <a:ea typeface="ＭＳ ゴシック" panose="020B0609070205080204" pitchFamily="49" charset="-128"/>
                  </a:rPr>
                  <a:t>％</a:t>
                </a:r>
              </a:p>
            </p:txBody>
          </p:sp>
          <p:sp>
            <p:nvSpPr>
              <p:cNvPr id="26" name="正方形/長方形 25">
                <a:extLst>
                  <a:ext uri="{FF2B5EF4-FFF2-40B4-BE49-F238E27FC236}">
                    <a16:creationId xmlns:a16="http://schemas.microsoft.com/office/drawing/2014/main" id="{07BABEFD-A04D-CEAE-8523-5EB08DF8D969}"/>
                  </a:ext>
                </a:extLst>
              </p:cNvPr>
              <p:cNvSpPr/>
              <p:nvPr/>
            </p:nvSpPr>
            <p:spPr>
              <a:xfrm>
                <a:off x="7429048" y="1886324"/>
                <a:ext cx="728896" cy="183600"/>
              </a:xfrm>
              <a:prstGeom prst="rect">
                <a:avLst/>
              </a:prstGeom>
              <a:solidFill>
                <a:srgbClr val="FFC000"/>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dirty="0">
                  <a:solidFill>
                    <a:prstClr val="white"/>
                  </a:solidFill>
                  <a:highlight>
                    <a:srgbClr val="FF6600"/>
                  </a:highlight>
                  <a:latin typeface="Arial"/>
                  <a:ea typeface="ＭＳ Ｐゴシック"/>
                </a:endParaRPr>
              </a:p>
            </p:txBody>
          </p:sp>
          <p:sp>
            <p:nvSpPr>
              <p:cNvPr id="27" name="テキスト ボックス 26">
                <a:extLst>
                  <a:ext uri="{FF2B5EF4-FFF2-40B4-BE49-F238E27FC236}">
                    <a16:creationId xmlns:a16="http://schemas.microsoft.com/office/drawing/2014/main" id="{5DEFBC0D-4B6F-BEED-CF86-98F775DF0B42}"/>
                  </a:ext>
                </a:extLst>
              </p:cNvPr>
              <p:cNvSpPr txBox="1"/>
              <p:nvPr/>
            </p:nvSpPr>
            <p:spPr>
              <a:xfrm>
                <a:off x="7339845" y="1852599"/>
                <a:ext cx="1251122" cy="250654"/>
              </a:xfrm>
              <a:prstGeom prst="rect">
                <a:avLst/>
              </a:prstGeom>
              <a:noFill/>
            </p:spPr>
            <p:txBody>
              <a:bodyPr wrap="square" rtlCol="0">
                <a:spAutoFit/>
              </a:bodyPr>
              <a:lstStyle/>
              <a:p>
                <a:pPr defTabSz="914217">
                  <a:defRPr/>
                </a:pPr>
                <a:r>
                  <a:rPr lang="ja-JP" altLang="en-US" sz="600" dirty="0">
                    <a:solidFill>
                      <a:prstClr val="black"/>
                    </a:solidFill>
                    <a:latin typeface="ＭＳ ゴシック" panose="020B0609070205080204" pitchFamily="49" charset="-128"/>
                    <a:ea typeface="ＭＳ ゴシック" panose="020B0609070205080204" pitchFamily="49" charset="-128"/>
                  </a:rPr>
                  <a:t>関心層 </a:t>
                </a:r>
                <a:r>
                  <a:rPr lang="en-US" altLang="ja-JP" sz="600" dirty="0">
                    <a:solidFill>
                      <a:prstClr val="black"/>
                    </a:solidFill>
                    <a:latin typeface="ＭＳ ゴシック" panose="020B0609070205080204" pitchFamily="49" charset="-128"/>
                    <a:ea typeface="ＭＳ ゴシック" panose="020B0609070205080204" pitchFamily="49" charset="-128"/>
                  </a:rPr>
                  <a:t>44.8</a:t>
                </a:r>
                <a:r>
                  <a:rPr lang="ja-JP" altLang="en-US" sz="600" dirty="0">
                    <a:solidFill>
                      <a:prstClr val="black"/>
                    </a:solidFill>
                    <a:latin typeface="ＭＳ ゴシック" panose="020B0609070205080204" pitchFamily="49" charset="-128"/>
                    <a:ea typeface="ＭＳ ゴシック" panose="020B0609070205080204" pitchFamily="49" charset="-128"/>
                  </a:rPr>
                  <a:t>％</a:t>
                </a:r>
              </a:p>
            </p:txBody>
          </p:sp>
          <p:pic>
            <p:nvPicPr>
              <p:cNvPr id="28" name="図 27">
                <a:extLst>
                  <a:ext uri="{FF2B5EF4-FFF2-40B4-BE49-F238E27FC236}">
                    <a16:creationId xmlns:a16="http://schemas.microsoft.com/office/drawing/2014/main" id="{495172F5-1BE8-8B15-CD5B-0238BE529952}"/>
                  </a:ext>
                </a:extLst>
              </p:cNvPr>
              <p:cNvPicPr>
                <a:picLocks noChangeAspect="1"/>
              </p:cNvPicPr>
              <p:nvPr/>
            </p:nvPicPr>
            <p:blipFill rotWithShape="1">
              <a:blip r:embed="rId5"/>
              <a:srcRect l="1901" t="15647" r="82169" b="76793"/>
              <a:stretch/>
            </p:blipFill>
            <p:spPr>
              <a:xfrm>
                <a:off x="7061723" y="1676988"/>
                <a:ext cx="338343" cy="114388"/>
              </a:xfrm>
              <a:prstGeom prst="rect">
                <a:avLst/>
              </a:prstGeom>
            </p:spPr>
          </p:pic>
          <p:pic>
            <p:nvPicPr>
              <p:cNvPr id="29" name="図 28">
                <a:extLst>
                  <a:ext uri="{FF2B5EF4-FFF2-40B4-BE49-F238E27FC236}">
                    <a16:creationId xmlns:a16="http://schemas.microsoft.com/office/drawing/2014/main" id="{AB6744FA-8634-7784-3500-E5E7DC37975F}"/>
                  </a:ext>
                </a:extLst>
              </p:cNvPr>
              <p:cNvPicPr>
                <a:picLocks noChangeAspect="1"/>
              </p:cNvPicPr>
              <p:nvPr/>
            </p:nvPicPr>
            <p:blipFill rotWithShape="1">
              <a:blip r:embed="rId5"/>
              <a:srcRect l="1098" t="74178" r="82972" b="18262"/>
              <a:stretch/>
            </p:blipFill>
            <p:spPr>
              <a:xfrm>
                <a:off x="7061723" y="1930130"/>
                <a:ext cx="338343" cy="114388"/>
              </a:xfrm>
              <a:prstGeom prst="rect">
                <a:avLst/>
              </a:prstGeom>
            </p:spPr>
          </p:pic>
          <p:pic>
            <p:nvPicPr>
              <p:cNvPr id="30" name="図 29">
                <a:extLst>
                  <a:ext uri="{FF2B5EF4-FFF2-40B4-BE49-F238E27FC236}">
                    <a16:creationId xmlns:a16="http://schemas.microsoft.com/office/drawing/2014/main" id="{3303D075-2F0F-AF63-EA94-8689B9D70E30}"/>
                  </a:ext>
                </a:extLst>
              </p:cNvPr>
              <p:cNvPicPr>
                <a:picLocks noChangeAspect="1"/>
              </p:cNvPicPr>
              <p:nvPr/>
            </p:nvPicPr>
            <p:blipFill rotWithShape="1">
              <a:blip r:embed="rId5"/>
              <a:srcRect l="13926" t="88432" r="-1706" b="3810"/>
              <a:stretch/>
            </p:blipFill>
            <p:spPr>
              <a:xfrm>
                <a:off x="7338182" y="2133448"/>
                <a:ext cx="1864384" cy="117379"/>
              </a:xfrm>
              <a:prstGeom prst="rect">
                <a:avLst/>
              </a:prstGeom>
            </p:spPr>
          </p:pic>
        </p:grpSp>
        <p:sp>
          <p:nvSpPr>
            <p:cNvPr id="18" name="テキスト ボックス 17">
              <a:extLst>
                <a:ext uri="{FF2B5EF4-FFF2-40B4-BE49-F238E27FC236}">
                  <a16:creationId xmlns:a16="http://schemas.microsoft.com/office/drawing/2014/main" id="{AA7459D2-C989-BE41-5372-1F19E1BCEB23}"/>
                </a:ext>
              </a:extLst>
            </p:cNvPr>
            <p:cNvSpPr txBox="1"/>
            <p:nvPr/>
          </p:nvSpPr>
          <p:spPr>
            <a:xfrm>
              <a:off x="6270248" y="1536783"/>
              <a:ext cx="676909" cy="246221"/>
            </a:xfrm>
            <a:prstGeom prst="rect">
              <a:avLst/>
            </a:prstGeom>
            <a:noFill/>
          </p:spPr>
          <p:txBody>
            <a:bodyPr wrap="square" rtlCol="0">
              <a:spAutoFit/>
            </a:bodyPr>
            <a:lstStyle/>
            <a:p>
              <a:pPr defTabSz="914217">
                <a:defRPr/>
              </a:pPr>
              <a:r>
                <a:rPr lang="ja-JP" altLang="en-US" sz="1000" dirty="0">
                  <a:solidFill>
                    <a:srgbClr val="FF0000"/>
                  </a:solidFill>
                  <a:latin typeface="BIZ UDPゴシック" panose="020B0400000000000000" pitchFamily="50" charset="-128"/>
                  <a:ea typeface="BIZ UDPゴシック" panose="020B0400000000000000" pitchFamily="50" charset="-128"/>
                </a:rPr>
                <a:t>約半数</a:t>
              </a:r>
            </a:p>
          </p:txBody>
        </p:sp>
      </p:grpSp>
      <p:sp>
        <p:nvSpPr>
          <p:cNvPr id="31" name="正方形/長方形 30">
            <a:extLst>
              <a:ext uri="{FF2B5EF4-FFF2-40B4-BE49-F238E27FC236}">
                <a16:creationId xmlns:a16="http://schemas.microsoft.com/office/drawing/2014/main" id="{FFB0E479-255C-DAAD-ACCA-08A7F5FDC4D2}"/>
              </a:ext>
            </a:extLst>
          </p:cNvPr>
          <p:cNvSpPr/>
          <p:nvPr/>
        </p:nvSpPr>
        <p:spPr>
          <a:xfrm>
            <a:off x="98030" y="2866088"/>
            <a:ext cx="5621528" cy="4361882"/>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prstClr val="white"/>
              </a:solidFill>
              <a:latin typeface="Arial"/>
              <a:ea typeface="ＭＳ Ｐゴシック"/>
            </a:endParaRPr>
          </a:p>
        </p:txBody>
      </p:sp>
      <p:sp>
        <p:nvSpPr>
          <p:cNvPr id="32" name="正方形/長方形 31">
            <a:extLst>
              <a:ext uri="{FF2B5EF4-FFF2-40B4-BE49-F238E27FC236}">
                <a16:creationId xmlns:a16="http://schemas.microsoft.com/office/drawing/2014/main" id="{F042B5B5-9226-B907-94E7-FE1FB99FECF4}"/>
              </a:ext>
            </a:extLst>
          </p:cNvPr>
          <p:cNvSpPr/>
          <p:nvPr/>
        </p:nvSpPr>
        <p:spPr>
          <a:xfrm>
            <a:off x="5835145" y="6628844"/>
            <a:ext cx="3971239" cy="594174"/>
          </a:xfrm>
          <a:prstGeom prst="rect">
            <a:avLst/>
          </a:prstGeom>
          <a:solidFill>
            <a:srgbClr val="FFFF66"/>
          </a:solidFill>
          <a:ln w="19050">
            <a:solidFill>
              <a:srgbClr val="FF0000"/>
            </a:solidFill>
            <a:prstDash val="sysDash"/>
          </a:ln>
        </p:spPr>
        <p:txBody>
          <a:bodyPr wrap="square" lIns="35994" rIns="35994">
            <a:noAutofit/>
          </a:bodyPr>
          <a:lstStyle/>
          <a:p>
            <a:pPr defTabSz="914217">
              <a:defRPr/>
            </a:pPr>
            <a:endParaRPr lang="ja-JP" altLang="en-US" sz="1100" b="1" dirty="0">
              <a:solidFill>
                <a:srgbClr val="FF0000"/>
              </a:solidFill>
              <a:ea typeface="ＭＳ Ｐゴシック" charset="-128"/>
            </a:endParaRPr>
          </a:p>
        </p:txBody>
      </p:sp>
      <p:sp>
        <p:nvSpPr>
          <p:cNvPr id="33" name="テキスト ボックス 32">
            <a:extLst>
              <a:ext uri="{FF2B5EF4-FFF2-40B4-BE49-F238E27FC236}">
                <a16:creationId xmlns:a16="http://schemas.microsoft.com/office/drawing/2014/main" id="{533E7F6D-28F5-A6E0-7C21-E5D761C5D7E2}"/>
              </a:ext>
            </a:extLst>
          </p:cNvPr>
          <p:cNvSpPr txBox="1"/>
          <p:nvPr/>
        </p:nvSpPr>
        <p:spPr>
          <a:xfrm>
            <a:off x="5765736" y="6659939"/>
            <a:ext cx="4844262" cy="507750"/>
          </a:xfrm>
          <a:prstGeom prst="rect">
            <a:avLst/>
          </a:prstGeom>
          <a:noFill/>
        </p:spPr>
        <p:txBody>
          <a:bodyPr wrap="square" rtlCol="0">
            <a:spAutoFit/>
          </a:bodyPr>
          <a:lstStyle/>
          <a:p>
            <a:pPr marL="938002" indent="-922132" defTabSz="914217">
              <a:defRPr/>
            </a:pPr>
            <a:r>
              <a:rPr lang="en-US" altLang="ja-JP" sz="900" b="1" dirty="0">
                <a:solidFill>
                  <a:srgbClr val="FF0000"/>
                </a:solidFill>
                <a:latin typeface="ＭＳ Ｐゴシック"/>
                <a:ea typeface="ＭＳ Ｐゴシック"/>
              </a:rPr>
              <a:t> 【</a:t>
            </a:r>
            <a:r>
              <a:rPr lang="ja-JP" altLang="en-US" sz="900" b="1" dirty="0">
                <a:solidFill>
                  <a:srgbClr val="FF0000"/>
                </a:solidFill>
                <a:latin typeface="ＭＳ Ｐゴシック"/>
                <a:ea typeface="ＭＳ Ｐゴシック"/>
              </a:rPr>
              <a:t>目標・効果</a:t>
            </a:r>
            <a:r>
              <a:rPr lang="en-US" altLang="ja-JP" sz="900" b="1" dirty="0">
                <a:solidFill>
                  <a:srgbClr val="FF0000"/>
                </a:solidFill>
                <a:latin typeface="ＭＳ Ｐゴシック"/>
                <a:ea typeface="ＭＳ Ｐゴシック"/>
              </a:rPr>
              <a:t>】</a:t>
            </a:r>
            <a:r>
              <a:rPr lang="ja-JP" altLang="en-US" sz="900" dirty="0">
                <a:solidFill>
                  <a:srgbClr val="FF0000"/>
                </a:solidFill>
                <a:latin typeface="ＭＳ Ｐゴシック"/>
                <a:ea typeface="ＭＳ Ｐゴシック" charset="-128"/>
              </a:rPr>
              <a:t>二地域居住の促進により、地方への人の流れの創出・拡大を図る</a:t>
            </a:r>
            <a:endParaRPr lang="en-US" altLang="ja-JP" sz="900" dirty="0">
              <a:solidFill>
                <a:srgbClr val="FF0000"/>
              </a:solidFill>
              <a:latin typeface="ＭＳ Ｐゴシック"/>
              <a:ea typeface="ＭＳ Ｐゴシック" charset="-128"/>
            </a:endParaRPr>
          </a:p>
          <a:p>
            <a:pPr marL="938002" indent="-922132" defTabSz="914217">
              <a:defRPr/>
            </a:pPr>
            <a:r>
              <a:rPr lang="ja-JP" altLang="en-US" sz="900" dirty="0">
                <a:solidFill>
                  <a:srgbClr val="FF0000"/>
                </a:solidFill>
                <a:latin typeface="ＭＳ Ｐゴシック"/>
                <a:ea typeface="ＭＳ Ｐゴシック" charset="-128"/>
              </a:rPr>
              <a:t>　（</a:t>
            </a:r>
            <a:r>
              <a:rPr lang="en-US" altLang="ja-JP" sz="900" dirty="0">
                <a:solidFill>
                  <a:srgbClr val="FF0000"/>
                </a:solidFill>
                <a:latin typeface="ＭＳ Ｐゴシック"/>
                <a:ea typeface="ＭＳ Ｐゴシック" charset="-128"/>
              </a:rPr>
              <a:t>KPI</a:t>
            </a:r>
            <a:r>
              <a:rPr lang="ja-JP" altLang="en-US" sz="900" dirty="0">
                <a:solidFill>
                  <a:srgbClr val="FF0000"/>
                </a:solidFill>
                <a:latin typeface="ＭＳ Ｐゴシック"/>
                <a:ea typeface="ＭＳ Ｐゴシック" charset="-128"/>
              </a:rPr>
              <a:t>）①特定居住促進計画の作成数：施行後５年間で累計</a:t>
            </a:r>
            <a:r>
              <a:rPr lang="en-US" altLang="ja-JP" sz="900" dirty="0">
                <a:solidFill>
                  <a:srgbClr val="FF0000"/>
                </a:solidFill>
                <a:latin typeface="ＭＳ Ｐゴシック"/>
                <a:ea typeface="ＭＳ Ｐゴシック" charset="-128"/>
              </a:rPr>
              <a:t>600</a:t>
            </a:r>
            <a:r>
              <a:rPr lang="ja-JP" altLang="en-US" sz="900" dirty="0">
                <a:solidFill>
                  <a:srgbClr val="FF0000"/>
                </a:solidFill>
                <a:latin typeface="ＭＳ Ｐゴシック"/>
                <a:ea typeface="ＭＳ Ｐゴシック" charset="-128"/>
              </a:rPr>
              <a:t>件</a:t>
            </a:r>
            <a:endParaRPr lang="en-US" altLang="ja-JP" sz="900" dirty="0">
              <a:solidFill>
                <a:srgbClr val="FF0000"/>
              </a:solidFill>
              <a:latin typeface="ＭＳ Ｐゴシック"/>
              <a:ea typeface="ＭＳ Ｐゴシック" charset="-128"/>
            </a:endParaRPr>
          </a:p>
          <a:p>
            <a:pPr marL="938002" indent="-922132" defTabSz="914217">
              <a:defRPr/>
            </a:pPr>
            <a:r>
              <a:rPr lang="ja-JP" altLang="en-US" sz="900" dirty="0">
                <a:solidFill>
                  <a:srgbClr val="FF0000"/>
                </a:solidFill>
                <a:latin typeface="ＭＳ Ｐゴシック"/>
                <a:ea typeface="ＭＳ Ｐゴシック" charset="-128"/>
              </a:rPr>
              <a:t>　　　    ②二地域居住等支援法人の指定数：施行後５年間で累計</a:t>
            </a:r>
            <a:r>
              <a:rPr lang="en-US" altLang="ja-JP" sz="900" dirty="0">
                <a:solidFill>
                  <a:srgbClr val="FF0000"/>
                </a:solidFill>
                <a:latin typeface="ＭＳ Ｐゴシック"/>
                <a:ea typeface="ＭＳ Ｐゴシック" charset="-128"/>
              </a:rPr>
              <a:t>600</a:t>
            </a:r>
            <a:r>
              <a:rPr lang="ja-JP" altLang="en-US" sz="900" dirty="0">
                <a:solidFill>
                  <a:srgbClr val="FF0000"/>
                </a:solidFill>
                <a:latin typeface="ＭＳ Ｐゴシック"/>
                <a:ea typeface="ＭＳ Ｐゴシック" charset="-128"/>
              </a:rPr>
              <a:t>法人</a:t>
            </a:r>
            <a:endParaRPr lang="en-US" altLang="ja-JP" sz="900" dirty="0">
              <a:solidFill>
                <a:srgbClr val="FF0000"/>
              </a:solidFill>
              <a:latin typeface="ＭＳ Ｐゴシック"/>
              <a:ea typeface="ＭＳ Ｐゴシック" charset="-128"/>
            </a:endParaRPr>
          </a:p>
        </p:txBody>
      </p:sp>
      <p:sp>
        <p:nvSpPr>
          <p:cNvPr id="35" name="テキスト ボックス 34">
            <a:extLst>
              <a:ext uri="{FF2B5EF4-FFF2-40B4-BE49-F238E27FC236}">
                <a16:creationId xmlns:a16="http://schemas.microsoft.com/office/drawing/2014/main" id="{6B580F73-F296-102B-E213-2374BAF1A706}"/>
              </a:ext>
            </a:extLst>
          </p:cNvPr>
          <p:cNvSpPr txBox="1"/>
          <p:nvPr/>
        </p:nvSpPr>
        <p:spPr>
          <a:xfrm>
            <a:off x="91108" y="967981"/>
            <a:ext cx="960365" cy="261568"/>
          </a:xfrm>
          <a:prstGeom prst="rect">
            <a:avLst/>
          </a:prstGeom>
          <a:solidFill>
            <a:schemeClr val="accent1">
              <a:lumMod val="75000"/>
            </a:schemeClr>
          </a:solidFill>
        </p:spPr>
        <p:txBody>
          <a:bodyPr wrap="none" rtlCol="0" anchor="ctr">
            <a:spAutoFit/>
          </a:bodyPr>
          <a:lstStyle/>
          <a:p>
            <a:pPr algn="ctr" defTabSz="914217">
              <a:defRPr/>
            </a:pPr>
            <a:r>
              <a:rPr lang="ja-JP" altLang="en-US" sz="1100" b="1" dirty="0">
                <a:solidFill>
                  <a:prstClr val="white"/>
                </a:solidFill>
                <a:latin typeface="HGP創英角ｺﾞｼｯｸUB"/>
                <a:ea typeface="HGP創英角ｺﾞｼｯｸUB"/>
                <a:cs typeface="メイリオ" panose="020B0604030504040204" pitchFamily="50" charset="-128"/>
              </a:rPr>
              <a:t>背景・必要性</a:t>
            </a:r>
          </a:p>
        </p:txBody>
      </p:sp>
      <p:sp>
        <p:nvSpPr>
          <p:cNvPr id="36" name="テキスト ボックス 35">
            <a:extLst>
              <a:ext uri="{FF2B5EF4-FFF2-40B4-BE49-F238E27FC236}">
                <a16:creationId xmlns:a16="http://schemas.microsoft.com/office/drawing/2014/main" id="{E50DFDF2-EB45-116B-19EC-1F237817CC5B}"/>
              </a:ext>
            </a:extLst>
          </p:cNvPr>
          <p:cNvSpPr txBox="1"/>
          <p:nvPr/>
        </p:nvSpPr>
        <p:spPr>
          <a:xfrm>
            <a:off x="91107" y="2786103"/>
            <a:ext cx="1079827" cy="261568"/>
          </a:xfrm>
          <a:prstGeom prst="rect">
            <a:avLst/>
          </a:prstGeom>
          <a:solidFill>
            <a:schemeClr val="accent2">
              <a:lumMod val="75000"/>
            </a:schemeClr>
          </a:solidFill>
        </p:spPr>
        <p:txBody>
          <a:bodyPr wrap="square" rtlCol="0" anchor="ctr">
            <a:spAutoFit/>
          </a:bodyPr>
          <a:lstStyle/>
          <a:p>
            <a:pPr algn="ctr" defTabSz="914217">
              <a:defRPr/>
            </a:pPr>
            <a:r>
              <a:rPr lang="ja-JP" altLang="en-US" sz="1100" b="1" dirty="0">
                <a:solidFill>
                  <a:prstClr val="white"/>
                </a:solidFill>
                <a:latin typeface="HGP創英角ｺﾞｼｯｸUB"/>
                <a:ea typeface="HGP創英角ｺﾞｼｯｸUB"/>
                <a:cs typeface="メイリオ" panose="020B0604030504040204" pitchFamily="50" charset="-128"/>
              </a:rPr>
              <a:t>法律の概要</a:t>
            </a:r>
          </a:p>
        </p:txBody>
      </p:sp>
      <p:sp>
        <p:nvSpPr>
          <p:cNvPr id="37" name="テキスト ボックス 36">
            <a:extLst>
              <a:ext uri="{FF2B5EF4-FFF2-40B4-BE49-F238E27FC236}">
                <a16:creationId xmlns:a16="http://schemas.microsoft.com/office/drawing/2014/main" id="{13ADE1AB-C183-ACC9-2FD1-499674638A77}"/>
              </a:ext>
            </a:extLst>
          </p:cNvPr>
          <p:cNvSpPr txBox="1"/>
          <p:nvPr/>
        </p:nvSpPr>
        <p:spPr>
          <a:xfrm>
            <a:off x="56447" y="3434276"/>
            <a:ext cx="2954114" cy="3466868"/>
          </a:xfrm>
          <a:prstGeom prst="rect">
            <a:avLst/>
          </a:prstGeom>
          <a:noFill/>
        </p:spPr>
        <p:txBody>
          <a:bodyPr wrap="square" rtlCol="0">
            <a:spAutoFit/>
          </a:bodyPr>
          <a:lstStyle/>
          <a:p>
            <a:pPr marL="171416" indent="-171416" defTabSz="914217" eaLnBrk="0" fontAlgn="auto" hangingPunct="0">
              <a:lnSpc>
                <a:spcPts val="1400"/>
              </a:lnSpc>
              <a:spcBef>
                <a:spcPts val="1200"/>
              </a:spcBef>
              <a:spcAft>
                <a:spcPts val="0"/>
              </a:spcAft>
              <a:buFont typeface="Arial" panose="020B0604020202020204" pitchFamily="34" charset="0"/>
              <a:buChar char="•"/>
              <a:defRPr/>
            </a:pP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都道府県が</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二地域居住</a:t>
            </a: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に係る事項を内容に含む広域的地域活性化基盤整備計画を作成したとき、市町村は二地域居住の促進に関する計画（</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特定居住促進計画</a:t>
            </a: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を作成可能</a:t>
            </a:r>
            <a:endParaRPr kumimoji="0" lang="en-US" altLang="ja-JP" sz="1000" kern="0" spc="30" dirty="0">
              <a:solidFill>
                <a:prstClr val="black"/>
              </a:solidFill>
              <a:latin typeface="HGP創英角ｺﾞｼｯｸUB"/>
              <a:ea typeface="ＭＳ Ｐゴシック" charset="-128"/>
              <a:cs typeface="メイリオ" panose="020B0604030504040204" pitchFamily="50" charset="-128"/>
            </a:endParaRPr>
          </a:p>
          <a:p>
            <a:pPr marL="171416" indent="-171416" defTabSz="914217" eaLnBrk="0" fontAlgn="auto" hangingPunct="0">
              <a:lnSpc>
                <a:spcPts val="1400"/>
              </a:lnSpc>
              <a:spcBef>
                <a:spcPts val="1200"/>
              </a:spcBef>
              <a:spcAft>
                <a:spcPts val="0"/>
              </a:spcAft>
              <a:buFont typeface="Arial" panose="020B0604020202020204" pitchFamily="34" charset="0"/>
              <a:buChar char="•"/>
              <a:defRPr/>
            </a:pP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特定居住促進計画には、地域における</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二地域居住に関する基本的な方針、拠点施設の整備に関する事項</a:t>
            </a: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等を記載するものとし、当該計画に定められた事業の実施等について</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法律上の特例</a:t>
            </a: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を措置（住居専用地域において二地域居住者向けのコワーキングスペースを開設しやすくする等）</a:t>
            </a:r>
            <a:endParaRPr kumimoji="0" lang="en-US" altLang="ja-JP" sz="1000" kern="0" spc="30" dirty="0">
              <a:solidFill>
                <a:prstClr val="black"/>
              </a:solidFill>
              <a:latin typeface="HGP創英角ｺﾞｼｯｸUB"/>
              <a:ea typeface="ＭＳ Ｐゴシック" charset="-128"/>
              <a:cs typeface="メイリオ" panose="020B0604030504040204" pitchFamily="50" charset="-128"/>
            </a:endParaRPr>
          </a:p>
          <a:p>
            <a:pPr marL="233953" indent="-457109" defTabSz="914217" eaLnBrk="0" fontAlgn="auto" hangingPunct="0">
              <a:lnSpc>
                <a:spcPts val="1400"/>
              </a:lnSpc>
              <a:spcBef>
                <a:spcPts val="300"/>
              </a:spcBef>
              <a:spcAft>
                <a:spcPts val="0"/>
              </a:spcAft>
              <a:defRPr/>
            </a:pPr>
            <a:r>
              <a:rPr kumimoji="0" lang="ja-JP" altLang="en-US" sz="1000" kern="0" spc="30" dirty="0">
                <a:solidFill>
                  <a:prstClr val="black"/>
                </a:solidFill>
                <a:latin typeface="ＭＳ Ｐゴシック"/>
                <a:ea typeface="ＭＳ Ｐゴシック"/>
                <a:cs typeface="メイリオ" panose="020B0604030504040204" pitchFamily="50" charset="-128"/>
              </a:rPr>
              <a:t>⇒　空き家改修・コワーキングスペース整備について支援＜予算＞</a:t>
            </a:r>
            <a:endParaRPr kumimoji="0" lang="en-US" altLang="ja-JP" sz="1000" kern="0" spc="30" dirty="0">
              <a:solidFill>
                <a:prstClr val="black"/>
              </a:solidFill>
              <a:latin typeface="ＭＳ Ｐゴシック"/>
              <a:ea typeface="ＭＳ Ｐゴシック"/>
              <a:cs typeface="メイリオ" panose="020B0604030504040204" pitchFamily="50" charset="-128"/>
            </a:endParaRPr>
          </a:p>
          <a:p>
            <a:pPr marL="171416" indent="-171416" defTabSz="914217" eaLnBrk="0" fontAlgn="auto" hangingPunct="0">
              <a:lnSpc>
                <a:spcPts val="1400"/>
              </a:lnSpc>
              <a:spcBef>
                <a:spcPts val="1200"/>
              </a:spcBef>
              <a:spcAft>
                <a:spcPts val="0"/>
              </a:spcAft>
              <a:buFont typeface="Arial" panose="020B0604020202020204" pitchFamily="34" charset="0"/>
              <a:buChar char="•"/>
              <a:defRPr/>
            </a:pP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市町村は、都道府県に対し、</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二地域居住</a:t>
            </a: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に係る拠点施設と重点地区をその内容に含む</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広域的地域活性化基盤整備計画の作成について提案</a:t>
            </a: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が可能</a:t>
            </a:r>
            <a:endParaRPr kumimoji="0" lang="en-US" altLang="ja-JP" sz="1000" kern="0" spc="30" dirty="0">
              <a:solidFill>
                <a:prstClr val="black"/>
              </a:solidFill>
              <a:latin typeface="HGP創英角ｺﾞｼｯｸUB"/>
              <a:ea typeface="ＭＳ Ｐゴシック" charset="-128"/>
              <a:cs typeface="メイリオ" panose="020B0604030504040204" pitchFamily="50" charset="-128"/>
            </a:endParaRPr>
          </a:p>
        </p:txBody>
      </p:sp>
      <p:sp>
        <p:nvSpPr>
          <p:cNvPr id="38" name="テキスト ボックス 37">
            <a:extLst>
              <a:ext uri="{FF2B5EF4-FFF2-40B4-BE49-F238E27FC236}">
                <a16:creationId xmlns:a16="http://schemas.microsoft.com/office/drawing/2014/main" id="{A39F686E-C785-0F09-BB96-03822EF4D25C}"/>
              </a:ext>
            </a:extLst>
          </p:cNvPr>
          <p:cNvSpPr txBox="1"/>
          <p:nvPr/>
        </p:nvSpPr>
        <p:spPr>
          <a:xfrm>
            <a:off x="2996924" y="3676970"/>
            <a:ext cx="2675245" cy="1049478"/>
          </a:xfrm>
          <a:prstGeom prst="rect">
            <a:avLst/>
          </a:prstGeom>
          <a:solidFill>
            <a:schemeClr val="bg1">
              <a:lumMod val="95000"/>
            </a:schemeClr>
          </a:solidFill>
          <a:ln>
            <a:noFill/>
          </a:ln>
        </p:spPr>
        <p:txBody>
          <a:bodyPr wrap="square" tIns="0" bIns="0" rtlCol="0">
            <a:spAutoFit/>
          </a:bodyPr>
          <a:lstStyle/>
          <a:p>
            <a:pPr marL="179964" indent="-457109" defTabSz="914217">
              <a:lnSpc>
                <a:spcPts val="1400"/>
              </a:lnSpc>
              <a:defRPr/>
            </a:pPr>
            <a:r>
              <a:rPr lang="ja-JP" altLang="en-US" sz="800" dirty="0">
                <a:solidFill>
                  <a:prstClr val="black"/>
                </a:solidFill>
                <a:latin typeface="ＭＳ Ｐゴシック"/>
                <a:ea typeface="ＭＳ Ｐゴシック"/>
              </a:rPr>
              <a:t>✓ </a:t>
            </a:r>
            <a:r>
              <a:rPr lang="ja-JP" altLang="en-US" sz="800" u="sng" dirty="0">
                <a:solidFill>
                  <a:prstClr val="black"/>
                </a:solidFill>
                <a:latin typeface="ＭＳ Ｐゴシック"/>
                <a:ea typeface="ＭＳ Ｐゴシック"/>
              </a:rPr>
              <a:t>広域からの来訪者</a:t>
            </a:r>
            <a:r>
              <a:rPr lang="ja-JP" altLang="en-US" sz="800" u="sng" dirty="0">
                <a:solidFill>
                  <a:prstClr val="black"/>
                </a:solidFill>
                <a:latin typeface="ＭＳ Ｐゴシック"/>
                <a:ea typeface="ＭＳ Ｐゴシック" charset="-128"/>
              </a:rPr>
              <a:t>（観光客等）</a:t>
            </a:r>
            <a:r>
              <a:rPr lang="ja-JP" altLang="en-US" sz="800" u="sng" dirty="0">
                <a:solidFill>
                  <a:prstClr val="black"/>
                </a:solidFill>
                <a:latin typeface="ＭＳ Ｐゴシック"/>
                <a:ea typeface="ＭＳ Ｐゴシック"/>
              </a:rPr>
              <a:t>を増加させるインフラ（アクセス道路等）の整備事業等</a:t>
            </a:r>
            <a:r>
              <a:rPr lang="ja-JP" altLang="en-US" sz="800" dirty="0">
                <a:solidFill>
                  <a:prstClr val="black"/>
                </a:solidFill>
                <a:latin typeface="ＭＳ Ｐゴシック"/>
                <a:ea typeface="ＭＳ Ｐゴシック"/>
              </a:rPr>
              <a:t> </a:t>
            </a:r>
            <a:r>
              <a:rPr lang="en-US" altLang="ja-JP" sz="800" dirty="0">
                <a:solidFill>
                  <a:prstClr val="black"/>
                </a:solidFill>
                <a:latin typeface="ＭＳ Ｐゴシック"/>
                <a:ea typeface="ＭＳ Ｐゴシック"/>
              </a:rPr>
              <a:t>【</a:t>
            </a:r>
            <a:r>
              <a:rPr lang="ja-JP" altLang="en-US" sz="800" dirty="0">
                <a:solidFill>
                  <a:prstClr val="black"/>
                </a:solidFill>
                <a:latin typeface="ＭＳ Ｐゴシック"/>
                <a:ea typeface="ＭＳ Ｐゴシック"/>
              </a:rPr>
              <a:t>現行</a:t>
            </a:r>
            <a:r>
              <a:rPr lang="en-US" altLang="ja-JP" sz="800" dirty="0">
                <a:solidFill>
                  <a:prstClr val="black"/>
                </a:solidFill>
                <a:latin typeface="ＭＳ Ｐゴシック"/>
                <a:ea typeface="ＭＳ Ｐゴシック"/>
              </a:rPr>
              <a:t>】</a:t>
            </a:r>
          </a:p>
          <a:p>
            <a:pPr defTabSz="914217">
              <a:lnSpc>
                <a:spcPts val="1400"/>
              </a:lnSpc>
              <a:defRPr/>
            </a:pPr>
            <a:r>
              <a:rPr lang="ja-JP" altLang="en-US" sz="800" dirty="0">
                <a:solidFill>
                  <a:prstClr val="black"/>
                </a:solidFill>
                <a:latin typeface="ＭＳ Ｐゴシック"/>
                <a:ea typeface="ＭＳ Ｐゴシック"/>
              </a:rPr>
              <a:t>✓ </a:t>
            </a:r>
            <a:r>
              <a:rPr lang="ja-JP" altLang="en-US" sz="800" u="sng" dirty="0">
                <a:solidFill>
                  <a:srgbClr val="FF0000"/>
                </a:solidFill>
                <a:uFill>
                  <a:solidFill>
                    <a:prstClr val="black"/>
                  </a:solidFill>
                </a:uFill>
                <a:latin typeface="ＭＳ Ｐゴシック"/>
                <a:ea typeface="ＭＳ Ｐゴシック"/>
              </a:rPr>
              <a:t>二地域居住</a:t>
            </a:r>
            <a:r>
              <a:rPr lang="ja-JP" altLang="en-US" sz="800" u="sng" dirty="0">
                <a:solidFill>
                  <a:prstClr val="black"/>
                </a:solidFill>
                <a:latin typeface="ＭＳ Ｐゴシック"/>
                <a:ea typeface="ＭＳ Ｐゴシック"/>
              </a:rPr>
              <a:t>に係る拠点施設</a:t>
            </a:r>
            <a:r>
              <a:rPr lang="ja-JP" altLang="en-US" sz="800" dirty="0">
                <a:solidFill>
                  <a:prstClr val="black"/>
                </a:solidFill>
                <a:latin typeface="ＭＳ Ｐゴシック"/>
                <a:ea typeface="ＭＳ Ｐゴシック"/>
              </a:rPr>
              <a:t> </a:t>
            </a:r>
            <a:r>
              <a:rPr lang="en-US" altLang="ja-JP" sz="800" dirty="0">
                <a:solidFill>
                  <a:prstClr val="black"/>
                </a:solidFill>
                <a:latin typeface="ＭＳ Ｐゴシック"/>
                <a:ea typeface="ＭＳ Ｐゴシック"/>
              </a:rPr>
              <a:t>【</a:t>
            </a:r>
            <a:r>
              <a:rPr lang="ja-JP" altLang="en-US" sz="800" dirty="0">
                <a:solidFill>
                  <a:prstClr val="black"/>
                </a:solidFill>
                <a:latin typeface="ＭＳ Ｐゴシック"/>
                <a:ea typeface="ＭＳ Ｐゴシック"/>
              </a:rPr>
              <a:t>新設</a:t>
            </a:r>
            <a:r>
              <a:rPr lang="en-US" altLang="ja-JP" sz="800" dirty="0">
                <a:solidFill>
                  <a:prstClr val="black"/>
                </a:solidFill>
                <a:latin typeface="ＭＳ Ｐゴシック"/>
                <a:ea typeface="ＭＳ Ｐゴシック"/>
              </a:rPr>
              <a:t>】</a:t>
            </a:r>
          </a:p>
          <a:p>
            <a:pPr defTabSz="914217">
              <a:lnSpc>
                <a:spcPts val="1400"/>
              </a:lnSpc>
              <a:defRPr/>
            </a:pPr>
            <a:r>
              <a:rPr lang="ja-JP" altLang="en-US" sz="800" dirty="0">
                <a:solidFill>
                  <a:prstClr val="black"/>
                </a:solidFill>
                <a:latin typeface="ＭＳ Ｐゴシック"/>
                <a:ea typeface="ＭＳ Ｐゴシック"/>
              </a:rPr>
              <a:t>✓ </a:t>
            </a:r>
            <a:r>
              <a:rPr lang="ja-JP" altLang="en-US" sz="800" u="sng" dirty="0">
                <a:solidFill>
                  <a:prstClr val="black"/>
                </a:solidFill>
                <a:latin typeface="ＭＳ Ｐゴシック"/>
                <a:ea typeface="ＭＳ Ｐゴシック"/>
              </a:rPr>
              <a:t>その整備を特に促進すべき重点地区</a:t>
            </a:r>
            <a:r>
              <a:rPr lang="ja-JP" altLang="en-US" sz="800" dirty="0">
                <a:solidFill>
                  <a:prstClr val="black"/>
                </a:solidFill>
                <a:latin typeface="ＭＳ Ｐゴシック"/>
                <a:ea typeface="ＭＳ Ｐゴシック"/>
              </a:rPr>
              <a:t> </a:t>
            </a:r>
            <a:r>
              <a:rPr lang="en-US" altLang="ja-JP" sz="800" dirty="0">
                <a:solidFill>
                  <a:prstClr val="black"/>
                </a:solidFill>
                <a:latin typeface="ＭＳ Ｐゴシック"/>
                <a:ea typeface="ＭＳ Ｐゴシック"/>
              </a:rPr>
              <a:t>【</a:t>
            </a:r>
            <a:r>
              <a:rPr lang="ja-JP" altLang="en-US" sz="800" dirty="0">
                <a:solidFill>
                  <a:prstClr val="black"/>
                </a:solidFill>
                <a:latin typeface="ＭＳ Ｐゴシック"/>
                <a:ea typeface="ＭＳ Ｐゴシック"/>
              </a:rPr>
              <a:t>新設</a:t>
            </a:r>
            <a:r>
              <a:rPr lang="en-US" altLang="ja-JP" sz="800" dirty="0">
                <a:solidFill>
                  <a:prstClr val="black"/>
                </a:solidFill>
                <a:latin typeface="ＭＳ Ｐゴシック"/>
                <a:ea typeface="ＭＳ Ｐゴシック"/>
              </a:rPr>
              <a:t>】</a:t>
            </a:r>
          </a:p>
          <a:p>
            <a:pPr marL="89982" indent="-457109" defTabSz="914217">
              <a:lnSpc>
                <a:spcPts val="1400"/>
              </a:lnSpc>
              <a:defRPr/>
            </a:pPr>
            <a:r>
              <a:rPr lang="ja-JP" altLang="en-US" sz="800" dirty="0">
                <a:solidFill>
                  <a:prstClr val="black"/>
                </a:solidFill>
                <a:latin typeface="ＭＳ Ｐゴシック"/>
                <a:ea typeface="ＭＳ Ｐゴシック"/>
              </a:rPr>
              <a:t>⇒　インフラ整備（都道府県事業）について社会資本整備</a:t>
            </a:r>
            <a:endParaRPr lang="en-US" altLang="ja-JP" sz="800" dirty="0">
              <a:solidFill>
                <a:prstClr val="black"/>
              </a:solidFill>
              <a:latin typeface="ＭＳ Ｐゴシック"/>
              <a:ea typeface="ＭＳ Ｐゴシック"/>
            </a:endParaRPr>
          </a:p>
          <a:p>
            <a:pPr marL="89982" indent="-457109" defTabSz="914217">
              <a:lnSpc>
                <a:spcPts val="1400"/>
              </a:lnSpc>
              <a:defRPr/>
            </a:pPr>
            <a:r>
              <a:rPr lang="ja-JP" altLang="en-US" sz="800" dirty="0">
                <a:solidFill>
                  <a:prstClr val="black"/>
                </a:solidFill>
                <a:latin typeface="ＭＳ Ｐゴシック"/>
                <a:ea typeface="ＭＳ Ｐゴシック"/>
              </a:rPr>
              <a:t>  総合交付金（広域連携事業）により支援＜予算＞</a:t>
            </a:r>
            <a:endParaRPr lang="en-US" altLang="ja-JP" sz="800" dirty="0">
              <a:solidFill>
                <a:prstClr val="black"/>
              </a:solidFill>
              <a:latin typeface="ＭＳ Ｐゴシック"/>
              <a:ea typeface="ＭＳ Ｐゴシック"/>
            </a:endParaRPr>
          </a:p>
        </p:txBody>
      </p:sp>
      <p:sp>
        <p:nvSpPr>
          <p:cNvPr id="39" name="テキスト ボックス 38">
            <a:extLst>
              <a:ext uri="{FF2B5EF4-FFF2-40B4-BE49-F238E27FC236}">
                <a16:creationId xmlns:a16="http://schemas.microsoft.com/office/drawing/2014/main" id="{E3241C5D-4B86-3B53-9F91-C37DCAB6822D}"/>
              </a:ext>
            </a:extLst>
          </p:cNvPr>
          <p:cNvSpPr txBox="1"/>
          <p:nvPr/>
        </p:nvSpPr>
        <p:spPr>
          <a:xfrm>
            <a:off x="3018506" y="3433243"/>
            <a:ext cx="2653664" cy="230795"/>
          </a:xfrm>
          <a:prstGeom prst="rect">
            <a:avLst/>
          </a:prstGeom>
          <a:solidFill>
            <a:schemeClr val="bg1">
              <a:lumMod val="50000"/>
            </a:schemeClr>
          </a:solidFill>
          <a:ln w="19050">
            <a:solidFill>
              <a:schemeClr val="bg1">
                <a:lumMod val="50000"/>
              </a:schemeClr>
            </a:solidFill>
          </a:ln>
        </p:spPr>
        <p:txBody>
          <a:bodyPr wrap="square">
            <a:spAutoFit/>
          </a:bodyPr>
          <a:lstStyle/>
          <a:p>
            <a:pPr defTabSz="914217">
              <a:defRPr/>
            </a:pPr>
            <a:r>
              <a:rPr lang="ja-JP" altLang="en-US" sz="900" b="1" dirty="0">
                <a:solidFill>
                  <a:prstClr val="white"/>
                </a:solidFill>
                <a:latin typeface="Meiryo UI" panose="020B0604030504040204" pitchFamily="50" charset="-128"/>
                <a:ea typeface="Meiryo UI" panose="020B0604030504040204" pitchFamily="50" charset="-128"/>
              </a:rPr>
              <a:t>都道府県（広域的地域活性化基盤整備計画）</a:t>
            </a:r>
            <a:endParaRPr lang="ja-JP" altLang="en-US" sz="900" dirty="0">
              <a:solidFill>
                <a:prstClr val="white"/>
              </a:solidFill>
              <a:latin typeface="Meiryo UI" panose="020B0604030504040204" pitchFamily="50" charset="-128"/>
              <a:ea typeface="Meiryo UI" panose="020B0604030504040204" pitchFamily="50" charset="-128"/>
            </a:endParaRPr>
          </a:p>
        </p:txBody>
      </p:sp>
      <p:sp>
        <p:nvSpPr>
          <p:cNvPr id="42" name="テキスト ボックス 41">
            <a:extLst>
              <a:ext uri="{FF2B5EF4-FFF2-40B4-BE49-F238E27FC236}">
                <a16:creationId xmlns:a16="http://schemas.microsoft.com/office/drawing/2014/main" id="{34435459-105C-A9C6-499A-26AF2090023C}"/>
              </a:ext>
            </a:extLst>
          </p:cNvPr>
          <p:cNvSpPr txBox="1"/>
          <p:nvPr/>
        </p:nvSpPr>
        <p:spPr>
          <a:xfrm>
            <a:off x="2989340" y="4944843"/>
            <a:ext cx="2682830" cy="230795"/>
          </a:xfrm>
          <a:prstGeom prst="rect">
            <a:avLst/>
          </a:prstGeom>
          <a:solidFill>
            <a:srgbClr val="F79646"/>
          </a:solidFill>
          <a:ln w="19050">
            <a:solidFill>
              <a:srgbClr val="F79646"/>
            </a:solidFill>
          </a:ln>
        </p:spPr>
        <p:txBody>
          <a:bodyPr wrap="square">
            <a:spAutoFit/>
          </a:bodyPr>
          <a:lstStyle/>
          <a:p>
            <a:pPr defTabSz="914217" fontAlgn="auto">
              <a:spcBef>
                <a:spcPts val="0"/>
              </a:spcBef>
              <a:spcAft>
                <a:spcPts val="0"/>
              </a:spcAft>
              <a:defRPr/>
            </a:pPr>
            <a:r>
              <a:rPr kumimoji="0" lang="ja-JP" altLang="en-US" sz="900" b="1" kern="0" dirty="0">
                <a:solidFill>
                  <a:prstClr val="white"/>
                </a:solidFill>
                <a:latin typeface="Meiryo UI" panose="020B0604030504040204" pitchFamily="50" charset="-128"/>
                <a:ea typeface="Meiryo UI" panose="020B0604030504040204" pitchFamily="50" charset="-128"/>
              </a:rPr>
              <a:t>市町村（特定居住促進計画）</a:t>
            </a:r>
            <a:r>
              <a:rPr kumimoji="0" lang="en-US" altLang="ja-JP" sz="900" b="1" kern="0" dirty="0">
                <a:solidFill>
                  <a:prstClr val="white"/>
                </a:solidFill>
                <a:latin typeface="Meiryo UI" panose="020B0604030504040204" pitchFamily="50" charset="-128"/>
                <a:ea typeface="Meiryo UI" panose="020B0604030504040204" pitchFamily="50" charset="-128"/>
              </a:rPr>
              <a:t>【</a:t>
            </a:r>
            <a:r>
              <a:rPr kumimoji="0" lang="ja-JP" altLang="en-US" sz="900" b="1" kern="0" dirty="0">
                <a:solidFill>
                  <a:prstClr val="white"/>
                </a:solidFill>
                <a:latin typeface="Meiryo UI" panose="020B0604030504040204" pitchFamily="50" charset="-128"/>
                <a:ea typeface="Meiryo UI" panose="020B0604030504040204" pitchFamily="50" charset="-128"/>
              </a:rPr>
              <a:t>新設</a:t>
            </a:r>
            <a:r>
              <a:rPr kumimoji="0" lang="en-US" altLang="ja-JP" sz="900" b="1" kern="0" dirty="0">
                <a:solidFill>
                  <a:prstClr val="white"/>
                </a:solidFill>
                <a:latin typeface="Meiryo UI" panose="020B0604030504040204" pitchFamily="50" charset="-128"/>
                <a:ea typeface="Meiryo UI" panose="020B0604030504040204" pitchFamily="50" charset="-128"/>
              </a:rPr>
              <a:t>】</a:t>
            </a:r>
            <a:endParaRPr kumimoji="0" lang="ja-JP" altLang="en-US" sz="900" b="1" kern="0" dirty="0">
              <a:solidFill>
                <a:prstClr val="white"/>
              </a:solidFill>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5C43CEE3-F5EE-48A1-93F7-AA11AA134786}"/>
              </a:ext>
            </a:extLst>
          </p:cNvPr>
          <p:cNvSpPr txBox="1"/>
          <p:nvPr/>
        </p:nvSpPr>
        <p:spPr>
          <a:xfrm>
            <a:off x="2989340" y="5186494"/>
            <a:ext cx="2675099" cy="2007920"/>
          </a:xfrm>
          <a:prstGeom prst="rect">
            <a:avLst/>
          </a:prstGeom>
          <a:solidFill>
            <a:srgbClr val="F79646">
              <a:lumMod val="20000"/>
              <a:lumOff val="80000"/>
            </a:srgbClr>
          </a:solidFill>
        </p:spPr>
        <p:txBody>
          <a:bodyPr wrap="square" tIns="0" bIns="0">
            <a:spAutoFit/>
          </a:bodyPr>
          <a:lstStyle/>
          <a:p>
            <a:pPr marL="179964" indent="-457109" defTabSz="914217" fontAlgn="auto">
              <a:spcBef>
                <a:spcPts val="0"/>
              </a:spcBef>
              <a:spcAft>
                <a:spcPts val="0"/>
              </a:spcAft>
              <a:defRPr/>
            </a:pPr>
            <a:r>
              <a:rPr kumimoji="0" lang="ja-JP" altLang="en-US" sz="800" kern="0" dirty="0">
                <a:solidFill>
                  <a:prstClr val="black"/>
                </a:solidFill>
                <a:latin typeface="ＭＳ Ｐゴシック" panose="020B0600070205080204" pitchFamily="50" charset="-128"/>
                <a:ea typeface="ＭＳ Ｐゴシック" charset="-128"/>
              </a:rPr>
              <a:t>✓ </a:t>
            </a:r>
            <a:r>
              <a:rPr kumimoji="0" lang="ja-JP" altLang="en-US" sz="800" u="sng" kern="0" dirty="0">
                <a:solidFill>
                  <a:prstClr val="black"/>
                </a:solidFill>
                <a:uFill>
                  <a:solidFill>
                    <a:prstClr val="black"/>
                  </a:solidFill>
                </a:uFill>
                <a:latin typeface="ＭＳ Ｐゴシック" panose="020B0600070205080204" pitchFamily="50" charset="-128"/>
                <a:ea typeface="ＭＳ Ｐゴシック" charset="-128"/>
              </a:rPr>
              <a:t>特定居住促進計画の区域</a:t>
            </a:r>
            <a:endParaRPr kumimoji="0" lang="en-US" altLang="ja-JP" sz="800" kern="0" dirty="0">
              <a:solidFill>
                <a:prstClr val="black"/>
              </a:solidFill>
              <a:latin typeface="ＭＳ Ｐゴシック" panose="020B0600070205080204" pitchFamily="50" charset="-128"/>
              <a:ea typeface="ＭＳ Ｐゴシック" charset="-128"/>
            </a:endParaRPr>
          </a:p>
          <a:p>
            <a:pPr marL="179964" indent="-457109" defTabSz="914217" fontAlgn="auto">
              <a:spcBef>
                <a:spcPts val="0"/>
              </a:spcBef>
              <a:spcAft>
                <a:spcPts val="0"/>
              </a:spcAft>
              <a:defRPr/>
            </a:pPr>
            <a:r>
              <a:rPr kumimoji="0" lang="ja-JP" altLang="en-US" sz="800" kern="0" dirty="0">
                <a:solidFill>
                  <a:prstClr val="black"/>
                </a:solidFill>
                <a:latin typeface="ＭＳ Ｐゴシック" panose="020B0600070205080204" pitchFamily="50" charset="-128"/>
                <a:ea typeface="ＭＳ Ｐゴシック" charset="-128"/>
              </a:rPr>
              <a:t>✓ </a:t>
            </a:r>
            <a:r>
              <a:rPr kumimoji="0" lang="ja-JP" altLang="en-US" sz="800" u="sng" kern="0" dirty="0">
                <a:solidFill>
                  <a:srgbClr val="FF0000"/>
                </a:solidFill>
                <a:uFill>
                  <a:solidFill>
                    <a:prstClr val="black"/>
                  </a:solidFill>
                </a:uFill>
                <a:latin typeface="ＭＳ Ｐゴシック" panose="020B0600070205080204" pitchFamily="50" charset="-128"/>
                <a:ea typeface="ＭＳ Ｐゴシック" charset="-128"/>
              </a:rPr>
              <a:t>二地域居住</a:t>
            </a:r>
            <a:r>
              <a:rPr kumimoji="0" lang="ja-JP" altLang="en-US" sz="800" u="sng" kern="0" dirty="0">
                <a:solidFill>
                  <a:prstClr val="black"/>
                </a:solidFill>
                <a:latin typeface="ＭＳ Ｐゴシック" panose="020B0600070205080204" pitchFamily="50" charset="-128"/>
                <a:ea typeface="ＭＳ Ｐゴシック" charset="-128"/>
              </a:rPr>
              <a:t>に関する基本的な方針</a:t>
            </a:r>
            <a:br>
              <a:rPr kumimoji="0" lang="en-US" altLang="ja-JP" sz="800" u="sng" kern="0" dirty="0">
                <a:solidFill>
                  <a:prstClr val="black"/>
                </a:solidFill>
                <a:latin typeface="ＭＳ Ｐゴシック" panose="020B0600070205080204" pitchFamily="50" charset="-128"/>
                <a:ea typeface="ＭＳ Ｐゴシック" charset="-128"/>
              </a:rPr>
            </a:br>
            <a:r>
              <a:rPr kumimoji="0" lang="ja-JP" altLang="en-US" sz="800" kern="0" dirty="0">
                <a:solidFill>
                  <a:prstClr val="black"/>
                </a:solidFill>
                <a:latin typeface="ＭＳ Ｐゴシック" panose="020B0600070205080204" pitchFamily="50" charset="-128"/>
                <a:ea typeface="ＭＳ Ｐゴシック" charset="-128"/>
              </a:rPr>
              <a:t>（地域の方針、求める二地域居住者像等）</a:t>
            </a:r>
            <a:endParaRPr kumimoji="0" lang="en-US" altLang="ja-JP" sz="800" kern="0" dirty="0">
              <a:solidFill>
                <a:prstClr val="black"/>
              </a:solidFill>
              <a:latin typeface="ＭＳ Ｐゴシック" panose="020B0600070205080204" pitchFamily="50" charset="-128"/>
              <a:ea typeface="ＭＳ Ｐゴシック" charset="-128"/>
            </a:endParaRPr>
          </a:p>
          <a:p>
            <a:pPr marL="180939" indent="-88882" defTabSz="914217" fontAlgn="auto">
              <a:spcBef>
                <a:spcPts val="0"/>
              </a:spcBef>
              <a:spcAft>
                <a:spcPts val="0"/>
              </a:spcAft>
              <a:defRPr/>
            </a:pPr>
            <a:r>
              <a:rPr kumimoji="0" lang="en-US" altLang="ja-JP" sz="800" kern="0" dirty="0">
                <a:solidFill>
                  <a:prstClr val="black"/>
                </a:solidFill>
                <a:latin typeface="ＭＳ Ｐゴシック" panose="020B0600070205080204" pitchFamily="50" charset="-128"/>
                <a:ea typeface="ＭＳ Ｐゴシック" charset="-128"/>
              </a:rPr>
              <a:t>*</a:t>
            </a:r>
            <a:r>
              <a:rPr kumimoji="0" lang="ja-JP" altLang="en-US" sz="800" kern="0" dirty="0">
                <a:solidFill>
                  <a:prstClr val="black"/>
                </a:solidFill>
                <a:latin typeface="ＭＳ Ｐゴシック" panose="020B0600070205080204" pitchFamily="50" charset="-128"/>
                <a:ea typeface="ＭＳ Ｐゴシック" charset="-128"/>
              </a:rPr>
              <a:t>　住民の意見を取り入れた上で公表し、地域と二地域居住者とを適切にマッチング</a:t>
            </a:r>
            <a:endParaRPr kumimoji="0" lang="en-US" altLang="ja-JP" sz="800" u="wavyHeavy" kern="0" dirty="0">
              <a:solidFill>
                <a:prstClr val="black"/>
              </a:solidFill>
              <a:latin typeface="ＭＳ Ｐゴシック" panose="020B0600070205080204" pitchFamily="50" charset="-128"/>
              <a:ea typeface="ＭＳ Ｐゴシック" charset="-128"/>
            </a:endParaRPr>
          </a:p>
          <a:p>
            <a:pPr defTabSz="914217" fontAlgn="auto">
              <a:spcBef>
                <a:spcPts val="0"/>
              </a:spcBef>
              <a:spcAft>
                <a:spcPts val="0"/>
              </a:spcAft>
              <a:defRPr/>
            </a:pPr>
            <a:r>
              <a:rPr kumimoji="0" lang="ja-JP" altLang="en-US" sz="800" kern="0" dirty="0">
                <a:solidFill>
                  <a:prstClr val="black"/>
                </a:solidFill>
                <a:latin typeface="ＭＳ Ｐゴシック" panose="020B0600070205080204" pitchFamily="50" charset="-128"/>
                <a:ea typeface="ＭＳ Ｐゴシック" charset="-128"/>
              </a:rPr>
              <a:t>✓ </a:t>
            </a:r>
            <a:r>
              <a:rPr kumimoji="0" lang="ja-JP" altLang="en-US" sz="800" u="sng" kern="0" dirty="0">
                <a:solidFill>
                  <a:srgbClr val="FF0000"/>
                </a:solidFill>
                <a:uFill>
                  <a:solidFill>
                    <a:prstClr val="black"/>
                  </a:solidFill>
                </a:uFill>
                <a:latin typeface="ＭＳ Ｐゴシック" panose="020B0600070205080204" pitchFamily="50" charset="-128"/>
                <a:ea typeface="ＭＳ Ｐゴシック" charset="-128"/>
              </a:rPr>
              <a:t>二地域居住</a:t>
            </a:r>
            <a:r>
              <a:rPr kumimoji="0" lang="ja-JP" altLang="en-US" sz="800" u="sng" kern="0" dirty="0">
                <a:solidFill>
                  <a:prstClr val="black"/>
                </a:solidFill>
                <a:latin typeface="ＭＳ Ｐゴシック" panose="020B0600070205080204" pitchFamily="50" charset="-128"/>
                <a:ea typeface="ＭＳ Ｐゴシック" charset="-128"/>
              </a:rPr>
              <a:t>に係る拠点施設の整備</a:t>
            </a:r>
            <a:endParaRPr kumimoji="0" lang="en-US" altLang="ja-JP" sz="800" u="sng" kern="0" dirty="0">
              <a:solidFill>
                <a:prstClr val="black"/>
              </a:solidFill>
              <a:latin typeface="ＭＳ Ｐゴシック" panose="020B0600070205080204" pitchFamily="50" charset="-128"/>
              <a:ea typeface="ＭＳ Ｐゴシック" charset="-128"/>
            </a:endParaRPr>
          </a:p>
          <a:p>
            <a:pPr marL="179964" indent="-457109" defTabSz="914217" fontAlgn="auto">
              <a:spcBef>
                <a:spcPts val="0"/>
              </a:spcBef>
              <a:spcAft>
                <a:spcPts val="0"/>
              </a:spcAft>
              <a:defRPr/>
            </a:pPr>
            <a:r>
              <a:rPr kumimoji="0" lang="ja-JP" altLang="en-US" sz="800" kern="0" dirty="0">
                <a:solidFill>
                  <a:prstClr val="black"/>
                </a:solidFill>
                <a:latin typeface="ＭＳ Ｐゴシック" panose="020B0600070205080204" pitchFamily="50" charset="-128"/>
                <a:ea typeface="ＭＳ Ｐゴシック" charset="-128"/>
              </a:rPr>
              <a:t>✓ </a:t>
            </a:r>
            <a:r>
              <a:rPr kumimoji="0" lang="ja-JP" altLang="en-US" sz="800" u="sng" kern="0" dirty="0">
                <a:solidFill>
                  <a:prstClr val="black"/>
                </a:solidFill>
                <a:latin typeface="ＭＳ Ｐゴシック" panose="020B0600070205080204" pitchFamily="50" charset="-128"/>
                <a:ea typeface="ＭＳ Ｐゴシック" charset="-128"/>
              </a:rPr>
              <a:t>二地域居住者の利便性向上、就業機会創出に資する施設の整備</a:t>
            </a:r>
            <a:endParaRPr kumimoji="0" lang="en-US" altLang="ja-JP" sz="800" u="sng" kern="0" dirty="0">
              <a:solidFill>
                <a:prstClr val="black"/>
              </a:solidFill>
              <a:latin typeface="ＭＳ Ｐゴシック" panose="020B0600070205080204" pitchFamily="50" charset="-128"/>
              <a:ea typeface="ＭＳ Ｐゴシック" charset="-128"/>
            </a:endParaRPr>
          </a:p>
          <a:p>
            <a:pPr marL="92057" defTabSz="914217" fontAlgn="auto">
              <a:spcBef>
                <a:spcPts val="0"/>
              </a:spcBef>
              <a:spcAft>
                <a:spcPts val="0"/>
              </a:spcAft>
              <a:defRPr/>
            </a:pPr>
            <a:r>
              <a:rPr kumimoji="0" lang="ja-JP" altLang="en-US" sz="800" kern="0" dirty="0">
                <a:solidFill>
                  <a:prstClr val="black"/>
                </a:solidFill>
                <a:latin typeface="ＭＳ Ｐゴシック" panose="020B0600070205080204" pitchFamily="50" charset="-128"/>
              </a:rPr>
              <a:t>*　事業の実施等について法律上の特例を措置</a:t>
            </a:r>
          </a:p>
          <a:p>
            <a:pPr defTabSz="914217" fontAlgn="auto">
              <a:spcBef>
                <a:spcPts val="600"/>
              </a:spcBef>
              <a:spcAft>
                <a:spcPts val="0"/>
              </a:spcAft>
              <a:defRPr/>
            </a:pPr>
            <a:endParaRPr kumimoji="0" lang="en-US" altLang="ja-JP" sz="600" u="sng" kern="0" dirty="0">
              <a:solidFill>
                <a:prstClr val="black"/>
              </a:solidFill>
              <a:latin typeface="ＭＳ Ｐゴシック" panose="020B0600070205080204" pitchFamily="50" charset="-128"/>
            </a:endParaRPr>
          </a:p>
          <a:p>
            <a:pPr defTabSz="914217" fontAlgn="auto">
              <a:spcBef>
                <a:spcPts val="600"/>
              </a:spcBef>
              <a:spcAft>
                <a:spcPts val="0"/>
              </a:spcAft>
              <a:defRPr/>
            </a:pPr>
            <a:endParaRPr kumimoji="0" lang="en-US" altLang="ja-JP" sz="600" u="sng" kern="0" dirty="0">
              <a:solidFill>
                <a:prstClr val="black"/>
              </a:solidFill>
              <a:latin typeface="ＭＳ Ｐゴシック" panose="020B0600070205080204" pitchFamily="50" charset="-128"/>
            </a:endParaRPr>
          </a:p>
          <a:p>
            <a:pPr defTabSz="914217" fontAlgn="auto">
              <a:spcBef>
                <a:spcPts val="600"/>
              </a:spcBef>
              <a:spcAft>
                <a:spcPts val="0"/>
              </a:spcAft>
              <a:defRPr/>
            </a:pPr>
            <a:endParaRPr kumimoji="0" lang="en-US" altLang="ja-JP" sz="800" u="sng" kern="0" dirty="0">
              <a:solidFill>
                <a:prstClr val="black"/>
              </a:solidFill>
              <a:latin typeface="ＭＳ Ｐゴシック" panose="020B0600070205080204" pitchFamily="50" charset="-128"/>
            </a:endParaRPr>
          </a:p>
          <a:p>
            <a:pPr defTabSz="914217" fontAlgn="auto">
              <a:spcBef>
                <a:spcPts val="600"/>
              </a:spcBef>
              <a:spcAft>
                <a:spcPts val="0"/>
              </a:spcAft>
              <a:defRPr/>
            </a:pPr>
            <a:endParaRPr kumimoji="0" lang="en-US" altLang="ja-JP" sz="800" u="sng" kern="0" dirty="0">
              <a:solidFill>
                <a:prstClr val="black"/>
              </a:solidFill>
              <a:latin typeface="ＭＳ Ｐゴシック" panose="020B0600070205080204" pitchFamily="50" charset="-128"/>
            </a:endParaRPr>
          </a:p>
          <a:p>
            <a:pPr defTabSz="914217" fontAlgn="auto">
              <a:spcBef>
                <a:spcPts val="300"/>
              </a:spcBef>
              <a:spcAft>
                <a:spcPts val="0"/>
              </a:spcAft>
              <a:defRPr/>
            </a:pPr>
            <a:endParaRPr kumimoji="0" lang="en-US" altLang="ja-JP" sz="800" u="sng" kern="0" dirty="0">
              <a:solidFill>
                <a:prstClr val="black"/>
              </a:solidFill>
              <a:latin typeface="ＭＳ Ｐゴシック" panose="020B0600070205080204" pitchFamily="50" charset="-128"/>
            </a:endParaRPr>
          </a:p>
        </p:txBody>
      </p:sp>
      <p:sp>
        <p:nvSpPr>
          <p:cNvPr id="44" name="テキスト ボックス 43">
            <a:extLst>
              <a:ext uri="{FF2B5EF4-FFF2-40B4-BE49-F238E27FC236}">
                <a16:creationId xmlns:a16="http://schemas.microsoft.com/office/drawing/2014/main" id="{B11E0477-FD91-14A7-533F-7F5026B82A8F}"/>
              </a:ext>
            </a:extLst>
          </p:cNvPr>
          <p:cNvSpPr txBox="1"/>
          <p:nvPr/>
        </p:nvSpPr>
        <p:spPr>
          <a:xfrm>
            <a:off x="157373" y="3068445"/>
            <a:ext cx="5104814" cy="249644"/>
          </a:xfrm>
          <a:prstGeom prst="rect">
            <a:avLst/>
          </a:prstGeom>
          <a:solidFill>
            <a:srgbClr val="CA6E6C"/>
          </a:solidFill>
          <a:ln>
            <a:noFill/>
          </a:ln>
        </p:spPr>
        <p:txBody>
          <a:bodyPr wrap="square" rtlCol="0">
            <a:spAutoFit/>
          </a:bodyPr>
          <a:lstStyle/>
          <a:p>
            <a:pPr marL="79184" lvl="1" indent="-719856" defTabSz="914217" eaLnBrk="0" fontAlgn="auto" hangingPunct="0">
              <a:lnSpc>
                <a:spcPts val="1400"/>
              </a:lnSpc>
              <a:spcBef>
                <a:spcPts val="300"/>
              </a:spcBef>
              <a:spcAft>
                <a:spcPts val="0"/>
              </a:spcAft>
              <a:defRPr/>
            </a:pPr>
            <a:r>
              <a:rPr kumimoji="0" lang="ja-JP" altLang="en-US" sz="105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１　</a:t>
            </a:r>
            <a:r>
              <a:rPr kumimoji="0" lang="en-US" altLang="ja-JP" sz="105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a:t>
            </a:r>
            <a:r>
              <a:rPr kumimoji="0" lang="ja-JP" altLang="en-US" sz="105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都道府県・市町村の連携</a:t>
            </a:r>
            <a:r>
              <a:rPr kumimoji="0" lang="en-US" altLang="ja-JP" sz="105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a:t>
            </a:r>
            <a:r>
              <a:rPr kumimoji="0" lang="ja-JP" altLang="en-US" sz="105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　</a:t>
            </a:r>
            <a:r>
              <a:rPr kumimoji="0" lang="ja-JP" altLang="en-US" sz="1050" b="1" kern="0" spc="30" dirty="0">
                <a:solidFill>
                  <a:prstClr val="white"/>
                </a:solidFill>
                <a:highlight>
                  <a:srgbClr val="CA6E6C"/>
                </a:highlight>
                <a:uFill>
                  <a:solidFill>
                    <a:prstClr val="black"/>
                  </a:solidFill>
                </a:uFill>
                <a:latin typeface="HGP創英角ｺﾞｼｯｸUB"/>
                <a:ea typeface="ＭＳ Ｐゴシック" charset="-128"/>
                <a:cs typeface="メイリオ" panose="020B0604030504040204" pitchFamily="50" charset="-128"/>
              </a:rPr>
              <a:t>二地域居住</a:t>
            </a:r>
            <a:r>
              <a:rPr kumimoji="0" lang="en-US" altLang="ja-JP" sz="1050" b="1" kern="0" spc="30" baseline="30000" dirty="0">
                <a:solidFill>
                  <a:prstClr val="white"/>
                </a:solidFill>
                <a:highlight>
                  <a:srgbClr val="CA6E6C"/>
                </a:highlight>
                <a:uFill>
                  <a:solidFill>
                    <a:prstClr val="black"/>
                  </a:solidFill>
                </a:uFill>
                <a:latin typeface="HGP創英角ｺﾞｼｯｸUB"/>
                <a:ea typeface="ＭＳ Ｐゴシック" charset="-128"/>
                <a:cs typeface="メイリオ" panose="020B0604030504040204" pitchFamily="50" charset="-128"/>
              </a:rPr>
              <a:t>※1</a:t>
            </a:r>
            <a:r>
              <a:rPr kumimoji="0" lang="ja-JP" altLang="en-US" sz="105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促進のための市町村計画制度の</a:t>
            </a:r>
            <a:r>
              <a:rPr kumimoji="0" lang="ja-JP" altLang="en-US" sz="100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創設</a:t>
            </a:r>
            <a:endParaRPr kumimoji="0" lang="en-US" altLang="ja-JP" sz="1000" kern="0" spc="30" dirty="0">
              <a:solidFill>
                <a:prstClr val="white"/>
              </a:solidFill>
              <a:highlight>
                <a:srgbClr val="CA6E6C"/>
              </a:highlight>
              <a:latin typeface="HGP創英角ｺﾞｼｯｸUB"/>
              <a:ea typeface="ＭＳ Ｐゴシック" charset="-128"/>
              <a:cs typeface="メイリオ" panose="020B0604030504040204" pitchFamily="50" charset="-128"/>
            </a:endParaRPr>
          </a:p>
        </p:txBody>
      </p:sp>
      <p:sp>
        <p:nvSpPr>
          <p:cNvPr id="45" name="正方形/長方形 44">
            <a:extLst>
              <a:ext uri="{FF2B5EF4-FFF2-40B4-BE49-F238E27FC236}">
                <a16:creationId xmlns:a16="http://schemas.microsoft.com/office/drawing/2014/main" id="{31C152F4-94D1-8ABB-A9D5-48AFF1B776B1}"/>
              </a:ext>
            </a:extLst>
          </p:cNvPr>
          <p:cNvSpPr/>
          <p:nvPr/>
        </p:nvSpPr>
        <p:spPr>
          <a:xfrm>
            <a:off x="5816164" y="2866088"/>
            <a:ext cx="3975371" cy="2197194"/>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prstClr val="white"/>
              </a:solidFill>
              <a:latin typeface="Arial"/>
              <a:ea typeface="ＭＳ Ｐゴシック"/>
            </a:endParaRPr>
          </a:p>
        </p:txBody>
      </p:sp>
      <p:sp>
        <p:nvSpPr>
          <p:cNvPr id="48" name="正方形/長方形 47">
            <a:extLst>
              <a:ext uri="{FF2B5EF4-FFF2-40B4-BE49-F238E27FC236}">
                <a16:creationId xmlns:a16="http://schemas.microsoft.com/office/drawing/2014/main" id="{D6A38669-77E2-4E09-63AB-D1A9CB0A9330}"/>
              </a:ext>
            </a:extLst>
          </p:cNvPr>
          <p:cNvSpPr/>
          <p:nvPr/>
        </p:nvSpPr>
        <p:spPr>
          <a:xfrm>
            <a:off x="5866753" y="2902003"/>
            <a:ext cx="3854114" cy="380188"/>
          </a:xfrm>
          <a:prstGeom prst="rect">
            <a:avLst/>
          </a:prstGeom>
          <a:solidFill>
            <a:srgbClr val="CA6E6C"/>
          </a:solidFill>
          <a:ln>
            <a:solidFill>
              <a:srgbClr val="CA6E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prstClr val="white"/>
              </a:solidFill>
              <a:latin typeface="Arial"/>
              <a:ea typeface="ＭＳ Ｐゴシック"/>
            </a:endParaRPr>
          </a:p>
        </p:txBody>
      </p:sp>
      <p:sp>
        <p:nvSpPr>
          <p:cNvPr id="49" name="正方形/長方形 48">
            <a:extLst>
              <a:ext uri="{FF2B5EF4-FFF2-40B4-BE49-F238E27FC236}">
                <a16:creationId xmlns:a16="http://schemas.microsoft.com/office/drawing/2014/main" id="{B869BC28-D172-A76E-C827-D6942B6A7DA7}"/>
              </a:ext>
            </a:extLst>
          </p:cNvPr>
          <p:cNvSpPr/>
          <p:nvPr/>
        </p:nvSpPr>
        <p:spPr>
          <a:xfrm>
            <a:off x="5816164" y="2886642"/>
            <a:ext cx="3902600" cy="605453"/>
          </a:xfrm>
          <a:prstGeom prst="rect">
            <a:avLst/>
          </a:prstGeom>
          <a:noFill/>
        </p:spPr>
        <p:txBody>
          <a:bodyPr wrap="square" rtlCol="0">
            <a:spAutoFit/>
          </a:bodyPr>
          <a:lstStyle/>
          <a:p>
            <a:pPr marL="79184" lvl="1" indent="-719856" defTabSz="914217" eaLnBrk="0" fontAlgn="auto" hangingPunct="0">
              <a:lnSpc>
                <a:spcPts val="1400"/>
              </a:lnSpc>
              <a:spcBef>
                <a:spcPts val="300"/>
              </a:spcBef>
              <a:spcAft>
                <a:spcPts val="0"/>
              </a:spcAft>
              <a:defRPr/>
            </a:pPr>
            <a:r>
              <a:rPr kumimoji="0" lang="ja-JP" altLang="en-US" sz="1000" b="1" kern="0" spc="30" dirty="0">
                <a:solidFill>
                  <a:prstClr val="white"/>
                </a:solidFill>
                <a:latin typeface="HGP創英角ｺﾞｼｯｸUB"/>
                <a:ea typeface="ＭＳ Ｐゴシック" charset="-128"/>
                <a:cs typeface="メイリオ" panose="020B0604030504040204" pitchFamily="50" charset="-128"/>
              </a:rPr>
              <a:t>２　</a:t>
            </a:r>
            <a:r>
              <a:rPr kumimoji="0" lang="en-US" altLang="ja-JP" sz="1000" b="1" kern="0" spc="30" dirty="0">
                <a:solidFill>
                  <a:prstClr val="white"/>
                </a:solidFill>
                <a:latin typeface="HGP創英角ｺﾞｼｯｸUB"/>
                <a:ea typeface="ＭＳ Ｐゴシック" charset="-128"/>
                <a:cs typeface="メイリオ" panose="020B0604030504040204" pitchFamily="50" charset="-128"/>
              </a:rPr>
              <a:t>【</a:t>
            </a:r>
            <a:r>
              <a:rPr kumimoji="0" lang="ja-JP" altLang="en-US" sz="1000" b="1" kern="0" spc="30" dirty="0">
                <a:solidFill>
                  <a:prstClr val="white"/>
                </a:solidFill>
                <a:latin typeface="HGP創英角ｺﾞｼｯｸUB"/>
                <a:ea typeface="ＭＳ Ｐゴシック" charset="-128"/>
                <a:cs typeface="メイリオ" panose="020B0604030504040204" pitchFamily="50" charset="-128"/>
              </a:rPr>
              <a:t>官民の連携</a:t>
            </a:r>
            <a:r>
              <a:rPr kumimoji="0" lang="en-US" altLang="ja-JP" sz="1000" b="1" kern="0" spc="30" dirty="0">
                <a:solidFill>
                  <a:prstClr val="white"/>
                </a:solidFill>
                <a:latin typeface="HGP創英角ｺﾞｼｯｸUB"/>
                <a:ea typeface="ＭＳ Ｐゴシック" charset="-128"/>
                <a:cs typeface="メイリオ" panose="020B0604030504040204" pitchFamily="50" charset="-128"/>
              </a:rPr>
              <a:t>】</a:t>
            </a:r>
            <a:r>
              <a:rPr kumimoji="0" lang="ja-JP" altLang="en-US" sz="1000" b="1" kern="0" spc="30" dirty="0">
                <a:solidFill>
                  <a:prstClr val="white"/>
                </a:solidFill>
                <a:latin typeface="HGP創英角ｺﾞｼｯｸUB"/>
                <a:ea typeface="ＭＳ Ｐゴシック" charset="-128"/>
                <a:cs typeface="メイリオ" panose="020B0604030504040204" pitchFamily="50" charset="-128"/>
              </a:rPr>
              <a:t>　二地域居住者に「住まい」・「なりわい」・「コミュニティ」を提供する活動に取り組む法人（二地域居住等支援法人</a:t>
            </a:r>
            <a:r>
              <a:rPr kumimoji="0" lang="en-US" altLang="ja-JP" sz="1000" b="1" kern="0" spc="30" baseline="30000" dirty="0">
                <a:solidFill>
                  <a:prstClr val="white"/>
                </a:solidFill>
                <a:latin typeface="ＭＳ Ｐゴシック"/>
                <a:ea typeface="ＭＳ Ｐゴシック"/>
                <a:cs typeface="メイリオ" panose="020B0604030504040204" pitchFamily="50" charset="-128"/>
              </a:rPr>
              <a:t>※2</a:t>
            </a:r>
            <a:r>
              <a:rPr kumimoji="0" lang="ja-JP" altLang="en-US" sz="1000" b="1" kern="0" spc="30" dirty="0">
                <a:solidFill>
                  <a:prstClr val="white"/>
                </a:solidFill>
                <a:latin typeface="HGP創英角ｺﾞｼｯｸUB"/>
                <a:ea typeface="ＭＳ Ｐゴシック" charset="-128"/>
                <a:cs typeface="メイリオ" panose="020B0604030504040204" pitchFamily="50" charset="-128"/>
              </a:rPr>
              <a:t>）の指定制度の創設</a:t>
            </a:r>
            <a:endParaRPr kumimoji="0" lang="en-US" altLang="ja-JP" sz="1000" b="1" kern="0" spc="30" dirty="0">
              <a:solidFill>
                <a:prstClr val="white"/>
              </a:solidFill>
              <a:latin typeface="HGP創英角ｺﾞｼｯｸUB"/>
              <a:ea typeface="ＭＳ Ｐゴシック" charset="-128"/>
              <a:cs typeface="メイリオ" panose="020B0604030504040204" pitchFamily="50" charset="-128"/>
            </a:endParaRPr>
          </a:p>
        </p:txBody>
      </p:sp>
      <p:sp>
        <p:nvSpPr>
          <p:cNvPr id="50" name="正方形/長方形 49">
            <a:extLst>
              <a:ext uri="{FF2B5EF4-FFF2-40B4-BE49-F238E27FC236}">
                <a16:creationId xmlns:a16="http://schemas.microsoft.com/office/drawing/2014/main" id="{8B30006D-675F-FF43-C89A-A5B004FDED9C}"/>
              </a:ext>
            </a:extLst>
          </p:cNvPr>
          <p:cNvSpPr/>
          <p:nvPr/>
        </p:nvSpPr>
        <p:spPr>
          <a:xfrm>
            <a:off x="5909174" y="3424282"/>
            <a:ext cx="3750093" cy="1651735"/>
          </a:xfrm>
          <a:prstGeom prst="rect">
            <a:avLst/>
          </a:prstGeom>
          <a:noFill/>
          <a:ln w="12700">
            <a:noFill/>
          </a:ln>
        </p:spPr>
        <p:style>
          <a:lnRef idx="2">
            <a:schemeClr val="accent2"/>
          </a:lnRef>
          <a:fillRef idx="1">
            <a:schemeClr val="lt1"/>
          </a:fillRef>
          <a:effectRef idx="0">
            <a:schemeClr val="accent2"/>
          </a:effectRef>
          <a:fontRef idx="minor">
            <a:schemeClr val="dk1"/>
          </a:fontRef>
        </p:style>
        <p:txBody>
          <a:bodyPr lIns="0" tIns="0" rIns="0" bIns="0" anchor="ctr"/>
          <a:lstStyle/>
          <a:p>
            <a:pPr marL="171416" lvl="1" indent="-171416" defTabSz="914217" eaLnBrk="0" fontAlgn="auto" hangingPunct="0">
              <a:lnSpc>
                <a:spcPts val="1400"/>
              </a:lnSpc>
              <a:spcBef>
                <a:spcPts val="0"/>
              </a:spcBef>
              <a:spcAft>
                <a:spcPts val="0"/>
              </a:spcAft>
              <a:buFont typeface="Arial" panose="020B0604020202020204" pitchFamily="34" charset="0"/>
              <a:buChar char="•"/>
              <a:defRPr/>
            </a:pP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市町村長は</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二地域居住促進に関する活動を行</a:t>
            </a:r>
            <a:r>
              <a:rPr kumimoji="0" lang="ja-JP" altLang="en-US" sz="1000" kern="0" spc="30" dirty="0">
                <a:solidFill>
                  <a:srgbClr val="FF0000"/>
                </a:solidFill>
                <a:latin typeface="ＭＳ Ｐゴシック"/>
                <a:ea typeface="ＭＳ Ｐゴシック"/>
                <a:cs typeface="メイリオ" panose="020B0604030504040204" pitchFamily="50" charset="-128"/>
              </a:rPr>
              <a:t>う</a:t>
            </a:r>
            <a:r>
              <a:rPr kumimoji="0" lang="en-US" altLang="ja-JP" sz="1000" kern="0" spc="30" dirty="0">
                <a:solidFill>
                  <a:srgbClr val="FF0000"/>
                </a:solidFill>
                <a:latin typeface="ＭＳ Ｐゴシック"/>
                <a:ea typeface="ＭＳ Ｐゴシック"/>
                <a:cs typeface="メイリオ" panose="020B0604030504040204" pitchFamily="50" charset="-128"/>
              </a:rPr>
              <a:t>NPO</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法人、民間企業（例：不動産会社）等を二地域居住等支援法人として指定可能</a:t>
            </a:r>
            <a:endParaRPr kumimoji="0" lang="en-US" altLang="ja-JP" sz="1000" kern="0" spc="30" dirty="0">
              <a:solidFill>
                <a:srgbClr val="FF0000"/>
              </a:solidFill>
              <a:latin typeface="HGP創英角ｺﾞｼｯｸUB"/>
              <a:ea typeface="ＭＳ Ｐゴシック" charset="-128"/>
              <a:cs typeface="メイリオ" panose="020B0604030504040204" pitchFamily="50" charset="-128"/>
            </a:endParaRPr>
          </a:p>
          <a:p>
            <a:pPr marL="171416" lvl="1" indent="-171416" defTabSz="914217" eaLnBrk="0" fontAlgn="auto" hangingPunct="0">
              <a:lnSpc>
                <a:spcPts val="1400"/>
              </a:lnSpc>
              <a:spcBef>
                <a:spcPts val="0"/>
              </a:spcBef>
              <a:spcAft>
                <a:spcPts val="0"/>
              </a:spcAft>
              <a:buFont typeface="Arial" panose="020B0604020202020204" pitchFamily="34" charset="0"/>
              <a:buChar char="•"/>
              <a:defRPr/>
            </a:pP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市町村長は空き家等の情報、仕事情報、イベント情報などの関連情報を情報提供（空き家等の不動産情報は本人同意が必要）</a:t>
            </a:r>
            <a:endParaRPr kumimoji="0" lang="en-US" altLang="ja-JP" sz="1000" kern="0" spc="30" dirty="0">
              <a:solidFill>
                <a:prstClr val="black"/>
              </a:solidFill>
              <a:latin typeface="HGP創英角ｺﾞｼｯｸUB"/>
              <a:ea typeface="ＭＳ Ｐゴシック" charset="-128"/>
              <a:cs typeface="メイリオ" panose="020B0604030504040204" pitchFamily="50" charset="-128"/>
            </a:endParaRPr>
          </a:p>
          <a:p>
            <a:pPr marL="171416" lvl="1" indent="-171416" defTabSz="914217" eaLnBrk="0" fontAlgn="auto" hangingPunct="0">
              <a:lnSpc>
                <a:spcPts val="1400"/>
              </a:lnSpc>
              <a:spcBef>
                <a:spcPts val="0"/>
              </a:spcBef>
              <a:spcAft>
                <a:spcPts val="0"/>
              </a:spcAft>
              <a:buFont typeface="Arial" panose="020B0604020202020204" pitchFamily="34" charset="0"/>
              <a:buChar char="•"/>
              <a:defRPr/>
            </a:pP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支援法人は、市町村長に対し、特定居住促進計画の作成・変更の提案が可能</a:t>
            </a:r>
            <a:endParaRPr kumimoji="0" lang="en-US" altLang="ja-JP" sz="1000" kern="0" spc="30" dirty="0">
              <a:solidFill>
                <a:prstClr val="black"/>
              </a:solidFill>
              <a:latin typeface="HGP創英角ｺﾞｼｯｸUB"/>
              <a:ea typeface="ＭＳ Ｐゴシック" charset="-128"/>
              <a:cs typeface="メイリオ" panose="020B0604030504040204" pitchFamily="50" charset="-128"/>
            </a:endParaRPr>
          </a:p>
          <a:p>
            <a:pPr marL="0" lvl="1" indent="0" defTabSz="914217" eaLnBrk="0" fontAlgn="auto" hangingPunct="0">
              <a:lnSpc>
                <a:spcPts val="1400"/>
              </a:lnSpc>
              <a:spcBef>
                <a:spcPts val="0"/>
              </a:spcBef>
              <a:spcAft>
                <a:spcPts val="0"/>
              </a:spcAft>
              <a:defRPr/>
            </a:pP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　支援法人の活動について支援＜予算＞</a:t>
            </a:r>
            <a:endParaRPr kumimoji="0" lang="en-US" altLang="ja-JP" sz="1000" kern="0" spc="30" dirty="0">
              <a:solidFill>
                <a:prstClr val="black"/>
              </a:solidFill>
              <a:latin typeface="HGP創英角ｺﾞｼｯｸUB"/>
              <a:ea typeface="ＭＳ Ｐゴシック" charset="-128"/>
              <a:cs typeface="メイリオ" panose="020B0604030504040204" pitchFamily="50" charset="-128"/>
            </a:endParaRPr>
          </a:p>
        </p:txBody>
      </p:sp>
      <p:sp>
        <p:nvSpPr>
          <p:cNvPr id="51" name="正方形/長方形 50">
            <a:extLst>
              <a:ext uri="{FF2B5EF4-FFF2-40B4-BE49-F238E27FC236}">
                <a16:creationId xmlns:a16="http://schemas.microsoft.com/office/drawing/2014/main" id="{CD5417DC-25AF-0546-A6C1-05AE493C7676}"/>
              </a:ext>
            </a:extLst>
          </p:cNvPr>
          <p:cNvSpPr/>
          <p:nvPr/>
        </p:nvSpPr>
        <p:spPr>
          <a:xfrm>
            <a:off x="5837942" y="5181928"/>
            <a:ext cx="3961730" cy="1321125"/>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defRPr/>
            </a:pPr>
            <a:endParaRPr lang="ja-JP" altLang="en-US">
              <a:solidFill>
                <a:prstClr val="white"/>
              </a:solidFill>
              <a:latin typeface="Arial"/>
              <a:ea typeface="ＭＳ Ｐゴシック"/>
            </a:endParaRPr>
          </a:p>
        </p:txBody>
      </p:sp>
      <p:sp>
        <p:nvSpPr>
          <p:cNvPr id="52" name="正方形/長方形 51">
            <a:extLst>
              <a:ext uri="{FF2B5EF4-FFF2-40B4-BE49-F238E27FC236}">
                <a16:creationId xmlns:a16="http://schemas.microsoft.com/office/drawing/2014/main" id="{9455E321-1B89-B83B-925C-9C714A997E8A}"/>
              </a:ext>
            </a:extLst>
          </p:cNvPr>
          <p:cNvSpPr/>
          <p:nvPr/>
        </p:nvSpPr>
        <p:spPr>
          <a:xfrm>
            <a:off x="5866752" y="5225391"/>
            <a:ext cx="3874835" cy="248554"/>
          </a:xfrm>
          <a:prstGeom prst="rect">
            <a:avLst/>
          </a:prstGeom>
          <a:solidFill>
            <a:srgbClr val="CA6E6C"/>
          </a:solidFill>
        </p:spPr>
        <p:txBody>
          <a:bodyPr wrap="square" rtlCol="0">
            <a:spAutoFit/>
          </a:bodyPr>
          <a:lstStyle/>
          <a:p>
            <a:pPr marL="79184" lvl="1" indent="-719856" defTabSz="914217" eaLnBrk="0" fontAlgn="auto" hangingPunct="0">
              <a:lnSpc>
                <a:spcPts val="1400"/>
              </a:lnSpc>
              <a:spcBef>
                <a:spcPts val="300"/>
              </a:spcBef>
              <a:spcAft>
                <a:spcPts val="0"/>
              </a:spcAft>
              <a:defRPr/>
            </a:pPr>
            <a:r>
              <a:rPr kumimoji="0" lang="ja-JP" altLang="en-US" sz="100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３　</a:t>
            </a:r>
            <a:r>
              <a:rPr kumimoji="0" lang="en-US" altLang="ja-JP" sz="100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a:t>
            </a:r>
            <a:r>
              <a:rPr kumimoji="0" lang="ja-JP" altLang="en-US" sz="100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関係者の連携</a:t>
            </a:r>
            <a:r>
              <a:rPr kumimoji="0" lang="en-US" altLang="ja-JP" sz="100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a:t>
            </a:r>
            <a:r>
              <a:rPr kumimoji="0" lang="ja-JP" altLang="en-US" sz="1000" b="1" kern="0" spc="30" dirty="0">
                <a:solidFill>
                  <a:prstClr val="white"/>
                </a:solidFill>
                <a:highlight>
                  <a:srgbClr val="CA6E6C"/>
                </a:highlight>
                <a:latin typeface="HGP創英角ｺﾞｼｯｸUB"/>
                <a:ea typeface="ＭＳ Ｐゴシック" charset="-128"/>
                <a:cs typeface="メイリオ" panose="020B0604030504040204" pitchFamily="50" charset="-128"/>
              </a:rPr>
              <a:t>　二地域居住促進のための協議会制度の創設</a:t>
            </a:r>
            <a:endParaRPr kumimoji="0" lang="en-US" altLang="ja-JP" sz="1000" b="1" kern="0" spc="30" dirty="0">
              <a:solidFill>
                <a:prstClr val="white"/>
              </a:solidFill>
              <a:highlight>
                <a:srgbClr val="CA6E6C"/>
              </a:highlight>
              <a:latin typeface="HGP創英角ｺﾞｼｯｸUB"/>
              <a:ea typeface="ＭＳ Ｐゴシック" charset="-128"/>
              <a:cs typeface="メイリオ" panose="020B0604030504040204" pitchFamily="50" charset="-128"/>
            </a:endParaRPr>
          </a:p>
        </p:txBody>
      </p:sp>
      <p:sp>
        <p:nvSpPr>
          <p:cNvPr id="53" name="正方形/長方形 52">
            <a:extLst>
              <a:ext uri="{FF2B5EF4-FFF2-40B4-BE49-F238E27FC236}">
                <a16:creationId xmlns:a16="http://schemas.microsoft.com/office/drawing/2014/main" id="{11B77085-17F8-1FD9-109A-C3EF8BCAF96C}"/>
              </a:ext>
            </a:extLst>
          </p:cNvPr>
          <p:cNvSpPr/>
          <p:nvPr/>
        </p:nvSpPr>
        <p:spPr>
          <a:xfrm>
            <a:off x="5837942" y="5507996"/>
            <a:ext cx="3911166" cy="784961"/>
          </a:xfrm>
          <a:prstGeom prst="rect">
            <a:avLst/>
          </a:prstGeom>
          <a:noFill/>
        </p:spPr>
        <p:txBody>
          <a:bodyPr wrap="square" rtlCol="0">
            <a:spAutoFit/>
          </a:bodyPr>
          <a:lstStyle/>
          <a:p>
            <a:pPr marL="171416" lvl="1" indent="-171416" defTabSz="914217" eaLnBrk="0" fontAlgn="auto" hangingPunct="0">
              <a:lnSpc>
                <a:spcPts val="1400"/>
              </a:lnSpc>
              <a:spcBef>
                <a:spcPts val="600"/>
              </a:spcBef>
              <a:spcAft>
                <a:spcPts val="0"/>
              </a:spcAft>
              <a:buFont typeface="Arial" panose="020B0604020202020204" pitchFamily="34" charset="0"/>
              <a:buChar char="•"/>
              <a:defRPr/>
            </a:pPr>
            <a:r>
              <a:rPr kumimoji="0" lang="ja-JP" altLang="en-US" sz="1000" kern="0" spc="30" dirty="0">
                <a:solidFill>
                  <a:prstClr val="black"/>
                </a:solidFill>
                <a:latin typeface="HGP創英角ｺﾞｼｯｸUB"/>
                <a:ea typeface="ＭＳ Ｐゴシック" charset="-128"/>
                <a:cs typeface="メイリオ" panose="020B0604030504040204" pitchFamily="50" charset="-128"/>
              </a:rPr>
              <a:t>市町村は、特定居住促進計画の作成等に関し必要な協議を行うため、当該市町村、都道府県、二地域居住等支援法人、地域住民、不動産会社、交通事業者、商工会議所、農協等を構成員とする</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二地域居住等促進協議会</a:t>
            </a:r>
            <a:r>
              <a:rPr kumimoji="0" lang="en-US" altLang="ja-JP" sz="1000" kern="0" spc="30" baseline="30000" dirty="0">
                <a:solidFill>
                  <a:srgbClr val="FF0000"/>
                </a:solidFill>
                <a:latin typeface="ＭＳ Ｐゴシック"/>
                <a:ea typeface="ＭＳ Ｐゴシック"/>
                <a:cs typeface="メイリオ" panose="020B0604030504040204" pitchFamily="50" charset="-128"/>
              </a:rPr>
              <a:t>※3</a:t>
            </a:r>
            <a:r>
              <a:rPr kumimoji="0" lang="ja-JP" altLang="en-US" sz="1000" kern="0" spc="30" dirty="0">
                <a:solidFill>
                  <a:srgbClr val="FF0000"/>
                </a:solidFill>
                <a:latin typeface="HGP創英角ｺﾞｼｯｸUB"/>
                <a:ea typeface="ＭＳ Ｐゴシック" charset="-128"/>
                <a:cs typeface="メイリオ" panose="020B0604030504040204" pitchFamily="50" charset="-128"/>
              </a:rPr>
              <a:t>を組織可能</a:t>
            </a:r>
            <a:endParaRPr kumimoji="0" lang="en-US" altLang="ja-JP" sz="1000" kern="0" spc="30" dirty="0">
              <a:solidFill>
                <a:srgbClr val="FF0000"/>
              </a:solidFill>
              <a:latin typeface="HGP創英角ｺﾞｼｯｸUB"/>
              <a:ea typeface="ＭＳ Ｐゴシック" charset="-128"/>
              <a:cs typeface="メイリオ" panose="020B0604030504040204" pitchFamily="50" charset="-128"/>
            </a:endParaRPr>
          </a:p>
        </p:txBody>
      </p:sp>
      <p:pic>
        <p:nvPicPr>
          <p:cNvPr id="54" name="図 53">
            <a:extLst>
              <a:ext uri="{FF2B5EF4-FFF2-40B4-BE49-F238E27FC236}">
                <a16:creationId xmlns:a16="http://schemas.microsoft.com/office/drawing/2014/main" id="{C31472D8-2DF1-61CF-B237-597EF2B03BB9}"/>
              </a:ext>
            </a:extLst>
          </p:cNvPr>
          <p:cNvPicPr>
            <a:picLocks noChangeAspect="1"/>
          </p:cNvPicPr>
          <p:nvPr/>
        </p:nvPicPr>
        <p:blipFill>
          <a:blip r:embed="rId6"/>
          <a:stretch>
            <a:fillRect/>
          </a:stretch>
        </p:blipFill>
        <p:spPr>
          <a:xfrm>
            <a:off x="3075129" y="6455900"/>
            <a:ext cx="818929" cy="613902"/>
          </a:xfrm>
          <a:prstGeom prst="rect">
            <a:avLst/>
          </a:prstGeom>
        </p:spPr>
      </p:pic>
      <p:pic>
        <p:nvPicPr>
          <p:cNvPr id="55" name="図 54">
            <a:extLst>
              <a:ext uri="{FF2B5EF4-FFF2-40B4-BE49-F238E27FC236}">
                <a16:creationId xmlns:a16="http://schemas.microsoft.com/office/drawing/2014/main" id="{293AB0DC-86FB-AFEE-7667-AA03B7082CF5}"/>
              </a:ext>
            </a:extLst>
          </p:cNvPr>
          <p:cNvPicPr>
            <a:picLocks noChangeAspect="1"/>
          </p:cNvPicPr>
          <p:nvPr/>
        </p:nvPicPr>
        <p:blipFill>
          <a:blip r:embed="rId7"/>
          <a:stretch>
            <a:fillRect/>
          </a:stretch>
        </p:blipFill>
        <p:spPr>
          <a:xfrm>
            <a:off x="3920106" y="6455902"/>
            <a:ext cx="818535" cy="613901"/>
          </a:xfrm>
          <a:prstGeom prst="rect">
            <a:avLst/>
          </a:prstGeom>
        </p:spPr>
      </p:pic>
      <p:pic>
        <p:nvPicPr>
          <p:cNvPr id="56" name="図 55">
            <a:extLst>
              <a:ext uri="{FF2B5EF4-FFF2-40B4-BE49-F238E27FC236}">
                <a16:creationId xmlns:a16="http://schemas.microsoft.com/office/drawing/2014/main" id="{CBC7678C-65E6-90C2-F68E-3C952DBD4FD9}"/>
              </a:ext>
            </a:extLst>
          </p:cNvPr>
          <p:cNvPicPr>
            <a:picLocks noChangeAspect="1"/>
          </p:cNvPicPr>
          <p:nvPr/>
        </p:nvPicPr>
        <p:blipFill rotWithShape="1">
          <a:blip r:embed="rId8"/>
          <a:srcRect l="8349" t="12493"/>
          <a:stretch/>
        </p:blipFill>
        <p:spPr>
          <a:xfrm>
            <a:off x="4866343" y="6455902"/>
            <a:ext cx="730289" cy="613901"/>
          </a:xfrm>
          <a:prstGeom prst="rect">
            <a:avLst/>
          </a:prstGeom>
        </p:spPr>
      </p:pic>
      <p:sp>
        <p:nvSpPr>
          <p:cNvPr id="57" name="テキスト ボックス 56">
            <a:extLst>
              <a:ext uri="{FF2B5EF4-FFF2-40B4-BE49-F238E27FC236}">
                <a16:creationId xmlns:a16="http://schemas.microsoft.com/office/drawing/2014/main" id="{436701F2-F755-E8CA-E9DC-3E1372EE2A31}"/>
              </a:ext>
            </a:extLst>
          </p:cNvPr>
          <p:cNvSpPr txBox="1"/>
          <p:nvPr/>
        </p:nvSpPr>
        <p:spPr>
          <a:xfrm>
            <a:off x="3620499" y="7039485"/>
            <a:ext cx="724839" cy="184636"/>
          </a:xfrm>
          <a:prstGeom prst="rect">
            <a:avLst/>
          </a:prstGeom>
          <a:noFill/>
        </p:spPr>
        <p:txBody>
          <a:bodyPr wrap="square">
            <a:spAutoFit/>
          </a:bodyPr>
          <a:lstStyle/>
          <a:p>
            <a:pPr defTabSz="914217">
              <a:defRPr/>
            </a:pPr>
            <a:r>
              <a:rPr lang="ja-JP" altLang="en-US" sz="600" dirty="0">
                <a:solidFill>
                  <a:prstClr val="black"/>
                </a:solidFill>
                <a:latin typeface="ＭＳ Ｐゴシック"/>
                <a:ea typeface="ＭＳ Ｐゴシック"/>
              </a:rPr>
              <a:t>＜住宅＞</a:t>
            </a:r>
            <a:endParaRPr lang="en-US" altLang="ja-JP" sz="600" dirty="0">
              <a:solidFill>
                <a:prstClr val="black"/>
              </a:solidFill>
              <a:latin typeface="ＭＳ Ｐゴシック"/>
              <a:ea typeface="ＭＳ Ｐゴシック"/>
            </a:endParaRPr>
          </a:p>
        </p:txBody>
      </p:sp>
      <p:sp>
        <p:nvSpPr>
          <p:cNvPr id="58" name="テキスト ボックス 57">
            <a:extLst>
              <a:ext uri="{FF2B5EF4-FFF2-40B4-BE49-F238E27FC236}">
                <a16:creationId xmlns:a16="http://schemas.microsoft.com/office/drawing/2014/main" id="{18E7D30E-2012-4B68-1919-F3233ED917BA}"/>
              </a:ext>
            </a:extLst>
          </p:cNvPr>
          <p:cNvSpPr txBox="1"/>
          <p:nvPr/>
        </p:nvSpPr>
        <p:spPr>
          <a:xfrm>
            <a:off x="4683548" y="7028562"/>
            <a:ext cx="1325667" cy="184636"/>
          </a:xfrm>
          <a:prstGeom prst="rect">
            <a:avLst/>
          </a:prstGeom>
          <a:noFill/>
        </p:spPr>
        <p:txBody>
          <a:bodyPr wrap="square">
            <a:spAutoFit/>
          </a:bodyPr>
          <a:lstStyle/>
          <a:p>
            <a:pPr defTabSz="914217">
              <a:defRPr/>
            </a:pPr>
            <a:r>
              <a:rPr lang="ja-JP" altLang="en-US" sz="600" dirty="0">
                <a:solidFill>
                  <a:prstClr val="black"/>
                </a:solidFill>
                <a:latin typeface="ＭＳ Ｐゴシック"/>
                <a:ea typeface="ＭＳ Ｐゴシック"/>
              </a:rPr>
              <a:t>＜コワーキングスペース＞</a:t>
            </a:r>
            <a:endParaRPr lang="en-US" altLang="ja-JP" sz="600" dirty="0">
              <a:solidFill>
                <a:prstClr val="black"/>
              </a:solidFill>
              <a:latin typeface="ＭＳ Ｐゴシック"/>
              <a:ea typeface="ＭＳ Ｐゴシック"/>
            </a:endParaRPr>
          </a:p>
        </p:txBody>
      </p:sp>
      <p:sp>
        <p:nvSpPr>
          <p:cNvPr id="59" name="テキスト ボックス 58">
            <a:extLst>
              <a:ext uri="{FF2B5EF4-FFF2-40B4-BE49-F238E27FC236}">
                <a16:creationId xmlns:a16="http://schemas.microsoft.com/office/drawing/2014/main" id="{65135564-05C5-A339-4CD9-39CF9D33E51A}"/>
              </a:ext>
            </a:extLst>
          </p:cNvPr>
          <p:cNvSpPr txBox="1"/>
          <p:nvPr/>
        </p:nvSpPr>
        <p:spPr>
          <a:xfrm>
            <a:off x="3057821" y="6259706"/>
            <a:ext cx="1157460" cy="200023"/>
          </a:xfrm>
          <a:prstGeom prst="rect">
            <a:avLst/>
          </a:prstGeom>
          <a:noFill/>
        </p:spPr>
        <p:txBody>
          <a:bodyPr wrap="square">
            <a:spAutoFit/>
          </a:bodyPr>
          <a:lstStyle/>
          <a:p>
            <a:pPr defTabSz="914217">
              <a:defRPr/>
            </a:pPr>
            <a:r>
              <a:rPr lang="ja-JP" altLang="en-US" sz="700" dirty="0">
                <a:solidFill>
                  <a:prstClr val="black"/>
                </a:solidFill>
                <a:latin typeface="ＭＳ Ｐゴシック"/>
                <a:ea typeface="ＭＳ Ｐゴシック"/>
              </a:rPr>
              <a:t>▼整備イメージ</a:t>
            </a:r>
            <a:endParaRPr lang="en-US" altLang="ja-JP" sz="700" dirty="0">
              <a:solidFill>
                <a:prstClr val="black"/>
              </a:solidFill>
              <a:latin typeface="ＭＳ Ｐゴシック"/>
              <a:ea typeface="ＭＳ Ｐゴシック"/>
            </a:endParaRPr>
          </a:p>
        </p:txBody>
      </p:sp>
      <p:sp>
        <p:nvSpPr>
          <p:cNvPr id="60" name="テキスト ボックス 59">
            <a:extLst>
              <a:ext uri="{FF2B5EF4-FFF2-40B4-BE49-F238E27FC236}">
                <a16:creationId xmlns:a16="http://schemas.microsoft.com/office/drawing/2014/main" id="{18F0BB4E-6CF0-FA62-8EAB-306FCE1FF7FE}"/>
              </a:ext>
            </a:extLst>
          </p:cNvPr>
          <p:cNvSpPr txBox="1"/>
          <p:nvPr/>
        </p:nvSpPr>
        <p:spPr>
          <a:xfrm>
            <a:off x="8104500" y="6227960"/>
            <a:ext cx="1799912" cy="215409"/>
          </a:xfrm>
          <a:prstGeom prst="rect">
            <a:avLst/>
          </a:prstGeom>
          <a:noFill/>
        </p:spPr>
        <p:txBody>
          <a:bodyPr wrap="square" rtlCol="0">
            <a:spAutoFit/>
          </a:bodyPr>
          <a:lstStyle/>
          <a:p>
            <a:pPr defTabSz="914217">
              <a:defRPr/>
            </a:pPr>
            <a:r>
              <a:rPr lang="en-US" altLang="ja-JP" sz="800" baseline="30000" dirty="0">
                <a:solidFill>
                  <a:prstClr val="black"/>
                </a:solidFill>
                <a:latin typeface="ＭＳ Ｐゴシック" panose="020B0600070205080204" pitchFamily="50" charset="-128"/>
              </a:rPr>
              <a:t>※3</a:t>
            </a:r>
            <a:r>
              <a:rPr lang="ja-JP" altLang="en-US" sz="800" dirty="0">
                <a:solidFill>
                  <a:prstClr val="black"/>
                </a:solidFill>
                <a:ea typeface="ＭＳ Ｐゴシック" charset="-128"/>
              </a:rPr>
              <a:t>法律上は「特定居住促進協議会」</a:t>
            </a:r>
          </a:p>
        </p:txBody>
      </p:sp>
      <p:sp>
        <p:nvSpPr>
          <p:cNvPr id="61" name="テキスト ボックス 60">
            <a:extLst>
              <a:ext uri="{FF2B5EF4-FFF2-40B4-BE49-F238E27FC236}">
                <a16:creationId xmlns:a16="http://schemas.microsoft.com/office/drawing/2014/main" id="{7FCB6D12-07FE-906D-969B-82DE2F44E590}"/>
              </a:ext>
            </a:extLst>
          </p:cNvPr>
          <p:cNvSpPr txBox="1"/>
          <p:nvPr/>
        </p:nvSpPr>
        <p:spPr>
          <a:xfrm>
            <a:off x="8239091" y="3276106"/>
            <a:ext cx="1799912" cy="215409"/>
          </a:xfrm>
          <a:prstGeom prst="rect">
            <a:avLst/>
          </a:prstGeom>
          <a:noFill/>
        </p:spPr>
        <p:txBody>
          <a:bodyPr wrap="square" rtlCol="0">
            <a:spAutoFit/>
          </a:bodyPr>
          <a:lstStyle/>
          <a:p>
            <a:pPr defTabSz="914217">
              <a:defRPr/>
            </a:pPr>
            <a:r>
              <a:rPr lang="en-US" altLang="ja-JP" sz="800" baseline="30000" dirty="0">
                <a:solidFill>
                  <a:prstClr val="black"/>
                </a:solidFill>
                <a:latin typeface="ＭＳ Ｐゴシック" panose="020B0600070205080204" pitchFamily="50" charset="-128"/>
              </a:rPr>
              <a:t>※2</a:t>
            </a:r>
            <a:r>
              <a:rPr lang="ja-JP" altLang="en-US" sz="800" dirty="0">
                <a:solidFill>
                  <a:prstClr val="black"/>
                </a:solidFill>
                <a:ea typeface="ＭＳ Ｐゴシック" charset="-128"/>
              </a:rPr>
              <a:t>法律上は「特定居住支援法人」</a:t>
            </a:r>
          </a:p>
        </p:txBody>
      </p:sp>
      <p:sp>
        <p:nvSpPr>
          <p:cNvPr id="63" name="矢印: 下 62">
            <a:extLst>
              <a:ext uri="{FF2B5EF4-FFF2-40B4-BE49-F238E27FC236}">
                <a16:creationId xmlns:a16="http://schemas.microsoft.com/office/drawing/2014/main" id="{767A460B-F558-D185-CDBE-A6804DBBD1C9}"/>
              </a:ext>
            </a:extLst>
          </p:cNvPr>
          <p:cNvSpPr/>
          <p:nvPr/>
        </p:nvSpPr>
        <p:spPr>
          <a:xfrm rot="10800000">
            <a:off x="5262188" y="4602061"/>
            <a:ext cx="182089" cy="584433"/>
          </a:xfrm>
          <a:prstGeom prst="downArrow">
            <a:avLst>
              <a:gd name="adj1" fmla="val 50000"/>
              <a:gd name="adj2" fmla="val 45638"/>
            </a:avLst>
          </a:prstGeom>
          <a:solidFill>
            <a:srgbClr val="F79646">
              <a:lumMod val="60000"/>
              <a:lumOff val="40000"/>
            </a:srgbClr>
          </a:solidFill>
          <a:ln w="19050" cap="flat" cmpd="sng" algn="ctr">
            <a:solidFill>
              <a:srgbClr val="F79646">
                <a:lumMod val="60000"/>
                <a:lumOff val="40000"/>
              </a:srgbClr>
            </a:solidFill>
            <a:prstDash val="solid"/>
          </a:ln>
          <a:effectLst/>
        </p:spPr>
        <p:txBody>
          <a:bodyPr rtlCol="0" anchor="ctr"/>
          <a:lstStyle/>
          <a:p>
            <a:pPr algn="ctr" defTabSz="914217" fontAlgn="auto">
              <a:spcBef>
                <a:spcPts val="0"/>
              </a:spcBef>
              <a:spcAft>
                <a:spcPts val="0"/>
              </a:spcAft>
              <a:defRPr/>
            </a:pPr>
            <a:endParaRPr kumimoji="0" lang="ja-JP" altLang="en-US" sz="1050" kern="0">
              <a:solidFill>
                <a:prstClr val="white"/>
              </a:solidFill>
              <a:latin typeface="Calibri"/>
            </a:endParaRPr>
          </a:p>
        </p:txBody>
      </p:sp>
      <p:sp>
        <p:nvSpPr>
          <p:cNvPr id="64" name="矢印: 下 63">
            <a:extLst>
              <a:ext uri="{FF2B5EF4-FFF2-40B4-BE49-F238E27FC236}">
                <a16:creationId xmlns:a16="http://schemas.microsoft.com/office/drawing/2014/main" id="{C1525027-F88D-F63B-4B36-F8BEAAFA993B}"/>
              </a:ext>
            </a:extLst>
          </p:cNvPr>
          <p:cNvSpPr/>
          <p:nvPr/>
        </p:nvSpPr>
        <p:spPr>
          <a:xfrm>
            <a:off x="5460775" y="4602061"/>
            <a:ext cx="182089" cy="584433"/>
          </a:xfrm>
          <a:prstGeom prst="downArrow">
            <a:avLst>
              <a:gd name="adj1" fmla="val 50000"/>
              <a:gd name="adj2" fmla="val 45638"/>
            </a:avLst>
          </a:prstGeom>
          <a:solidFill>
            <a:srgbClr val="F79646">
              <a:lumMod val="60000"/>
              <a:lumOff val="40000"/>
            </a:srgbClr>
          </a:solidFill>
          <a:ln w="19050" cap="flat" cmpd="sng" algn="ctr">
            <a:solidFill>
              <a:srgbClr val="F79646">
                <a:lumMod val="60000"/>
                <a:lumOff val="40000"/>
              </a:srgbClr>
            </a:solidFill>
            <a:prstDash val="solid"/>
          </a:ln>
          <a:effectLst/>
        </p:spPr>
        <p:txBody>
          <a:bodyPr rtlCol="0" anchor="ctr"/>
          <a:lstStyle/>
          <a:p>
            <a:pPr algn="ctr" defTabSz="914217" fontAlgn="auto">
              <a:spcBef>
                <a:spcPts val="0"/>
              </a:spcBef>
              <a:spcAft>
                <a:spcPts val="0"/>
              </a:spcAft>
              <a:defRPr/>
            </a:pPr>
            <a:endParaRPr kumimoji="0" lang="ja-JP" altLang="en-US" sz="1050" kern="0">
              <a:solidFill>
                <a:prstClr val="white"/>
              </a:solidFill>
              <a:latin typeface="Calibri"/>
            </a:endParaRPr>
          </a:p>
        </p:txBody>
      </p:sp>
      <p:sp>
        <p:nvSpPr>
          <p:cNvPr id="65" name="テキスト ボックス 64">
            <a:extLst>
              <a:ext uri="{FF2B5EF4-FFF2-40B4-BE49-F238E27FC236}">
                <a16:creationId xmlns:a16="http://schemas.microsoft.com/office/drawing/2014/main" id="{FC471B26-3D26-73EC-D929-32CC4F679C96}"/>
              </a:ext>
            </a:extLst>
          </p:cNvPr>
          <p:cNvSpPr txBox="1"/>
          <p:nvPr/>
        </p:nvSpPr>
        <p:spPr>
          <a:xfrm>
            <a:off x="4544321" y="2890904"/>
            <a:ext cx="1799912" cy="215409"/>
          </a:xfrm>
          <a:prstGeom prst="rect">
            <a:avLst/>
          </a:prstGeom>
          <a:noFill/>
        </p:spPr>
        <p:txBody>
          <a:bodyPr wrap="square" rtlCol="0">
            <a:spAutoFit/>
          </a:bodyPr>
          <a:lstStyle/>
          <a:p>
            <a:pPr defTabSz="914217">
              <a:defRPr/>
            </a:pPr>
            <a:r>
              <a:rPr lang="en-US" altLang="ja-JP" sz="800" baseline="30000" dirty="0">
                <a:solidFill>
                  <a:prstClr val="black"/>
                </a:solidFill>
                <a:ea typeface="ＭＳ Ｐゴシック" charset="-128"/>
              </a:rPr>
              <a:t>※</a:t>
            </a:r>
            <a:r>
              <a:rPr lang="ja-JP" altLang="en-US" sz="800" baseline="30000" dirty="0">
                <a:solidFill>
                  <a:prstClr val="black"/>
                </a:solidFill>
                <a:ea typeface="ＭＳ Ｐゴシック" charset="-128"/>
              </a:rPr>
              <a:t>１</a:t>
            </a:r>
            <a:r>
              <a:rPr lang="ja-JP" altLang="en-US" sz="800" dirty="0">
                <a:solidFill>
                  <a:prstClr val="black"/>
                </a:solidFill>
                <a:ea typeface="ＭＳ Ｐゴシック" charset="-128"/>
              </a:rPr>
              <a:t>法律上は「特定居住」</a:t>
            </a:r>
          </a:p>
        </p:txBody>
      </p:sp>
      <p:sp>
        <p:nvSpPr>
          <p:cNvPr id="40" name="テキスト ボックス 39">
            <a:extLst>
              <a:ext uri="{FF2B5EF4-FFF2-40B4-BE49-F238E27FC236}">
                <a16:creationId xmlns:a16="http://schemas.microsoft.com/office/drawing/2014/main" id="{6ADA8845-BF27-498B-A211-60FBD1BE6E84}"/>
              </a:ext>
            </a:extLst>
          </p:cNvPr>
          <p:cNvSpPr txBox="1"/>
          <p:nvPr/>
        </p:nvSpPr>
        <p:spPr>
          <a:xfrm>
            <a:off x="5455045" y="739778"/>
            <a:ext cx="4449611" cy="261568"/>
          </a:xfrm>
          <a:prstGeom prst="rect">
            <a:avLst/>
          </a:prstGeom>
          <a:noFill/>
        </p:spPr>
        <p:txBody>
          <a:bodyPr wrap="square">
            <a:spAutoFit/>
          </a:bodyPr>
          <a:lstStyle/>
          <a:p>
            <a:pPr algn="r" defTabSz="914217"/>
            <a:r>
              <a:rPr lang="en-US" altLang="ja-JP" sz="1050" dirty="0">
                <a:solidFill>
                  <a:prstClr val="black"/>
                </a:solidFill>
                <a:ea typeface="ＭＳ Ｐゴシック" charset="-128"/>
              </a:rPr>
              <a:t>※</a:t>
            </a:r>
            <a:r>
              <a:rPr lang="ja-JP" altLang="en-US" sz="1050" dirty="0">
                <a:solidFill>
                  <a:prstClr val="black"/>
                </a:solidFill>
                <a:ea typeface="ＭＳ Ｐゴシック" charset="-128"/>
              </a:rPr>
              <a:t>令和</a:t>
            </a:r>
            <a:r>
              <a:rPr lang="en-US" altLang="ja-JP" sz="1050" dirty="0">
                <a:solidFill>
                  <a:prstClr val="black"/>
                </a:solidFill>
                <a:ea typeface="ＭＳ Ｐゴシック" charset="-128"/>
              </a:rPr>
              <a:t>6</a:t>
            </a:r>
            <a:r>
              <a:rPr lang="ja-JP" altLang="en-US" sz="1050" dirty="0">
                <a:solidFill>
                  <a:prstClr val="black"/>
                </a:solidFill>
                <a:ea typeface="ＭＳ Ｐゴシック" charset="-128"/>
              </a:rPr>
              <a:t>年</a:t>
            </a:r>
            <a:r>
              <a:rPr lang="en-US" altLang="ja-JP" sz="1050" dirty="0">
                <a:solidFill>
                  <a:prstClr val="black"/>
                </a:solidFill>
                <a:ea typeface="ＭＳ Ｐゴシック" charset="-128"/>
              </a:rPr>
              <a:t>5</a:t>
            </a:r>
            <a:r>
              <a:rPr lang="ja-JP" altLang="en-US" sz="1050" dirty="0">
                <a:solidFill>
                  <a:prstClr val="black"/>
                </a:solidFill>
                <a:ea typeface="ＭＳ Ｐゴシック" charset="-128"/>
              </a:rPr>
              <a:t>月</a:t>
            </a:r>
            <a:r>
              <a:rPr lang="en-US" altLang="ja-JP" sz="1050" dirty="0">
                <a:solidFill>
                  <a:prstClr val="black"/>
                </a:solidFill>
                <a:ea typeface="ＭＳ Ｐゴシック" charset="-128"/>
              </a:rPr>
              <a:t>15</a:t>
            </a:r>
            <a:r>
              <a:rPr lang="ja-JP" altLang="en-US" sz="1050" dirty="0">
                <a:solidFill>
                  <a:prstClr val="black"/>
                </a:solidFill>
                <a:ea typeface="ＭＳ Ｐゴシック" charset="-128"/>
              </a:rPr>
              <a:t>日成立。公布日から６月以内で政令で定める日から施行</a:t>
            </a:r>
          </a:p>
        </p:txBody>
      </p:sp>
      <p:sp>
        <p:nvSpPr>
          <p:cNvPr id="5" name="スライド番号プレースホルダー 2">
            <a:extLst>
              <a:ext uri="{FF2B5EF4-FFF2-40B4-BE49-F238E27FC236}">
                <a16:creationId xmlns:a16="http://schemas.microsoft.com/office/drawing/2014/main" id="{BE04477A-91CA-2E1C-63A7-D47C253932F2}"/>
              </a:ext>
            </a:extLst>
          </p:cNvPr>
          <p:cNvSpPr>
            <a:spLocks noGrp="1"/>
          </p:cNvSpPr>
          <p:nvPr>
            <p:ph type="sldNum" sz="quarter" idx="12"/>
          </p:nvPr>
        </p:nvSpPr>
        <p:spPr>
          <a:xfrm>
            <a:off x="7593383" y="7257989"/>
            <a:ext cx="2311030" cy="538868"/>
          </a:xfrm>
        </p:spPr>
        <p:txBody>
          <a:bodyPr/>
          <a:lstStyle/>
          <a:p>
            <a:pPr>
              <a:defRPr/>
            </a:pPr>
            <a:fld id="{06FFE511-5094-4685-A035-FB392A6605D8}" type="slidenum">
              <a:rPr lang="en-US" altLang="ja-JP" smtClean="0"/>
              <a:pPr>
                <a:defRPr/>
              </a:pPr>
              <a:t>50</a:t>
            </a:fld>
            <a:endParaRPr lang="en-US" altLang="ja-JP" dirty="0"/>
          </a:p>
        </p:txBody>
      </p:sp>
    </p:spTree>
    <p:extLst>
      <p:ext uri="{BB962C8B-B14F-4D97-AF65-F5344CB8AC3E}">
        <p14:creationId xmlns:p14="http://schemas.microsoft.com/office/powerpoint/2010/main" val="42444585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3" name="タイトル 1"/>
          <p:cNvSpPr>
            <a:spLocks noGrp="1"/>
          </p:cNvSpPr>
          <p:nvPr>
            <p:ph type="title"/>
          </p:nvPr>
        </p:nvSpPr>
        <p:spPr>
          <a:xfrm>
            <a:off x="127670" y="114157"/>
            <a:ext cx="8538283" cy="453325"/>
          </a:xfrm>
        </p:spPr>
        <p:txBody>
          <a:bodyPr anchor="t" anchorCtr="0"/>
          <a:lstStyle/>
          <a:p>
            <a:r>
              <a:rPr lang="ja-JP" altLang="en-US" sz="2400" dirty="0"/>
              <a:t>地方公共団体向け二地域居住等施策推進ガイドライン</a:t>
            </a:r>
            <a:endParaRPr lang="ja-JP" altLang="en-US" sz="1800" dirty="0"/>
          </a:p>
        </p:txBody>
      </p:sp>
      <p:sp>
        <p:nvSpPr>
          <p:cNvPr id="1125" name="四角形 419"/>
          <p:cNvSpPr/>
          <p:nvPr/>
        </p:nvSpPr>
        <p:spPr>
          <a:xfrm>
            <a:off x="39733" y="756022"/>
            <a:ext cx="9831748" cy="1368658"/>
          </a:xfrm>
          <a:prstGeom prst="rect">
            <a:avLst/>
          </a:prstGeom>
          <a:solidFill>
            <a:srgbClr val="FFFFCC"/>
          </a:solidFill>
          <a:ln w="12700" cap="flat" cmpd="sng" algn="ctr">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5708" indent="-85708" defTabSz="914217" fontAlgn="auto">
              <a:spcBef>
                <a:spcPts val="0"/>
              </a:spcBef>
              <a:spcAft>
                <a:spcPts val="0"/>
              </a:spcAft>
              <a:defRPr/>
            </a:pPr>
            <a:r>
              <a:rPr lang="ja-JP" altLang="en-US" sz="1400" dirty="0">
                <a:solidFill>
                  <a:srgbClr val="000000"/>
                </a:solidFill>
                <a:latin typeface="ＭＳ Ｐゴシック"/>
                <a:ea typeface="ＭＳ Ｐゴシック"/>
                <a:cs typeface="Arial"/>
              </a:rPr>
              <a:t> 　</a:t>
            </a:r>
            <a:r>
              <a:rPr lang="ja-JP" altLang="en-US" sz="1300" dirty="0">
                <a:solidFill>
                  <a:srgbClr val="000000"/>
                </a:solidFill>
                <a:latin typeface="ＭＳ Ｐゴシック"/>
                <a:ea typeface="ＭＳ Ｐゴシック"/>
                <a:cs typeface="Arial"/>
              </a:rPr>
              <a:t>全国二地域居住等促進協議会の自治体会員に対するアンケート調査において、二地域居住等を推進するために「何をやったらよいかわからない」との回答が多数であったことを踏まえ、自治体の取組を後押するガイドラインを次の内容により作成（令和４年３月）。</a:t>
            </a:r>
            <a:endParaRPr lang="en-US" altLang="ja-JP" sz="1300" dirty="0">
              <a:solidFill>
                <a:srgbClr val="000000"/>
              </a:solidFill>
              <a:latin typeface="ＭＳ Ｐゴシック"/>
              <a:ea typeface="ＭＳ Ｐゴシック"/>
              <a:cs typeface="Arial"/>
            </a:endParaRPr>
          </a:p>
          <a:p>
            <a:pPr marL="85708" indent="-85708" defTabSz="914217" fontAlgn="auto">
              <a:spcBef>
                <a:spcPts val="0"/>
              </a:spcBef>
              <a:spcAft>
                <a:spcPts val="0"/>
              </a:spcAft>
              <a:defRPr/>
            </a:pPr>
            <a:r>
              <a:rPr lang="ja-JP" altLang="en-US" sz="1200" dirty="0">
                <a:solidFill>
                  <a:srgbClr val="000000"/>
                </a:solidFill>
                <a:latin typeface="Meiryo UI" panose="020B0604030504040204" pitchFamily="50" charset="-128"/>
                <a:ea typeface="Meiryo UI" panose="020B0604030504040204" pitchFamily="50" charset="-128"/>
                <a:cs typeface="Arial"/>
              </a:rPr>
              <a:t>　　</a:t>
            </a:r>
            <a:endParaRPr lang="en-US" altLang="ja-JP" sz="1200" dirty="0">
              <a:solidFill>
                <a:srgbClr val="000000"/>
              </a:solidFill>
              <a:latin typeface="Meiryo UI" panose="020B0604030504040204" pitchFamily="50" charset="-128"/>
              <a:ea typeface="Meiryo UI" panose="020B0604030504040204" pitchFamily="50" charset="-128"/>
              <a:cs typeface="Arial"/>
            </a:endParaRPr>
          </a:p>
          <a:p>
            <a:pPr marL="85708" indent="-85708" defTabSz="914217" fontAlgn="auto">
              <a:spcBef>
                <a:spcPts val="0"/>
              </a:spcBef>
              <a:spcAft>
                <a:spcPts val="0"/>
              </a:spcAft>
              <a:defRPr/>
            </a:pPr>
            <a:endParaRPr lang="en-US" altLang="ja-JP" sz="1200" dirty="0">
              <a:solidFill>
                <a:srgbClr val="000000"/>
              </a:solidFill>
              <a:latin typeface="Meiryo UI" panose="020B0604030504040204" pitchFamily="50" charset="-128"/>
              <a:ea typeface="Meiryo UI" panose="020B0604030504040204" pitchFamily="50" charset="-128"/>
              <a:cs typeface="Arial"/>
            </a:endParaRPr>
          </a:p>
          <a:p>
            <a:pPr marL="85708" indent="-85708" defTabSz="914217" fontAlgn="auto">
              <a:spcBef>
                <a:spcPts val="0"/>
              </a:spcBef>
              <a:spcAft>
                <a:spcPts val="0"/>
              </a:spcAft>
              <a:defRPr/>
            </a:pPr>
            <a:endParaRPr lang="en-US" altLang="ja-JP" sz="1200" dirty="0">
              <a:solidFill>
                <a:srgbClr val="000000"/>
              </a:solidFill>
              <a:latin typeface="Meiryo UI" panose="020B0604030504040204" pitchFamily="50" charset="-128"/>
              <a:ea typeface="Meiryo UI" panose="020B0604030504040204" pitchFamily="50" charset="-128"/>
              <a:cs typeface="Arial"/>
            </a:endParaRPr>
          </a:p>
          <a:p>
            <a:pPr marL="85708" indent="-85708" defTabSz="914217" fontAlgn="auto">
              <a:spcBef>
                <a:spcPts val="0"/>
              </a:spcBef>
              <a:spcAft>
                <a:spcPts val="0"/>
              </a:spcAft>
              <a:defRPr/>
            </a:pPr>
            <a:endParaRPr lang="en-US" altLang="ja-JP" sz="1200" dirty="0">
              <a:solidFill>
                <a:srgbClr val="000000"/>
              </a:solidFill>
              <a:latin typeface="Meiryo UI" panose="020B0604030504040204" pitchFamily="50" charset="-128"/>
              <a:ea typeface="Meiryo UI" panose="020B0604030504040204" pitchFamily="50" charset="-128"/>
              <a:cs typeface="Arial"/>
            </a:endParaRPr>
          </a:p>
          <a:p>
            <a:pPr marL="85708" indent="-85708" defTabSz="914217" fontAlgn="auto">
              <a:spcBef>
                <a:spcPts val="0"/>
              </a:spcBef>
              <a:spcAft>
                <a:spcPts val="0"/>
              </a:spcAft>
              <a:defRPr/>
            </a:pPr>
            <a:r>
              <a:rPr lang="ja-JP" altLang="en-US" sz="1200" dirty="0">
                <a:solidFill>
                  <a:srgbClr val="000000"/>
                </a:solidFill>
                <a:latin typeface="Meiryo UI" panose="020B0604030504040204" pitchFamily="50" charset="-128"/>
                <a:ea typeface="Meiryo UI" panose="020B0604030504040204" pitchFamily="50" charset="-128"/>
                <a:cs typeface="Arial"/>
              </a:rPr>
              <a:t>　</a:t>
            </a:r>
            <a:endParaRPr lang="en-US" altLang="ja-JP" sz="1400" dirty="0">
              <a:solidFill>
                <a:srgbClr val="000000"/>
              </a:solidFill>
              <a:latin typeface="Meiryo UI" panose="020B0604030504040204" pitchFamily="50" charset="-128"/>
              <a:ea typeface="Meiryo UI" panose="020B0604030504040204" pitchFamily="50" charset="-128"/>
              <a:cs typeface="Arial"/>
            </a:endParaRPr>
          </a:p>
        </p:txBody>
      </p:sp>
      <p:sp>
        <p:nvSpPr>
          <p:cNvPr id="43" name="テキスト ボックス 37"/>
          <p:cNvSpPr txBox="1">
            <a:spLocks noChangeArrowheads="1"/>
          </p:cNvSpPr>
          <p:nvPr/>
        </p:nvSpPr>
        <p:spPr>
          <a:xfrm>
            <a:off x="5830410" y="1228250"/>
            <a:ext cx="3991215" cy="836418"/>
          </a:xfrm>
          <a:prstGeom prst="rect">
            <a:avLst/>
          </a:prstGeom>
          <a:solidFill>
            <a:srgbClr val="FFFFE7">
              <a:alpha val="28627"/>
            </a:srgbClr>
          </a:solidFill>
          <a:ln w="6350">
            <a:solidFill>
              <a:schemeClr val="tx1"/>
            </a:solidFill>
            <a:prstDash val="sysDash"/>
            <a:miter lim="800000"/>
            <a:headEnd/>
            <a:tailEnd/>
          </a:ln>
          <a:scene3d>
            <a:camera prst="orthographicFront"/>
            <a:lightRig rig="threePt" dir="t"/>
          </a:scene3d>
          <a:sp3d>
            <a:bevelT w="0" h="0"/>
            <a:bevelB w="0" h="0"/>
          </a:sp3d>
        </p:spPr>
        <p:txBody>
          <a:bodyPr wrap="square" lIns="33226" tIns="33226" rIns="33226" bIns="33226">
            <a:spAutoFit/>
          </a:bodyPr>
          <a:lstStyle/>
          <a:p>
            <a:pPr defTabSz="914217" fontAlgn="auto">
              <a:spcBef>
                <a:spcPts val="0"/>
              </a:spcBef>
              <a:spcAft>
                <a:spcPts val="0"/>
              </a:spcAft>
              <a:defRPr/>
            </a:pPr>
            <a:r>
              <a:rPr lang="en-US" altLang="ja-JP" sz="1000" dirty="0">
                <a:solidFill>
                  <a:srgbClr val="000000"/>
                </a:solidFill>
                <a:latin typeface="AR P丸ゴシック体M" panose="020F0600000000000000" pitchFamily="50" charset="-128"/>
                <a:ea typeface="AR P丸ゴシック体M" panose="020F0600000000000000" pitchFamily="50" charset="-128"/>
              </a:rPr>
              <a:t>【</a:t>
            </a:r>
            <a:r>
              <a:rPr lang="ja-JP" altLang="en-US" sz="1000" dirty="0">
                <a:solidFill>
                  <a:srgbClr val="000000"/>
                </a:solidFill>
                <a:latin typeface="AR P丸ゴシック体M" panose="020F0600000000000000" pitchFamily="50" charset="-128"/>
                <a:ea typeface="AR P丸ゴシック体M" panose="020F0600000000000000" pitchFamily="50" charset="-128"/>
              </a:rPr>
              <a:t>経済財政運営と改革の基本方針</a:t>
            </a:r>
            <a:r>
              <a:rPr lang="en-US" altLang="ja-JP" sz="1000" dirty="0">
                <a:solidFill>
                  <a:srgbClr val="000000"/>
                </a:solidFill>
                <a:latin typeface="AR P丸ゴシック体M" panose="020F0600000000000000" pitchFamily="50" charset="-128"/>
                <a:ea typeface="AR P丸ゴシック体M" panose="020F0600000000000000" pitchFamily="50" charset="-128"/>
              </a:rPr>
              <a:t>2021</a:t>
            </a:r>
            <a:r>
              <a:rPr lang="ja-JP" altLang="en-US" sz="1000" dirty="0">
                <a:solidFill>
                  <a:srgbClr val="000000"/>
                </a:solidFill>
                <a:latin typeface="AR P丸ゴシック体M" panose="020F0600000000000000" pitchFamily="50" charset="-128"/>
                <a:ea typeface="AR P丸ゴシック体M" panose="020F0600000000000000" pitchFamily="50" charset="-128"/>
              </a:rPr>
              <a:t>（抜粋）</a:t>
            </a:r>
            <a:r>
              <a:rPr lang="en-US" altLang="ja-JP" sz="1000" dirty="0">
                <a:solidFill>
                  <a:srgbClr val="000000"/>
                </a:solidFill>
                <a:latin typeface="AR P丸ゴシック体M" panose="020F0600000000000000" pitchFamily="50" charset="-128"/>
                <a:ea typeface="AR P丸ゴシック体M" panose="020F0600000000000000" pitchFamily="50" charset="-128"/>
              </a:rPr>
              <a:t>】</a:t>
            </a:r>
          </a:p>
          <a:p>
            <a:pPr defTabSz="914217" fontAlgn="auto">
              <a:spcBef>
                <a:spcPts val="0"/>
              </a:spcBef>
              <a:spcAft>
                <a:spcPts val="0"/>
              </a:spcAft>
              <a:defRPr/>
            </a:pPr>
            <a:r>
              <a:rPr lang="ja-JP" altLang="en-US" sz="1000" dirty="0">
                <a:solidFill>
                  <a:srgbClr val="000000"/>
                </a:solidFill>
                <a:latin typeface="AR P丸ゴシック体M" panose="020F0600000000000000" pitchFamily="50" charset="-128"/>
                <a:ea typeface="AR P丸ゴシック体M" panose="020F0600000000000000" pitchFamily="50" charset="-128"/>
              </a:rPr>
              <a:t>　多様な二地域居住・多拠点居住を促進するため、保育・教育等の住民票・居住地と紐づいたサービスの提供や個人の負担の在り方を整理・検討し、</a:t>
            </a:r>
            <a:r>
              <a:rPr lang="ja-JP" altLang="en-US" sz="1000" u="sng" dirty="0">
                <a:solidFill>
                  <a:srgbClr val="000000"/>
                </a:solidFill>
                <a:uFill>
                  <a:solidFill>
                    <a:srgbClr val="FF0000"/>
                  </a:solidFill>
                </a:uFill>
                <a:latin typeface="AR P丸ゴシック体M" panose="020F0600000000000000" pitchFamily="50" charset="-128"/>
                <a:ea typeface="AR P丸ゴシック体M" panose="020F0600000000000000" pitchFamily="50" charset="-128"/>
              </a:rPr>
              <a:t>地方自治体向けのガイドラインを本年度中に策定</a:t>
            </a:r>
            <a:r>
              <a:rPr lang="ja-JP" altLang="en-US" sz="1000" dirty="0">
                <a:solidFill>
                  <a:srgbClr val="000000"/>
                </a:solidFill>
                <a:latin typeface="AR P丸ゴシック体M" panose="020F0600000000000000" pitchFamily="50" charset="-128"/>
                <a:ea typeface="AR P丸ゴシック体M" panose="020F0600000000000000" pitchFamily="50" charset="-128"/>
              </a:rPr>
              <a:t>するとともに、空き家・空き地バンクの拡大・活用等を推進する。</a:t>
            </a:r>
          </a:p>
        </p:txBody>
      </p:sp>
      <p:sp>
        <p:nvSpPr>
          <p:cNvPr id="12" name="正方形/長方形 11"/>
          <p:cNvSpPr/>
          <p:nvPr/>
        </p:nvSpPr>
        <p:spPr>
          <a:xfrm>
            <a:off x="1308507" y="2171059"/>
            <a:ext cx="2149603" cy="276955"/>
          </a:xfrm>
          <a:prstGeom prst="rect">
            <a:avLst/>
          </a:prstGeom>
        </p:spPr>
        <p:txBody>
          <a:bodyPr wrap="none">
            <a:spAutoFit/>
          </a:bodyPr>
          <a:lstStyle/>
          <a:p>
            <a:pPr algn="ctr" defTabSz="914217" fontAlgn="auto">
              <a:spcBef>
                <a:spcPts val="0"/>
              </a:spcBef>
              <a:spcAft>
                <a:spcPts val="0"/>
              </a:spcAft>
              <a:defRPr/>
            </a:pPr>
            <a:r>
              <a:rPr lang="en-US" altLang="ja-JP"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a:t>
            </a:r>
            <a:r>
              <a:rPr lang="ja-JP" altLang="ja-JP"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二地域居住等の社会的意義</a:t>
            </a:r>
            <a:r>
              <a:rPr lang="en-US" altLang="ja-JP"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a:t>
            </a:r>
            <a:endParaRPr lang="ja-JP" altLang="ja-JP"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p:txBody>
      </p:sp>
      <p:sp>
        <p:nvSpPr>
          <p:cNvPr id="14" name="正方形/長方形 13"/>
          <p:cNvSpPr/>
          <p:nvPr/>
        </p:nvSpPr>
        <p:spPr>
          <a:xfrm>
            <a:off x="5816164" y="2177566"/>
            <a:ext cx="3072785" cy="276955"/>
          </a:xfrm>
          <a:prstGeom prst="rect">
            <a:avLst/>
          </a:prstGeom>
        </p:spPr>
        <p:txBody>
          <a:bodyPr wrap="none">
            <a:spAutoFit/>
          </a:bodyPr>
          <a:lstStyle/>
          <a:p>
            <a:pPr algn="ctr" defTabSz="914217" fontAlgn="auto">
              <a:spcBef>
                <a:spcPts val="0"/>
              </a:spcBef>
              <a:spcAft>
                <a:spcPts val="0"/>
              </a:spcAft>
              <a:defRPr/>
            </a:pPr>
            <a:r>
              <a:rPr lang="en-US" altLang="ja-JP"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a:t>
            </a:r>
            <a:r>
              <a:rPr lang="ja-JP" altLang="ja-JP"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二地域居住等を推進する</a:t>
            </a:r>
            <a:r>
              <a:rPr lang="ja-JP" altLang="en-US"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４つの</a:t>
            </a:r>
            <a:r>
              <a:rPr lang="ja-JP" altLang="ja-JP"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ステップ</a:t>
            </a:r>
            <a:r>
              <a:rPr lang="en-US" altLang="ja-JP"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a:t>
            </a:r>
            <a:endParaRPr lang="ja-JP" altLang="ja-JP" sz="12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p:txBody>
      </p:sp>
      <p:sp>
        <p:nvSpPr>
          <p:cNvPr id="15" name="正方形/長方形 14"/>
          <p:cNvSpPr/>
          <p:nvPr/>
        </p:nvSpPr>
        <p:spPr>
          <a:xfrm>
            <a:off x="4811704" y="2450591"/>
            <a:ext cx="2784965" cy="415431"/>
          </a:xfrm>
          <a:prstGeom prst="rect">
            <a:avLst/>
          </a:prstGeom>
        </p:spPr>
        <p:txBody>
          <a:bodyPr wrap="square">
            <a:spAutoFit/>
          </a:bodyPr>
          <a:lstStyle/>
          <a:p>
            <a:pPr defTabSz="914217" fontAlgn="auto">
              <a:spcBef>
                <a:spcPts val="0"/>
              </a:spcBef>
              <a:spcAft>
                <a:spcPts val="0"/>
              </a:spcAft>
              <a:defRPr/>
            </a:pPr>
            <a:r>
              <a:rPr lang="en-US" altLang="ja-JP" sz="1050" b="1"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STEP1  </a:t>
            </a:r>
            <a:r>
              <a:rPr lang="ja-JP" altLang="ja-JP" sz="1050" b="1"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地域や生活情報に関する情報発信</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a:p>
            <a:pPr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地域の暮らしに関する情報</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p:txBody>
      </p:sp>
      <p:sp>
        <p:nvSpPr>
          <p:cNvPr id="1120" name="正方形/長方形 1119"/>
          <p:cNvSpPr/>
          <p:nvPr/>
        </p:nvSpPr>
        <p:spPr>
          <a:xfrm>
            <a:off x="7436084" y="2457514"/>
            <a:ext cx="2651422" cy="415431"/>
          </a:xfrm>
          <a:prstGeom prst="rect">
            <a:avLst/>
          </a:prstGeom>
        </p:spPr>
        <p:txBody>
          <a:bodyPr wrap="square">
            <a:spAutoFit/>
          </a:bodyPr>
          <a:lstStyle/>
          <a:p>
            <a:pPr defTabSz="914217" fontAlgn="auto">
              <a:spcBef>
                <a:spcPts val="0"/>
              </a:spcBef>
              <a:spcAft>
                <a:spcPts val="0"/>
              </a:spcAft>
              <a:defRPr/>
            </a:pPr>
            <a:r>
              <a:rPr lang="en-US" altLang="ja-JP" sz="1050" b="1"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STEP2  </a:t>
            </a:r>
            <a:r>
              <a:rPr lang="ja-JP" altLang="ja-JP" sz="1050" b="1"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相談窓口の設置</a:t>
            </a:r>
          </a:p>
          <a:p>
            <a:pPr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窓口（相談・案内等）の設置</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p:txBody>
      </p:sp>
      <p:sp>
        <p:nvSpPr>
          <p:cNvPr id="1121" name="正方形/長方形 1120"/>
          <p:cNvSpPr/>
          <p:nvPr/>
        </p:nvSpPr>
        <p:spPr>
          <a:xfrm>
            <a:off x="4805970" y="3754502"/>
            <a:ext cx="3417791" cy="900102"/>
          </a:xfrm>
          <a:prstGeom prst="rect">
            <a:avLst/>
          </a:prstGeom>
        </p:spPr>
        <p:txBody>
          <a:bodyPr wrap="square">
            <a:spAutoFit/>
          </a:bodyPr>
          <a:lstStyle/>
          <a:p>
            <a:pPr defTabSz="914217" fontAlgn="auto">
              <a:spcBef>
                <a:spcPts val="0"/>
              </a:spcBef>
              <a:spcAft>
                <a:spcPts val="0"/>
              </a:spcAft>
              <a:defRPr/>
            </a:pPr>
            <a:r>
              <a:rPr lang="en-US" altLang="ja-JP" sz="1050" b="1"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STEP3  </a:t>
            </a:r>
            <a:r>
              <a:rPr lang="ja-JP" altLang="ja-JP" sz="1050" b="1"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きっかけづくりとなる取組の実施</a:t>
            </a:r>
          </a:p>
          <a:p>
            <a:pPr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お試し居住・テレワーク・サテライトオフ</a:t>
            </a:r>
            <a:endParaRPr lang="en-US"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endParaRPr>
          </a:p>
          <a:p>
            <a:pPr indent="133323" defTabSz="914217" fontAlgn="auto">
              <a:spcBef>
                <a:spcPts val="0"/>
              </a:spcBef>
              <a:spcAft>
                <a:spcPts val="0"/>
              </a:spcAft>
              <a:defRPr/>
            </a:pPr>
            <a:r>
              <a:rPr lang="ja-JP" altLang="en-US"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 </a:t>
            </a:r>
            <a:r>
              <a:rPr lang="ja-JP" altLang="ja-JP" sz="1050" kern="100" dirty="0" err="1">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ィ</a:t>
            </a: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ス等の整備</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a:p>
            <a:pPr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地域住民との交流機会やプログラムの実施</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a:p>
            <a:pPr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地域のファンクラブの設置</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p:txBody>
      </p:sp>
      <p:sp>
        <p:nvSpPr>
          <p:cNvPr id="1122" name="正方形/長方形 1121"/>
          <p:cNvSpPr/>
          <p:nvPr/>
        </p:nvSpPr>
        <p:spPr>
          <a:xfrm>
            <a:off x="4805969" y="4852568"/>
            <a:ext cx="3412057" cy="1223216"/>
          </a:xfrm>
          <a:prstGeom prst="rect">
            <a:avLst/>
          </a:prstGeom>
        </p:spPr>
        <p:txBody>
          <a:bodyPr wrap="square">
            <a:spAutoFit/>
          </a:bodyPr>
          <a:lstStyle/>
          <a:p>
            <a:pPr defTabSz="914217" fontAlgn="auto">
              <a:spcBef>
                <a:spcPts val="0"/>
              </a:spcBef>
              <a:spcAft>
                <a:spcPts val="0"/>
              </a:spcAft>
              <a:defRPr/>
            </a:pPr>
            <a:r>
              <a:rPr lang="en-US" altLang="ja-JP" sz="1050" b="1"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STEP4  </a:t>
            </a:r>
            <a:r>
              <a:rPr lang="ja-JP" altLang="ja-JP" sz="1050" b="1"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具体的な取組支援の展開</a:t>
            </a:r>
          </a:p>
          <a:p>
            <a:pPr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住まい：空き家の利活用、家賃や改修費支援</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a:p>
            <a:pPr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交通：交通手段の確保や費用負担の支援</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a:p>
            <a:pPr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就業環境：テレワーク環境等の整備</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a:p>
            <a:pPr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保育・教育：支援制度の検討</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a:p>
            <a:pPr marL="266647" indent="-133323" defTabSz="914217" fontAlgn="auto">
              <a:spcBef>
                <a:spcPts val="0"/>
              </a:spcBef>
              <a:spcAft>
                <a:spcPts val="0"/>
              </a:spcAft>
              <a:defRPr/>
            </a:pP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地域コミュニティへの溶け込み：地域の協力、</a:t>
            </a:r>
            <a:endParaRPr lang="en-US"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endParaRPr>
          </a:p>
          <a:p>
            <a:pPr marL="266647" indent="-133323" defTabSz="914217" fontAlgn="auto">
              <a:spcBef>
                <a:spcPts val="0"/>
              </a:spcBef>
              <a:spcAft>
                <a:spcPts val="0"/>
              </a:spcAft>
              <a:defRPr/>
            </a:pPr>
            <a:r>
              <a:rPr lang="en-US"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  </a:t>
            </a:r>
            <a:r>
              <a:rPr lang="ja-JP" altLang="ja-JP" sz="1050" kern="100" dirty="0">
                <a:solidFill>
                  <a:srgbClr val="000000"/>
                </a:solidFill>
                <a:latin typeface="游ゴシック" panose="020B0400000000000000" pitchFamily="50" charset="-128"/>
                <a:ea typeface="BIZ UDゴシック" panose="020B0400000000000000" pitchFamily="49" charset="-128"/>
                <a:cs typeface="Times New Roman" panose="02020603050405020304" pitchFamily="18" charset="0"/>
              </a:rPr>
              <a:t>地域ルールの整理・伝達</a:t>
            </a:r>
            <a:endParaRPr lang="ja-JP" altLang="ja-JP" sz="105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p:txBody>
      </p:sp>
      <p:pic>
        <p:nvPicPr>
          <p:cNvPr id="52" name="図 51" descr="写真, 屋外, 異なる, 食品 が含まれている画像&#10;&#10;自動的に生成された説明"/>
          <p:cNvPicPr/>
          <p:nvPr/>
        </p:nvPicPr>
        <p:blipFill rotWithShape="1">
          <a:blip r:embed="rId3"/>
          <a:srcRect l="30573" t="18416" r="31572" b="19693"/>
          <a:stretch/>
        </p:blipFill>
        <p:spPr>
          <a:xfrm>
            <a:off x="5068093" y="2835867"/>
            <a:ext cx="948271" cy="639150"/>
          </a:xfrm>
          <a:prstGeom prst="rect">
            <a:avLst/>
          </a:prstGeom>
          <a:noFill/>
        </p:spPr>
      </p:pic>
      <p:pic>
        <p:nvPicPr>
          <p:cNvPr id="53" name="図 52" descr="ダイアグラム&#10;&#10;自動的に生成された説明"/>
          <p:cNvPicPr/>
          <p:nvPr/>
        </p:nvPicPr>
        <p:blipFill>
          <a:blip r:embed="rId4"/>
          <a:stretch>
            <a:fillRect/>
          </a:stretch>
        </p:blipFill>
        <p:spPr>
          <a:xfrm>
            <a:off x="7605632" y="2860913"/>
            <a:ext cx="999347" cy="631121"/>
          </a:xfrm>
          <a:prstGeom prst="rect">
            <a:avLst/>
          </a:prstGeom>
          <a:noFill/>
        </p:spPr>
      </p:pic>
      <p:sp>
        <p:nvSpPr>
          <p:cNvPr id="54" name="正方形/長方形 53"/>
          <p:cNvSpPr/>
          <p:nvPr/>
        </p:nvSpPr>
        <p:spPr>
          <a:xfrm>
            <a:off x="8553733" y="2827753"/>
            <a:ext cx="1452346" cy="707773"/>
          </a:xfrm>
          <a:prstGeom prst="rect">
            <a:avLst/>
          </a:prstGeom>
        </p:spPr>
        <p:txBody>
          <a:bodyPr wrap="square">
            <a:spAutoFit/>
          </a:bodyPr>
          <a:lstStyle/>
          <a:p>
            <a:pPr defTabSz="914217" fontAlgn="auto">
              <a:spcBef>
                <a:spcPts val="0"/>
              </a:spcBef>
              <a:spcAft>
                <a:spcPts val="0"/>
              </a:spcAft>
              <a:defRPr/>
            </a:pP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あらゆる相談を一手に引き受けるワンストップパーソン制度</a:t>
            </a:r>
            <a:r>
              <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和歌山県）</a:t>
            </a:r>
          </a:p>
        </p:txBody>
      </p:sp>
      <p:sp>
        <p:nvSpPr>
          <p:cNvPr id="55" name="正方形/長方形 54"/>
          <p:cNvSpPr/>
          <p:nvPr/>
        </p:nvSpPr>
        <p:spPr>
          <a:xfrm>
            <a:off x="5965964" y="2899641"/>
            <a:ext cx="1719835" cy="553909"/>
          </a:xfrm>
          <a:prstGeom prst="rect">
            <a:avLst/>
          </a:prstGeom>
        </p:spPr>
        <p:txBody>
          <a:bodyPr wrap="square">
            <a:spAutoFit/>
          </a:bodyPr>
          <a:lstStyle/>
          <a:p>
            <a:pPr defTabSz="914217" fontAlgn="auto">
              <a:spcBef>
                <a:spcPts val="0"/>
              </a:spcBef>
              <a:spcAft>
                <a:spcPts val="0"/>
              </a:spcAft>
              <a:defRPr/>
            </a:pPr>
            <a:r>
              <a:rPr lang="en-US"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TOKYO FM</a:t>
            </a:r>
          </a:p>
          <a:p>
            <a:pPr defTabSz="914217" fontAlgn="auto">
              <a:spcBef>
                <a:spcPts val="0"/>
              </a:spcBef>
              <a:spcAft>
                <a:spcPts val="0"/>
              </a:spcAft>
              <a:defRPr/>
            </a:pP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デュアルでルルル♪」</a:t>
            </a:r>
            <a:endParaRPr lang="en-US"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a:p>
            <a:pPr defTabSz="914217" fontAlgn="auto">
              <a:spcBef>
                <a:spcPts val="0"/>
              </a:spcBef>
              <a:spcAft>
                <a:spcPts val="0"/>
              </a:spcAft>
              <a:defRPr/>
            </a:pP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山梨県）</a:t>
            </a:r>
          </a:p>
        </p:txBody>
      </p:sp>
      <p:sp>
        <p:nvSpPr>
          <p:cNvPr id="58" name="正方形/長方形 57"/>
          <p:cNvSpPr/>
          <p:nvPr/>
        </p:nvSpPr>
        <p:spPr>
          <a:xfrm>
            <a:off x="8821741" y="3853195"/>
            <a:ext cx="1138019" cy="707773"/>
          </a:xfrm>
          <a:prstGeom prst="rect">
            <a:avLst/>
          </a:prstGeom>
        </p:spPr>
        <p:txBody>
          <a:bodyPr wrap="square">
            <a:spAutoFit/>
          </a:bodyPr>
          <a:lstStyle/>
          <a:p>
            <a:pPr defTabSz="914217" fontAlgn="auto">
              <a:spcBef>
                <a:spcPts val="0"/>
              </a:spcBef>
              <a:spcAft>
                <a:spcPts val="0"/>
              </a:spcAft>
              <a:defRPr/>
            </a:pP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体験型コンテンツを付けたお試し居住（</a:t>
            </a:r>
            <a:r>
              <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千葉県南房総市</a:t>
            </a: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a:t>
            </a:r>
            <a:endPar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p:txBody>
      </p:sp>
      <p:pic>
        <p:nvPicPr>
          <p:cNvPr id="59" name="図 58"/>
          <p:cNvPicPr>
            <a:picLocks noChangeAspect="1"/>
          </p:cNvPicPr>
          <p:nvPr/>
        </p:nvPicPr>
        <p:blipFill rotWithShape="1">
          <a:blip r:embed="rId5"/>
          <a:srcRect l="45651" t="51617" r="23823" b="12186"/>
          <a:stretch/>
        </p:blipFill>
        <p:spPr>
          <a:xfrm>
            <a:off x="7885712" y="6075486"/>
            <a:ext cx="957080" cy="638054"/>
          </a:xfrm>
          <a:prstGeom prst="rect">
            <a:avLst/>
          </a:prstGeom>
          <a:ln>
            <a:solidFill>
              <a:schemeClr val="accent6">
                <a:lumMod val="40000"/>
                <a:lumOff val="60000"/>
              </a:schemeClr>
            </a:solidFill>
          </a:ln>
        </p:spPr>
      </p:pic>
      <p:sp>
        <p:nvSpPr>
          <p:cNvPr id="60" name="正方形/長方形 59"/>
          <p:cNvSpPr/>
          <p:nvPr/>
        </p:nvSpPr>
        <p:spPr>
          <a:xfrm>
            <a:off x="8842792" y="5948197"/>
            <a:ext cx="1153764" cy="1015500"/>
          </a:xfrm>
          <a:prstGeom prst="rect">
            <a:avLst/>
          </a:prstGeom>
        </p:spPr>
        <p:txBody>
          <a:bodyPr wrap="square">
            <a:spAutoFit/>
          </a:bodyPr>
          <a:lstStyle/>
          <a:p>
            <a:pPr defTabSz="914217" fontAlgn="auto">
              <a:spcBef>
                <a:spcPts val="0"/>
              </a:spcBef>
              <a:spcAft>
                <a:spcPts val="0"/>
              </a:spcAft>
              <a:defRPr/>
            </a:pPr>
            <a:r>
              <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区域外就学制度を活用した二地域間での就学制度「デュアルスクール」</a:t>
            </a: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a:t>
            </a:r>
            <a:r>
              <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徳島県</a:t>
            </a: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a:t>
            </a:r>
          </a:p>
        </p:txBody>
      </p:sp>
      <p:sp>
        <p:nvSpPr>
          <p:cNvPr id="73" name="正方形/長方形 72"/>
          <p:cNvSpPr/>
          <p:nvPr/>
        </p:nvSpPr>
        <p:spPr>
          <a:xfrm>
            <a:off x="8840771" y="4994398"/>
            <a:ext cx="1099960" cy="861636"/>
          </a:xfrm>
          <a:prstGeom prst="rect">
            <a:avLst/>
          </a:prstGeom>
        </p:spPr>
        <p:txBody>
          <a:bodyPr wrap="square">
            <a:spAutoFit/>
          </a:bodyPr>
          <a:lstStyle/>
          <a:p>
            <a:pPr defTabSz="914217" fontAlgn="auto">
              <a:spcBef>
                <a:spcPts val="0"/>
              </a:spcBef>
              <a:spcAft>
                <a:spcPts val="0"/>
              </a:spcAft>
              <a:defRPr/>
            </a:pPr>
            <a:r>
              <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a:t>
            </a: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あったか住まいるバンク</a:t>
            </a:r>
            <a:r>
              <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による空き家の利活用</a:t>
            </a: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栃木県栃木市）</a:t>
            </a:r>
          </a:p>
        </p:txBody>
      </p:sp>
      <p:pic>
        <p:nvPicPr>
          <p:cNvPr id="1131" name="図 1130"/>
          <p:cNvPicPr>
            <a:picLocks noChangeAspect="1"/>
          </p:cNvPicPr>
          <p:nvPr/>
        </p:nvPicPr>
        <p:blipFill>
          <a:blip r:embed="rId6"/>
          <a:stretch>
            <a:fillRect/>
          </a:stretch>
        </p:blipFill>
        <p:spPr>
          <a:xfrm>
            <a:off x="7896887" y="5063554"/>
            <a:ext cx="988513" cy="666806"/>
          </a:xfrm>
          <a:prstGeom prst="rect">
            <a:avLst/>
          </a:prstGeom>
        </p:spPr>
      </p:pic>
      <p:pic>
        <p:nvPicPr>
          <p:cNvPr id="75" name="Picture 1" descr="https://www.mlit.go.jp/2chiiki/img/2case_jr_02.jpg"/>
          <p:cNvPicPr/>
          <p:nvPr/>
        </p:nvPicPr>
        <p:blipFill>
          <a:blip r:embed="rId7"/>
          <a:srcRect l="11598" t="17397" r="12267" b="19768"/>
          <a:stretch>
            <a:fillRect/>
          </a:stretch>
        </p:blipFill>
        <p:spPr>
          <a:xfrm>
            <a:off x="5105723" y="6090342"/>
            <a:ext cx="929040" cy="630350"/>
          </a:xfrm>
          <a:prstGeom prst="rect">
            <a:avLst/>
          </a:prstGeom>
          <a:noFill/>
          <a:ln w="3175">
            <a:solidFill>
              <a:schemeClr val="tx1"/>
            </a:solidFill>
          </a:ln>
        </p:spPr>
      </p:pic>
      <p:sp>
        <p:nvSpPr>
          <p:cNvPr id="76" name="正方形/長方形 75"/>
          <p:cNvSpPr/>
          <p:nvPr/>
        </p:nvSpPr>
        <p:spPr>
          <a:xfrm>
            <a:off x="6068811" y="6066831"/>
            <a:ext cx="1489204" cy="707773"/>
          </a:xfrm>
          <a:prstGeom prst="rect">
            <a:avLst/>
          </a:prstGeom>
        </p:spPr>
        <p:txBody>
          <a:bodyPr wrap="square">
            <a:spAutoFit/>
          </a:bodyPr>
          <a:lstStyle/>
          <a:p>
            <a:pPr defTabSz="914217" fontAlgn="auto">
              <a:spcBef>
                <a:spcPts val="0"/>
              </a:spcBef>
              <a:spcAft>
                <a:spcPts val="0"/>
              </a:spcAft>
              <a:defRPr/>
            </a:pP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自治体と公共交通機関の連携による運賃サブスクサービス</a:t>
            </a:r>
            <a:r>
              <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とお試し地方暮らし</a:t>
            </a:r>
          </a:p>
        </p:txBody>
      </p:sp>
      <p:sp>
        <p:nvSpPr>
          <p:cNvPr id="77" name="正方形/長方形 76"/>
          <p:cNvSpPr/>
          <p:nvPr/>
        </p:nvSpPr>
        <p:spPr>
          <a:xfrm>
            <a:off x="4819801" y="6748132"/>
            <a:ext cx="4154012" cy="246182"/>
          </a:xfrm>
          <a:prstGeom prst="rect">
            <a:avLst/>
          </a:prstGeom>
        </p:spPr>
        <p:txBody>
          <a:bodyPr wrap="square">
            <a:spAutoFit/>
          </a:bodyPr>
          <a:lstStyle/>
          <a:p>
            <a:pPr defTabSz="914217" fontAlgn="auto">
              <a:spcBef>
                <a:spcPts val="0"/>
              </a:spcBef>
              <a:spcAft>
                <a:spcPts val="0"/>
              </a:spcAft>
              <a:defRPr/>
            </a:pP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兵庫県丹波篠山市、京都府南丹市</a:t>
            </a:r>
            <a:r>
              <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a:t>
            </a: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滋賀県高島市</a:t>
            </a:r>
            <a:r>
              <a:rPr lang="en-US"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JR</a:t>
            </a:r>
            <a:r>
              <a:rPr lang="ja-JP" altLang="ja-JP"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rPr>
              <a:t>西日本）</a:t>
            </a:r>
            <a:endParaRPr lang="ja-JP" altLang="en-US" sz="1000" kern="100" dirty="0">
              <a:solidFill>
                <a:srgbClr val="000000"/>
              </a:solidFill>
              <a:latin typeface="游ゴシック" panose="020B0400000000000000" pitchFamily="50" charset="-128"/>
              <a:ea typeface="游ゴシック" panose="020B0400000000000000" pitchFamily="50" charset="-128"/>
              <a:cs typeface="Times New Roman" panose="02020603050405020304" pitchFamily="18" charset="0"/>
            </a:endParaRPr>
          </a:p>
        </p:txBody>
      </p:sp>
      <p:sp>
        <p:nvSpPr>
          <p:cNvPr id="1132" name="正方形/長方形 1131"/>
          <p:cNvSpPr/>
          <p:nvPr/>
        </p:nvSpPr>
        <p:spPr>
          <a:xfrm>
            <a:off x="4827901" y="2406416"/>
            <a:ext cx="2608183" cy="1200049"/>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defRPr/>
            </a:pPr>
            <a:endParaRPr lang="ja-JP" altLang="en-US">
              <a:solidFill>
                <a:srgbClr val="FFFFFF"/>
              </a:solidFill>
              <a:latin typeface="Arial"/>
              <a:ea typeface="ＭＳ Ｐゴシック"/>
            </a:endParaRPr>
          </a:p>
        </p:txBody>
      </p:sp>
      <p:sp>
        <p:nvSpPr>
          <p:cNvPr id="79" name="正方形/長方形 78"/>
          <p:cNvSpPr/>
          <p:nvPr/>
        </p:nvSpPr>
        <p:spPr>
          <a:xfrm>
            <a:off x="7475439" y="2404320"/>
            <a:ext cx="2396043" cy="1197491"/>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defRPr/>
            </a:pPr>
            <a:endParaRPr lang="ja-JP" altLang="en-US">
              <a:solidFill>
                <a:srgbClr val="FFFFFF"/>
              </a:solidFill>
              <a:latin typeface="Arial"/>
              <a:ea typeface="ＭＳ Ｐゴシック"/>
            </a:endParaRPr>
          </a:p>
        </p:txBody>
      </p:sp>
      <p:sp>
        <p:nvSpPr>
          <p:cNvPr id="80" name="正方形/長方形 79"/>
          <p:cNvSpPr/>
          <p:nvPr/>
        </p:nvSpPr>
        <p:spPr>
          <a:xfrm>
            <a:off x="4819135" y="3683203"/>
            <a:ext cx="5052347" cy="1022421"/>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defRPr/>
            </a:pPr>
            <a:endParaRPr lang="ja-JP" altLang="en-US">
              <a:solidFill>
                <a:srgbClr val="FFFFFF"/>
              </a:solidFill>
              <a:latin typeface="Arial"/>
              <a:ea typeface="ＭＳ Ｐゴシック"/>
            </a:endParaRPr>
          </a:p>
        </p:txBody>
      </p:sp>
      <p:sp>
        <p:nvSpPr>
          <p:cNvPr id="81" name="正方形/長方形 80"/>
          <p:cNvSpPr/>
          <p:nvPr/>
        </p:nvSpPr>
        <p:spPr>
          <a:xfrm>
            <a:off x="4813559" y="4780420"/>
            <a:ext cx="5057923" cy="223311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fontAlgn="auto">
              <a:spcBef>
                <a:spcPts val="0"/>
              </a:spcBef>
              <a:spcAft>
                <a:spcPts val="0"/>
              </a:spcAft>
              <a:defRPr/>
            </a:pPr>
            <a:endParaRPr lang="ja-JP" altLang="en-US">
              <a:solidFill>
                <a:srgbClr val="FFFFFF"/>
              </a:solidFill>
              <a:latin typeface="Arial"/>
              <a:ea typeface="ＭＳ Ｐゴシック"/>
            </a:endParaRPr>
          </a:p>
        </p:txBody>
      </p:sp>
      <p:sp>
        <p:nvSpPr>
          <p:cNvPr id="4" name="正方形/長方形 3"/>
          <p:cNvSpPr/>
          <p:nvPr/>
        </p:nvSpPr>
        <p:spPr>
          <a:xfrm>
            <a:off x="157184" y="1210439"/>
            <a:ext cx="5934739" cy="861636"/>
          </a:xfrm>
          <a:prstGeom prst="rect">
            <a:avLst/>
          </a:prstGeom>
        </p:spPr>
        <p:txBody>
          <a:bodyPr wrap="square">
            <a:spAutoFit/>
          </a:bodyPr>
          <a:lstStyle/>
          <a:p>
            <a:pPr marL="85708" indent="-85708" defTabSz="914217" fontAlgn="auto">
              <a:lnSpc>
                <a:spcPts val="2000"/>
              </a:lnSpc>
              <a:spcBef>
                <a:spcPts val="0"/>
              </a:spcBef>
              <a:spcAft>
                <a:spcPts val="0"/>
              </a:spcAft>
              <a:defRPr/>
            </a:pPr>
            <a:r>
              <a:rPr lang="ja-JP" altLang="en-US" sz="1400" dirty="0">
                <a:solidFill>
                  <a:srgbClr val="000000"/>
                </a:solidFill>
                <a:latin typeface="Meiryo UI" panose="020B0604030504040204" pitchFamily="50" charset="-128"/>
                <a:ea typeface="Meiryo UI" panose="020B0604030504040204" pitchFamily="50" charset="-128"/>
                <a:cs typeface="Arial"/>
              </a:rPr>
              <a:t> ○ コロナ前後の二地域居住等を取り巻く変化や近年のニーズ</a:t>
            </a:r>
            <a:endParaRPr lang="en-US" altLang="ja-JP" sz="1400" dirty="0">
              <a:solidFill>
                <a:srgbClr val="000000"/>
              </a:solidFill>
              <a:latin typeface="Meiryo UI" panose="020B0604030504040204" pitchFamily="50" charset="-128"/>
              <a:ea typeface="Meiryo UI" panose="020B0604030504040204" pitchFamily="50" charset="-128"/>
              <a:cs typeface="Arial"/>
            </a:endParaRPr>
          </a:p>
          <a:p>
            <a:pPr marL="85708" indent="-85708" defTabSz="914217" fontAlgn="auto">
              <a:lnSpc>
                <a:spcPts val="2000"/>
              </a:lnSpc>
              <a:spcBef>
                <a:spcPts val="0"/>
              </a:spcBef>
              <a:spcAft>
                <a:spcPts val="0"/>
              </a:spcAft>
              <a:defRPr/>
            </a:pPr>
            <a:r>
              <a:rPr lang="ja-JP" altLang="en-US" sz="1400" dirty="0">
                <a:solidFill>
                  <a:srgbClr val="000000"/>
                </a:solidFill>
                <a:latin typeface="Meiryo UI" panose="020B0604030504040204" pitchFamily="50" charset="-128"/>
                <a:ea typeface="Meiryo UI" panose="020B0604030504040204" pitchFamily="50" charset="-128"/>
                <a:cs typeface="Arial"/>
              </a:rPr>
              <a:t> ○ 社会的意義と推進するためのポイントを４つの</a:t>
            </a:r>
            <a:r>
              <a:rPr lang="en-US" altLang="ja-JP" sz="1400" dirty="0">
                <a:solidFill>
                  <a:srgbClr val="000000"/>
                </a:solidFill>
                <a:latin typeface="Meiryo UI" panose="020B0604030504040204" pitchFamily="50" charset="-128"/>
                <a:ea typeface="Meiryo UI" panose="020B0604030504040204" pitchFamily="50" charset="-128"/>
                <a:cs typeface="Arial"/>
              </a:rPr>
              <a:t>STEP</a:t>
            </a:r>
            <a:r>
              <a:rPr lang="ja-JP" altLang="en-US" sz="1400" dirty="0">
                <a:solidFill>
                  <a:srgbClr val="000000"/>
                </a:solidFill>
                <a:latin typeface="Meiryo UI" panose="020B0604030504040204" pitchFamily="50" charset="-128"/>
                <a:ea typeface="Meiryo UI" panose="020B0604030504040204" pitchFamily="50" charset="-128"/>
                <a:cs typeface="Arial"/>
              </a:rPr>
              <a:t>で整理</a:t>
            </a:r>
            <a:endParaRPr lang="en-US" altLang="ja-JP" sz="1400" dirty="0">
              <a:solidFill>
                <a:srgbClr val="000000"/>
              </a:solidFill>
              <a:latin typeface="Meiryo UI" panose="020B0604030504040204" pitchFamily="50" charset="-128"/>
              <a:ea typeface="Meiryo UI" panose="020B0604030504040204" pitchFamily="50" charset="-128"/>
              <a:cs typeface="Arial"/>
            </a:endParaRPr>
          </a:p>
          <a:p>
            <a:pPr marL="85708" indent="-85708" defTabSz="914217" fontAlgn="auto">
              <a:lnSpc>
                <a:spcPts val="2000"/>
              </a:lnSpc>
              <a:spcBef>
                <a:spcPts val="0"/>
              </a:spcBef>
              <a:spcAft>
                <a:spcPts val="0"/>
              </a:spcAft>
              <a:defRPr/>
            </a:pPr>
            <a:r>
              <a:rPr lang="ja-JP" altLang="en-US" sz="1400" dirty="0">
                <a:solidFill>
                  <a:srgbClr val="000000"/>
                </a:solidFill>
                <a:latin typeface="Meiryo UI" panose="020B0604030504040204" pitchFamily="50" charset="-128"/>
                <a:ea typeface="Meiryo UI" panose="020B0604030504040204" pitchFamily="50" charset="-128"/>
                <a:cs typeface="Arial"/>
              </a:rPr>
              <a:t> ○ 各ポイントに沿って自治体が取り組んできた先進的・ユニークな事例を紹介</a:t>
            </a:r>
            <a:endParaRPr lang="ja-JP" altLang="en-US" sz="1400" dirty="0">
              <a:solidFill>
                <a:srgbClr val="000000"/>
              </a:solidFill>
              <a:latin typeface="Arial"/>
              <a:ea typeface="ＭＳ Ｐゴシック"/>
            </a:endParaRPr>
          </a:p>
        </p:txBody>
      </p:sp>
      <p:pic>
        <p:nvPicPr>
          <p:cNvPr id="36" name="図 35" descr="ヤマナハウスのウッドデッキ"/>
          <p:cNvPicPr/>
          <p:nvPr/>
        </p:nvPicPr>
        <p:blipFill>
          <a:blip r:embed="rId8"/>
          <a:stretch>
            <a:fillRect/>
          </a:stretch>
        </p:blipFill>
        <p:spPr>
          <a:xfrm>
            <a:off x="7885713" y="3900071"/>
            <a:ext cx="955059" cy="622534"/>
          </a:xfrm>
          <a:prstGeom prst="rect">
            <a:avLst/>
          </a:prstGeom>
          <a:noFill/>
        </p:spPr>
      </p:pic>
      <p:pic>
        <p:nvPicPr>
          <p:cNvPr id="5" name="図 4"/>
          <p:cNvPicPr>
            <a:picLocks noChangeAspect="1"/>
          </p:cNvPicPr>
          <p:nvPr/>
        </p:nvPicPr>
        <p:blipFill>
          <a:blip r:embed="rId9"/>
          <a:stretch>
            <a:fillRect/>
          </a:stretch>
        </p:blipFill>
        <p:spPr>
          <a:xfrm>
            <a:off x="127725" y="2404320"/>
            <a:ext cx="4644491" cy="4603749"/>
          </a:xfrm>
          <a:prstGeom prst="rect">
            <a:avLst/>
          </a:prstGeom>
        </p:spPr>
      </p:pic>
      <p:sp>
        <p:nvSpPr>
          <p:cNvPr id="2" name="フッター プレースホルダー 1">
            <a:extLst>
              <a:ext uri="{FF2B5EF4-FFF2-40B4-BE49-F238E27FC236}">
                <a16:creationId xmlns:a16="http://schemas.microsoft.com/office/drawing/2014/main" id="{FF599AAF-D61D-918A-273E-CC6DA3A9DDB4}"/>
              </a:ext>
            </a:extLst>
          </p:cNvPr>
          <p:cNvSpPr>
            <a:spLocks noGrp="1"/>
          </p:cNvSpPr>
          <p:nvPr>
            <p:ph type="ftr" sz="quarter" idx="11"/>
          </p:nvPr>
        </p:nvSpPr>
        <p:spPr/>
        <p:txBody>
          <a:bodyPr/>
          <a:lstStyle/>
          <a:p>
            <a:pPr>
              <a:defRPr/>
            </a:pPr>
            <a:endParaRPr lang="en-US" altLang="ja-JP" dirty="0"/>
          </a:p>
        </p:txBody>
      </p:sp>
      <p:sp>
        <p:nvSpPr>
          <p:cNvPr id="3" name="スライド番号プレースホルダー 2">
            <a:extLst>
              <a:ext uri="{FF2B5EF4-FFF2-40B4-BE49-F238E27FC236}">
                <a16:creationId xmlns:a16="http://schemas.microsoft.com/office/drawing/2014/main" id="{0DDC7AFE-65FA-7D35-266F-0FA981FEC787}"/>
              </a:ext>
            </a:extLst>
          </p:cNvPr>
          <p:cNvSpPr>
            <a:spLocks noGrp="1"/>
          </p:cNvSpPr>
          <p:nvPr>
            <p:ph type="sldNum" sz="quarter" idx="12"/>
          </p:nvPr>
        </p:nvSpPr>
        <p:spPr>
          <a:xfrm>
            <a:off x="7593383" y="7257989"/>
            <a:ext cx="2311030" cy="538868"/>
          </a:xfrm>
        </p:spPr>
        <p:txBody>
          <a:bodyPr/>
          <a:lstStyle/>
          <a:p>
            <a:pPr>
              <a:defRPr/>
            </a:pPr>
            <a:fld id="{06FFE511-5094-4685-A035-FB392A6605D8}" type="slidenum">
              <a:rPr lang="en-US" altLang="ja-JP" smtClean="0"/>
              <a:pPr>
                <a:defRPr/>
              </a:pPr>
              <a:t>51</a:t>
            </a:fld>
            <a:endParaRPr lang="en-US" altLang="ja-JP" dirty="0"/>
          </a:p>
        </p:txBody>
      </p:sp>
    </p:spTree>
    <p:extLst>
      <p:ext uri="{BB962C8B-B14F-4D97-AF65-F5344CB8AC3E}">
        <p14:creationId xmlns:p14="http://schemas.microsoft.com/office/powerpoint/2010/main" val="19920617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2" name="タイトル 1"/>
          <p:cNvSpPr txBox="1"/>
          <p:nvPr/>
        </p:nvSpPr>
        <p:spPr>
          <a:xfrm>
            <a:off x="123328" y="63426"/>
            <a:ext cx="8861326" cy="576562"/>
          </a:xfrm>
          <a:prstGeom prst="rect">
            <a:avLst/>
          </a:prstGeom>
          <a:noFill/>
          <a:ln>
            <a:noFill/>
          </a:ln>
        </p:spPr>
        <p:txBody>
          <a:bodyPr vert="horz" wrap="square" lIns="91425" tIns="45713" rIns="91425" bIns="45713" numCol="1" anchor="ctr" anchorCtr="0" compatLnSpc="1">
            <a:prstTxWarp prst="textNoShape">
              <a:avLst/>
            </a:prstTxWarp>
          </a:bodyPr>
          <a:lstStyle>
            <a:lvl1pPr algn="l" rtl="0" eaLnBrk="1" fontAlgn="base" hangingPunct="1">
              <a:spcBef>
                <a:spcPct val="0"/>
              </a:spcBef>
              <a:spcAft>
                <a:spcPct val="0"/>
              </a:spcAft>
              <a:defRPr kumimoji="1" sz="2800">
                <a:solidFill>
                  <a:srgbClr val="4087C8"/>
                </a:solidFill>
                <a:latin typeface="+mj-lt"/>
                <a:ea typeface="+mj-ea"/>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914217">
              <a:defRPr/>
            </a:pPr>
            <a:r>
              <a:rPr lang="ja-JP" altLang="en-US" sz="2400" dirty="0">
                <a:latin typeface="HGP創英角ｺﾞｼｯｸUB"/>
                <a:ea typeface="HGP創英角ｺﾞｼｯｸUB"/>
              </a:rPr>
              <a:t>個人向け二地域居住ハンドブック</a:t>
            </a:r>
            <a:endParaRPr lang="ja-JP" altLang="en-US" sz="2200" kern="0" dirty="0">
              <a:latin typeface="HGP創英角ｺﾞｼｯｸUB"/>
              <a:ea typeface="HGP創英角ｺﾞｼｯｸUB"/>
            </a:endParaRPr>
          </a:p>
        </p:txBody>
      </p:sp>
      <p:sp>
        <p:nvSpPr>
          <p:cNvPr id="8" name="四角形 419"/>
          <p:cNvSpPr/>
          <p:nvPr/>
        </p:nvSpPr>
        <p:spPr>
          <a:xfrm>
            <a:off x="123968" y="855514"/>
            <a:ext cx="9615274" cy="2178590"/>
          </a:xfrm>
          <a:prstGeom prst="rect">
            <a:avLst/>
          </a:prstGeom>
          <a:solidFill>
            <a:srgbClr val="FFFF00">
              <a:alpha val="30000"/>
            </a:srgbClr>
          </a:solidFill>
          <a:ln w="12700" cap="flat" cmpd="sng" algn="ctr">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t"/>
          <a:lstStyle/>
          <a:p>
            <a:pPr marL="85708" indent="-85708" defTabSz="914217" fontAlgn="auto">
              <a:spcBef>
                <a:spcPts val="0"/>
              </a:spcBef>
              <a:spcAft>
                <a:spcPts val="0"/>
              </a:spcAft>
              <a:defRPr/>
            </a:pPr>
            <a:r>
              <a:rPr lang="ja-JP" altLang="en-US" sz="1400" dirty="0">
                <a:solidFill>
                  <a:srgbClr val="000000"/>
                </a:solidFill>
                <a:latin typeface="HG丸ｺﾞｼｯｸM-PRO" panose="020F0600000000000000" pitchFamily="50" charset="-128"/>
                <a:ea typeface="HG丸ｺﾞｼｯｸM-PRO" panose="020F0600000000000000" pitchFamily="50" charset="-128"/>
                <a:cs typeface="Arial"/>
              </a:rPr>
              <a:t>　</a:t>
            </a:r>
            <a:r>
              <a:rPr lang="ja-JP" altLang="en-US" sz="1400" b="1" dirty="0">
                <a:solidFill>
                  <a:srgbClr val="000000"/>
                </a:solidFill>
                <a:latin typeface="HG丸ｺﾞｼｯｸM-PRO" panose="020F0600000000000000" pitchFamily="50" charset="-128"/>
                <a:ea typeface="HG丸ｺﾞｼｯｸM-PRO" panose="020F0600000000000000" pitchFamily="50" charset="-128"/>
                <a:cs typeface="Arial"/>
              </a:rPr>
              <a:t>個人の方に対して、二地域居住に興味を持ってもらえるよう、その魅力、始めるまでの手順、</a:t>
            </a:r>
            <a:endParaRPr lang="en-US" altLang="ja-JP" sz="1400" b="1" dirty="0">
              <a:solidFill>
                <a:srgbClr val="000000"/>
              </a:solidFill>
              <a:latin typeface="HG丸ｺﾞｼｯｸM-PRO" panose="020F0600000000000000" pitchFamily="50" charset="-128"/>
              <a:ea typeface="HG丸ｺﾞｼｯｸM-PRO" panose="020F0600000000000000" pitchFamily="50" charset="-128"/>
              <a:cs typeface="Arial"/>
            </a:endParaRPr>
          </a:p>
          <a:p>
            <a:pPr marL="85708" indent="-85708" defTabSz="914217" fontAlgn="auto">
              <a:spcBef>
                <a:spcPts val="0"/>
              </a:spcBef>
              <a:spcAft>
                <a:spcPts val="0"/>
              </a:spcAft>
              <a:defRPr/>
            </a:pPr>
            <a:r>
              <a:rPr lang="ja-JP" altLang="en-US" sz="1400" b="1" dirty="0">
                <a:solidFill>
                  <a:srgbClr val="000000"/>
                </a:solidFill>
                <a:latin typeface="HG丸ｺﾞｼｯｸM-PRO" panose="020F0600000000000000" pitchFamily="50" charset="-128"/>
                <a:ea typeface="HG丸ｺﾞｼｯｸM-PRO" panose="020F0600000000000000" pitchFamily="50" charset="-128"/>
                <a:cs typeface="Arial"/>
              </a:rPr>
              <a:t>ノウハウ及び実践者の体験談などをわかりやすく紹介するハンドブックを作成。</a:t>
            </a:r>
          </a:p>
          <a:p>
            <a:pPr marL="85708" indent="-85708" defTabSz="914217" fontAlgn="auto">
              <a:lnSpc>
                <a:spcPts val="800"/>
              </a:lnSpc>
              <a:spcBef>
                <a:spcPts val="0"/>
              </a:spcBef>
              <a:spcAft>
                <a:spcPts val="0"/>
              </a:spcAft>
              <a:defRPr/>
            </a:pPr>
            <a:endParaRPr lang="en-US" altLang="ja-JP" sz="1400" dirty="0">
              <a:solidFill>
                <a:srgbClr val="000000"/>
              </a:solidFill>
              <a:latin typeface="HG丸ｺﾞｼｯｸM-PRO" panose="020F0600000000000000" pitchFamily="50" charset="-128"/>
              <a:ea typeface="HG丸ｺﾞｼｯｸM-PRO" panose="020F0600000000000000" pitchFamily="50" charset="-128"/>
              <a:cs typeface="Arial"/>
            </a:endParaRPr>
          </a:p>
          <a:p>
            <a:pPr marL="85708" indent="-85708" defTabSz="914217" fontAlgn="auto">
              <a:spcBef>
                <a:spcPts val="0"/>
              </a:spcBef>
              <a:spcAft>
                <a:spcPts val="0"/>
              </a:spcAft>
              <a:defRPr/>
            </a:pPr>
            <a:r>
              <a:rPr lang="ja-JP" altLang="en-US" sz="1300" dirty="0">
                <a:solidFill>
                  <a:srgbClr val="000000"/>
                </a:solidFill>
                <a:latin typeface="HG丸ｺﾞｼｯｸM-PRO" panose="020F0600000000000000" pitchFamily="50" charset="-128"/>
                <a:ea typeface="HG丸ｺﾞｼｯｸM-PRO" panose="020F0600000000000000" pitchFamily="50" charset="-128"/>
                <a:cs typeface="Arial"/>
              </a:rPr>
              <a:t>　○　二地域居住がどんなライフスタイルなのか、どんな魅力があるのか　</a:t>
            </a:r>
            <a:endParaRPr lang="en-US" altLang="ja-JP" sz="1300" dirty="0">
              <a:solidFill>
                <a:srgbClr val="000000"/>
              </a:solidFill>
              <a:latin typeface="HG丸ｺﾞｼｯｸM-PRO" panose="020F0600000000000000" pitchFamily="50" charset="-128"/>
              <a:ea typeface="HG丸ｺﾞｼｯｸM-PRO" panose="020F0600000000000000" pitchFamily="50" charset="-128"/>
              <a:cs typeface="Arial"/>
            </a:endParaRPr>
          </a:p>
          <a:p>
            <a:pPr marL="85708" indent="-85708" defTabSz="914217" fontAlgn="auto">
              <a:spcBef>
                <a:spcPts val="0"/>
              </a:spcBef>
              <a:spcAft>
                <a:spcPts val="0"/>
              </a:spcAft>
              <a:defRPr/>
            </a:pPr>
            <a:r>
              <a:rPr lang="ja-JP" altLang="en-US" sz="1300" dirty="0">
                <a:solidFill>
                  <a:srgbClr val="000000"/>
                </a:solidFill>
                <a:latin typeface="HG丸ｺﾞｼｯｸM-PRO" panose="020F0600000000000000" pitchFamily="50" charset="-128"/>
                <a:ea typeface="HG丸ｺﾞｼｯｸM-PRO" panose="020F0600000000000000" pitchFamily="50" charset="-128"/>
                <a:cs typeface="Arial"/>
              </a:rPr>
              <a:t>　○　多様な二地域居住のライフスタイル</a:t>
            </a:r>
            <a:endParaRPr lang="en-US" altLang="ja-JP" sz="1300" dirty="0">
              <a:solidFill>
                <a:srgbClr val="000000"/>
              </a:solidFill>
              <a:latin typeface="HG丸ｺﾞｼｯｸM-PRO" panose="020F0600000000000000" pitchFamily="50" charset="-128"/>
              <a:ea typeface="HG丸ｺﾞｼｯｸM-PRO" panose="020F0600000000000000" pitchFamily="50" charset="-128"/>
              <a:cs typeface="Arial"/>
            </a:endParaRPr>
          </a:p>
          <a:p>
            <a:pPr marL="85708" indent="-85708" defTabSz="914217" fontAlgn="auto">
              <a:spcBef>
                <a:spcPts val="0"/>
              </a:spcBef>
              <a:spcAft>
                <a:spcPts val="0"/>
              </a:spcAft>
              <a:defRPr/>
            </a:pPr>
            <a:r>
              <a:rPr lang="ja-JP" altLang="en-US" sz="1300" dirty="0">
                <a:solidFill>
                  <a:srgbClr val="000000"/>
                </a:solidFill>
                <a:latin typeface="HG丸ｺﾞｼｯｸM-PRO" panose="020F0600000000000000" pitchFamily="50" charset="-128"/>
                <a:ea typeface="HG丸ｺﾞｼｯｸM-PRO" panose="020F0600000000000000" pitchFamily="50" charset="-128"/>
                <a:cs typeface="Arial"/>
              </a:rPr>
              <a:t>　○　二地域居住実践者のリアルな体験談</a:t>
            </a:r>
            <a:endParaRPr lang="en-US" altLang="ja-JP" sz="1300" dirty="0">
              <a:solidFill>
                <a:srgbClr val="000000"/>
              </a:solidFill>
              <a:latin typeface="HG丸ｺﾞｼｯｸM-PRO" panose="020F0600000000000000" pitchFamily="50" charset="-128"/>
              <a:ea typeface="HG丸ｺﾞｼｯｸM-PRO" panose="020F0600000000000000" pitchFamily="50" charset="-128"/>
              <a:cs typeface="Arial"/>
            </a:endParaRPr>
          </a:p>
          <a:p>
            <a:pPr marL="85708" indent="-85708" defTabSz="914217" fontAlgn="auto">
              <a:spcBef>
                <a:spcPts val="0"/>
              </a:spcBef>
              <a:spcAft>
                <a:spcPts val="0"/>
              </a:spcAft>
              <a:defRPr/>
            </a:pPr>
            <a:r>
              <a:rPr lang="ja-JP" altLang="en-US" sz="1300" dirty="0">
                <a:solidFill>
                  <a:srgbClr val="000000"/>
                </a:solidFill>
                <a:latin typeface="HG丸ｺﾞｼｯｸM-PRO" panose="020F0600000000000000" pitchFamily="50" charset="-128"/>
                <a:ea typeface="HG丸ｺﾞｼｯｸM-PRO" panose="020F0600000000000000" pitchFamily="50" charset="-128"/>
                <a:cs typeface="Arial"/>
              </a:rPr>
              <a:t>　○　二地域居住のために準備すること、チェックポイント</a:t>
            </a:r>
            <a:endParaRPr lang="en-US" altLang="ja-JP" sz="1300" dirty="0">
              <a:solidFill>
                <a:srgbClr val="000000"/>
              </a:solidFill>
              <a:latin typeface="HG丸ｺﾞｼｯｸM-PRO" panose="020F0600000000000000" pitchFamily="50" charset="-128"/>
              <a:ea typeface="HG丸ｺﾞｼｯｸM-PRO" panose="020F0600000000000000" pitchFamily="50" charset="-128"/>
              <a:cs typeface="Arial"/>
            </a:endParaRPr>
          </a:p>
          <a:p>
            <a:pPr marL="85708" indent="-85708" defTabSz="914217" fontAlgn="auto">
              <a:lnSpc>
                <a:spcPts val="2000"/>
              </a:lnSpc>
              <a:spcBef>
                <a:spcPts val="0"/>
              </a:spcBef>
              <a:spcAft>
                <a:spcPts val="0"/>
              </a:spcAft>
              <a:defRPr/>
            </a:pPr>
            <a:endParaRPr lang="en-US" altLang="ja-JP" sz="1400" dirty="0">
              <a:solidFill>
                <a:srgbClr val="000000"/>
              </a:solidFill>
              <a:latin typeface="HG丸ｺﾞｼｯｸM-PRO" panose="020F0600000000000000" pitchFamily="50" charset="-128"/>
              <a:ea typeface="HG丸ｺﾞｼｯｸM-PRO" panose="020F0600000000000000" pitchFamily="50" charset="-128"/>
              <a:cs typeface="Arial"/>
            </a:endParaRPr>
          </a:p>
          <a:p>
            <a:pPr marL="85708" indent="-85708" defTabSz="914217" fontAlgn="auto">
              <a:lnSpc>
                <a:spcPts val="2000"/>
              </a:lnSpc>
              <a:spcBef>
                <a:spcPts val="0"/>
              </a:spcBef>
              <a:spcAft>
                <a:spcPts val="0"/>
              </a:spcAft>
              <a:defRPr/>
            </a:pPr>
            <a:endParaRPr lang="en-US" altLang="ja-JP" sz="1400" dirty="0">
              <a:solidFill>
                <a:srgbClr val="000000"/>
              </a:solidFill>
              <a:latin typeface="HG丸ｺﾞｼｯｸM-PRO" panose="020F0600000000000000" pitchFamily="50" charset="-128"/>
              <a:ea typeface="HG丸ｺﾞｼｯｸM-PRO" panose="020F0600000000000000" pitchFamily="50" charset="-128"/>
              <a:cs typeface="Arial"/>
            </a:endParaRPr>
          </a:p>
        </p:txBody>
      </p:sp>
      <p:pic>
        <p:nvPicPr>
          <p:cNvPr id="20" name="図 19"/>
          <p:cNvPicPr>
            <a:picLocks noChangeAspect="1"/>
          </p:cNvPicPr>
          <p:nvPr/>
        </p:nvPicPr>
        <p:blipFill>
          <a:blip r:embed="rId3"/>
          <a:stretch>
            <a:fillRect/>
          </a:stretch>
        </p:blipFill>
        <p:spPr>
          <a:xfrm>
            <a:off x="280755" y="3317494"/>
            <a:ext cx="4105487" cy="1774569"/>
          </a:xfrm>
          <a:prstGeom prst="rect">
            <a:avLst/>
          </a:prstGeom>
        </p:spPr>
      </p:pic>
      <p:pic>
        <p:nvPicPr>
          <p:cNvPr id="21" name="図 20"/>
          <p:cNvPicPr>
            <a:picLocks noChangeAspect="1"/>
          </p:cNvPicPr>
          <p:nvPr/>
        </p:nvPicPr>
        <p:blipFill>
          <a:blip r:embed="rId4"/>
          <a:stretch>
            <a:fillRect/>
          </a:stretch>
        </p:blipFill>
        <p:spPr>
          <a:xfrm>
            <a:off x="4373299" y="3322060"/>
            <a:ext cx="2063684" cy="1765437"/>
          </a:xfrm>
          <a:prstGeom prst="rect">
            <a:avLst/>
          </a:prstGeom>
        </p:spPr>
      </p:pic>
      <p:pic>
        <p:nvPicPr>
          <p:cNvPr id="23" name="図 22"/>
          <p:cNvPicPr>
            <a:picLocks noChangeAspect="1"/>
          </p:cNvPicPr>
          <p:nvPr/>
        </p:nvPicPr>
        <p:blipFill>
          <a:blip r:embed="rId5"/>
          <a:stretch>
            <a:fillRect/>
          </a:stretch>
        </p:blipFill>
        <p:spPr>
          <a:xfrm>
            <a:off x="2312713" y="5077297"/>
            <a:ext cx="4122662" cy="1753516"/>
          </a:xfrm>
          <a:prstGeom prst="rect">
            <a:avLst/>
          </a:prstGeom>
        </p:spPr>
      </p:pic>
      <p:sp>
        <p:nvSpPr>
          <p:cNvPr id="24" name="四角形 419"/>
          <p:cNvSpPr/>
          <p:nvPr/>
        </p:nvSpPr>
        <p:spPr>
          <a:xfrm>
            <a:off x="229478" y="2384176"/>
            <a:ext cx="7493863" cy="564638"/>
          </a:xfrm>
          <a:prstGeom prst="rect">
            <a:avLst/>
          </a:prstGeom>
          <a:solidFill>
            <a:schemeClr val="bg1"/>
          </a:solidFill>
          <a:ln w="12700" cap="flat" cmpd="sng" algn="ctr">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t"/>
          <a:lstStyle/>
          <a:p>
            <a:pPr marL="85708" indent="-85708" defTabSz="914217" fontAlgn="auto">
              <a:lnSpc>
                <a:spcPts val="2000"/>
              </a:lnSpc>
              <a:spcBef>
                <a:spcPts val="0"/>
              </a:spcBef>
              <a:spcAft>
                <a:spcPts val="0"/>
              </a:spcAft>
              <a:defRPr/>
            </a:pPr>
            <a:r>
              <a:rPr lang="ja-JP" altLang="en-US" sz="1400" dirty="0">
                <a:solidFill>
                  <a:srgbClr val="000000"/>
                </a:solidFill>
                <a:latin typeface="HG丸ｺﾞｼｯｸM-PRO" panose="020F0600000000000000" pitchFamily="50" charset="-128"/>
                <a:ea typeface="HG丸ｺﾞｼｯｸM-PRO" panose="020F0600000000000000" pitchFamily="50" charset="-128"/>
                <a:cs typeface="Arial"/>
              </a:rPr>
              <a:t>　下記の国土交通省ホームページにおいて、令和４年３月</a:t>
            </a:r>
            <a:r>
              <a:rPr lang="en-US" altLang="ja-JP" sz="1400" dirty="0">
                <a:solidFill>
                  <a:srgbClr val="000000"/>
                </a:solidFill>
                <a:latin typeface="HG丸ｺﾞｼｯｸM-PRO" panose="020F0600000000000000" pitchFamily="50" charset="-128"/>
                <a:ea typeface="HG丸ｺﾞｼｯｸM-PRO" panose="020F0600000000000000" pitchFamily="50" charset="-128"/>
                <a:cs typeface="Arial"/>
              </a:rPr>
              <a:t>31</a:t>
            </a:r>
            <a:r>
              <a:rPr lang="ja-JP" altLang="en-US" sz="1400" dirty="0">
                <a:solidFill>
                  <a:srgbClr val="000000"/>
                </a:solidFill>
                <a:latin typeface="HG丸ｺﾞｼｯｸM-PRO" panose="020F0600000000000000" pitchFamily="50" charset="-128"/>
                <a:ea typeface="HG丸ｺﾞｼｯｸM-PRO" panose="020F0600000000000000" pitchFamily="50" charset="-128"/>
                <a:cs typeface="Arial"/>
              </a:rPr>
              <a:t>日より公開中</a:t>
            </a:r>
            <a:endParaRPr lang="en-US" altLang="ja-JP" sz="1400" dirty="0">
              <a:solidFill>
                <a:srgbClr val="000000"/>
              </a:solidFill>
              <a:latin typeface="HG丸ｺﾞｼｯｸM-PRO" panose="020F0600000000000000" pitchFamily="50" charset="-128"/>
              <a:ea typeface="HG丸ｺﾞｼｯｸM-PRO" panose="020F0600000000000000" pitchFamily="50" charset="-128"/>
              <a:cs typeface="Arial"/>
            </a:endParaRPr>
          </a:p>
          <a:p>
            <a:pPr marL="85708" indent="-85708" defTabSz="914217" fontAlgn="auto">
              <a:lnSpc>
                <a:spcPts val="2000"/>
              </a:lnSpc>
              <a:spcBef>
                <a:spcPts val="0"/>
              </a:spcBef>
              <a:spcAft>
                <a:spcPts val="0"/>
              </a:spcAft>
              <a:defRPr/>
            </a:pPr>
            <a:r>
              <a:rPr lang="ja-JP" altLang="en-US" sz="1400" dirty="0">
                <a:solidFill>
                  <a:srgbClr val="000000"/>
                </a:solidFill>
                <a:latin typeface="メイリオ" panose="020B0604030504040204" pitchFamily="50" charset="-128"/>
                <a:ea typeface="メイリオ" panose="020B0604030504040204" pitchFamily="50" charset="-128"/>
                <a:cs typeface="Arial"/>
              </a:rPr>
              <a:t>　　</a:t>
            </a:r>
            <a:r>
              <a:rPr lang="ja-JP" altLang="en-US" sz="1200" dirty="0">
                <a:solidFill>
                  <a:srgbClr val="000000"/>
                </a:solidFill>
                <a:latin typeface="メイリオ" panose="020B0604030504040204" pitchFamily="50" charset="-128"/>
                <a:ea typeface="メイリオ" panose="020B0604030504040204" pitchFamily="50" charset="-128"/>
                <a:cs typeface="Arial"/>
              </a:rPr>
              <a:t>（ </a:t>
            </a:r>
            <a:r>
              <a:rPr lang="en-US" altLang="ja-JP" sz="1200" dirty="0">
                <a:solidFill>
                  <a:srgbClr val="000000"/>
                </a:solidFill>
                <a:latin typeface="メイリオ" panose="020B0604030504040204" pitchFamily="50" charset="-128"/>
                <a:ea typeface="メイリオ" panose="020B0604030504040204" pitchFamily="50" charset="-128"/>
                <a:cs typeface="Arial"/>
              </a:rPr>
              <a:t>https://www.mlit.go.jp/kokudoseisaku/chisei/kokudoseisaku_chisei_tk_000073.html </a:t>
            </a:r>
            <a:r>
              <a:rPr lang="ja-JP" altLang="en-US" sz="1200" dirty="0">
                <a:solidFill>
                  <a:srgbClr val="000000"/>
                </a:solidFill>
                <a:latin typeface="HG丸ｺﾞｼｯｸM-PRO" panose="020F0600000000000000" pitchFamily="50" charset="-128"/>
                <a:ea typeface="HG丸ｺﾞｼｯｸM-PRO" panose="020F0600000000000000" pitchFamily="50" charset="-128"/>
                <a:cs typeface="Arial"/>
              </a:rPr>
              <a:t>）</a:t>
            </a:r>
            <a:r>
              <a:rPr lang="en-US" altLang="ja-JP" sz="1200" dirty="0">
                <a:solidFill>
                  <a:srgbClr val="000000"/>
                </a:solidFill>
                <a:latin typeface="HG丸ｺﾞｼｯｸM-PRO" panose="020F0600000000000000" pitchFamily="50" charset="-128"/>
                <a:ea typeface="HG丸ｺﾞｼｯｸM-PRO" panose="020F0600000000000000" pitchFamily="50" charset="-128"/>
                <a:cs typeface="Arial"/>
              </a:rPr>
              <a:t> </a:t>
            </a:r>
          </a:p>
        </p:txBody>
      </p:sp>
      <p:sp>
        <p:nvSpPr>
          <p:cNvPr id="14" name="四角形 419"/>
          <p:cNvSpPr/>
          <p:nvPr/>
        </p:nvSpPr>
        <p:spPr>
          <a:xfrm>
            <a:off x="2144345" y="3049827"/>
            <a:ext cx="2412610" cy="339404"/>
          </a:xfrm>
          <a:prstGeom prst="rect">
            <a:avLst/>
          </a:prstGeom>
          <a:noFill/>
          <a:ln w="127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t"/>
          <a:lstStyle/>
          <a:p>
            <a:pPr algn="ctr" defTabSz="914217" fontAlgn="auto">
              <a:spcBef>
                <a:spcPts val="0"/>
              </a:spcBef>
              <a:spcAft>
                <a:spcPts val="0"/>
              </a:spcAft>
              <a:defRPr/>
            </a:pPr>
            <a:r>
              <a:rPr lang="en-US" altLang="ja-JP" sz="1400" dirty="0">
                <a:solidFill>
                  <a:srgbClr val="000000"/>
                </a:solidFill>
                <a:latin typeface="HG丸ｺﾞｼｯｸM-PRO" panose="020F0600000000000000" pitchFamily="50" charset="-128"/>
                <a:ea typeface="HG丸ｺﾞｼｯｸM-PRO" panose="020F0600000000000000" pitchFamily="50" charset="-128"/>
              </a:rPr>
              <a:t>【</a:t>
            </a:r>
            <a:r>
              <a:rPr lang="ja-JP" altLang="en-US" sz="1400" dirty="0">
                <a:solidFill>
                  <a:srgbClr val="000000"/>
                </a:solidFill>
                <a:latin typeface="HG丸ｺﾞｼｯｸM-PRO" panose="020F0600000000000000" pitchFamily="50" charset="-128"/>
                <a:ea typeface="HG丸ｺﾞｼｯｸM-PRO" panose="020F0600000000000000" pitchFamily="50" charset="-128"/>
              </a:rPr>
              <a:t>二地域居住の魅力</a:t>
            </a:r>
            <a:r>
              <a:rPr lang="en-US" altLang="ja-JP" sz="1400" dirty="0">
                <a:solidFill>
                  <a:srgbClr val="000000"/>
                </a:solidFill>
                <a:latin typeface="HG丸ｺﾞｼｯｸM-PRO" panose="020F0600000000000000" pitchFamily="50" charset="-128"/>
                <a:ea typeface="HG丸ｺﾞｼｯｸM-PRO" panose="020F0600000000000000" pitchFamily="50" charset="-128"/>
              </a:rPr>
              <a:t>】</a:t>
            </a:r>
          </a:p>
        </p:txBody>
      </p:sp>
      <p:sp>
        <p:nvSpPr>
          <p:cNvPr id="29" name="四角形 419"/>
          <p:cNvSpPr/>
          <p:nvPr/>
        </p:nvSpPr>
        <p:spPr>
          <a:xfrm>
            <a:off x="6554794" y="3050822"/>
            <a:ext cx="3221175" cy="303616"/>
          </a:xfrm>
          <a:prstGeom prst="rect">
            <a:avLst/>
          </a:prstGeom>
          <a:noFill/>
          <a:ln w="127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t"/>
          <a:lstStyle/>
          <a:p>
            <a:pPr algn="ctr" defTabSz="914217" fontAlgn="auto">
              <a:spcBef>
                <a:spcPts val="0"/>
              </a:spcBef>
              <a:spcAft>
                <a:spcPts val="0"/>
              </a:spcAft>
              <a:defRPr/>
            </a:pPr>
            <a:r>
              <a:rPr lang="en-US" altLang="ja-JP" sz="1400" dirty="0">
                <a:solidFill>
                  <a:srgbClr val="000000"/>
                </a:solidFill>
                <a:latin typeface="HG丸ｺﾞｼｯｸM-PRO" panose="020F0600000000000000" pitchFamily="50" charset="-128"/>
                <a:ea typeface="HG丸ｺﾞｼｯｸM-PRO" panose="020F0600000000000000" pitchFamily="50" charset="-128"/>
              </a:rPr>
              <a:t>【</a:t>
            </a:r>
            <a:r>
              <a:rPr lang="ja-JP" altLang="en-US" sz="1400" dirty="0">
                <a:solidFill>
                  <a:srgbClr val="000000"/>
                </a:solidFill>
                <a:latin typeface="HG丸ｺﾞｼｯｸM-PRO" panose="020F0600000000000000" pitchFamily="50" charset="-128"/>
                <a:ea typeface="HG丸ｺﾞｼｯｸM-PRO" panose="020F0600000000000000" pitchFamily="50" charset="-128"/>
              </a:rPr>
              <a:t>実践者の体験談</a:t>
            </a:r>
            <a:r>
              <a:rPr lang="en-US" altLang="ja-JP" sz="1400" dirty="0">
                <a:solidFill>
                  <a:srgbClr val="000000"/>
                </a:solidFill>
                <a:latin typeface="HG丸ｺﾞｼｯｸM-PRO" panose="020F0600000000000000" pitchFamily="50" charset="-128"/>
                <a:ea typeface="HG丸ｺﾞｼｯｸM-PRO" panose="020F0600000000000000" pitchFamily="50" charset="-128"/>
              </a:rPr>
              <a:t>】</a:t>
            </a:r>
          </a:p>
        </p:txBody>
      </p:sp>
      <p:pic>
        <p:nvPicPr>
          <p:cNvPr id="2313" name="図 7" descr="画面の領域"/>
          <p:cNvPicPr>
            <a:picLocks noChangeAspect="1"/>
          </p:cNvPicPr>
          <p:nvPr/>
        </p:nvPicPr>
        <p:blipFill>
          <a:blip r:embed="rId6"/>
          <a:stretch>
            <a:fillRect/>
          </a:stretch>
        </p:blipFill>
        <p:spPr>
          <a:xfrm>
            <a:off x="7972844" y="939280"/>
            <a:ext cx="1659132" cy="1987305"/>
          </a:xfrm>
          <a:prstGeom prst="rect">
            <a:avLst/>
          </a:prstGeom>
          <a:ln w="25400">
            <a:solidFill>
              <a:schemeClr val="bg1"/>
            </a:solidFill>
          </a:ln>
        </p:spPr>
      </p:pic>
      <p:pic>
        <p:nvPicPr>
          <p:cNvPr id="2" name="図 1"/>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6716848" y="3333550"/>
            <a:ext cx="2899923" cy="3491440"/>
          </a:xfrm>
          <a:prstGeom prst="rect">
            <a:avLst/>
          </a:prstGeom>
        </p:spPr>
      </p:pic>
      <p:pic>
        <p:nvPicPr>
          <p:cNvPr id="22" name="図 21"/>
          <p:cNvPicPr>
            <a:picLocks noChangeAspect="1"/>
          </p:cNvPicPr>
          <p:nvPr/>
        </p:nvPicPr>
        <p:blipFill>
          <a:blip r:embed="rId8"/>
          <a:stretch>
            <a:fillRect/>
          </a:stretch>
        </p:blipFill>
        <p:spPr>
          <a:xfrm>
            <a:off x="287954" y="5076880"/>
            <a:ext cx="2046509" cy="1748110"/>
          </a:xfrm>
          <a:prstGeom prst="rect">
            <a:avLst/>
          </a:prstGeom>
        </p:spPr>
      </p:pic>
      <p:sp>
        <p:nvSpPr>
          <p:cNvPr id="3" name="フッター プレースホルダー 2">
            <a:extLst>
              <a:ext uri="{FF2B5EF4-FFF2-40B4-BE49-F238E27FC236}">
                <a16:creationId xmlns:a16="http://schemas.microsoft.com/office/drawing/2014/main" id="{D3401ED9-9F96-8E20-4913-B774A96150E7}"/>
              </a:ext>
            </a:extLst>
          </p:cNvPr>
          <p:cNvSpPr>
            <a:spLocks noGrp="1"/>
          </p:cNvSpPr>
          <p:nvPr>
            <p:ph type="ftr" sz="quarter" idx="11"/>
          </p:nvPr>
        </p:nvSpPr>
        <p:spPr/>
        <p:txBody>
          <a:bodyPr/>
          <a:lstStyle/>
          <a:p>
            <a:pPr>
              <a:defRPr/>
            </a:pPr>
            <a:endParaRPr lang="en-US" altLang="ja-JP" dirty="0"/>
          </a:p>
        </p:txBody>
      </p:sp>
      <p:sp>
        <p:nvSpPr>
          <p:cNvPr id="4" name="スライド番号プレースホルダー 3">
            <a:extLst>
              <a:ext uri="{FF2B5EF4-FFF2-40B4-BE49-F238E27FC236}">
                <a16:creationId xmlns:a16="http://schemas.microsoft.com/office/drawing/2014/main" id="{FC059974-416D-22EC-D8AE-0EC446066B33}"/>
              </a:ext>
            </a:extLst>
          </p:cNvPr>
          <p:cNvSpPr>
            <a:spLocks noGrp="1"/>
          </p:cNvSpPr>
          <p:nvPr>
            <p:ph type="sldNum" sz="quarter" idx="12"/>
          </p:nvPr>
        </p:nvSpPr>
        <p:spPr/>
        <p:txBody>
          <a:bodyPr/>
          <a:lstStyle/>
          <a:p>
            <a:pPr>
              <a:defRPr/>
            </a:pPr>
            <a:fld id="{06FFE511-5094-4685-A035-FB392A6605D8}" type="slidenum">
              <a:rPr lang="en-US" altLang="ja-JP" smtClean="0"/>
              <a:pPr>
                <a:defRPr/>
              </a:pPr>
              <a:t>52</a:t>
            </a:fld>
            <a:endParaRPr lang="en-US" altLang="ja-JP" dirty="0"/>
          </a:p>
        </p:txBody>
      </p:sp>
    </p:spTree>
    <p:extLst>
      <p:ext uri="{BB962C8B-B14F-4D97-AF65-F5344CB8AC3E}">
        <p14:creationId xmlns:p14="http://schemas.microsoft.com/office/powerpoint/2010/main" val="34015995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64442" y="135434"/>
            <a:ext cx="8114039" cy="476174"/>
          </a:xfrm>
        </p:spPr>
        <p:txBody>
          <a:bodyPr/>
          <a:lstStyle/>
          <a:p>
            <a:r>
              <a:rPr lang="ja-JP" altLang="en-US" sz="1800" dirty="0"/>
              <a:t>令和５年度　新しい生活様式に沿った二地域居住の推進実証調査（国土交通省）</a:t>
            </a:r>
          </a:p>
        </p:txBody>
      </p:sp>
      <p:sp>
        <p:nvSpPr>
          <p:cNvPr id="3" name="正方形/長方形 2"/>
          <p:cNvSpPr/>
          <p:nvPr/>
        </p:nvSpPr>
        <p:spPr>
          <a:xfrm>
            <a:off x="467922" y="833032"/>
            <a:ext cx="2915533" cy="612962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217">
              <a:defRPr/>
            </a:pPr>
            <a:endParaRPr lang="ja-JP" altLang="en-US">
              <a:solidFill>
                <a:srgbClr val="000000"/>
              </a:solidFill>
              <a:latin typeface="Arial"/>
              <a:ea typeface="ＭＳ Ｐゴシック"/>
            </a:endParaRPr>
          </a:p>
        </p:txBody>
      </p:sp>
      <p:sp>
        <p:nvSpPr>
          <p:cNvPr id="13" name="正方形/長方形 12"/>
          <p:cNvSpPr/>
          <p:nvPr/>
        </p:nvSpPr>
        <p:spPr>
          <a:xfrm>
            <a:off x="3505898" y="833034"/>
            <a:ext cx="2915533" cy="612961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217">
              <a:defRPr/>
            </a:pPr>
            <a:endParaRPr lang="ja-JP" altLang="en-US">
              <a:solidFill>
                <a:srgbClr val="000000"/>
              </a:solidFill>
              <a:latin typeface="Arial"/>
              <a:ea typeface="ＭＳ Ｐゴシック"/>
            </a:endParaRPr>
          </a:p>
        </p:txBody>
      </p:sp>
      <p:sp>
        <p:nvSpPr>
          <p:cNvPr id="14" name="正方形/長方形 13"/>
          <p:cNvSpPr/>
          <p:nvPr/>
        </p:nvSpPr>
        <p:spPr>
          <a:xfrm>
            <a:off x="6543871" y="833034"/>
            <a:ext cx="2915533" cy="612961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914217">
              <a:defRPr/>
            </a:pPr>
            <a:endParaRPr lang="ja-JP" altLang="en-US">
              <a:solidFill>
                <a:srgbClr val="000000"/>
              </a:solidFill>
              <a:latin typeface="Arial"/>
              <a:ea typeface="ＭＳ Ｐゴシック"/>
            </a:endParaRPr>
          </a:p>
        </p:txBody>
      </p:sp>
      <p:sp>
        <p:nvSpPr>
          <p:cNvPr id="16" name="正方形/長方形 15"/>
          <p:cNvSpPr/>
          <p:nvPr/>
        </p:nvSpPr>
        <p:spPr>
          <a:xfrm>
            <a:off x="544507" y="3544792"/>
            <a:ext cx="2731114" cy="3345865"/>
          </a:xfrm>
          <a:prstGeom prst="rect">
            <a:avLst/>
          </a:prstGeom>
          <a:solidFill>
            <a:srgbClr val="FFFF99"/>
          </a:solidFill>
          <a:ln>
            <a:solidFill>
              <a:srgbClr val="FFFF99"/>
            </a:solidFill>
          </a:ln>
        </p:spPr>
        <p:style>
          <a:lnRef idx="1">
            <a:schemeClr val="dk1"/>
          </a:lnRef>
          <a:fillRef idx="2">
            <a:schemeClr val="dk1"/>
          </a:fillRef>
          <a:effectRef idx="1">
            <a:schemeClr val="dk1"/>
          </a:effectRef>
          <a:fontRef idx="minor">
            <a:schemeClr val="dk1"/>
          </a:fontRef>
        </p:style>
        <p:txBody>
          <a:bodyPr rtlCol="0" anchor="t" anchorCtr="0"/>
          <a:lstStyle/>
          <a:p>
            <a:pPr defTabSz="914217">
              <a:defRPr/>
            </a:pPr>
            <a:r>
              <a:rPr lang="ja-JP" altLang="en-US" sz="1100" b="1" dirty="0">
                <a:solidFill>
                  <a:srgbClr val="990000"/>
                </a:solidFill>
                <a:latin typeface="メイリオ" panose="020B0604030504040204" pitchFamily="50" charset="-128"/>
                <a:ea typeface="メイリオ" panose="020B0604030504040204" pitchFamily="50" charset="-128"/>
              </a:rPr>
              <a:t>＜実施概要＞</a:t>
            </a:r>
            <a:endParaRPr lang="en-US" altLang="ja-JP" sz="1100" b="1" dirty="0">
              <a:solidFill>
                <a:srgbClr val="990000"/>
              </a:solidFill>
              <a:latin typeface="メイリオ" panose="020B0604030504040204" pitchFamily="50" charset="-128"/>
              <a:ea typeface="メイリオ" panose="020B0604030504040204" pitchFamily="50" charset="-128"/>
            </a:endParaRPr>
          </a:p>
          <a:p>
            <a:pPr defTabSz="914217">
              <a:defRPr/>
            </a:pPr>
            <a:r>
              <a:rPr lang="ja-JP" altLang="en-US" sz="1100" b="1" dirty="0">
                <a:solidFill>
                  <a:srgbClr val="000000"/>
                </a:solidFill>
                <a:latin typeface="メイリオ" panose="020B0604030504040204" pitchFamily="50" charset="-128"/>
                <a:ea typeface="メイリオ" panose="020B0604030504040204" pitchFamily="50" charset="-128"/>
              </a:rPr>
              <a:t>①既存二地域居住者の訪問頻度・滞在期間増加の取組</a:t>
            </a:r>
            <a:endParaRPr lang="en-US" altLang="ja-JP" sz="1100" b="1"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別荘、セカンドハウス所有者をアプリに登録促進</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地域情報提供やポイント活用による効果を検証　等</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b="1" dirty="0">
                <a:solidFill>
                  <a:srgbClr val="000000"/>
                </a:solidFill>
                <a:latin typeface="メイリオ" panose="020B0604030504040204" pitchFamily="50" charset="-128"/>
                <a:ea typeface="メイリオ" panose="020B0604030504040204" pitchFamily="50" charset="-128"/>
              </a:rPr>
              <a:t>②お試し二地域居住体験ツアーによるポテンシャル層から二地域居住者への深化</a:t>
            </a:r>
            <a:endParaRPr lang="en-US" altLang="ja-JP" sz="1100" b="1"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アプリのアンケートによる課題発見</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ポイント活用による移動促進、再来訪促進　等</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b="1" dirty="0">
                <a:solidFill>
                  <a:srgbClr val="990000"/>
                </a:solidFill>
                <a:latin typeface="メイリオ" panose="020B0604030504040204" pitchFamily="50" charset="-128"/>
                <a:ea typeface="メイリオ" panose="020B0604030504040204" pitchFamily="50" charset="-128"/>
              </a:rPr>
              <a:t>＜アプリ機能（予定）＞</a:t>
            </a:r>
            <a:endParaRPr lang="en-US" altLang="ja-JP" sz="1100" b="1" dirty="0">
              <a:solidFill>
                <a:srgbClr val="99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会員証表示　・アンケート</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イベント、おすすめ情報提供</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イベント参加、訪問場所履歴</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地域体験イベントへの申込</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ポイント登録、利用　等</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endParaRPr lang="ja-JP" altLang="en-US" sz="1100" dirty="0">
              <a:solidFill>
                <a:srgbClr val="000000"/>
              </a:solidFill>
              <a:latin typeface="メイリオ" panose="020B0604030504040204" pitchFamily="50" charset="-128"/>
              <a:ea typeface="メイリオ" panose="020B0604030504040204" pitchFamily="50" charset="-128"/>
            </a:endParaRPr>
          </a:p>
        </p:txBody>
      </p:sp>
      <p:sp>
        <p:nvSpPr>
          <p:cNvPr id="19" name="正方形/長方形 18"/>
          <p:cNvSpPr/>
          <p:nvPr/>
        </p:nvSpPr>
        <p:spPr>
          <a:xfrm>
            <a:off x="467923" y="785218"/>
            <a:ext cx="2915532" cy="304137"/>
          </a:xfrm>
          <a:prstGeom prst="rect">
            <a:avLst/>
          </a:prstGeom>
          <a:solidFill>
            <a:schemeClr val="accent2">
              <a:lumMod val="75000"/>
            </a:schemeClr>
          </a:solidFill>
          <a:ln w="3175" cap="flat" cmpd="sng" algn="ctr">
            <a:solidFill>
              <a:schemeClr val="tx1"/>
            </a:solidFill>
            <a:prstDash val="solid"/>
            <a:round/>
            <a:headEnd type="none" w="med" len="med"/>
            <a:tailEnd type="none" w="med" len="med"/>
          </a:ln>
          <a:effectLst/>
        </p:spPr>
        <p:txBody>
          <a:bodyPr vertOverflow="overflow" horzOverflow="overflow" wrap="square" numCol="1" rtlCol="0" anchor="ctr" anchorCtr="0" compatLnSpc="1"/>
          <a:lstStyle/>
          <a:p>
            <a:pPr algn="ctr" defTabSz="914217">
              <a:defRPr/>
            </a:pPr>
            <a:r>
              <a:rPr lang="ja-JP" altLang="en-US" sz="1100" b="1" dirty="0">
                <a:solidFill>
                  <a:srgbClr val="FFFFFF"/>
                </a:solidFill>
                <a:latin typeface="メイリオ" panose="020B0604030504040204" pitchFamily="50" charset="-128"/>
                <a:ea typeface="メイリオ" panose="020B0604030504040204" pitchFamily="50" charset="-128"/>
              </a:rPr>
              <a:t>栃木県 那須町</a:t>
            </a:r>
            <a:r>
              <a:rPr lang="en-US" altLang="ja-JP" sz="1100" b="1" dirty="0">
                <a:solidFill>
                  <a:srgbClr val="FFFFFF"/>
                </a:solidFill>
                <a:latin typeface="メイリオ" panose="020B0604030504040204" pitchFamily="50" charset="-128"/>
                <a:ea typeface="メイリオ" panose="020B0604030504040204" pitchFamily="50" charset="-128"/>
              </a:rPr>
              <a:t>×</a:t>
            </a:r>
            <a:r>
              <a:rPr lang="ja-JP" altLang="en-US" sz="1100" b="1" dirty="0">
                <a:solidFill>
                  <a:srgbClr val="FFFFFF"/>
                </a:solidFill>
                <a:latin typeface="メイリオ" panose="020B0604030504040204" pitchFamily="50" charset="-128"/>
                <a:ea typeface="メイリオ" panose="020B0604030504040204" pitchFamily="50" charset="-128"/>
              </a:rPr>
              <a:t>伊藤忠ﾃｸﾉｿﾘｭｰｼｮﾝｽﾞ</a:t>
            </a:r>
          </a:p>
        </p:txBody>
      </p:sp>
      <p:sp>
        <p:nvSpPr>
          <p:cNvPr id="20" name="正方形/長方形 19"/>
          <p:cNvSpPr/>
          <p:nvPr/>
        </p:nvSpPr>
        <p:spPr>
          <a:xfrm>
            <a:off x="467921" y="1089356"/>
            <a:ext cx="2915533" cy="809152"/>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Overflow="overflow" horzOverflow="overflow" wrap="square" numCol="1" rtlCol="0" anchor="ctr" anchorCtr="0" compatLnSpc="1"/>
          <a:lstStyle/>
          <a:p>
            <a:pPr defTabSz="914217">
              <a:defRPr/>
            </a:pPr>
            <a:r>
              <a:rPr lang="en-US" altLang="ja-JP" sz="1100" dirty="0">
                <a:solidFill>
                  <a:srgbClr val="333399">
                    <a:lumMod val="75000"/>
                  </a:srgbClr>
                </a:solidFill>
                <a:latin typeface="メイリオ" panose="020B0604030504040204" pitchFamily="50" charset="-128"/>
                <a:ea typeface="メイリオ" panose="020B0604030504040204" pitchFamily="50" charset="-128"/>
              </a:rPr>
              <a:t>【</a:t>
            </a:r>
            <a:r>
              <a:rPr lang="ja-JP" altLang="en-US" sz="1100" dirty="0">
                <a:solidFill>
                  <a:srgbClr val="333399">
                    <a:lumMod val="75000"/>
                  </a:srgbClr>
                </a:solidFill>
                <a:latin typeface="メイリオ" panose="020B0604030504040204" pitchFamily="50" charset="-128"/>
                <a:ea typeface="メイリオ" panose="020B0604030504040204" pitchFamily="50" charset="-128"/>
              </a:rPr>
              <a:t>那須町二地域居住促進コンソーシアム</a:t>
            </a:r>
            <a:r>
              <a:rPr lang="en-US" altLang="ja-JP" sz="1100" dirty="0">
                <a:solidFill>
                  <a:srgbClr val="333399">
                    <a:lumMod val="75000"/>
                  </a:srgbClr>
                </a:solidFill>
                <a:latin typeface="メイリオ" panose="020B0604030504040204" pitchFamily="50" charset="-128"/>
                <a:ea typeface="メイリオ" panose="020B0604030504040204" pitchFamily="50" charset="-128"/>
              </a:rPr>
              <a:t>】</a:t>
            </a: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二地域居住デジタル会員証を活用した「地域の担い手促進」プロジェクト</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地域体験・交流による関係性促進～</a:t>
            </a:r>
          </a:p>
        </p:txBody>
      </p:sp>
      <p:sp>
        <p:nvSpPr>
          <p:cNvPr id="21" name="正方形/長方形 20"/>
          <p:cNvSpPr/>
          <p:nvPr/>
        </p:nvSpPr>
        <p:spPr>
          <a:xfrm>
            <a:off x="3490276" y="784436"/>
            <a:ext cx="2915532" cy="304137"/>
          </a:xfrm>
          <a:prstGeom prst="rect">
            <a:avLst/>
          </a:prstGeom>
          <a:solidFill>
            <a:schemeClr val="accent2">
              <a:lumMod val="75000"/>
            </a:schemeClr>
          </a:solidFill>
          <a:ln w="3175" cap="flat" cmpd="sng" algn="ctr">
            <a:solidFill>
              <a:schemeClr val="tx1"/>
            </a:solidFill>
            <a:prstDash val="solid"/>
            <a:round/>
            <a:headEnd type="none" w="med" len="med"/>
            <a:tailEnd type="none" w="med" len="med"/>
          </a:ln>
          <a:effectLst/>
        </p:spPr>
        <p:txBody>
          <a:bodyPr vertOverflow="overflow" horzOverflow="overflow" wrap="square" numCol="1" rtlCol="0" anchor="ctr" anchorCtr="0" compatLnSpc="1"/>
          <a:lstStyle/>
          <a:p>
            <a:pPr algn="ctr" defTabSz="914217">
              <a:lnSpc>
                <a:spcPts val="2200"/>
              </a:lnSpc>
              <a:defRPr/>
            </a:pPr>
            <a:r>
              <a:rPr lang="ja-JP" altLang="en-US" sz="1050" b="1" dirty="0">
                <a:solidFill>
                  <a:srgbClr val="FFFFFF"/>
                </a:solidFill>
                <a:latin typeface="メイリオ" panose="020B0604030504040204" pitchFamily="50" charset="-128"/>
                <a:ea typeface="メイリオ" panose="020B0604030504040204" pitchFamily="50" charset="-128"/>
              </a:rPr>
              <a:t>山梨県 早川町</a:t>
            </a:r>
            <a:r>
              <a:rPr lang="en-US" altLang="ja-JP" sz="1050" b="1" dirty="0">
                <a:solidFill>
                  <a:srgbClr val="FFFFFF"/>
                </a:solidFill>
                <a:latin typeface="メイリオ" panose="020B0604030504040204" pitchFamily="50" charset="-128"/>
                <a:ea typeface="メイリオ" panose="020B0604030504040204" pitchFamily="50" charset="-128"/>
              </a:rPr>
              <a:t>×</a:t>
            </a:r>
            <a:r>
              <a:rPr lang="ja-JP" altLang="en-US" sz="1050" b="1" dirty="0">
                <a:solidFill>
                  <a:srgbClr val="FFFFFF"/>
                </a:solidFill>
                <a:latin typeface="メイリオ" panose="020B0604030504040204" pitchFamily="50" charset="-128"/>
                <a:ea typeface="メイリオ" panose="020B0604030504040204" pitchFamily="50" charset="-128"/>
              </a:rPr>
              <a:t>（</a:t>
            </a:r>
            <a:r>
              <a:rPr lang="zh-CN" altLang="en-US" sz="1050" b="1" dirty="0">
                <a:solidFill>
                  <a:srgbClr val="FFFFFF"/>
                </a:solidFill>
                <a:latin typeface="メイリオ" panose="020B0604030504040204" pitchFamily="50" charset="-128"/>
                <a:ea typeface="メイリオ" panose="020B0604030504040204" pitchFamily="50" charset="-128"/>
              </a:rPr>
              <a:t>株</a:t>
            </a:r>
            <a:r>
              <a:rPr lang="ja-JP" altLang="en-US" sz="1050" b="1" dirty="0">
                <a:solidFill>
                  <a:srgbClr val="FFFFFF"/>
                </a:solidFill>
                <a:latin typeface="メイリオ" panose="020B0604030504040204" pitchFamily="50" charset="-128"/>
                <a:ea typeface="メイリオ" panose="020B0604030504040204" pitchFamily="50" charset="-128"/>
              </a:rPr>
              <a:t>）</a:t>
            </a:r>
            <a:r>
              <a:rPr lang="zh-CN" altLang="en-US" sz="1050" b="1" dirty="0">
                <a:solidFill>
                  <a:srgbClr val="FFFFFF"/>
                </a:solidFill>
                <a:latin typeface="メイリオ" panose="020B0604030504040204" pitchFamily="50" charset="-128"/>
                <a:ea typeface="メイリオ" panose="020B0604030504040204" pitchFamily="50" charset="-128"/>
              </a:rPr>
              <a:t>日本能率協会総合研究</a:t>
            </a:r>
          </a:p>
        </p:txBody>
      </p:sp>
      <p:sp>
        <p:nvSpPr>
          <p:cNvPr id="22" name="正方形/長方形 21"/>
          <p:cNvSpPr/>
          <p:nvPr/>
        </p:nvSpPr>
        <p:spPr>
          <a:xfrm>
            <a:off x="3505898" y="1112498"/>
            <a:ext cx="2915533" cy="786010"/>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Overflow="overflow" horzOverflow="overflow" wrap="square" numCol="1" rtlCol="0" anchor="ctr" anchorCtr="0" compatLnSpc="1"/>
          <a:lstStyle/>
          <a:p>
            <a:pPr defTabSz="914217">
              <a:defRPr/>
            </a:pPr>
            <a:r>
              <a:rPr lang="en-US" altLang="ja-JP" sz="1000" dirty="0">
                <a:solidFill>
                  <a:srgbClr val="333399">
                    <a:lumMod val="75000"/>
                  </a:srgbClr>
                </a:solidFill>
                <a:latin typeface="メイリオ" panose="020B0604030504040204" pitchFamily="50" charset="-128"/>
                <a:ea typeface="メイリオ" panose="020B0604030504040204" pitchFamily="50" charset="-128"/>
              </a:rPr>
              <a:t>【</a:t>
            </a:r>
            <a:r>
              <a:rPr lang="ja-JP" altLang="en-US" sz="1000" dirty="0">
                <a:solidFill>
                  <a:srgbClr val="333399">
                    <a:lumMod val="75000"/>
                  </a:srgbClr>
                </a:solidFill>
                <a:latin typeface="メイリオ" panose="020B0604030504040204" pitchFamily="50" charset="-128"/>
                <a:ea typeface="メイリオ" panose="020B0604030504040204" pitchFamily="50" charset="-128"/>
              </a:rPr>
              <a:t>はやかわ関係人口創出・拡大ネットワーク</a:t>
            </a:r>
            <a:r>
              <a:rPr lang="en-US" altLang="ja-JP" sz="1000" dirty="0">
                <a:solidFill>
                  <a:srgbClr val="333399">
                    <a:lumMod val="75000"/>
                  </a:srgbClr>
                </a:solidFill>
                <a:latin typeface="メイリオ" panose="020B0604030504040204" pitchFamily="50" charset="-128"/>
                <a:ea typeface="メイリオ" panose="020B0604030504040204" pitchFamily="50" charset="-128"/>
              </a:rPr>
              <a:t>】</a:t>
            </a: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まんの</a:t>
            </a:r>
            <a:r>
              <a:rPr lang="ja-JP" altLang="en-US" sz="1100" dirty="0" err="1">
                <a:solidFill>
                  <a:srgbClr val="000000"/>
                </a:solidFill>
                <a:latin typeface="メイリオ" panose="020B0604030504040204" pitchFamily="50" charset="-128"/>
                <a:ea typeface="メイリオ" panose="020B0604030504040204" pitchFamily="50" charset="-128"/>
              </a:rPr>
              <a:t>う</a:t>
            </a:r>
            <a:r>
              <a:rPr lang="ja-JP" altLang="en-US" sz="1100" dirty="0">
                <a:solidFill>
                  <a:srgbClr val="000000"/>
                </a:solidFill>
                <a:latin typeface="メイリオ" panose="020B0604030504040204" pitchFamily="50" charset="-128"/>
                <a:ea typeface="メイリオ" panose="020B0604030504040204" pitchFamily="50" charset="-128"/>
              </a:rPr>
              <a:t>がんクエスト</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生きる力、豊かな暮らしの探求～</a:t>
            </a:r>
          </a:p>
        </p:txBody>
      </p:sp>
      <p:sp>
        <p:nvSpPr>
          <p:cNvPr id="23" name="正方形/長方形 22"/>
          <p:cNvSpPr/>
          <p:nvPr/>
        </p:nvSpPr>
        <p:spPr>
          <a:xfrm>
            <a:off x="6532237" y="783506"/>
            <a:ext cx="2915532" cy="304137"/>
          </a:xfrm>
          <a:prstGeom prst="rect">
            <a:avLst/>
          </a:prstGeom>
          <a:solidFill>
            <a:schemeClr val="accent2">
              <a:lumMod val="75000"/>
            </a:schemeClr>
          </a:solidFill>
          <a:ln w="3175" cap="flat" cmpd="sng" algn="ctr">
            <a:solidFill>
              <a:schemeClr val="tx1"/>
            </a:solidFill>
            <a:prstDash val="solid"/>
            <a:round/>
            <a:headEnd type="none" w="med" len="med"/>
            <a:tailEnd type="none" w="med" len="med"/>
          </a:ln>
          <a:effectLst/>
        </p:spPr>
        <p:txBody>
          <a:bodyPr vertOverflow="overflow" horzOverflow="overflow" wrap="square" numCol="1" rtlCol="0" anchor="ctr" anchorCtr="0" compatLnSpc="1"/>
          <a:lstStyle/>
          <a:p>
            <a:pPr algn="ctr" defTabSz="914217">
              <a:lnSpc>
                <a:spcPts val="2200"/>
              </a:lnSpc>
              <a:defRPr/>
            </a:pPr>
            <a:r>
              <a:rPr lang="zh-TW" altLang="en-US" sz="1050" b="1" dirty="0">
                <a:solidFill>
                  <a:srgbClr val="FFFFFF"/>
                </a:solidFill>
                <a:latin typeface="メイリオ" panose="020B0604030504040204" pitchFamily="50" charset="-128"/>
                <a:ea typeface="メイリオ" panose="020B0604030504040204" pitchFamily="50" charset="-128"/>
              </a:rPr>
              <a:t>福岡県</a:t>
            </a:r>
            <a:r>
              <a:rPr lang="ja-JP" altLang="en-US" sz="1050" b="1" dirty="0">
                <a:solidFill>
                  <a:srgbClr val="FFFFFF"/>
                </a:solidFill>
                <a:latin typeface="メイリオ" panose="020B0604030504040204" pitchFamily="50" charset="-128"/>
                <a:ea typeface="メイリオ" panose="020B0604030504040204" pitchFamily="50" charset="-128"/>
              </a:rPr>
              <a:t> </a:t>
            </a:r>
            <a:r>
              <a:rPr lang="zh-TW" altLang="en-US" sz="1050" b="1" dirty="0">
                <a:solidFill>
                  <a:srgbClr val="FFFFFF"/>
                </a:solidFill>
                <a:latin typeface="メイリオ" panose="020B0604030504040204" pitchFamily="50" charset="-128"/>
                <a:ea typeface="メイリオ" panose="020B0604030504040204" pitchFamily="50" charset="-128"/>
              </a:rPr>
              <a:t>北九州市</a:t>
            </a:r>
            <a:r>
              <a:rPr lang="en-US" altLang="ja-JP" sz="1050" b="1" dirty="0">
                <a:solidFill>
                  <a:srgbClr val="FFFFFF"/>
                </a:solidFill>
                <a:latin typeface="メイリオ" panose="020B0604030504040204" pitchFamily="50" charset="-128"/>
                <a:ea typeface="メイリオ" panose="020B0604030504040204" pitchFamily="50" charset="-128"/>
              </a:rPr>
              <a:t>×</a:t>
            </a:r>
            <a:r>
              <a:rPr lang="ja-JP" altLang="en-US" sz="1050" b="1" dirty="0">
                <a:solidFill>
                  <a:srgbClr val="FFFFFF"/>
                </a:solidFill>
                <a:latin typeface="メイリオ" panose="020B0604030504040204" pitchFamily="50" charset="-128"/>
                <a:ea typeface="メイリオ" panose="020B0604030504040204" pitchFamily="50" charset="-128"/>
              </a:rPr>
              <a:t>（一財）ロングステイ財団</a:t>
            </a:r>
          </a:p>
        </p:txBody>
      </p:sp>
      <p:sp>
        <p:nvSpPr>
          <p:cNvPr id="24" name="正方形/長方形 23"/>
          <p:cNvSpPr/>
          <p:nvPr/>
        </p:nvSpPr>
        <p:spPr>
          <a:xfrm>
            <a:off x="6543871" y="1108420"/>
            <a:ext cx="2915533" cy="790089"/>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Overflow="overflow" horzOverflow="overflow" wrap="square" numCol="1" rtlCol="0" anchor="ctr" anchorCtr="0" compatLnSpc="1"/>
          <a:lstStyle/>
          <a:p>
            <a:pPr defTabSz="914217">
              <a:defRPr/>
            </a:pPr>
            <a:r>
              <a:rPr lang="en-US" altLang="ja-JP" sz="1050" dirty="0">
                <a:solidFill>
                  <a:srgbClr val="333399">
                    <a:lumMod val="75000"/>
                  </a:srgbClr>
                </a:solidFill>
                <a:latin typeface="メイリオ" panose="020B0604030504040204" pitchFamily="50" charset="-128"/>
                <a:ea typeface="メイリオ" panose="020B0604030504040204" pitchFamily="50" charset="-128"/>
              </a:rPr>
              <a:t>【</a:t>
            </a:r>
            <a:r>
              <a:rPr lang="ja-JP" altLang="en-US" sz="1050" dirty="0">
                <a:solidFill>
                  <a:srgbClr val="333399">
                    <a:lumMod val="75000"/>
                  </a:srgbClr>
                </a:solidFill>
                <a:latin typeface="メイリオ" panose="020B0604030504040204" pitchFamily="50" charset="-128"/>
                <a:ea typeface="メイリオ" panose="020B0604030504040204" pitchFamily="50" charset="-128"/>
              </a:rPr>
              <a:t>北九州市二地域居住促進コンソーシアム</a:t>
            </a:r>
            <a:r>
              <a:rPr lang="en-US" altLang="ja-JP" sz="1050" dirty="0">
                <a:solidFill>
                  <a:srgbClr val="333399">
                    <a:lumMod val="75000"/>
                  </a:srgbClr>
                </a:solidFill>
                <a:latin typeface="メイリオ" panose="020B0604030504040204" pitchFamily="50" charset="-128"/>
                <a:ea typeface="メイリオ" panose="020B0604030504040204" pitchFamily="50" charset="-128"/>
              </a:rPr>
              <a:t>】</a:t>
            </a:r>
          </a:p>
          <a:p>
            <a:pPr defTabSz="914217">
              <a:defRPr/>
            </a:pPr>
            <a:r>
              <a:rPr lang="ja-JP" altLang="en-US" sz="1200" dirty="0">
                <a:solidFill>
                  <a:srgbClr val="000000"/>
                </a:solidFill>
                <a:latin typeface="メイリオ" panose="020B0604030504040204" pitchFamily="50" charset="-128"/>
                <a:ea typeface="メイリオ" panose="020B0604030504040204" pitchFamily="50" charset="-128"/>
              </a:rPr>
              <a:t>北九州市二地域居住市場開発プロジェクト</a:t>
            </a:r>
          </a:p>
        </p:txBody>
      </p:sp>
      <p:sp>
        <p:nvSpPr>
          <p:cNvPr id="25" name="テキスト ボックス 66"/>
          <p:cNvSpPr txBox="1"/>
          <p:nvPr/>
        </p:nvSpPr>
        <p:spPr>
          <a:xfrm>
            <a:off x="447388" y="1926443"/>
            <a:ext cx="2936065" cy="1615568"/>
          </a:xfrm>
          <a:prstGeom prst="rect">
            <a:avLst/>
          </a:prstGeom>
          <a:noFill/>
        </p:spPr>
        <p:txBody>
          <a:bodyPr wrap="square" rtlCol="0">
            <a:spAutoFit/>
          </a:bodyPr>
          <a:lstStyle/>
          <a:p>
            <a:pPr defTabSz="843914" fontAlgn="auto">
              <a:spcBef>
                <a:spcPts val="0"/>
              </a:spcBef>
              <a:spcAft>
                <a:spcPts val="0"/>
              </a:spcAft>
              <a:defRPr/>
            </a:pPr>
            <a:r>
              <a:rPr lang="ja-JP" altLang="en-US" sz="1100" b="1" dirty="0">
                <a:solidFill>
                  <a:srgbClr val="990000"/>
                </a:solidFill>
                <a:latin typeface="メイリオ" panose="020B0604030504040204" pitchFamily="50" charset="-128"/>
                <a:ea typeface="メイリオ" panose="020B0604030504040204" pitchFamily="50" charset="-128"/>
              </a:rPr>
              <a:t>＜実施目的＞</a:t>
            </a:r>
            <a:endParaRPr lang="en-US" altLang="ja-JP" sz="1100" b="1" dirty="0">
              <a:solidFill>
                <a:srgbClr val="990000"/>
              </a:solidFill>
              <a:latin typeface="メイリオ" panose="020B0604030504040204" pitchFamily="50" charset="-128"/>
              <a:ea typeface="メイリオ" panose="020B0604030504040204" pitchFamily="50" charset="-128"/>
            </a:endParaRPr>
          </a:p>
          <a:p>
            <a:pPr defTabSz="843914" fontAlgn="auto">
              <a:spcBef>
                <a:spcPts val="0"/>
              </a:spcBef>
              <a:spcAft>
                <a:spcPts val="0"/>
              </a:spcAft>
              <a:defRPr/>
            </a:pPr>
            <a:r>
              <a:rPr lang="ja-JP" altLang="en-US" sz="1100" dirty="0">
                <a:solidFill>
                  <a:srgbClr val="000000"/>
                </a:solidFill>
                <a:latin typeface="メイリオ" panose="020B0604030504040204" pitchFamily="50" charset="-128"/>
                <a:ea typeface="メイリオ" panose="020B0604030504040204" pitchFamily="50" charset="-128"/>
              </a:rPr>
              <a:t>　二地域居住者の実態（訪問頻度、滞在期間、地域内での行動等）を把握できておらず、二地域居住の施策に繋げられていないため、「ふるさとアプリ（以下、「アプリ」）」を活用し、「二地域居住ふるさと会員」として、二地域居住の見える化、訪問頻度・滞在期間増加、地域の担い手不足解消、二地域居住者増加を図る。</a:t>
            </a:r>
            <a:endParaRPr lang="en-US" altLang="ja-JP" sz="1100" dirty="0">
              <a:solidFill>
                <a:srgbClr val="000000"/>
              </a:solidFill>
              <a:latin typeface="メイリオ" panose="020B0604030504040204" pitchFamily="50" charset="-128"/>
              <a:ea typeface="メイリオ" panose="020B0604030504040204" pitchFamily="50" charset="-128"/>
            </a:endParaRPr>
          </a:p>
        </p:txBody>
      </p:sp>
      <p:sp>
        <p:nvSpPr>
          <p:cNvPr id="27" name="テキスト ボックス 66"/>
          <p:cNvSpPr txBox="1"/>
          <p:nvPr/>
        </p:nvSpPr>
        <p:spPr>
          <a:xfrm>
            <a:off x="3460038" y="1926441"/>
            <a:ext cx="2936065" cy="1446318"/>
          </a:xfrm>
          <a:prstGeom prst="rect">
            <a:avLst/>
          </a:prstGeom>
          <a:noFill/>
        </p:spPr>
        <p:txBody>
          <a:bodyPr wrap="square" rtlCol="0">
            <a:spAutoFit/>
          </a:bodyPr>
          <a:lstStyle/>
          <a:p>
            <a:pPr defTabSz="843914" fontAlgn="auto">
              <a:spcBef>
                <a:spcPts val="0"/>
              </a:spcBef>
              <a:spcAft>
                <a:spcPts val="0"/>
              </a:spcAft>
              <a:defRPr/>
            </a:pPr>
            <a:r>
              <a:rPr lang="ja-JP" altLang="en-US" sz="1100" b="1" dirty="0">
                <a:solidFill>
                  <a:srgbClr val="990000"/>
                </a:solidFill>
                <a:latin typeface="メイリオ" panose="020B0604030504040204" pitchFamily="50" charset="-128"/>
                <a:ea typeface="メイリオ" panose="020B0604030504040204" pitchFamily="50" charset="-128"/>
              </a:rPr>
              <a:t>＜実施目的＞</a:t>
            </a:r>
            <a:endParaRPr lang="en-US" altLang="ja-JP" sz="1100" b="1" dirty="0">
              <a:solidFill>
                <a:srgbClr val="990000"/>
              </a:solidFill>
              <a:latin typeface="メイリオ" panose="020B0604030504040204" pitchFamily="50" charset="-128"/>
              <a:ea typeface="メイリオ" panose="020B0604030504040204" pitchFamily="50" charset="-128"/>
            </a:endParaRPr>
          </a:p>
          <a:p>
            <a:pPr defTabSz="843914" fontAlgn="auto">
              <a:spcBef>
                <a:spcPts val="0"/>
              </a:spcBef>
              <a:spcAft>
                <a:spcPts val="0"/>
              </a:spcAft>
              <a:defRPr/>
            </a:pPr>
            <a:r>
              <a:rPr lang="ja-JP" altLang="en-US" sz="1100" dirty="0">
                <a:solidFill>
                  <a:srgbClr val="000000"/>
                </a:solidFill>
                <a:latin typeface="メイリオ" panose="020B0604030504040204" pitchFamily="50" charset="-128"/>
                <a:ea typeface="メイリオ" panose="020B0604030504040204" pitchFamily="50" charset="-128"/>
              </a:rPr>
              <a:t>　早川町では、衣食住をはじめ、生活に関わるあらゆる事を自分でこなす知恵や技術を持った人たちを「まんのうがん」と呼ぶ。</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843914" fontAlgn="auto">
              <a:spcBef>
                <a:spcPts val="0"/>
              </a:spcBef>
              <a:spcAft>
                <a:spcPts val="0"/>
              </a:spcAft>
              <a:defRPr/>
            </a:pPr>
            <a:r>
              <a:rPr lang="ja-JP" altLang="en-US" sz="1100" dirty="0">
                <a:solidFill>
                  <a:srgbClr val="000000"/>
                </a:solidFill>
                <a:latin typeface="メイリオ" panose="020B0604030504040204" pitchFamily="50" charset="-128"/>
                <a:ea typeface="メイリオ" panose="020B0604030504040204" pitchFamily="50" charset="-128"/>
              </a:rPr>
              <a:t>　受け継がれてきた文化を後世に伝え、町外とのかかわり（関係人口や二地域居住）による新しい価値を通じ、関係人口や活動人口の増加を図る。</a:t>
            </a:r>
            <a:endParaRPr lang="en-US" altLang="ja-JP" sz="1100" dirty="0">
              <a:solidFill>
                <a:srgbClr val="000000"/>
              </a:solidFill>
              <a:latin typeface="メイリオ" panose="020B0604030504040204" pitchFamily="50" charset="-128"/>
              <a:ea typeface="メイリオ" panose="020B0604030504040204" pitchFamily="50" charset="-128"/>
            </a:endParaRPr>
          </a:p>
        </p:txBody>
      </p:sp>
      <p:sp>
        <p:nvSpPr>
          <p:cNvPr id="28" name="正方形/長方形 27"/>
          <p:cNvSpPr/>
          <p:nvPr/>
        </p:nvSpPr>
        <p:spPr>
          <a:xfrm>
            <a:off x="3582484" y="3542009"/>
            <a:ext cx="2731114" cy="3345866"/>
          </a:xfrm>
          <a:prstGeom prst="rect">
            <a:avLst/>
          </a:prstGeom>
          <a:solidFill>
            <a:srgbClr val="FFFF99"/>
          </a:solidFill>
          <a:ln>
            <a:solidFill>
              <a:srgbClr val="FFFF99"/>
            </a:solidFill>
          </a:ln>
        </p:spPr>
        <p:style>
          <a:lnRef idx="1">
            <a:schemeClr val="dk1"/>
          </a:lnRef>
          <a:fillRef idx="2">
            <a:schemeClr val="dk1"/>
          </a:fillRef>
          <a:effectRef idx="1">
            <a:schemeClr val="dk1"/>
          </a:effectRef>
          <a:fontRef idx="minor">
            <a:schemeClr val="dk1"/>
          </a:fontRef>
        </p:style>
        <p:txBody>
          <a:bodyPr rtlCol="0" anchor="t" anchorCtr="0"/>
          <a:lstStyle/>
          <a:p>
            <a:pPr defTabSz="914217">
              <a:defRPr/>
            </a:pPr>
            <a:r>
              <a:rPr lang="ja-JP" altLang="en-US" sz="1100" b="1" dirty="0">
                <a:solidFill>
                  <a:srgbClr val="990000"/>
                </a:solidFill>
                <a:latin typeface="メイリオ" panose="020B0604030504040204" pitchFamily="50" charset="-128"/>
                <a:ea typeface="メイリオ" panose="020B0604030504040204" pitchFamily="50" charset="-128"/>
              </a:rPr>
              <a:t>＜実施概要＞</a:t>
            </a:r>
            <a:endParaRPr lang="en-US" altLang="ja-JP" sz="1100" b="1" dirty="0">
              <a:solidFill>
                <a:srgbClr val="990000"/>
              </a:solidFill>
              <a:latin typeface="メイリオ" panose="020B0604030504040204" pitchFamily="50" charset="-128"/>
              <a:ea typeface="メイリオ" panose="020B0604030504040204" pitchFamily="50" charset="-128"/>
            </a:endParaRPr>
          </a:p>
          <a:p>
            <a:pPr defTabSz="914217">
              <a:defRPr/>
            </a:pPr>
            <a:r>
              <a:rPr lang="ja-JP" altLang="en-US" sz="1100" b="1" dirty="0">
                <a:solidFill>
                  <a:srgbClr val="000000"/>
                </a:solidFill>
                <a:latin typeface="メイリオ" panose="020B0604030504040204" pitchFamily="50" charset="-128"/>
                <a:ea typeface="メイリオ" panose="020B0604030504040204" pitchFamily="50" charset="-128"/>
              </a:rPr>
              <a:t>○オーダーメイド型体験コンテンツ「まんの</a:t>
            </a:r>
            <a:r>
              <a:rPr lang="ja-JP" altLang="en-US" sz="1100" b="1" dirty="0" err="1">
                <a:solidFill>
                  <a:srgbClr val="000000"/>
                </a:solidFill>
                <a:latin typeface="メイリオ" panose="020B0604030504040204" pitchFamily="50" charset="-128"/>
                <a:ea typeface="メイリオ" panose="020B0604030504040204" pitchFamily="50" charset="-128"/>
              </a:rPr>
              <a:t>う</a:t>
            </a:r>
            <a:r>
              <a:rPr lang="ja-JP" altLang="en-US" sz="1100" b="1" dirty="0">
                <a:solidFill>
                  <a:srgbClr val="000000"/>
                </a:solidFill>
                <a:latin typeface="メイリオ" panose="020B0604030504040204" pitchFamily="50" charset="-128"/>
                <a:ea typeface="メイリオ" panose="020B0604030504040204" pitchFamily="50" charset="-128"/>
              </a:rPr>
              <a:t>がんクエスト（以下、「まんクエ」）」の実施</a:t>
            </a:r>
            <a:endParaRPr lang="en-US" altLang="ja-JP" sz="1100" b="1"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地域のコンテンツ及び参加者のニーズを踏まえ、プログラムを形成</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都市部（東京、神奈川等）のフリーランス（デザイナー等）や若者等をターゲットに</a:t>
            </a:r>
            <a:r>
              <a:rPr lang="ja-JP" altLang="en-US" sz="1100" dirty="0" err="1">
                <a:solidFill>
                  <a:srgbClr val="000000"/>
                </a:solidFill>
                <a:latin typeface="メイリオ" panose="020B0604030504040204" pitchFamily="50" charset="-128"/>
                <a:ea typeface="メイリオ" panose="020B0604030504040204" pitchFamily="50" charset="-128"/>
              </a:rPr>
              <a:t>まん</a:t>
            </a:r>
            <a:r>
              <a:rPr lang="ja-JP" altLang="en-US" sz="1100" dirty="0">
                <a:solidFill>
                  <a:srgbClr val="000000"/>
                </a:solidFill>
                <a:latin typeface="メイリオ" panose="020B0604030504040204" pitchFamily="50" charset="-128"/>
                <a:ea typeface="メイリオ" panose="020B0604030504040204" pitchFamily="50" charset="-128"/>
              </a:rPr>
              <a:t>クエを提供</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参加者、関係者へのヒアリング等による効果検証</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b="1" dirty="0">
                <a:solidFill>
                  <a:srgbClr val="990000"/>
                </a:solidFill>
                <a:latin typeface="メイリオ" panose="020B0604030504040204" pitchFamily="50" charset="-128"/>
                <a:ea typeface="メイリオ" panose="020B0604030504040204" pitchFamily="50" charset="-128"/>
              </a:rPr>
              <a:t>＜</a:t>
            </a:r>
            <a:r>
              <a:rPr lang="ja-JP" altLang="en-US" sz="1100" b="1" dirty="0" err="1">
                <a:solidFill>
                  <a:srgbClr val="990000"/>
                </a:solidFill>
                <a:latin typeface="メイリオ" panose="020B0604030504040204" pitchFamily="50" charset="-128"/>
                <a:ea typeface="メイリオ" panose="020B0604030504040204" pitchFamily="50" charset="-128"/>
              </a:rPr>
              <a:t>まん</a:t>
            </a:r>
            <a:r>
              <a:rPr lang="ja-JP" altLang="en-US" sz="1100" b="1" dirty="0">
                <a:solidFill>
                  <a:srgbClr val="990000"/>
                </a:solidFill>
                <a:latin typeface="メイリオ" panose="020B0604030504040204" pitchFamily="50" charset="-128"/>
                <a:ea typeface="メイリオ" panose="020B0604030504040204" pitchFamily="50" charset="-128"/>
              </a:rPr>
              <a:t>クエの内容（予定）＞</a:t>
            </a:r>
            <a:endParaRPr lang="en-US" altLang="ja-JP" sz="1100" b="1" dirty="0">
              <a:solidFill>
                <a:srgbClr val="99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　まんの</a:t>
            </a:r>
            <a:r>
              <a:rPr lang="ja-JP" altLang="en-US" sz="1100" dirty="0" err="1">
                <a:solidFill>
                  <a:srgbClr val="000000"/>
                </a:solidFill>
                <a:latin typeface="メイリオ" panose="020B0604030504040204" pitchFamily="50" charset="-128"/>
                <a:ea typeface="メイリオ" panose="020B0604030504040204" pitchFamily="50" charset="-128"/>
              </a:rPr>
              <a:t>う</a:t>
            </a:r>
            <a:r>
              <a:rPr lang="ja-JP" altLang="en-US" sz="1100" dirty="0">
                <a:solidFill>
                  <a:srgbClr val="000000"/>
                </a:solidFill>
                <a:latin typeface="メイリオ" panose="020B0604030504040204" pitchFamily="50" charset="-128"/>
                <a:ea typeface="メイリオ" panose="020B0604030504040204" pitchFamily="50" charset="-128"/>
              </a:rPr>
              <a:t>がんに関わる人材や営みを掘り起こし、体験コンテンツを形成</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ジビエ猟　・山菜狩り</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耕作放棄地の手入れ</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空き家活用</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郷土料理教室　等</a:t>
            </a:r>
          </a:p>
        </p:txBody>
      </p:sp>
      <p:pic>
        <p:nvPicPr>
          <p:cNvPr id="29" name="図 28">
            <a:extLst>
              <a:ext uri="{FF2B5EF4-FFF2-40B4-BE49-F238E27FC236}">
                <a16:creationId xmlns:a16="http://schemas.microsoft.com/office/drawing/2014/main" id="{87D8B685-1B88-DBFC-497D-1CA6071DA4C8}"/>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00174" y="6141680"/>
            <a:ext cx="690889" cy="721083"/>
          </a:xfrm>
          <a:prstGeom prst="rect">
            <a:avLst/>
          </a:prstGeom>
        </p:spPr>
      </p:pic>
      <p:sp>
        <p:nvSpPr>
          <p:cNvPr id="30" name="テキスト ボックス 66"/>
          <p:cNvSpPr txBox="1"/>
          <p:nvPr/>
        </p:nvSpPr>
        <p:spPr>
          <a:xfrm>
            <a:off x="6533605" y="1926443"/>
            <a:ext cx="2936065" cy="1277068"/>
          </a:xfrm>
          <a:prstGeom prst="rect">
            <a:avLst/>
          </a:prstGeom>
          <a:noFill/>
        </p:spPr>
        <p:txBody>
          <a:bodyPr wrap="square" rtlCol="0">
            <a:spAutoFit/>
          </a:bodyPr>
          <a:lstStyle/>
          <a:p>
            <a:pPr defTabSz="843914" fontAlgn="auto">
              <a:spcBef>
                <a:spcPts val="0"/>
              </a:spcBef>
              <a:spcAft>
                <a:spcPts val="0"/>
              </a:spcAft>
              <a:defRPr/>
            </a:pPr>
            <a:r>
              <a:rPr lang="ja-JP" altLang="en-US" sz="1100" b="1" dirty="0">
                <a:solidFill>
                  <a:srgbClr val="990000"/>
                </a:solidFill>
                <a:latin typeface="メイリオ" panose="020B0604030504040204" pitchFamily="50" charset="-128"/>
                <a:ea typeface="メイリオ" panose="020B0604030504040204" pitchFamily="50" charset="-128"/>
              </a:rPr>
              <a:t>＜実施目的＞</a:t>
            </a:r>
            <a:endParaRPr lang="en-US" altLang="ja-JP" sz="1100" b="1" dirty="0">
              <a:solidFill>
                <a:srgbClr val="990000"/>
              </a:solidFill>
              <a:latin typeface="メイリオ" panose="020B0604030504040204" pitchFamily="50" charset="-128"/>
              <a:ea typeface="メイリオ" panose="020B0604030504040204" pitchFamily="50" charset="-128"/>
            </a:endParaRPr>
          </a:p>
          <a:p>
            <a:pPr defTabSz="843914" fontAlgn="auto">
              <a:spcBef>
                <a:spcPts val="0"/>
              </a:spcBef>
              <a:spcAft>
                <a:spcPts val="0"/>
              </a:spcAft>
              <a:defRPr/>
            </a:pPr>
            <a:r>
              <a:rPr lang="ja-JP" altLang="en-US" sz="1100" dirty="0">
                <a:solidFill>
                  <a:srgbClr val="000000"/>
                </a:solidFill>
                <a:latin typeface="メイリオ" panose="020B0604030504040204" pitchFamily="50" charset="-128"/>
                <a:ea typeface="メイリオ" panose="020B0604030504040204" pitchFamily="50" charset="-128"/>
              </a:rPr>
              <a:t>　北九州市小倉南区東谷地区において、体験コンテンツ等（空き家</a:t>
            </a:r>
            <a:r>
              <a:rPr lang="en-US" altLang="ja-JP" sz="1100" dirty="0">
                <a:solidFill>
                  <a:srgbClr val="000000"/>
                </a:solidFill>
                <a:latin typeface="メイリオ" panose="020B0604030504040204" pitchFamily="50" charset="-128"/>
                <a:ea typeface="メイリオ" panose="020B0604030504040204" pitchFamily="50" charset="-128"/>
              </a:rPr>
              <a:t>DIY</a:t>
            </a:r>
            <a:r>
              <a:rPr lang="ja-JP" altLang="en-US" sz="1100" dirty="0">
                <a:solidFill>
                  <a:srgbClr val="000000"/>
                </a:solidFill>
                <a:latin typeface="メイリオ" panose="020B0604030504040204" pitchFamily="50" charset="-128"/>
                <a:ea typeface="メイリオ" panose="020B0604030504040204" pitchFamily="50" charset="-128"/>
              </a:rPr>
              <a:t>）を通しモニター参加者に地域と関わってもらい、二地域居住の推進に与える効果及び地域に及ぼす影響を検証し、住民の誇り醸成及び経済効果拡大を図る。</a:t>
            </a:r>
            <a:endParaRPr lang="en-US" altLang="ja-JP" sz="1100" dirty="0">
              <a:solidFill>
                <a:srgbClr val="000000"/>
              </a:solidFill>
              <a:latin typeface="メイリオ" panose="020B0604030504040204" pitchFamily="50" charset="-128"/>
              <a:ea typeface="メイリオ" panose="020B0604030504040204" pitchFamily="50" charset="-128"/>
            </a:endParaRPr>
          </a:p>
        </p:txBody>
      </p:sp>
      <p:sp>
        <p:nvSpPr>
          <p:cNvPr id="31" name="正方形/長方形 30"/>
          <p:cNvSpPr/>
          <p:nvPr/>
        </p:nvSpPr>
        <p:spPr>
          <a:xfrm>
            <a:off x="6624444" y="3203510"/>
            <a:ext cx="2731114" cy="3659253"/>
          </a:xfrm>
          <a:prstGeom prst="rect">
            <a:avLst/>
          </a:prstGeom>
          <a:solidFill>
            <a:srgbClr val="FFFF99"/>
          </a:solidFill>
          <a:ln>
            <a:solidFill>
              <a:srgbClr val="FFFF99"/>
            </a:solidFill>
          </a:ln>
        </p:spPr>
        <p:style>
          <a:lnRef idx="1">
            <a:schemeClr val="accent2"/>
          </a:lnRef>
          <a:fillRef idx="2">
            <a:schemeClr val="accent2"/>
          </a:fillRef>
          <a:effectRef idx="1">
            <a:schemeClr val="accent2"/>
          </a:effectRef>
          <a:fontRef idx="minor">
            <a:schemeClr val="dk1"/>
          </a:fontRef>
        </p:style>
        <p:txBody>
          <a:bodyPr rtlCol="0" anchor="t" anchorCtr="0"/>
          <a:lstStyle/>
          <a:p>
            <a:pPr defTabSz="914217">
              <a:defRPr/>
            </a:pPr>
            <a:r>
              <a:rPr lang="ja-JP" altLang="en-US" sz="1100" b="1" dirty="0">
                <a:solidFill>
                  <a:srgbClr val="990000"/>
                </a:solidFill>
                <a:latin typeface="メイリオ" panose="020B0604030504040204" pitchFamily="50" charset="-128"/>
                <a:ea typeface="メイリオ" panose="020B0604030504040204" pitchFamily="50" charset="-128"/>
              </a:rPr>
              <a:t>＜実施概要＞</a:t>
            </a:r>
            <a:endParaRPr lang="en-US" altLang="ja-JP" sz="1100" b="1" dirty="0">
              <a:solidFill>
                <a:srgbClr val="990000"/>
              </a:solidFill>
              <a:latin typeface="メイリオ" panose="020B0604030504040204" pitchFamily="50" charset="-128"/>
              <a:ea typeface="メイリオ" panose="020B0604030504040204" pitchFamily="50" charset="-128"/>
            </a:endParaRPr>
          </a:p>
          <a:p>
            <a:pPr defTabSz="914217">
              <a:defRPr/>
            </a:pPr>
            <a:r>
              <a:rPr lang="ja-JP" altLang="en-US" sz="1100" b="1" dirty="0">
                <a:solidFill>
                  <a:srgbClr val="000000"/>
                </a:solidFill>
                <a:latin typeface="メイリオ" panose="020B0604030504040204" pitchFamily="50" charset="-128"/>
                <a:ea typeface="メイリオ" panose="020B0604030504040204" pitchFamily="50" charset="-128"/>
              </a:rPr>
              <a:t>○オンライン調査により、想定する潜在顧客の洗出しを行う。また、モニター参加者に地域での体験コンテンツを通し、地域の生活に触れてもらうことで、住民と交流を図る。また、地域住民を対象としたまちの将来像を検討するワークショップを行う。それにより、二地域居住に与える影響を来訪者・住民の双方の視点から調査し、持続可能な戦略策定につなげる。</a:t>
            </a:r>
          </a:p>
          <a:p>
            <a:pPr defTabSz="914217">
              <a:defRPr/>
            </a:pPr>
            <a:r>
              <a:rPr lang="ja-JP" altLang="en-US" sz="1100" b="1" dirty="0">
                <a:solidFill>
                  <a:srgbClr val="990000"/>
                </a:solidFill>
                <a:latin typeface="メイリオ" panose="020B0604030504040204" pitchFamily="50" charset="-128"/>
                <a:ea typeface="メイリオ" panose="020B0604030504040204" pitchFamily="50" charset="-128"/>
              </a:rPr>
              <a:t>＜取組内容（予定）＞</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①調査関係</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オンライン意識調査の実施（周辺地域における潜在市場調査）</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モニター参加者へのアンケート、聞き取り調査</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②地域の体制づくりに関する取組</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企画策定ワークショップの実施</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コンシェルジュの育成</a:t>
            </a:r>
            <a:endParaRPr lang="en-US" altLang="ja-JP" sz="1100" dirty="0">
              <a:solidFill>
                <a:srgbClr val="000000"/>
              </a:solidFill>
              <a:latin typeface="メイリオ" panose="020B0604030504040204" pitchFamily="50" charset="-128"/>
              <a:ea typeface="メイリオ" panose="020B0604030504040204" pitchFamily="50" charset="-128"/>
            </a:endParaRPr>
          </a:p>
          <a:p>
            <a:pPr defTabSz="914217">
              <a:defRPr/>
            </a:pPr>
            <a:r>
              <a:rPr lang="ja-JP" altLang="en-US" sz="1100" dirty="0">
                <a:solidFill>
                  <a:srgbClr val="000000"/>
                </a:solidFill>
                <a:latin typeface="メイリオ" panose="020B0604030504040204" pitchFamily="50" charset="-128"/>
                <a:ea typeface="メイリオ" panose="020B0604030504040204" pitchFamily="50" charset="-128"/>
              </a:rPr>
              <a:t>③次年度の二地域居住施策戦略の立案</a:t>
            </a:r>
          </a:p>
        </p:txBody>
      </p:sp>
      <p:pic>
        <p:nvPicPr>
          <p:cNvPr id="2" name="図 1"/>
          <p:cNvPicPr>
            <a:picLocks noChangeAspect="1"/>
          </p:cNvPicPr>
          <p:nvPr/>
        </p:nvPicPr>
        <p:blipFill>
          <a:blip r:embed="rId4"/>
          <a:stretch>
            <a:fillRect/>
          </a:stretch>
        </p:blipFill>
        <p:spPr>
          <a:xfrm>
            <a:off x="2483756" y="6370663"/>
            <a:ext cx="791866" cy="555991"/>
          </a:xfrm>
          <a:prstGeom prst="rect">
            <a:avLst/>
          </a:prstGeom>
        </p:spPr>
      </p:pic>
      <p:sp>
        <p:nvSpPr>
          <p:cNvPr id="4" name="フッター プレースホルダー 3">
            <a:extLst>
              <a:ext uri="{FF2B5EF4-FFF2-40B4-BE49-F238E27FC236}">
                <a16:creationId xmlns:a16="http://schemas.microsoft.com/office/drawing/2014/main" id="{8172EFF5-CCF8-C45C-F833-1066920D2604}"/>
              </a:ext>
            </a:extLst>
          </p:cNvPr>
          <p:cNvSpPr>
            <a:spLocks noGrp="1"/>
          </p:cNvSpPr>
          <p:nvPr>
            <p:ph type="ftr" sz="quarter" idx="11"/>
          </p:nvPr>
        </p:nvSpPr>
        <p:spPr/>
        <p:txBody>
          <a:bodyPr/>
          <a:lstStyle/>
          <a:p>
            <a:pPr>
              <a:defRPr/>
            </a:pPr>
            <a:endParaRPr lang="en-US" altLang="ja-JP" dirty="0"/>
          </a:p>
        </p:txBody>
      </p:sp>
      <p:sp>
        <p:nvSpPr>
          <p:cNvPr id="5" name="スライド番号プレースホルダー 4">
            <a:extLst>
              <a:ext uri="{FF2B5EF4-FFF2-40B4-BE49-F238E27FC236}">
                <a16:creationId xmlns:a16="http://schemas.microsoft.com/office/drawing/2014/main" id="{2F0364B1-D033-6539-F792-6125C56ABD15}"/>
              </a:ext>
            </a:extLst>
          </p:cNvPr>
          <p:cNvSpPr>
            <a:spLocks noGrp="1"/>
          </p:cNvSpPr>
          <p:nvPr>
            <p:ph type="sldNum" sz="quarter" idx="12"/>
          </p:nvPr>
        </p:nvSpPr>
        <p:spPr/>
        <p:txBody>
          <a:bodyPr/>
          <a:lstStyle/>
          <a:p>
            <a:pPr>
              <a:defRPr/>
            </a:pPr>
            <a:fld id="{651FC12D-27C1-4F31-90C9-A93D49E44687}" type="slidenum">
              <a:rPr lang="en-US" altLang="ja-JP" smtClean="0"/>
              <a:pPr>
                <a:defRPr/>
              </a:pPr>
              <a:t>53</a:t>
            </a:fld>
            <a:endParaRPr lang="en-US" altLang="ja-JP" dirty="0"/>
          </a:p>
        </p:txBody>
      </p:sp>
    </p:spTree>
    <p:extLst>
      <p:ext uri="{BB962C8B-B14F-4D97-AF65-F5344CB8AC3E}">
        <p14:creationId xmlns:p14="http://schemas.microsoft.com/office/powerpoint/2010/main" val="9551084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3" name="Rectangle 127"/>
          <p:cNvSpPr txBox="1">
            <a:spLocks noChangeArrowheads="1"/>
          </p:cNvSpPr>
          <p:nvPr/>
        </p:nvSpPr>
        <p:spPr>
          <a:xfrm>
            <a:off x="271686" y="-24774"/>
            <a:ext cx="7788316" cy="476174"/>
          </a:xfrm>
          <a:prstGeom prst="rect">
            <a:avLst/>
          </a:prstGeom>
          <a:noFill/>
          <a:ln w="9525">
            <a:noFill/>
            <a:miter lim="800000"/>
            <a:headEnd/>
            <a:tailEnd/>
          </a:ln>
          <a:effectLst/>
        </p:spPr>
        <p:txBody>
          <a:bodyPr anchor="ctr">
            <a:normAutofit/>
          </a:bodyPr>
          <a:lstStyle/>
          <a:p>
            <a:pPr defTabSz="914217" fontAlgn="auto">
              <a:spcBef>
                <a:spcPts val="0"/>
              </a:spcBef>
              <a:spcAft>
                <a:spcPts val="0"/>
              </a:spcAft>
              <a:defRPr/>
            </a:pPr>
            <a:r>
              <a:rPr lang="ja-JP" altLang="en-US" sz="2400" dirty="0">
                <a:solidFill>
                  <a:srgbClr val="0070C0"/>
                </a:solidFill>
                <a:latin typeface="HGP創英角ｺﾞｼｯｸUB" pitchFamily="50" charset="-128"/>
                <a:ea typeface="HGP創英角ｺﾞｼｯｸUB" pitchFamily="50" charset="-128"/>
              </a:rPr>
              <a:t>二地域居住等関連施策一覧（国土交通省関係）</a:t>
            </a:r>
          </a:p>
        </p:txBody>
      </p:sp>
      <p:graphicFrame>
        <p:nvGraphicFramePr>
          <p:cNvPr id="1534" name="表 4"/>
          <p:cNvGraphicFramePr>
            <a:graphicFrameLocks noGrp="1"/>
          </p:cNvGraphicFramePr>
          <p:nvPr/>
        </p:nvGraphicFramePr>
        <p:xfrm>
          <a:off x="128444" y="999992"/>
          <a:ext cx="9647524" cy="6220771"/>
        </p:xfrm>
        <a:graphic>
          <a:graphicData uri="http://schemas.openxmlformats.org/drawingml/2006/table">
            <a:tbl>
              <a:tblPr>
                <a:tableStyleId>{5940675A-B579-460E-94D1-54222C63F5DA}</a:tableStyleId>
              </a:tblPr>
              <a:tblGrid>
                <a:gridCol w="417944">
                  <a:extLst>
                    <a:ext uri="{9D8B030D-6E8A-4147-A177-3AD203B41FA5}">
                      <a16:colId xmlns:a16="http://schemas.microsoft.com/office/drawing/2014/main" val="20000"/>
                    </a:ext>
                  </a:extLst>
                </a:gridCol>
                <a:gridCol w="1688134">
                  <a:extLst>
                    <a:ext uri="{9D8B030D-6E8A-4147-A177-3AD203B41FA5}">
                      <a16:colId xmlns:a16="http://schemas.microsoft.com/office/drawing/2014/main" val="20001"/>
                    </a:ext>
                  </a:extLst>
                </a:gridCol>
                <a:gridCol w="4157614">
                  <a:extLst>
                    <a:ext uri="{9D8B030D-6E8A-4147-A177-3AD203B41FA5}">
                      <a16:colId xmlns:a16="http://schemas.microsoft.com/office/drawing/2014/main" val="20002"/>
                    </a:ext>
                  </a:extLst>
                </a:gridCol>
                <a:gridCol w="791961">
                  <a:extLst>
                    <a:ext uri="{9D8B030D-6E8A-4147-A177-3AD203B41FA5}">
                      <a16:colId xmlns:a16="http://schemas.microsoft.com/office/drawing/2014/main" val="20003"/>
                    </a:ext>
                  </a:extLst>
                </a:gridCol>
                <a:gridCol w="791961">
                  <a:extLst>
                    <a:ext uri="{9D8B030D-6E8A-4147-A177-3AD203B41FA5}">
                      <a16:colId xmlns:a16="http://schemas.microsoft.com/office/drawing/2014/main" val="2649889663"/>
                    </a:ext>
                  </a:extLst>
                </a:gridCol>
                <a:gridCol w="791961">
                  <a:extLst>
                    <a:ext uri="{9D8B030D-6E8A-4147-A177-3AD203B41FA5}">
                      <a16:colId xmlns:a16="http://schemas.microsoft.com/office/drawing/2014/main" val="430520686"/>
                    </a:ext>
                  </a:extLst>
                </a:gridCol>
                <a:gridCol w="1007949">
                  <a:extLst>
                    <a:ext uri="{9D8B030D-6E8A-4147-A177-3AD203B41FA5}">
                      <a16:colId xmlns:a16="http://schemas.microsoft.com/office/drawing/2014/main" val="20005"/>
                    </a:ext>
                  </a:extLst>
                </a:gridCol>
              </a:tblGrid>
              <a:tr h="194168">
                <a:tc rowSpan="2">
                  <a:txBody>
                    <a:bodyPr/>
                    <a:lstStyle/>
                    <a:p>
                      <a:pPr algn="ctr"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主な</a:t>
                      </a:r>
                      <a:endPar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区分</a:t>
                      </a:r>
                    </a:p>
                  </a:txBody>
                  <a:tcPr marL="3795" marR="3795" marT="3795" marB="0" anchor="ctr">
                    <a:solidFill>
                      <a:schemeClr val="bg1">
                        <a:lumMod val="85000"/>
                      </a:schemeClr>
                    </a:solidFill>
                  </a:tcPr>
                </a:tc>
                <a:tc rowSpan="2">
                  <a:txBody>
                    <a:bodyPr/>
                    <a:lstStyle/>
                    <a:p>
                      <a:pPr algn="ctr" fontAlgn="ctr"/>
                      <a:r>
                        <a:rPr lang="ja-JP" altLang="en-US" sz="900" u="none" strike="noStrike" dirty="0">
                          <a:solidFill>
                            <a:schemeClr val="tx1"/>
                          </a:solidFill>
                          <a:effectLst/>
                        </a:rPr>
                        <a:t>施策名</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795" marR="3795" marT="3795" marB="0" anchor="ctr">
                    <a:solidFill>
                      <a:schemeClr val="bg1">
                        <a:lumMod val="85000"/>
                      </a:schemeClr>
                    </a:solidFill>
                  </a:tcPr>
                </a:tc>
                <a:tc rowSpan="2">
                  <a:txBody>
                    <a:bodyPr/>
                    <a:lstStyle/>
                    <a:p>
                      <a:pPr algn="ctr" fontAlgn="ctr"/>
                      <a:r>
                        <a:rPr lang="ja-JP" altLang="en-US" sz="900" u="none" strike="noStrike" dirty="0">
                          <a:solidFill>
                            <a:schemeClr val="tx1"/>
                          </a:solidFill>
                          <a:effectLst/>
                        </a:rPr>
                        <a:t>施策内容等</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795" marR="3795" marT="3795" marB="0" anchor="ctr">
                    <a:solidFill>
                      <a:schemeClr val="bg1">
                        <a:lumMod val="85000"/>
                      </a:schemeClr>
                    </a:solidFill>
                  </a:tcPr>
                </a:tc>
                <a:tc grid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予算額（百万円）</a:t>
                      </a:r>
                      <a:endPar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795" marR="3795" marT="3795" marB="0" anchor="ctr">
                    <a:solidFill>
                      <a:schemeClr val="bg1">
                        <a:lumMod val="85000"/>
                      </a:scheme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200" b="0" i="0" u="none" strike="noStrike" dirty="0">
                        <a:solidFill>
                          <a:srgbClr val="FF0000"/>
                        </a:solidFill>
                        <a:effectLst/>
                        <a:latin typeface="ＭＳ Ｐゴシック" panose="020B0600070205080204" pitchFamily="50" charset="-128"/>
                        <a:ea typeface="ＭＳ Ｐゴシック" panose="020B0600070205080204" pitchFamily="50" charset="-128"/>
                      </a:endParaRPr>
                    </a:p>
                  </a:txBody>
                  <a:tcPr marL="3854" marR="3854" marT="3854" marB="0" anchor="ctr">
                    <a:solidFill>
                      <a:schemeClr val="bg1">
                        <a:lumMod val="85000"/>
                      </a:scheme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796" marR="3796" marT="3796" marB="0" anchor="ctr">
                    <a:solidFill>
                      <a:schemeClr val="bg1">
                        <a:lumMod val="85000"/>
                      </a:schemeClr>
                    </a:solidFill>
                  </a:tcPr>
                </a:tc>
                <a:tc rowSpan="2">
                  <a:txBody>
                    <a:bodyPr/>
                    <a:lstStyle/>
                    <a:p>
                      <a:pPr algn="ctr" fontAlgn="ctr"/>
                      <a:r>
                        <a:rPr lang="ja-JP" altLang="en-US" sz="900" u="none" strike="noStrike" dirty="0">
                          <a:solidFill>
                            <a:schemeClr val="tx1"/>
                          </a:solidFill>
                          <a:effectLst/>
                        </a:rPr>
                        <a:t>担当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solidFill>
                      <a:schemeClr val="bg1">
                        <a:lumMod val="85000"/>
                      </a:schemeClr>
                    </a:solidFill>
                  </a:tcPr>
                </a:tc>
                <a:extLst>
                  <a:ext uri="{0D108BD9-81ED-4DB2-BD59-A6C34878D82A}">
                    <a16:rowId xmlns:a16="http://schemas.microsoft.com/office/drawing/2014/main" val="10000"/>
                  </a:ext>
                </a:extLst>
              </a:tr>
              <a:tr h="285776">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rPr>
                        <a:t>R</a:t>
                      </a: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６</a:t>
                      </a:r>
                      <a:endPar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当初</a:t>
                      </a:r>
                      <a:endParaRPr lang="en-US" altLang="ja-JP" sz="900" b="0" i="0" u="none" strike="sngStrike" dirty="0">
                        <a:solidFill>
                          <a:schemeClr val="tx1"/>
                        </a:solidFill>
                        <a:effectLst/>
                        <a:latin typeface="ＭＳ Ｐゴシック" panose="020B0600070205080204" pitchFamily="50" charset="-128"/>
                        <a:ea typeface="ＭＳ Ｐゴシック" panose="020B0600070205080204" pitchFamily="50" charset="-128"/>
                      </a:endParaRPr>
                    </a:p>
                  </a:txBody>
                  <a:tcPr marL="3795" marR="3795" marT="3795" marB="0" anchor="ctr">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rPr>
                        <a:t>R</a:t>
                      </a: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５</a:t>
                      </a:r>
                      <a:endPar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u="none" strike="noStrike" dirty="0">
                          <a:solidFill>
                            <a:schemeClr val="tx1"/>
                          </a:solidFill>
                          <a:effectLst/>
                        </a:rPr>
                        <a:t>当初</a:t>
                      </a:r>
                      <a:endParaRPr lang="en-US" altLang="ja-JP" sz="900" u="none" strike="noStrike" dirty="0">
                        <a:solidFill>
                          <a:schemeClr val="tx1"/>
                        </a:solidFill>
                        <a:effectLst/>
                      </a:endParaRPr>
                    </a:p>
                  </a:txBody>
                  <a:tcPr marL="3795" marR="3795" marT="3795" marB="0" anchor="ctr">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rPr>
                        <a:t>R</a:t>
                      </a: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５</a:t>
                      </a:r>
                      <a:endPar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900" u="none" strike="noStrike" dirty="0">
                          <a:solidFill>
                            <a:schemeClr val="tx1"/>
                          </a:solidFill>
                          <a:effectLst/>
                        </a:rPr>
                        <a:t>補正</a:t>
                      </a:r>
                      <a:endParaRPr lang="en-US" altLang="ja-JP" sz="900" u="none" strike="noStrike" dirty="0">
                        <a:solidFill>
                          <a:schemeClr val="tx1"/>
                        </a:solidFill>
                        <a:effectLst/>
                      </a:endParaRPr>
                    </a:p>
                  </a:txBody>
                  <a:tcPr marL="3795" marR="3795" marT="3795" marB="0" anchor="ctr">
                    <a:solidFill>
                      <a:schemeClr val="bg1">
                        <a:lumMod val="85000"/>
                      </a:schemeClr>
                    </a:solidFill>
                  </a:tcPr>
                </a:tc>
                <a:tc vMerge="1">
                  <a:txBody>
                    <a:bodyPr/>
                    <a:lstStyle/>
                    <a:p>
                      <a:endParaRPr kumimoji="1" lang="ja-JP" altLang="en-US"/>
                    </a:p>
                  </a:txBody>
                  <a:tcPr/>
                </a:tc>
                <a:extLst>
                  <a:ext uri="{0D108BD9-81ED-4DB2-BD59-A6C34878D82A}">
                    <a16:rowId xmlns:a16="http://schemas.microsoft.com/office/drawing/2014/main" val="1579111495"/>
                  </a:ext>
                </a:extLst>
              </a:tr>
              <a:tr h="499016">
                <a:tc rowSpan="2">
                  <a:txBody>
                    <a:bodyPr/>
                    <a:lstStyle/>
                    <a:p>
                      <a:pPr algn="ctr" fontAlgn="ctr"/>
                      <a:r>
                        <a:rPr lang="ja-JP" altLang="en-US" sz="900" u="none" strike="noStrike" dirty="0">
                          <a:solidFill>
                            <a:schemeClr val="tx1"/>
                          </a:solidFill>
                          <a:effectLst/>
                        </a:rPr>
                        <a:t>情報提供</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795" marR="3795" marT="3795" marB="0" vert="eaVert" anchor="ctr">
                    <a:solidFill>
                      <a:schemeClr val="bg1"/>
                    </a:solidFill>
                  </a:tcPr>
                </a:tc>
                <a:tc>
                  <a:txBody>
                    <a:bodyPr/>
                    <a:lstStyle/>
                    <a:p>
                      <a:pPr algn="l" fontAlgn="ctr">
                        <a:lnSpc>
                          <a:spcPts val="1300"/>
                        </a:lnSpc>
                      </a:pPr>
                      <a:r>
                        <a:rPr lang="ja-JP" altLang="en-US" sz="900" u="none" strike="noStrike" dirty="0">
                          <a:solidFill>
                            <a:schemeClr val="tx1"/>
                          </a:solidFill>
                          <a:effectLst/>
                        </a:rPr>
                        <a:t>新しい生活様式に沿った二地域居住の推進調査</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795" marT="3795" marB="0" anchor="ctr"/>
                </a:tc>
                <a:tc>
                  <a:txBody>
                    <a:bodyPr/>
                    <a:lstStyle/>
                    <a:p>
                      <a:pPr algn="l" fontAlgn="ctr">
                        <a:lnSpc>
                          <a:spcPts val="1300"/>
                        </a:lnSpc>
                      </a:pPr>
                      <a:r>
                        <a:rPr lang="ja-JP" altLang="en-US" sz="900" dirty="0">
                          <a:solidFill>
                            <a:schemeClr val="tx1"/>
                          </a:solidFill>
                        </a:rPr>
                        <a:t>先導的な二地域居住等の取組の実証調査を行うとともに、</a:t>
                      </a:r>
                      <a:r>
                        <a:rPr lang="ja-JP" altLang="en-US" sz="900" strike="noStrike" dirty="0">
                          <a:solidFill>
                            <a:schemeClr val="tx1"/>
                          </a:solidFill>
                        </a:rPr>
                        <a:t>有識者会議において施策等の議論の深掘りを行い、</a:t>
                      </a:r>
                      <a:r>
                        <a:rPr lang="ja-JP" altLang="en-US" sz="900" dirty="0">
                          <a:solidFill>
                            <a:schemeClr val="tx1"/>
                          </a:solidFill>
                        </a:rPr>
                        <a:t>調査・検討結果について地方公共団体・民間企業等に情報発信を行う。</a:t>
                      </a:r>
                      <a:endParaRPr lang="en-US" altLang="ja-JP" sz="900" dirty="0">
                        <a:solidFill>
                          <a:schemeClr val="tx1"/>
                        </a:solidFill>
                      </a:endParaRPr>
                    </a:p>
                  </a:txBody>
                  <a:tcPr marL="35457" marR="35457" marT="3795" marB="0" anchor="ctr"/>
                </a:tc>
                <a:tc>
                  <a:txBody>
                    <a:bodyPr/>
                    <a:lstStyle/>
                    <a:p>
                      <a:pPr algn="r" fontAlgn="ctr">
                        <a:lnSpc>
                          <a:spcPts val="1300"/>
                        </a:lnSpc>
                      </a:pPr>
                      <a:r>
                        <a:rPr lang="en-US" altLang="ja-JP" sz="900" b="0" i="0" u="none" strike="noStrike" dirty="0">
                          <a:solidFill>
                            <a:schemeClr val="tx1"/>
                          </a:solidFill>
                          <a:effectLst/>
                          <a:latin typeface="+mn-ea"/>
                          <a:ea typeface="+mn-ea"/>
                        </a:rPr>
                        <a:t>13</a:t>
                      </a:r>
                    </a:p>
                  </a:txBody>
                  <a:tcPr marL="35457" marR="35457" marT="3795" marB="0" anchor="ctr">
                    <a:noFill/>
                  </a:tcPr>
                </a:tc>
                <a:tc>
                  <a:txBody>
                    <a:bodyPr/>
                    <a:lstStyle/>
                    <a:p>
                      <a:pPr algn="r" fontAlgn="ctr">
                        <a:lnSpc>
                          <a:spcPts val="1300"/>
                        </a:lnSpc>
                      </a:pPr>
                      <a:r>
                        <a:rPr lang="en-US" altLang="ja-JP" sz="900" b="0" i="0" u="none" strike="noStrike" dirty="0">
                          <a:solidFill>
                            <a:schemeClr val="tx1"/>
                          </a:solidFill>
                          <a:effectLst/>
                          <a:latin typeface="+mn-ea"/>
                          <a:ea typeface="+mn-ea"/>
                        </a:rPr>
                        <a:t>18</a:t>
                      </a:r>
                    </a:p>
                  </a:txBody>
                  <a:tcPr marL="35457" marR="35457" marT="3795" marB="0" anchor="ctr"/>
                </a:tc>
                <a:tc>
                  <a:txBody>
                    <a:bodyPr/>
                    <a:lstStyle/>
                    <a:p>
                      <a:pPr marL="0" marR="0" lvl="0" indent="0" algn="r" defTabSz="914400"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algn="l" fontAlgn="ctr">
                        <a:lnSpc>
                          <a:spcPts val="1300"/>
                        </a:lnSpc>
                      </a:pPr>
                      <a:r>
                        <a:rPr lang="zh-CN" altLang="en-US" sz="900" u="none" strike="noStrike" dirty="0">
                          <a:solidFill>
                            <a:schemeClr val="tx1"/>
                          </a:solidFill>
                          <a:effectLst/>
                        </a:rPr>
                        <a:t>国土交通省</a:t>
                      </a:r>
                      <a:endParaRPr lang="en-US" altLang="zh-CN" sz="900" u="none" strike="noStrike" dirty="0">
                        <a:solidFill>
                          <a:schemeClr val="tx1"/>
                        </a:solidFill>
                        <a:effectLst/>
                      </a:endParaRPr>
                    </a:p>
                    <a:p>
                      <a:pPr algn="l" fontAlgn="ctr">
                        <a:lnSpc>
                          <a:spcPts val="1300"/>
                        </a:lnSpc>
                      </a:pPr>
                      <a:r>
                        <a:rPr lang="zh-CN" altLang="en-US" sz="900" u="none" strike="noStrike" dirty="0">
                          <a:solidFill>
                            <a:schemeClr val="tx1"/>
                          </a:solidFill>
                          <a:effectLst/>
                        </a:rPr>
                        <a:t>国土政策局</a:t>
                      </a:r>
                      <a:endParaRPr lang="zh-CN"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extLst>
                  <a:ext uri="{0D108BD9-81ED-4DB2-BD59-A6C34878D82A}">
                    <a16:rowId xmlns:a16="http://schemas.microsoft.com/office/drawing/2014/main" val="10002"/>
                  </a:ext>
                </a:extLst>
              </a:tr>
              <a:tr h="431931">
                <a:tc vMerge="1">
                  <a:txBody>
                    <a:bodyPr/>
                    <a:lstStyle/>
                    <a:p>
                      <a:pPr algn="ctr" fontAlgn="ct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796" marR="3796" marT="3796" marB="0" vert="eaVert" anchor="ctr">
                    <a:solidFill>
                      <a:schemeClr val="bg1"/>
                    </a:solidFill>
                  </a:tcPr>
                </a:tc>
                <a:tc>
                  <a:txBody>
                    <a:bodyPr/>
                    <a:lstStyle/>
                    <a:p>
                      <a:pPr algn="l" fontAlgn="ctr">
                        <a:lnSpc>
                          <a:spcPts val="1300"/>
                        </a:lnSpc>
                      </a:pP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移住等促進に係る体制整備や取り組みに関する実証調査</a:t>
                      </a:r>
                    </a:p>
                  </a:txBody>
                  <a:tcPr marL="35457" marR="3795" marT="3795" marB="0" anchor="ctr"/>
                </a:tc>
                <a:tc>
                  <a:txBody>
                    <a:bodyPr/>
                    <a:lstStyle/>
                    <a:p>
                      <a:pPr algn="l" fontAlgn="ctr">
                        <a:lnSpc>
                          <a:spcPts val="1300"/>
                        </a:lnSpc>
                      </a:pPr>
                      <a:r>
                        <a:rPr lang="ja-JP" altLang="en-US" sz="900" dirty="0">
                          <a:solidFill>
                            <a:schemeClr val="tx1"/>
                          </a:solidFill>
                        </a:rPr>
                        <a:t>移住等支援団体が、地方公共団体等や地域の多様な主体と連携して行う、移住者等の受け入れ体制づくりに関する先導的な取り組みに対して支援を行う。</a:t>
                      </a:r>
                      <a:endParaRPr lang="en-US" altLang="ja-JP" sz="900" dirty="0">
                        <a:solidFill>
                          <a:schemeClr val="tx1"/>
                        </a:solidFill>
                      </a:endParaRPr>
                    </a:p>
                  </a:txBody>
                  <a:tcPr marL="35457" marR="35457" marT="3795" marB="0" anchor="ctr"/>
                </a:tc>
                <a:tc>
                  <a:txBody>
                    <a:bodyPr/>
                    <a:lstStyle/>
                    <a:p>
                      <a:pPr marL="0" marR="0" lvl="0" indent="0" algn="r" defTabSz="914400"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noFill/>
                  </a:tcPr>
                </a:tc>
                <a:tc>
                  <a:txBody>
                    <a:bodyPr/>
                    <a:lstStyle/>
                    <a:p>
                      <a:pPr marL="0" marR="0" lvl="0" indent="0" algn="r" defTabSz="914400"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algn="r" fontAlgn="ctr">
                        <a:lnSpc>
                          <a:spcPts val="1300"/>
                        </a:lnSpc>
                      </a:pPr>
                      <a:r>
                        <a:rPr lang="en-US" altLang="ja-JP" sz="900" b="0" i="0" u="none" strike="noStrike" dirty="0">
                          <a:solidFill>
                            <a:schemeClr val="tx1"/>
                          </a:solidFill>
                          <a:effectLst/>
                          <a:latin typeface="+mn-ea"/>
                          <a:ea typeface="+mn-ea"/>
                        </a:rPr>
                        <a:t>30</a:t>
                      </a:r>
                    </a:p>
                  </a:txBody>
                  <a:tcPr marL="35457" marR="35457" marT="3795" marB="0" anchor="ctr"/>
                </a:tc>
                <a:tc>
                  <a:txBody>
                    <a:bodyPr/>
                    <a:lstStyle/>
                    <a:p>
                      <a:pPr marL="0" marR="0" lvl="0" indent="0" algn="l" defTabSz="914400" rtl="0" eaLnBrk="1" fontAlgn="ctr" latinLnBrk="0" hangingPunct="1">
                        <a:lnSpc>
                          <a:spcPts val="1300"/>
                        </a:lnSpc>
                        <a:spcBef>
                          <a:spcPts val="0"/>
                        </a:spcBef>
                        <a:spcAft>
                          <a:spcPts val="0"/>
                        </a:spcAft>
                        <a:buClrTx/>
                        <a:buSzTx/>
                        <a:buFontTx/>
                        <a:buNone/>
                        <a:tabLst/>
                        <a:defRPr/>
                      </a:pPr>
                      <a:r>
                        <a:rPr lang="zh-CN" altLang="en-US" sz="900" u="none" strike="noStrike" dirty="0">
                          <a:solidFill>
                            <a:schemeClr val="tx1"/>
                          </a:solidFill>
                          <a:effectLst/>
                        </a:rPr>
                        <a:t>国土交通省</a:t>
                      </a:r>
                      <a:endParaRPr lang="en-US" altLang="zh-CN" sz="900" u="none" strike="noStrike" dirty="0">
                        <a:solidFill>
                          <a:schemeClr val="tx1"/>
                        </a:solidFill>
                        <a:effectLst/>
                      </a:endParaRPr>
                    </a:p>
                    <a:p>
                      <a:pPr marL="0" marR="0" lvl="0" indent="0" algn="l" defTabSz="914400" rtl="0" eaLnBrk="1" fontAlgn="ctr" latinLnBrk="0" hangingPunct="1">
                        <a:lnSpc>
                          <a:spcPts val="1300"/>
                        </a:lnSpc>
                        <a:spcBef>
                          <a:spcPts val="0"/>
                        </a:spcBef>
                        <a:spcAft>
                          <a:spcPts val="0"/>
                        </a:spcAft>
                        <a:buClrTx/>
                        <a:buSzTx/>
                        <a:buFontTx/>
                        <a:buNone/>
                        <a:tabLst/>
                        <a:defRPr/>
                      </a:pPr>
                      <a:r>
                        <a:rPr lang="zh-CN" altLang="en-US" sz="900" u="none" strike="noStrike" dirty="0">
                          <a:solidFill>
                            <a:schemeClr val="tx1"/>
                          </a:solidFill>
                          <a:effectLst/>
                        </a:rPr>
                        <a:t>国土政策局</a:t>
                      </a:r>
                      <a:endParaRPr lang="zh-CN"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extLst>
                  <a:ext uri="{0D108BD9-81ED-4DB2-BD59-A6C34878D82A}">
                    <a16:rowId xmlns:a16="http://schemas.microsoft.com/office/drawing/2014/main" val="3961986974"/>
                  </a:ext>
                </a:extLst>
              </a:tr>
              <a:tr h="431931">
                <a:tc rowSpan="3">
                  <a:txBody>
                    <a:bodyPr/>
                    <a:lstStyle/>
                    <a:p>
                      <a:pPr algn="ctr" fontAlgn="ctr"/>
                      <a:r>
                        <a:rPr lang="ja-JP" altLang="en-US" sz="900" u="none" strike="noStrike" dirty="0">
                          <a:solidFill>
                            <a:schemeClr val="tx1"/>
                          </a:solidFill>
                          <a:effectLst/>
                        </a:rPr>
                        <a:t>住まい</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795" marR="3795" marT="3795" marB="0" vert="eaVert" anchor="ctr">
                    <a:solidFill>
                      <a:schemeClr val="bg1"/>
                    </a:solidFill>
                  </a:tcPr>
                </a:tc>
                <a:tc>
                  <a:txBody>
                    <a:bodyPr/>
                    <a:lstStyle/>
                    <a:p>
                      <a:pPr algn="l" fontAlgn="ctr">
                        <a:lnSpc>
                          <a:spcPts val="1300"/>
                        </a:lnSpc>
                      </a:pPr>
                      <a:r>
                        <a:rPr lang="ja-JP" altLang="en-US" sz="900" u="none" strike="noStrike" dirty="0">
                          <a:solidFill>
                            <a:schemeClr val="tx1"/>
                          </a:solidFill>
                          <a:effectLst/>
                        </a:rPr>
                        <a:t>フラット３５</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795" marT="3795" marB="0" anchor="ctr"/>
                </a:tc>
                <a:tc>
                  <a:txBody>
                    <a:bodyPr/>
                    <a:lstStyle/>
                    <a:p>
                      <a:pPr algn="l" fontAlgn="ctr">
                        <a:lnSpc>
                          <a:spcPts val="1300"/>
                        </a:lnSpc>
                      </a:pPr>
                      <a:r>
                        <a:rPr lang="ja-JP" altLang="en-US" sz="900" u="none" strike="noStrike" dirty="0">
                          <a:solidFill>
                            <a:schemeClr val="tx1"/>
                          </a:solidFill>
                          <a:effectLst/>
                        </a:rPr>
                        <a:t>民間金融機関の全期間固定金利の住宅ローンを支援。　</a:t>
                      </a:r>
                      <a:endParaRPr lang="en-US" altLang="ja-JP" sz="900" u="none" strike="noStrike" dirty="0">
                        <a:solidFill>
                          <a:schemeClr val="tx1"/>
                        </a:solidFill>
                        <a:effectLst/>
                      </a:endParaRPr>
                    </a:p>
                    <a:p>
                      <a:pPr algn="l" fontAlgn="ctr">
                        <a:lnSpc>
                          <a:spcPts val="1300"/>
                        </a:lnSpc>
                      </a:pPr>
                      <a:r>
                        <a:rPr lang="en-US" altLang="ja-JP" sz="900" u="none" strike="noStrike" dirty="0">
                          <a:solidFill>
                            <a:schemeClr val="tx1"/>
                          </a:solidFill>
                          <a:effectLst/>
                        </a:rPr>
                        <a:t>※</a:t>
                      </a:r>
                      <a:r>
                        <a:rPr lang="ja-JP" altLang="en-US" sz="900" u="none" strike="noStrike" dirty="0">
                          <a:solidFill>
                            <a:schemeClr val="tx1"/>
                          </a:solidFill>
                          <a:effectLst/>
                        </a:rPr>
                        <a:t>取得者が自ら利用するセカンドハウスを取得する場合にも利用可能</a:t>
                      </a:r>
                    </a:p>
                  </a:txBody>
                  <a:tcPr marL="35457" marR="35457" marT="3795"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noFill/>
                  </a:tcP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algn="l" fontAlgn="ctr">
                        <a:lnSpc>
                          <a:spcPts val="1300"/>
                        </a:lnSpc>
                      </a:pPr>
                      <a:r>
                        <a:rPr lang="zh-CN" altLang="en-US" sz="900" u="none" strike="noStrike" dirty="0">
                          <a:solidFill>
                            <a:schemeClr val="tx1"/>
                          </a:solidFill>
                          <a:effectLst/>
                        </a:rPr>
                        <a:t>国土交通省住宅局</a:t>
                      </a:r>
                      <a:endParaRPr lang="zh-CN"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extLst>
                  <a:ext uri="{0D108BD9-81ED-4DB2-BD59-A6C34878D82A}">
                    <a16:rowId xmlns:a16="http://schemas.microsoft.com/office/drawing/2014/main" val="10003"/>
                  </a:ext>
                </a:extLst>
              </a:tr>
              <a:tr h="719885">
                <a:tc vMerge="1">
                  <a:txBody>
                    <a:bodyPr/>
                    <a:lstStyle/>
                    <a:p>
                      <a:endParaRPr kumimoji="1" lang="ja-JP" altLang="en-US"/>
                    </a:p>
                  </a:txBody>
                  <a:tcPr/>
                </a:tc>
                <a:tc>
                  <a:txBody>
                    <a:bodyPr/>
                    <a:lstStyle/>
                    <a:p>
                      <a:pPr algn="l" fontAlgn="ctr">
                        <a:lnSpc>
                          <a:spcPts val="1300"/>
                        </a:lnSpc>
                      </a:pPr>
                      <a:r>
                        <a:rPr lang="ja-JP" altLang="en-US" sz="900" u="none" strike="noStrike" dirty="0">
                          <a:solidFill>
                            <a:schemeClr val="tx1"/>
                          </a:solidFill>
                          <a:effectLst/>
                        </a:rPr>
                        <a:t>空き家対策総合支援事業</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795" marT="3795" marB="0" anchor="ctr"/>
                </a:tc>
                <a:tc>
                  <a:txBody>
                    <a:bodyPr/>
                    <a:lstStyle/>
                    <a:p>
                      <a:pPr algn="l" fontAlgn="ctr">
                        <a:lnSpc>
                          <a:spcPts val="1300"/>
                        </a:lnSpc>
                      </a:pPr>
                      <a:r>
                        <a:rPr lang="ja-JP" altLang="en-US" sz="900" u="none" strike="noStrike" dirty="0">
                          <a:solidFill>
                            <a:schemeClr val="tx1"/>
                          </a:solidFill>
                          <a:effectLst/>
                        </a:rPr>
                        <a:t>空家法の空家等対策計画に基づき市町村が実施する空き家の活用・除却に係る取組や、</a:t>
                      </a:r>
                      <a:r>
                        <a:rPr lang="en-US" altLang="ja-JP" sz="900" u="none" strike="noStrike" dirty="0">
                          <a:solidFill>
                            <a:schemeClr val="tx1"/>
                          </a:solidFill>
                          <a:effectLst/>
                        </a:rPr>
                        <a:t>NPO</a:t>
                      </a:r>
                      <a:r>
                        <a:rPr lang="ja-JP" altLang="en-US" sz="900" u="none" strike="noStrike" dirty="0">
                          <a:solidFill>
                            <a:schemeClr val="tx1"/>
                          </a:solidFill>
                          <a:effectLst/>
                        </a:rPr>
                        <a:t>や民間事業者等が行うモデル性の高い空き家の活用・改修工事等に対して支援。</a:t>
                      </a:r>
                      <a:endParaRPr lang="en-US" altLang="ja-JP" sz="900" u="none" strike="noStrike" dirty="0">
                        <a:solidFill>
                          <a:schemeClr val="tx1"/>
                        </a:solidFill>
                        <a:effectLst/>
                      </a:endParaRPr>
                    </a:p>
                    <a:p>
                      <a:pPr algn="l" fontAlgn="ctr">
                        <a:lnSpc>
                          <a:spcPts val="1300"/>
                        </a:lnSpc>
                      </a:pPr>
                      <a:r>
                        <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従前や従後の建築物の形態が非住宅である場合を含む。</a:t>
                      </a:r>
                    </a:p>
                  </a:txBody>
                  <a:tcPr marL="35457" marR="35457" marT="3795"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en-US" altLang="ja-JP" sz="900" b="0" i="0" u="none" strike="noStrike" dirty="0">
                          <a:solidFill>
                            <a:schemeClr val="tx1"/>
                          </a:solidFill>
                          <a:effectLst/>
                          <a:latin typeface="+mn-ea"/>
                          <a:ea typeface="+mn-ea"/>
                        </a:rPr>
                        <a:t>5,900</a:t>
                      </a:r>
                    </a:p>
                  </a:txBody>
                  <a:tcPr marL="35457" marR="35457" marT="3795" marB="0" anchor="ctr">
                    <a:noFill/>
                  </a:tcP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en-US" altLang="ja-JP" sz="900" b="0" i="0" u="none" strike="noStrike" dirty="0">
                          <a:solidFill>
                            <a:schemeClr val="tx1"/>
                          </a:solidFill>
                          <a:effectLst/>
                          <a:latin typeface="+mn-ea"/>
                          <a:ea typeface="+mn-ea"/>
                        </a:rPr>
                        <a:t>5,400</a:t>
                      </a:r>
                      <a:endParaRPr lang="en-US" altLang="ja-JP" sz="900" b="0" i="0" u="none" strike="sngStrike" dirty="0">
                        <a:solidFill>
                          <a:schemeClr val="tx1"/>
                        </a:solidFill>
                        <a:effectLst/>
                        <a:latin typeface="+mn-ea"/>
                        <a:ea typeface="+mn-ea"/>
                      </a:endParaRPr>
                    </a:p>
                  </a:txBody>
                  <a:tcPr marL="35457" marR="35457" marT="3795"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algn="l" fontAlgn="ctr">
                        <a:lnSpc>
                          <a:spcPts val="1300"/>
                        </a:lnSpc>
                      </a:pPr>
                      <a:r>
                        <a:rPr lang="zh-CN" altLang="en-US" sz="900" u="none" strike="noStrike" dirty="0">
                          <a:solidFill>
                            <a:schemeClr val="tx1"/>
                          </a:solidFill>
                          <a:effectLst/>
                        </a:rPr>
                        <a:t>国土交通省住宅局</a:t>
                      </a:r>
                      <a:endParaRPr lang="zh-CN"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extLst>
                  <a:ext uri="{0D108BD9-81ED-4DB2-BD59-A6C34878D82A}">
                    <a16:rowId xmlns:a16="http://schemas.microsoft.com/office/drawing/2014/main" val="10004"/>
                  </a:ext>
                </a:extLst>
              </a:tr>
              <a:tr h="333942">
                <a:tc vMerge="1">
                  <a:txBody>
                    <a:bodyPr/>
                    <a:lstStyle/>
                    <a:p>
                      <a:endParaRPr kumimoji="1" lang="ja-JP" altLang="en-US"/>
                    </a:p>
                  </a:txBody>
                  <a:tcPr/>
                </a:tc>
                <a:tc>
                  <a:txBody>
                    <a:bodyPr/>
                    <a:lstStyle/>
                    <a:p>
                      <a:pPr algn="l" fontAlgn="ctr">
                        <a:lnSpc>
                          <a:spcPts val="1300"/>
                        </a:lnSpc>
                      </a:pPr>
                      <a:r>
                        <a:rPr lang="ja-JP" altLang="en-US" sz="900" u="none" strike="noStrike" dirty="0">
                          <a:solidFill>
                            <a:schemeClr val="tx1"/>
                          </a:solidFill>
                          <a:effectLst/>
                        </a:rPr>
                        <a:t>全国版空き家・空き地バンク</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795" marT="3795" marB="0" anchor="ctr"/>
                </a:tc>
                <a:tc>
                  <a:txBody>
                    <a:bodyPr/>
                    <a:lstStyle/>
                    <a:p>
                      <a:pPr algn="l" fontAlgn="ctr">
                        <a:lnSpc>
                          <a:spcPts val="1300"/>
                        </a:lnSpc>
                      </a:pPr>
                      <a:r>
                        <a:rPr lang="ja-JP" altLang="en-US" sz="900" u="none" strike="noStrike" dirty="0">
                          <a:solidFill>
                            <a:schemeClr val="tx1"/>
                          </a:solidFill>
                          <a:effectLst/>
                        </a:rPr>
                        <a:t>自治体を横断して簡単に検索できるよう構築</a:t>
                      </a:r>
                      <a:r>
                        <a:rPr lang="ja-JP" altLang="en-US" sz="900" u="none" strike="noStrike" dirty="0">
                          <a:solidFill>
                            <a:schemeClr val="tx1"/>
                          </a:solidFill>
                          <a:effectLst/>
                          <a:latin typeface="+mn-ea"/>
                          <a:ea typeface="+mn-ea"/>
                        </a:rPr>
                        <a:t>（</a:t>
                      </a:r>
                      <a:r>
                        <a:rPr lang="en-US" altLang="ja-JP" sz="900" u="none" strike="noStrike" dirty="0">
                          <a:solidFill>
                            <a:schemeClr val="tx1"/>
                          </a:solidFill>
                          <a:effectLst/>
                          <a:latin typeface="+mn-ea"/>
                          <a:ea typeface="+mn-ea"/>
                        </a:rPr>
                        <a:t>2</a:t>
                      </a:r>
                      <a:r>
                        <a:rPr lang="ja-JP" altLang="en-US" sz="900" u="none" strike="noStrike" dirty="0">
                          <a:solidFill>
                            <a:schemeClr val="tx1"/>
                          </a:solidFill>
                          <a:effectLst/>
                          <a:latin typeface="+mn-ea"/>
                          <a:ea typeface="+mn-ea"/>
                        </a:rPr>
                        <a:t>社</a:t>
                      </a:r>
                      <a:r>
                        <a:rPr lang="ja-JP" altLang="en-US" sz="900" u="none" strike="noStrike" dirty="0">
                          <a:solidFill>
                            <a:schemeClr val="tx1"/>
                          </a:solidFill>
                          <a:effectLst/>
                        </a:rPr>
                        <a:t>）</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noFill/>
                  </a:tcP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algn="l" fontAlgn="ctr">
                        <a:lnSpc>
                          <a:spcPts val="1300"/>
                        </a:lnSpc>
                      </a:pPr>
                      <a:r>
                        <a:rPr lang="ja-JP" altLang="en-US" sz="900" u="none" strike="noStrike" dirty="0">
                          <a:solidFill>
                            <a:schemeClr val="tx1"/>
                          </a:solidFill>
                          <a:effectLst/>
                        </a:rPr>
                        <a:t>国土交通省不動産・建設経済局</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extLst>
                  <a:ext uri="{0D108BD9-81ED-4DB2-BD59-A6C34878D82A}">
                    <a16:rowId xmlns:a16="http://schemas.microsoft.com/office/drawing/2014/main" val="10005"/>
                  </a:ext>
                </a:extLst>
              </a:tr>
              <a:tr h="467925">
                <a:tc rowSpan="4">
                  <a:txBody>
                    <a:bodyPr/>
                    <a:lstStyle/>
                    <a:p>
                      <a:pPr algn="ctr" fontAlgn="ctr"/>
                      <a:r>
                        <a:rPr lang="ja-JP" altLang="en-US" sz="900" u="none" strike="noStrike" dirty="0">
                          <a:solidFill>
                            <a:schemeClr val="tx1"/>
                          </a:solidFill>
                          <a:effectLst/>
                        </a:rPr>
                        <a:t>テレワーク</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795" marR="3795" marT="3795" marB="0" vert="eaVert" anchor="ctr">
                    <a:solidFill>
                      <a:schemeClr val="bg1"/>
                    </a:solidFill>
                  </a:tcPr>
                </a:tc>
                <a:tc>
                  <a:txBody>
                    <a:bodyPr/>
                    <a:lstStyle/>
                    <a:p>
                      <a:r>
                        <a:rPr lang="ja-JP" altLang="en-US" sz="900" dirty="0">
                          <a:solidFill>
                            <a:schemeClr val="tx1"/>
                          </a:solidFill>
                        </a:rPr>
                        <a:t>地方移住促進テレワーク拠点施設整備支援事業</a:t>
                      </a:r>
                    </a:p>
                  </a:txBody>
                  <a:tcPr marL="35457" marR="3795" marT="3795" marB="0" anchor="ctr"/>
                </a:tc>
                <a:tc>
                  <a:txBody>
                    <a:bodyPr/>
                    <a:lstStyle/>
                    <a:p>
                      <a:r>
                        <a:rPr lang="ja-JP" altLang="en-US" sz="900" dirty="0">
                          <a:solidFill>
                            <a:schemeClr val="tx1"/>
                          </a:solidFill>
                        </a:rPr>
                        <a:t>立地適正化計画を策定した市町村が、二地域居住等を促進する区域を設定した場合等に、居住誘導区域・都市機能誘導区域内等に整備するコワーキングスペース等に対して支援。</a:t>
                      </a:r>
                    </a:p>
                  </a:txBody>
                  <a:tcPr marL="35457" marR="35457" marT="3795" marB="0" anchor="ctr"/>
                </a:tc>
                <a:tc>
                  <a:txBody>
                    <a:bodyPr/>
                    <a:lstStyle/>
                    <a:p>
                      <a:pPr algn="r" fontAlgn="ctr"/>
                      <a:r>
                        <a:rPr lang="en-US" altLang="ja-JP" sz="900" b="0" i="0" u="none" strike="noStrike" dirty="0">
                          <a:solidFill>
                            <a:schemeClr val="tx1"/>
                          </a:solidFill>
                          <a:effectLst/>
                          <a:latin typeface="+mn-ea"/>
                          <a:ea typeface="+mn-ea"/>
                        </a:rPr>
                        <a:t>30</a:t>
                      </a:r>
                    </a:p>
                  </a:txBody>
                  <a:tcPr marL="35994" marR="35994" marT="3853" marB="0" anchor="ctr">
                    <a:noFill/>
                  </a:tcPr>
                </a:tc>
                <a:tc>
                  <a:txBody>
                    <a:bodyPr/>
                    <a:lstStyle/>
                    <a:p>
                      <a:pPr algn="r"/>
                      <a:r>
                        <a:rPr lang="ja-JP" altLang="en-US" sz="900" dirty="0">
                          <a:solidFill>
                            <a:schemeClr val="tx1"/>
                          </a:solidFill>
                          <a:latin typeface="+mn-ea"/>
                          <a:ea typeface="+mn-ea"/>
                        </a:rPr>
                        <a:t>－</a:t>
                      </a:r>
                    </a:p>
                  </a:txBody>
                  <a:tcPr marL="35457" marR="35457" marT="3795" marB="0" anchor="ct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algn="l" fontAlgn="ctr"/>
                      <a:r>
                        <a:rPr lang="zh-CN" altLang="en-US" sz="900" u="none" strike="noStrike" dirty="0">
                          <a:solidFill>
                            <a:schemeClr val="tx1"/>
                          </a:solidFill>
                          <a:effectLst/>
                        </a:rPr>
                        <a:t>国土交通省都市局</a:t>
                      </a:r>
                      <a:endParaRPr lang="zh-CN"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extLst>
                  <a:ext uri="{0D108BD9-81ED-4DB2-BD59-A6C34878D82A}">
                    <a16:rowId xmlns:a16="http://schemas.microsoft.com/office/drawing/2014/main" val="10006"/>
                  </a:ext>
                </a:extLst>
              </a:tr>
              <a:tr h="467925">
                <a:tc vMerge="1">
                  <a:txBody>
                    <a:bodyPr/>
                    <a:lstStyle/>
                    <a:p>
                      <a:endParaRPr kumimoji="1" lang="ja-JP" altLang="en-US"/>
                    </a:p>
                  </a:txBody>
                  <a:tcPr/>
                </a:tc>
                <a:tc>
                  <a:txBody>
                    <a:bodyPr/>
                    <a:lstStyle/>
                    <a:p>
                      <a:pPr algn="l" fontAlgn="ctr"/>
                      <a:r>
                        <a:rPr lang="zh-TW" altLang="en-US" sz="900" u="none" strike="noStrike" dirty="0">
                          <a:solidFill>
                            <a:schemeClr val="tx1"/>
                          </a:solidFill>
                          <a:effectLst/>
                        </a:rPr>
                        <a:t>都市構造再編集中支援事業</a:t>
                      </a:r>
                      <a:endParaRPr lang="zh-TW"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795" marT="3795" marB="0" anchor="ctr"/>
                </a:tc>
                <a:tc>
                  <a:txBody>
                    <a:bodyPr/>
                    <a:lstStyle/>
                    <a:p>
                      <a:pPr algn="l" fontAlgn="ctr"/>
                      <a:r>
                        <a:rPr lang="ja-JP" altLang="en-US" sz="900" u="none" strike="noStrike" dirty="0">
                          <a:solidFill>
                            <a:schemeClr val="tx1"/>
                          </a:solidFill>
                          <a:effectLst/>
                        </a:rPr>
                        <a:t>地方都市の中心市街地の生活圏等におけるテレワーク拠点施設（コワーキングスペース等）の整備について支援。</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tc>
                  <a:txBody>
                    <a:bodyPr/>
                    <a:lstStyle/>
                    <a:p>
                      <a:pPr algn="r" fontAlgn="ctr"/>
                      <a:r>
                        <a:rPr lang="en-US" altLang="ja-JP" sz="900" b="0" i="0" u="none" strike="noStrike" dirty="0">
                          <a:solidFill>
                            <a:schemeClr val="tx1"/>
                          </a:solidFill>
                          <a:effectLst/>
                          <a:latin typeface="+mn-ea"/>
                          <a:ea typeface="+mn-ea"/>
                        </a:rPr>
                        <a:t>70,068</a:t>
                      </a:r>
                    </a:p>
                    <a:p>
                      <a:pPr algn="r" fontAlgn="ctr"/>
                      <a:r>
                        <a:rPr lang="ja-JP" altLang="en-US" sz="900" b="0" i="0" u="none" strike="noStrike" dirty="0">
                          <a:solidFill>
                            <a:schemeClr val="tx1"/>
                          </a:solidFill>
                          <a:effectLst/>
                          <a:latin typeface="+mn-ea"/>
                          <a:ea typeface="+mn-ea"/>
                        </a:rPr>
                        <a:t>の内数</a:t>
                      </a:r>
                      <a:endParaRPr lang="en-US" altLang="ja-JP" sz="900" b="0" i="0" u="none" strike="noStrike" dirty="0">
                        <a:solidFill>
                          <a:schemeClr val="tx1"/>
                        </a:solidFill>
                        <a:effectLst/>
                        <a:latin typeface="+mn-ea"/>
                        <a:ea typeface="+mn-ea"/>
                      </a:endParaRPr>
                    </a:p>
                  </a:txBody>
                  <a:tcPr marL="35457" marR="35457" marT="3795" marB="0" anchor="ctr">
                    <a:noFill/>
                  </a:tcPr>
                </a:tc>
                <a:tc>
                  <a:txBody>
                    <a:bodyPr/>
                    <a:lstStyle/>
                    <a:p>
                      <a:pPr algn="r" fontAlgn="ctr"/>
                      <a:r>
                        <a:rPr lang="en-US" altLang="ja-JP" sz="900" u="none" strike="noStrike" dirty="0">
                          <a:solidFill>
                            <a:schemeClr val="tx1"/>
                          </a:solidFill>
                          <a:effectLst/>
                          <a:latin typeface="+mn-ea"/>
                          <a:ea typeface="+mn-ea"/>
                        </a:rPr>
                        <a:t>70,000</a:t>
                      </a:r>
                    </a:p>
                    <a:p>
                      <a:pPr algn="r" fontAlgn="ctr"/>
                      <a:r>
                        <a:rPr lang="ja-JP" altLang="en-US" sz="900" b="0" i="0" u="none" strike="noStrike" dirty="0">
                          <a:solidFill>
                            <a:schemeClr val="tx1"/>
                          </a:solidFill>
                          <a:effectLst/>
                          <a:latin typeface="+mn-ea"/>
                          <a:ea typeface="+mn-ea"/>
                        </a:rPr>
                        <a:t>の内数</a:t>
                      </a:r>
                      <a:endParaRPr lang="en-US" altLang="ja-JP" sz="900" b="0" i="0" u="none" strike="noStrike" dirty="0">
                        <a:solidFill>
                          <a:schemeClr val="tx1"/>
                        </a:solidFill>
                        <a:effectLst/>
                        <a:latin typeface="+mn-ea"/>
                        <a:ea typeface="+mn-ea"/>
                      </a:endParaRPr>
                    </a:p>
                  </a:txBody>
                  <a:tcPr marL="35457" marR="35457" marT="3795" marB="0" anchor="ct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algn="l" fontAlgn="ctr"/>
                      <a:r>
                        <a:rPr lang="zh-CN" altLang="en-US" sz="900" u="none" strike="noStrike" dirty="0">
                          <a:solidFill>
                            <a:schemeClr val="tx1"/>
                          </a:solidFill>
                          <a:effectLst/>
                        </a:rPr>
                        <a:t>国土交通省都市局</a:t>
                      </a:r>
                      <a:endParaRPr lang="zh-CN"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extLst>
                  <a:ext uri="{0D108BD9-81ED-4DB2-BD59-A6C34878D82A}">
                    <a16:rowId xmlns:a16="http://schemas.microsoft.com/office/drawing/2014/main" val="1802662706"/>
                  </a:ext>
                </a:extLst>
              </a:tr>
              <a:tr h="552347">
                <a:tc vMerge="1">
                  <a:txBody>
                    <a:bodyPr/>
                    <a:lstStyle/>
                    <a:p>
                      <a:endParaRPr kumimoji="1" lang="ja-JP" altLang="en-US"/>
                    </a:p>
                  </a:txBody>
                  <a:tcPr/>
                </a:tc>
                <a:tc>
                  <a:txBody>
                    <a:bodyPr/>
                    <a:lstStyle/>
                    <a:p>
                      <a:pPr algn="l" fontAlgn="ctr"/>
                      <a:r>
                        <a:rPr lang="zh-TW" altLang="en-US" sz="900" u="none" strike="noStrike" dirty="0">
                          <a:solidFill>
                            <a:schemeClr val="tx1"/>
                          </a:solidFill>
                          <a:effectLst/>
                        </a:rPr>
                        <a:t>都市再生整備計画事業</a:t>
                      </a:r>
                      <a:endParaRPr lang="zh-TW"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795" marT="3795" marB="0" anchor="ctr"/>
                </a:tc>
                <a:tc>
                  <a:txBody>
                    <a:bodyPr/>
                    <a:lstStyle/>
                    <a:p>
                      <a:pPr algn="l" fontAlgn="ctr"/>
                      <a:r>
                        <a:rPr lang="ja-JP" altLang="en-US" sz="900" u="none" strike="noStrike" dirty="0">
                          <a:solidFill>
                            <a:schemeClr val="tx1"/>
                          </a:solidFill>
                          <a:effectLst/>
                        </a:rPr>
                        <a:t>観光等地域資源活用に取り組む地区におけるワーケーション拠点施設（コワーキングスペース等）の整備について支援。</a:t>
                      </a: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457" marR="35457" marT="3795" marB="0" anchor="ctr"/>
                </a:tc>
                <a:tc>
                  <a:txBody>
                    <a:bodyPr/>
                    <a:lstStyle/>
                    <a:p>
                      <a:pPr algn="r" fontAlgn="ctr"/>
                      <a:r>
                        <a:rPr lang="ja-JP" altLang="en-US" sz="900" b="0" i="0" u="none" strike="noStrike" dirty="0">
                          <a:solidFill>
                            <a:schemeClr val="tx1"/>
                          </a:solidFill>
                          <a:effectLst/>
                          <a:latin typeface="+mn-ea"/>
                          <a:ea typeface="+mn-ea"/>
                        </a:rPr>
                        <a:t>社会資本整備</a:t>
                      </a:r>
                    </a:p>
                    <a:p>
                      <a:pPr algn="r" fontAlgn="ctr"/>
                      <a:r>
                        <a:rPr lang="ja-JP" altLang="en-US" sz="900" b="0" i="0" u="none" strike="noStrike" dirty="0">
                          <a:solidFill>
                            <a:schemeClr val="tx1"/>
                          </a:solidFill>
                          <a:effectLst/>
                          <a:latin typeface="+mn-ea"/>
                          <a:ea typeface="+mn-ea"/>
                        </a:rPr>
                        <a:t>総合交付金</a:t>
                      </a:r>
                    </a:p>
                    <a:p>
                      <a:pPr algn="r" fontAlgn="ctr"/>
                      <a:r>
                        <a:rPr lang="en-US" altLang="ja-JP" sz="900" b="0" i="0" u="none" strike="noStrike" dirty="0">
                          <a:solidFill>
                            <a:schemeClr val="tx1"/>
                          </a:solidFill>
                          <a:effectLst/>
                          <a:latin typeface="+mn-ea"/>
                          <a:ea typeface="+mn-ea"/>
                        </a:rPr>
                        <a:t>656,283</a:t>
                      </a:r>
                    </a:p>
                    <a:p>
                      <a:pPr algn="r" fontAlgn="ctr"/>
                      <a:r>
                        <a:rPr lang="ja-JP" altLang="en-US" sz="900" b="0" i="0" u="none" strike="noStrike" dirty="0">
                          <a:solidFill>
                            <a:schemeClr val="tx1"/>
                          </a:solidFill>
                          <a:effectLst/>
                          <a:latin typeface="+mn-ea"/>
                          <a:ea typeface="+mn-ea"/>
                        </a:rPr>
                        <a:t>の内数</a:t>
                      </a:r>
                    </a:p>
                  </a:txBody>
                  <a:tcPr marL="35457" marR="35457" marT="3795" marB="0" anchor="ctr">
                    <a:noFill/>
                  </a:tcPr>
                </a:tc>
                <a:tc>
                  <a:txBody>
                    <a:bodyPr/>
                    <a:lstStyle/>
                    <a:p>
                      <a:pPr algn="r" fontAlgn="ctr"/>
                      <a:r>
                        <a:rPr lang="ja-JP" altLang="en-US" sz="900" u="none" strike="noStrike" dirty="0">
                          <a:solidFill>
                            <a:schemeClr val="tx1"/>
                          </a:solidFill>
                          <a:effectLst/>
                          <a:latin typeface="+mn-ea"/>
                          <a:ea typeface="+mn-ea"/>
                        </a:rPr>
                        <a:t>社会資本整備</a:t>
                      </a:r>
                      <a:endParaRPr lang="en-US" altLang="ja-JP" sz="900" u="none" strike="noStrike" dirty="0">
                        <a:solidFill>
                          <a:schemeClr val="tx1"/>
                        </a:solidFill>
                        <a:effectLst/>
                        <a:latin typeface="+mn-ea"/>
                        <a:ea typeface="+mn-ea"/>
                      </a:endParaRPr>
                    </a:p>
                    <a:p>
                      <a:pPr algn="r" fontAlgn="ctr"/>
                      <a:r>
                        <a:rPr lang="ja-JP" altLang="en-US" sz="900" u="none" strike="noStrike" dirty="0">
                          <a:solidFill>
                            <a:schemeClr val="tx1"/>
                          </a:solidFill>
                          <a:effectLst/>
                          <a:latin typeface="+mn-ea"/>
                          <a:ea typeface="+mn-ea"/>
                        </a:rPr>
                        <a:t>総合交付金</a:t>
                      </a:r>
                      <a:endParaRPr lang="en-US" altLang="ja-JP" sz="900" u="none" strike="noStrike" dirty="0">
                        <a:solidFill>
                          <a:schemeClr val="tx1"/>
                        </a:solidFill>
                        <a:effectLst/>
                        <a:latin typeface="+mn-ea"/>
                        <a:ea typeface="+mn-ea"/>
                      </a:endParaRPr>
                    </a:p>
                    <a:p>
                      <a:pPr algn="r" fontAlgn="ctr"/>
                      <a:r>
                        <a:rPr lang="en-US" altLang="ja-JP" sz="900" u="none" strike="noStrike" dirty="0">
                          <a:solidFill>
                            <a:schemeClr val="tx1"/>
                          </a:solidFill>
                          <a:effectLst/>
                          <a:latin typeface="+mn-ea"/>
                          <a:ea typeface="+mn-ea"/>
                        </a:rPr>
                        <a:t>549,190</a:t>
                      </a:r>
                    </a:p>
                    <a:p>
                      <a:pPr algn="r" fontAlgn="ctr"/>
                      <a:r>
                        <a:rPr lang="ja-JP" altLang="en-US" sz="900" b="0" i="0" u="none" strike="noStrike" dirty="0">
                          <a:solidFill>
                            <a:schemeClr val="tx1"/>
                          </a:solidFill>
                          <a:effectLst/>
                          <a:latin typeface="+mn-ea"/>
                          <a:ea typeface="+mn-ea"/>
                        </a:rPr>
                        <a:t>の内数</a:t>
                      </a:r>
                      <a:endParaRPr lang="en-US" altLang="ja-JP" sz="900" b="0" i="0" u="none" strike="noStrike" dirty="0">
                        <a:solidFill>
                          <a:schemeClr val="tx1"/>
                        </a:solidFill>
                        <a:effectLst/>
                        <a:latin typeface="+mn-ea"/>
                        <a:ea typeface="+mn-ea"/>
                      </a:endParaRPr>
                    </a:p>
                  </a:txBody>
                  <a:tcPr marL="35457" marR="35457" marT="3795" marB="0" anchor="ct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国土交通省都市局</a:t>
                      </a:r>
                      <a:endParaRPr lang="zh-CN"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extLst>
                  <a:ext uri="{0D108BD9-81ED-4DB2-BD59-A6C34878D82A}">
                    <a16:rowId xmlns:a16="http://schemas.microsoft.com/office/drawing/2014/main" val="10007"/>
                  </a:ext>
                </a:extLst>
              </a:tr>
              <a:tr h="467925">
                <a:tc vMerge="1">
                  <a:txBody>
                    <a:bodyPr/>
                    <a:lstStyle/>
                    <a:p>
                      <a:pPr algn="ctr" fontAlgn="ct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796" marR="3796" marT="3796" marB="0" vert="eaVert" anchor="ctr">
                    <a:solidFill>
                      <a:schemeClr val="bg1"/>
                    </a:solidFill>
                  </a:tcP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テレワーク人口実態調査</a:t>
                      </a:r>
                      <a:endParaRPr lang="zh-TW"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853" marT="3853" marB="0" anchor="ctr"/>
                </a:tc>
                <a:tc>
                  <a:txBody>
                    <a:bodyPr/>
                    <a:lstStyle/>
                    <a:p>
                      <a:pPr algn="l"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テレワークの普及促進を図るため、テレワーク人口やテレワーカーの地域性等を把握・公表。</a:t>
                      </a:r>
                    </a:p>
                  </a:txBody>
                  <a:tcPr marL="35994" marR="35994" marT="3853" marB="0" anchor="ctr"/>
                </a:tc>
                <a:tc>
                  <a:txBody>
                    <a:bodyPr/>
                    <a:lstStyle/>
                    <a:p>
                      <a:pPr algn="r" fontAlgn="ctr"/>
                      <a:r>
                        <a:rPr lang="en-US" altLang="ja-JP" sz="900" b="0" i="0" u="none" strike="noStrike" dirty="0">
                          <a:solidFill>
                            <a:schemeClr val="tx1"/>
                          </a:solidFill>
                          <a:effectLst/>
                          <a:latin typeface="+mn-ea"/>
                          <a:ea typeface="+mn-ea"/>
                        </a:rPr>
                        <a:t>10</a:t>
                      </a:r>
                      <a:endParaRPr lang="ja-JP" altLang="en-US" sz="900" b="0" i="0" u="none" strike="noStrike" dirty="0">
                        <a:solidFill>
                          <a:schemeClr val="tx1"/>
                        </a:solidFill>
                        <a:effectLst/>
                        <a:latin typeface="+mn-ea"/>
                        <a:ea typeface="+mn-ea"/>
                      </a:endParaRPr>
                    </a:p>
                  </a:txBody>
                  <a:tcPr marL="35457" marR="35457" marT="3795" marB="0" anchor="ctr">
                    <a:noFill/>
                  </a:tcPr>
                </a:tc>
                <a:tc>
                  <a:txBody>
                    <a:bodyPr/>
                    <a:lstStyle/>
                    <a:p>
                      <a:pPr algn="r" fontAlgn="ctr"/>
                      <a:r>
                        <a:rPr lang="en-US" altLang="ja-JP" sz="900" b="0" i="0" u="none" strike="noStrike" dirty="0">
                          <a:solidFill>
                            <a:schemeClr val="tx1"/>
                          </a:solidFill>
                          <a:effectLst/>
                          <a:latin typeface="+mn-ea"/>
                          <a:ea typeface="+mn-ea"/>
                        </a:rPr>
                        <a:t>13</a:t>
                      </a:r>
                    </a:p>
                  </a:txBody>
                  <a:tcPr marL="35994" marR="35994" marT="3853" marB="0" anchor="ct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994" marR="35994" marT="3853" marB="0" anchor="ctr"/>
                </a:tc>
                <a:tc>
                  <a:txBody>
                    <a:bodyPr/>
                    <a:lstStyle/>
                    <a:p>
                      <a:r>
                        <a:rPr lang="ja-JP" altLang="en-US" sz="900" dirty="0">
                          <a:solidFill>
                            <a:schemeClr val="tx1"/>
                          </a:solidFill>
                        </a:rPr>
                        <a:t>国土交通省都市局</a:t>
                      </a:r>
                    </a:p>
                  </a:txBody>
                  <a:tcPr marL="35457" marR="35457" marT="3795" marB="0" anchor="ctr"/>
                </a:tc>
                <a:extLst>
                  <a:ext uri="{0D108BD9-81ED-4DB2-BD59-A6C34878D82A}">
                    <a16:rowId xmlns:a16="http://schemas.microsoft.com/office/drawing/2014/main" val="1059588713"/>
                  </a:ext>
                </a:extLst>
              </a:tr>
              <a:tr h="683890">
                <a:tc>
                  <a:txBody>
                    <a:bodyPr/>
                    <a:lstStyle/>
                    <a:p>
                      <a:pPr algn="ctr" fontAlgn="ctr"/>
                      <a:r>
                        <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rPr>
                        <a:t>観光</a:t>
                      </a:r>
                    </a:p>
                  </a:txBody>
                  <a:tcPr marL="3795" marR="3795" marT="3795" marB="0" vert="eaVert" anchor="ctr">
                    <a:solidFill>
                      <a:schemeClr val="bg1"/>
                    </a:solidFill>
                  </a:tcPr>
                </a:tc>
                <a:tc>
                  <a:txBody>
                    <a:bodyPr/>
                    <a:lstStyle/>
                    <a:p>
                      <a:pPr algn="l" fontAlgn="ctr">
                        <a:lnSpc>
                          <a:spcPts val="1300"/>
                        </a:lnSpc>
                      </a:pPr>
                      <a:r>
                        <a:rPr lang="ja-JP" altLang="en-US" sz="900" b="0" i="0" u="none" strike="noStrike" dirty="0">
                          <a:solidFill>
                            <a:schemeClr val="tx1"/>
                          </a:solidFill>
                          <a:effectLst/>
                          <a:latin typeface="+mn-ea"/>
                          <a:ea typeface="+mn-ea"/>
                        </a:rPr>
                        <a:t>新たな交流市場・観光資源の創出事業</a:t>
                      </a:r>
                      <a:endParaRPr lang="en-US" altLang="ja-JP" sz="900" b="0" i="0" u="none" strike="noStrike" dirty="0">
                        <a:solidFill>
                          <a:schemeClr val="tx1"/>
                        </a:solidFill>
                        <a:effectLst/>
                        <a:latin typeface="+mn-ea"/>
                        <a:ea typeface="+mn-ea"/>
                      </a:endParaRPr>
                    </a:p>
                  </a:txBody>
                  <a:tcPr marL="35457" marR="3795" marT="3795" marB="0" anchor="ctr"/>
                </a:tc>
                <a:tc>
                  <a:txBody>
                    <a:bodyPr/>
                    <a:lstStyle/>
                    <a:p>
                      <a:pPr marL="0" marR="0" lvl="0" indent="0" algn="l" defTabSz="914400" rtl="0" eaLnBrk="1" fontAlgn="ctr" latinLnBrk="0" hangingPunct="1">
                        <a:lnSpc>
                          <a:spcPts val="1300"/>
                        </a:lnSpc>
                        <a:spcBef>
                          <a:spcPts val="0"/>
                        </a:spcBef>
                        <a:spcAft>
                          <a:spcPts val="0"/>
                        </a:spcAft>
                        <a:buClrTx/>
                        <a:buSzTx/>
                        <a:buFontTx/>
                        <a:buNone/>
                        <a:tabLst/>
                        <a:defRPr/>
                      </a:pPr>
                      <a:r>
                        <a:rPr lang="ja-JP" altLang="en-US" sz="900" b="0" i="0" u="none" strike="noStrike" dirty="0">
                          <a:solidFill>
                            <a:schemeClr val="tx1"/>
                          </a:solidFill>
                          <a:effectLst/>
                          <a:latin typeface="+mn-ea"/>
                          <a:ea typeface="+mn-ea"/>
                        </a:rPr>
                        <a:t>「何度も地域に通う旅、帰る旅」という新たな旅のスタイルで反復継続した来訪を促進する「第２のふるさとづくり」、コロナ禍を経たテレワークの普及や働き方の多様化を踏まえた「ワーケーションの普及・定着」等により、旅の潜在需要を顕在化させ、地域の関係人口拡大にもつながる形で交流需要の拡大を図る。</a:t>
                      </a:r>
                    </a:p>
                  </a:txBody>
                  <a:tcPr marL="35457" marR="35457" marT="3795" marB="0" anchor="ctr"/>
                </a:tc>
                <a:tc>
                  <a:txBody>
                    <a:bodyPr/>
                    <a:lstStyle/>
                    <a:p>
                      <a:pPr algn="r" fontAlgn="ctr">
                        <a:lnSpc>
                          <a:spcPts val="1300"/>
                        </a:lnSpc>
                      </a:pPr>
                      <a:r>
                        <a:rPr lang="en-US" altLang="ja-JP" sz="900" b="0" i="0" u="none" strike="noStrike" dirty="0">
                          <a:solidFill>
                            <a:schemeClr val="tx1"/>
                          </a:solidFill>
                          <a:effectLst/>
                          <a:latin typeface="+mn-ea"/>
                          <a:ea typeface="+mn-ea"/>
                        </a:rPr>
                        <a:t>615</a:t>
                      </a:r>
                    </a:p>
                    <a:p>
                      <a:pPr algn="r" fontAlgn="ctr">
                        <a:lnSpc>
                          <a:spcPts val="1300"/>
                        </a:lnSpc>
                      </a:pPr>
                      <a:r>
                        <a:rPr lang="ja-JP" altLang="en-US" sz="900" b="0" i="0" u="none" strike="noStrike" dirty="0">
                          <a:solidFill>
                            <a:schemeClr val="tx1"/>
                          </a:solidFill>
                          <a:effectLst/>
                          <a:latin typeface="+mn-ea"/>
                          <a:ea typeface="+mn-ea"/>
                        </a:rPr>
                        <a:t>の内数</a:t>
                      </a:r>
                    </a:p>
                  </a:txBody>
                  <a:tcPr marL="35457" marR="35457" marT="3795" marB="0" anchor="ctr">
                    <a:noFill/>
                  </a:tcPr>
                </a:tc>
                <a:tc>
                  <a:txBody>
                    <a:bodyPr/>
                    <a:lstStyle/>
                    <a:p>
                      <a:pPr algn="r" fontAlgn="ctr">
                        <a:lnSpc>
                          <a:spcPts val="1300"/>
                        </a:lnSpc>
                      </a:pPr>
                      <a:r>
                        <a:rPr lang="en-US" altLang="ja-JP" sz="900" b="0" i="0" u="none" strike="noStrike" dirty="0">
                          <a:solidFill>
                            <a:schemeClr val="tx1"/>
                          </a:solidFill>
                          <a:effectLst/>
                          <a:latin typeface="+mn-ea"/>
                          <a:ea typeface="+mn-ea"/>
                        </a:rPr>
                        <a:t>649</a:t>
                      </a:r>
                    </a:p>
                    <a:p>
                      <a:pPr algn="r" fontAlgn="ctr">
                        <a:lnSpc>
                          <a:spcPts val="1300"/>
                        </a:lnSpc>
                      </a:pPr>
                      <a:r>
                        <a:rPr lang="ja-JP" altLang="en-US" sz="900" b="0" i="0" u="none" strike="noStrike" dirty="0">
                          <a:solidFill>
                            <a:schemeClr val="tx1"/>
                          </a:solidFill>
                          <a:effectLst/>
                          <a:latin typeface="+mn-ea"/>
                          <a:ea typeface="+mn-ea"/>
                        </a:rPr>
                        <a:t>の内数</a:t>
                      </a:r>
                    </a:p>
                  </a:txBody>
                  <a:tcPr marL="35457" marR="35457" marT="3795" marB="0" anchor="ctr"/>
                </a:tc>
                <a:tc>
                  <a:txBody>
                    <a:bodyPr/>
                    <a:lstStyle/>
                    <a:p>
                      <a:pPr marL="0" marR="0" lvl="0" indent="0" algn="r" defTabSz="914400" rtl="0" eaLnBrk="1" fontAlgn="ctr" latinLnBrk="0" hangingPunct="1">
                        <a:lnSpc>
                          <a:spcPts val="1300"/>
                        </a:lnSpc>
                        <a:spcBef>
                          <a:spcPts val="0"/>
                        </a:spcBef>
                        <a:spcAft>
                          <a:spcPts val="0"/>
                        </a:spcAft>
                        <a:buClrTx/>
                        <a:buSzTx/>
                        <a:buFontTx/>
                        <a:buNone/>
                        <a:tabLst/>
                        <a:defRPr/>
                      </a:pPr>
                      <a:r>
                        <a:rPr lang="ja-JP" altLang="en-US" sz="90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algn="l" fontAlgn="ctr">
                        <a:lnSpc>
                          <a:spcPts val="1300"/>
                        </a:lnSpc>
                      </a:pPr>
                      <a:r>
                        <a:rPr lang="ja-JP" altLang="en-US" sz="900" b="0" i="0" u="none" strike="noStrike" dirty="0">
                          <a:solidFill>
                            <a:schemeClr val="tx1"/>
                          </a:solidFill>
                          <a:effectLst/>
                          <a:latin typeface="+mn-ea"/>
                          <a:ea typeface="+mn-ea"/>
                        </a:rPr>
                        <a:t>国土交通省</a:t>
                      </a:r>
                      <a:r>
                        <a:rPr lang="zh-TW" altLang="en-US" sz="900" b="0" i="0" u="none" strike="noStrike" dirty="0">
                          <a:solidFill>
                            <a:schemeClr val="tx1"/>
                          </a:solidFill>
                          <a:effectLst/>
                          <a:latin typeface="+mn-ea"/>
                          <a:ea typeface="+mn-ea"/>
                        </a:rPr>
                        <a:t>観光庁</a:t>
                      </a:r>
                    </a:p>
                  </a:txBody>
                  <a:tcPr marL="35457" marR="35457" marT="3795" marB="0" anchor="ctr"/>
                </a:tc>
                <a:extLst>
                  <a:ext uri="{0D108BD9-81ED-4DB2-BD59-A6C34878D82A}">
                    <a16:rowId xmlns:a16="http://schemas.microsoft.com/office/drawing/2014/main" val="10011"/>
                  </a:ext>
                </a:extLst>
              </a:tr>
              <a:tr h="683890">
                <a:tc>
                  <a:txBody>
                    <a:bodyPr/>
                    <a:lstStyle/>
                    <a:p>
                      <a:pPr algn="ctr" fontAlgn="ctr"/>
                      <a:r>
                        <a:rPr lang="ja-JP" altLang="en-US" sz="900" b="0" i="0" u="none" strike="noStrike" dirty="0">
                          <a:solidFill>
                            <a:schemeClr val="tx1"/>
                          </a:solidFill>
                          <a:effectLst/>
                          <a:latin typeface="+mn-ea"/>
                          <a:ea typeface="+mn-ea"/>
                        </a:rPr>
                        <a:t>地域交通</a:t>
                      </a:r>
                    </a:p>
                  </a:txBody>
                  <a:tcPr marL="3795" marR="3795" marT="3795" marB="0" vert="eaVert" anchor="ctr">
                    <a:solidFill>
                      <a:schemeClr val="bg1"/>
                    </a:solidFill>
                  </a:tcPr>
                </a:tc>
                <a:tc>
                  <a:txBody>
                    <a:bodyPr/>
                    <a:lstStyle/>
                    <a:p>
                      <a:pPr algn="l" fontAlgn="ctr">
                        <a:lnSpc>
                          <a:spcPts val="1300"/>
                        </a:lnSpc>
                      </a:pPr>
                      <a:r>
                        <a:rPr lang="ja-JP" altLang="en-US" sz="900" b="0" i="0" u="none" strike="noStrike" dirty="0">
                          <a:solidFill>
                            <a:schemeClr val="tx1"/>
                          </a:solidFill>
                          <a:effectLst/>
                          <a:latin typeface="+mn-ea"/>
                          <a:ea typeface="+mn-ea"/>
                        </a:rPr>
                        <a:t>共創</a:t>
                      </a:r>
                      <a:r>
                        <a:rPr lang="en-US" altLang="ja-JP" sz="900" b="0" i="0" u="none" strike="noStrike" dirty="0" err="1">
                          <a:solidFill>
                            <a:schemeClr val="tx1"/>
                          </a:solidFill>
                          <a:effectLst/>
                          <a:latin typeface="+mn-ea"/>
                          <a:ea typeface="+mn-ea"/>
                        </a:rPr>
                        <a:t>MaaS</a:t>
                      </a:r>
                      <a:r>
                        <a:rPr lang="ja-JP" altLang="en-US" sz="900" b="0" i="0" u="none" strike="noStrike" dirty="0">
                          <a:solidFill>
                            <a:schemeClr val="tx1"/>
                          </a:solidFill>
                          <a:effectLst/>
                          <a:latin typeface="+mn-ea"/>
                          <a:ea typeface="+mn-ea"/>
                        </a:rPr>
                        <a:t>実証プロジェクト</a:t>
                      </a:r>
                      <a:endParaRPr lang="en-US" altLang="ja-JP" sz="900" b="0" i="0" u="none" strike="noStrike" dirty="0">
                        <a:solidFill>
                          <a:schemeClr val="tx1"/>
                        </a:solidFill>
                        <a:effectLst/>
                        <a:latin typeface="+mn-ea"/>
                        <a:ea typeface="+mn-ea"/>
                      </a:endParaRPr>
                    </a:p>
                  </a:txBody>
                  <a:tcPr marL="35457" marR="3795" marT="3795" marB="0" anchor="ctr"/>
                </a:tc>
                <a:tc>
                  <a:txBody>
                    <a:bodyPr/>
                    <a:lstStyle/>
                    <a:p>
                      <a:pPr marL="0" marR="0" lvl="0" indent="0" algn="l" defTabSz="914400" rtl="0" eaLnBrk="1" fontAlgn="base" latinLnBrk="0" hangingPunct="1">
                        <a:lnSpc>
                          <a:spcPct val="100000"/>
                        </a:lnSpc>
                        <a:spcBef>
                          <a:spcPct val="0"/>
                        </a:spcBef>
                        <a:spcAft>
                          <a:spcPts val="30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mn-ea"/>
                          <a:ea typeface="+mn-ea"/>
                          <a:cs typeface="+mn-cs"/>
                        </a:rPr>
                        <a:t>交通を地域のくらしと一体として捉え、地域の多様な関係者が連携して行う「共創型交通」のプロジェクトのほか、地域の公共交通のリ・デザインを加速化する「モビリティ支援人材の育成・</a:t>
                      </a:r>
                      <a:r>
                        <a:rPr kumimoji="1" lang="ja-JP" altLang="en-US" sz="900" b="0" i="0" u="none" strike="noStrike" kern="1200" cap="none" spc="0" normalizeH="0" baseline="0" noProof="0" dirty="0">
                          <a:ln>
                            <a:noFill/>
                          </a:ln>
                          <a:solidFill>
                            <a:schemeClr val="tx1"/>
                          </a:solidFill>
                          <a:effectLst/>
                          <a:uLnTx/>
                          <a:uFillTx/>
                          <a:latin typeface="+mn-ea"/>
                          <a:ea typeface="+mn-ea"/>
                          <a:cs typeface="+mn-cs"/>
                        </a:rPr>
                        <a:t>確保」や、デジタルを活用し、交通とそれ以外のサービスを１つのサービスとして提供する「日本版</a:t>
                      </a:r>
                      <a:r>
                        <a:rPr kumimoji="1" lang="en-US" altLang="ja-JP" sz="900" b="0" i="0" u="none" strike="noStrike" kern="1200" cap="none" spc="0" normalizeH="0" baseline="0" noProof="0" dirty="0">
                          <a:ln>
                            <a:noFill/>
                          </a:ln>
                          <a:solidFill>
                            <a:schemeClr val="tx1"/>
                          </a:solidFill>
                          <a:effectLst/>
                          <a:uLnTx/>
                          <a:uFillTx/>
                          <a:latin typeface="+mn-ea"/>
                          <a:ea typeface="+mn-ea"/>
                          <a:cs typeface="+mn-cs"/>
                        </a:rPr>
                        <a:t>MaaS</a:t>
                      </a:r>
                      <a:r>
                        <a:rPr kumimoji="1" lang="ja-JP" altLang="en-US" sz="900" b="0" i="0" u="none" strike="noStrike" kern="1200" cap="none" spc="0" normalizeH="0" baseline="0" noProof="0" dirty="0">
                          <a:ln>
                            <a:noFill/>
                          </a:ln>
                          <a:solidFill>
                            <a:schemeClr val="tx1"/>
                          </a:solidFill>
                          <a:effectLst/>
                          <a:uLnTx/>
                          <a:uFillTx/>
                          <a:latin typeface="+mn-ea"/>
                          <a:ea typeface="+mn-ea"/>
                          <a:cs typeface="+mn-cs"/>
                        </a:rPr>
                        <a:t>の推進」を支援。</a:t>
                      </a:r>
                      <a:endParaRPr kumimoji="1" lang="en-US" altLang="ja-JP" sz="900" b="0" i="0" u="none" strike="noStrike" kern="1200" cap="none" spc="0" normalizeH="0" baseline="0" noProof="0" dirty="0">
                        <a:ln>
                          <a:noFill/>
                        </a:ln>
                        <a:solidFill>
                          <a:schemeClr val="tx1"/>
                        </a:solidFill>
                        <a:effectLst/>
                        <a:uLnTx/>
                        <a:uFillTx/>
                        <a:latin typeface="+mn-ea"/>
                        <a:ea typeface="+mn-ea"/>
                        <a:cs typeface="+mn-cs"/>
                      </a:endParaRPr>
                    </a:p>
                  </a:txBody>
                  <a:tcPr marL="35457" marR="35457" marT="3795" marB="0" anchor="ctr"/>
                </a:tc>
                <a:tc>
                  <a:txBody>
                    <a:bodyPr/>
                    <a:lstStyle/>
                    <a:p>
                      <a:pPr algn="r" fontAlgn="ctr">
                        <a:lnSpc>
                          <a:spcPts val="1300"/>
                        </a:lnSpc>
                      </a:pPr>
                      <a:r>
                        <a:rPr lang="en-US" altLang="ja-JP" sz="900" b="0" i="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noFill/>
                  </a:tcPr>
                </a:tc>
                <a:tc>
                  <a:txBody>
                    <a:bodyPr/>
                    <a:lstStyle/>
                    <a:p>
                      <a:pPr algn="r" fontAlgn="ctr">
                        <a:lnSpc>
                          <a:spcPts val="1300"/>
                        </a:lnSpc>
                      </a:pPr>
                      <a:r>
                        <a:rPr lang="en-US" altLang="ja-JP" sz="900" b="0" i="0" u="none" strike="noStrike" dirty="0">
                          <a:solidFill>
                            <a:schemeClr val="tx1"/>
                          </a:solidFill>
                          <a:effectLst/>
                          <a:latin typeface="+mn-ea"/>
                          <a:ea typeface="+mn-ea"/>
                        </a:rPr>
                        <a:t>-</a:t>
                      </a:r>
                      <a:endParaRPr lang="ja-JP" altLang="en-US" sz="900" b="0" i="0" u="none" strike="noStrike" dirty="0">
                        <a:solidFill>
                          <a:schemeClr val="tx1"/>
                        </a:solidFill>
                        <a:effectLst/>
                        <a:latin typeface="+mn-ea"/>
                        <a:ea typeface="+mn-ea"/>
                      </a:endParaRPr>
                    </a:p>
                  </a:txBody>
                  <a:tcPr marL="35457" marR="35457" marT="3795" marB="0" anchor="ctr"/>
                </a:tc>
                <a:tc>
                  <a:txBody>
                    <a:bodyPr/>
                    <a:lstStyle/>
                    <a:p>
                      <a:pPr marL="0" marR="0" lvl="0" indent="0" algn="r" defTabSz="914400" rtl="0" eaLnBrk="1" fontAlgn="ctr" latinLnBrk="0" hangingPunct="1">
                        <a:lnSpc>
                          <a:spcPts val="1300"/>
                        </a:lnSpc>
                        <a:spcBef>
                          <a:spcPts val="0"/>
                        </a:spcBef>
                        <a:spcAft>
                          <a:spcPts val="0"/>
                        </a:spcAft>
                        <a:buClrTx/>
                        <a:buSzTx/>
                        <a:buFontTx/>
                        <a:buNone/>
                        <a:tabLst/>
                        <a:defRPr/>
                      </a:pPr>
                      <a:r>
                        <a:rPr lang="en-US" altLang="ja-JP" sz="900" b="0" i="0" u="none" strike="noStrike" dirty="0">
                          <a:solidFill>
                            <a:schemeClr val="tx1"/>
                          </a:solidFill>
                          <a:effectLst/>
                          <a:latin typeface="+mn-ea"/>
                          <a:ea typeface="+mn-ea"/>
                        </a:rPr>
                        <a:t>27,900</a:t>
                      </a:r>
                      <a:r>
                        <a:rPr lang="ja-JP" altLang="en-US" sz="900" b="0" i="0" u="none" strike="noStrike" dirty="0">
                          <a:solidFill>
                            <a:schemeClr val="tx1"/>
                          </a:solidFill>
                          <a:effectLst/>
                          <a:latin typeface="+mn-ea"/>
                          <a:ea typeface="+mn-ea"/>
                        </a:rPr>
                        <a:t>の内数</a:t>
                      </a:r>
                      <a:endParaRPr lang="en-US" altLang="ja-JP" sz="900" b="0" i="0" u="none" strike="noStrike" dirty="0">
                        <a:solidFill>
                          <a:schemeClr val="tx1"/>
                        </a:solidFill>
                        <a:effectLst/>
                        <a:latin typeface="+mn-ea"/>
                        <a:ea typeface="+mn-ea"/>
                      </a:endParaRPr>
                    </a:p>
                  </a:txBody>
                  <a:tcPr marL="35457" marR="35457" marT="3795" marB="0" anchor="ctr"/>
                </a:tc>
                <a:tc>
                  <a:txBody>
                    <a:bodyPr/>
                    <a:lstStyle/>
                    <a:p>
                      <a:pPr algn="l" fontAlgn="ctr">
                        <a:lnSpc>
                          <a:spcPts val="1300"/>
                        </a:lnSpc>
                      </a:pPr>
                      <a:r>
                        <a:rPr lang="ja-JP" altLang="en-US" sz="900" b="0" i="0" u="none" strike="noStrike" dirty="0">
                          <a:solidFill>
                            <a:schemeClr val="tx1"/>
                          </a:solidFill>
                          <a:effectLst/>
                          <a:latin typeface="+mn-ea"/>
                          <a:ea typeface="+mn-ea"/>
                        </a:rPr>
                        <a:t>国土交通省</a:t>
                      </a:r>
                      <a:endParaRPr lang="en-US" altLang="ja-JP" sz="900" b="0" i="0" u="none" strike="noStrike" dirty="0">
                        <a:solidFill>
                          <a:schemeClr val="tx1"/>
                        </a:solidFill>
                        <a:effectLst/>
                        <a:latin typeface="+mn-ea"/>
                        <a:ea typeface="+mn-ea"/>
                      </a:endParaRPr>
                    </a:p>
                    <a:p>
                      <a:pPr algn="l" fontAlgn="ctr">
                        <a:lnSpc>
                          <a:spcPts val="1300"/>
                        </a:lnSpc>
                      </a:pPr>
                      <a:r>
                        <a:rPr lang="ja-JP" altLang="en-US" sz="900" b="0" i="0" u="none" strike="noStrike" dirty="0">
                          <a:solidFill>
                            <a:schemeClr val="tx1"/>
                          </a:solidFill>
                          <a:effectLst/>
                          <a:latin typeface="+mn-ea"/>
                          <a:ea typeface="+mn-ea"/>
                        </a:rPr>
                        <a:t>総合政策局</a:t>
                      </a:r>
                      <a:endParaRPr lang="zh-TW" altLang="en-US" sz="900" b="0" i="0" u="none" strike="noStrike" dirty="0">
                        <a:solidFill>
                          <a:schemeClr val="tx1"/>
                        </a:solidFill>
                        <a:effectLst/>
                        <a:latin typeface="+mn-ea"/>
                        <a:ea typeface="+mn-ea"/>
                      </a:endParaRPr>
                    </a:p>
                  </a:txBody>
                  <a:tcPr marL="35457" marR="35457" marT="3795" marB="0" anchor="ctr"/>
                </a:tc>
                <a:extLst>
                  <a:ext uri="{0D108BD9-81ED-4DB2-BD59-A6C34878D82A}">
                    <a16:rowId xmlns:a16="http://schemas.microsoft.com/office/drawing/2014/main" val="1113385753"/>
                  </a:ext>
                </a:extLst>
              </a:tr>
            </a:tbl>
          </a:graphicData>
        </a:graphic>
      </p:graphicFrame>
      <p:sp>
        <p:nvSpPr>
          <p:cNvPr id="4" name="スライド番号プレースホルダー 1"/>
          <p:cNvSpPr>
            <a:spLocks noGrp="1"/>
          </p:cNvSpPr>
          <p:nvPr>
            <p:ph type="sldNum" sz="quarter" idx="12"/>
          </p:nvPr>
        </p:nvSpPr>
        <p:spPr>
          <a:xfrm>
            <a:off x="7616502" y="7220100"/>
            <a:ext cx="2311030" cy="476174"/>
          </a:xfrm>
        </p:spPr>
        <p:txBody>
          <a:bodyPr/>
          <a:lstStyle/>
          <a:p>
            <a:pPr defTabSz="914217" fontAlgn="auto">
              <a:spcBef>
                <a:spcPts val="0"/>
              </a:spcBef>
              <a:spcAft>
                <a:spcPts val="0"/>
              </a:spcAft>
              <a:defRPr/>
            </a:pPr>
            <a:r>
              <a:rPr lang="en-US" altLang="ja-JP" dirty="0">
                <a:solidFill>
                  <a:srgbClr val="000000"/>
                </a:solidFill>
                <a:latin typeface="Arial"/>
              </a:rPr>
              <a:t>51</a:t>
            </a:r>
          </a:p>
        </p:txBody>
      </p:sp>
      <p:sp>
        <p:nvSpPr>
          <p:cNvPr id="6" name="正方形/長方形 5"/>
          <p:cNvSpPr/>
          <p:nvPr/>
        </p:nvSpPr>
        <p:spPr>
          <a:xfrm>
            <a:off x="10089063" y="1202452"/>
            <a:ext cx="2985052" cy="1525454"/>
          </a:xfrm>
          <a:prstGeom prst="rect">
            <a:avLst/>
          </a:prstGeom>
          <a:solidFill>
            <a:srgbClr val="7030A0"/>
          </a:solidFill>
        </p:spPr>
        <p:style>
          <a:lnRef idx="0">
            <a:schemeClr val="accent2"/>
          </a:lnRef>
          <a:fillRef idx="3">
            <a:schemeClr val="accent2"/>
          </a:fillRef>
          <a:effectRef idx="3">
            <a:schemeClr val="accent2"/>
          </a:effectRef>
          <a:fontRef idx="minor">
            <a:schemeClr val="lt1"/>
          </a:fontRef>
        </p:style>
        <p:txBody>
          <a:bodyPr rtlCol="0" anchor="ctr"/>
          <a:lstStyle/>
          <a:p>
            <a:pPr algn="ctr" defTabSz="914217" fontAlgn="auto">
              <a:spcBef>
                <a:spcPts val="0"/>
              </a:spcBef>
              <a:spcAft>
                <a:spcPts val="0"/>
              </a:spcAft>
              <a:defRPr/>
            </a:pPr>
            <a:r>
              <a:rPr lang="en-US" altLang="ja-JP" b="1" dirty="0">
                <a:solidFill>
                  <a:srgbClr val="FFFFFF"/>
                </a:solidFill>
                <a:latin typeface="Arial"/>
                <a:ea typeface="ＭＳ Ｐゴシック"/>
              </a:rPr>
              <a:t>R6</a:t>
            </a:r>
            <a:r>
              <a:rPr lang="ja-JP" altLang="en-US" b="1" dirty="0">
                <a:solidFill>
                  <a:srgbClr val="FFFFFF"/>
                </a:solidFill>
                <a:latin typeface="Arial"/>
                <a:ea typeface="ＭＳ Ｐゴシック"/>
              </a:rPr>
              <a:t>当初予算、</a:t>
            </a:r>
            <a:endParaRPr lang="en-US" altLang="ja-JP" b="1" dirty="0">
              <a:solidFill>
                <a:srgbClr val="FFFFFF"/>
              </a:solidFill>
              <a:latin typeface="Arial"/>
              <a:ea typeface="ＭＳ Ｐゴシック"/>
            </a:endParaRPr>
          </a:p>
          <a:p>
            <a:pPr algn="ctr" defTabSz="914217" fontAlgn="auto">
              <a:spcBef>
                <a:spcPts val="0"/>
              </a:spcBef>
              <a:spcAft>
                <a:spcPts val="0"/>
              </a:spcAft>
              <a:defRPr/>
            </a:pPr>
            <a:r>
              <a:rPr lang="en-US" altLang="ja-JP" b="1" dirty="0">
                <a:solidFill>
                  <a:srgbClr val="FFFFFF"/>
                </a:solidFill>
                <a:latin typeface="Arial"/>
                <a:ea typeface="ＭＳ Ｐゴシック"/>
              </a:rPr>
              <a:t>R5</a:t>
            </a:r>
            <a:r>
              <a:rPr lang="ja-JP" altLang="en-US" b="1" dirty="0">
                <a:solidFill>
                  <a:srgbClr val="FFFFFF"/>
                </a:solidFill>
                <a:latin typeface="Arial"/>
                <a:ea typeface="ＭＳ Ｐゴシック"/>
              </a:rPr>
              <a:t>当初予算、</a:t>
            </a:r>
            <a:endParaRPr lang="en-US" altLang="ja-JP" b="1" dirty="0">
              <a:solidFill>
                <a:srgbClr val="FFFFFF"/>
              </a:solidFill>
              <a:latin typeface="Arial"/>
              <a:ea typeface="ＭＳ Ｐゴシック"/>
            </a:endParaRPr>
          </a:p>
          <a:p>
            <a:pPr algn="ctr" defTabSz="914217" fontAlgn="auto">
              <a:spcBef>
                <a:spcPts val="0"/>
              </a:spcBef>
              <a:spcAft>
                <a:spcPts val="0"/>
              </a:spcAft>
              <a:defRPr/>
            </a:pPr>
            <a:r>
              <a:rPr lang="en-US" altLang="ja-JP" b="1" dirty="0">
                <a:solidFill>
                  <a:srgbClr val="FFFFFF"/>
                </a:solidFill>
                <a:latin typeface="Arial"/>
                <a:ea typeface="ＭＳ Ｐゴシック"/>
              </a:rPr>
              <a:t>R5</a:t>
            </a:r>
            <a:r>
              <a:rPr lang="ja-JP" altLang="en-US" b="1" dirty="0">
                <a:solidFill>
                  <a:srgbClr val="FFFFFF"/>
                </a:solidFill>
                <a:latin typeface="Arial"/>
                <a:ea typeface="ＭＳ Ｐゴシック"/>
              </a:rPr>
              <a:t>補正</a:t>
            </a:r>
          </a:p>
        </p:txBody>
      </p:sp>
      <p:sp>
        <p:nvSpPr>
          <p:cNvPr id="8" name="正方形/長方形 6"/>
          <p:cNvSpPr/>
          <p:nvPr/>
        </p:nvSpPr>
        <p:spPr>
          <a:xfrm>
            <a:off x="10090475" y="467360"/>
            <a:ext cx="2709346" cy="647968"/>
          </a:xfrm>
          <a:prstGeom prst="rect">
            <a:avLst/>
          </a:prstGeom>
          <a:solidFill>
            <a:srgbClr val="00CC66"/>
          </a:solidFill>
        </p:spPr>
        <p:style>
          <a:lnRef idx="0">
            <a:schemeClr val="accent2"/>
          </a:lnRef>
          <a:fillRef idx="3">
            <a:schemeClr val="accent2"/>
          </a:fillRef>
          <a:effectRef idx="3">
            <a:schemeClr val="accent2"/>
          </a:effectRef>
          <a:fontRef idx="minor">
            <a:schemeClr val="lt1"/>
          </a:fontRef>
        </p:style>
        <p:txBody>
          <a:bodyPr rtlCol="0" anchor="ctr"/>
          <a:lstStyle/>
          <a:p>
            <a:pPr algn="ctr" defTabSz="914217" fontAlgn="auto">
              <a:spcBef>
                <a:spcPts val="0"/>
              </a:spcBef>
              <a:spcAft>
                <a:spcPts val="0"/>
              </a:spcAft>
              <a:defRPr/>
            </a:pPr>
            <a:r>
              <a:rPr lang="en-US" altLang="ja-JP" sz="2000" b="1" dirty="0">
                <a:solidFill>
                  <a:srgbClr val="FFFFFF"/>
                </a:solidFill>
                <a:latin typeface="Arial"/>
                <a:ea typeface="ＭＳ Ｐゴシック"/>
              </a:rPr>
              <a:t>240329 </a:t>
            </a:r>
            <a:r>
              <a:rPr lang="ja-JP" altLang="en-US" sz="2000" b="1" dirty="0">
                <a:solidFill>
                  <a:srgbClr val="FFFFFF"/>
                </a:solidFill>
                <a:latin typeface="Arial"/>
                <a:ea typeface="ＭＳ Ｐゴシック"/>
              </a:rPr>
              <a:t>更新</a:t>
            </a:r>
          </a:p>
        </p:txBody>
      </p:sp>
      <p:sp>
        <p:nvSpPr>
          <p:cNvPr id="7" name="テキスト ボックス 6"/>
          <p:cNvSpPr txBox="1"/>
          <p:nvPr/>
        </p:nvSpPr>
        <p:spPr>
          <a:xfrm>
            <a:off x="-2799145" y="516437"/>
            <a:ext cx="2614495" cy="600068"/>
          </a:xfrm>
          <a:prstGeom prst="rect">
            <a:avLst/>
          </a:prstGeom>
          <a:solidFill>
            <a:srgbClr val="FFFF00"/>
          </a:solidFill>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914217" fontAlgn="auto">
              <a:spcBef>
                <a:spcPts val="0"/>
              </a:spcBef>
              <a:spcAft>
                <a:spcPts val="0"/>
              </a:spcAft>
              <a:defRPr/>
            </a:pPr>
            <a:r>
              <a:rPr lang="ja-JP" altLang="en-US" sz="1100" dirty="0">
                <a:solidFill>
                  <a:srgbClr val="000000"/>
                </a:solidFill>
                <a:latin typeface="Arial"/>
                <a:ea typeface="ＭＳ Ｐゴシック"/>
              </a:rPr>
              <a:t>■</a:t>
            </a:r>
            <a:r>
              <a:rPr lang="en-US" altLang="ja-JP" sz="1100" dirty="0">
                <a:solidFill>
                  <a:srgbClr val="000000"/>
                </a:solidFill>
                <a:latin typeface="Arial"/>
                <a:ea typeface="ＭＳ Ｐゴシック"/>
              </a:rPr>
              <a:t>R5.9.1</a:t>
            </a:r>
            <a:r>
              <a:rPr lang="ja-JP" altLang="en-US" sz="1100" dirty="0">
                <a:solidFill>
                  <a:srgbClr val="000000"/>
                </a:solidFill>
                <a:latin typeface="Arial"/>
                <a:ea typeface="ＭＳ Ｐゴシック"/>
              </a:rPr>
              <a:t>不動産業課</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Ｒ５同様に調査業務としての予算要求となるため、Ｒ６要求額の記載は「－」</a:t>
            </a:r>
            <a:endParaRPr lang="en-US" altLang="ja-JP" sz="1100" dirty="0">
              <a:solidFill>
                <a:srgbClr val="000000"/>
              </a:solidFill>
              <a:latin typeface="Arial"/>
              <a:ea typeface="ＭＳ Ｐゴシック"/>
            </a:endParaRPr>
          </a:p>
        </p:txBody>
      </p:sp>
      <p:sp>
        <p:nvSpPr>
          <p:cNvPr id="9" name="テキスト ボックス 8"/>
          <p:cNvSpPr txBox="1"/>
          <p:nvPr/>
        </p:nvSpPr>
        <p:spPr>
          <a:xfrm>
            <a:off x="-2799145" y="1164563"/>
            <a:ext cx="2614495" cy="769318"/>
          </a:xfrm>
          <a:prstGeom prst="rect">
            <a:avLst/>
          </a:prstGeom>
          <a:solidFill>
            <a:srgbClr val="FFFF00"/>
          </a:solidFill>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914217" fontAlgn="auto">
              <a:spcBef>
                <a:spcPts val="0"/>
              </a:spcBef>
              <a:spcAft>
                <a:spcPts val="0"/>
              </a:spcAft>
              <a:defRPr/>
            </a:pPr>
            <a:r>
              <a:rPr lang="ja-JP" altLang="en-US" sz="1100" dirty="0">
                <a:solidFill>
                  <a:srgbClr val="000000"/>
                </a:solidFill>
                <a:latin typeface="Arial"/>
                <a:ea typeface="ＭＳ Ｐゴシック"/>
              </a:rPr>
              <a:t>■</a:t>
            </a:r>
            <a:r>
              <a:rPr lang="en-US" altLang="ja-JP" sz="1100" dirty="0">
                <a:solidFill>
                  <a:srgbClr val="000000"/>
                </a:solidFill>
                <a:latin typeface="Arial"/>
                <a:ea typeface="ＭＳ Ｐゴシック"/>
              </a:rPr>
              <a:t>R5.9.8</a:t>
            </a:r>
            <a:r>
              <a:rPr lang="ja-JP" altLang="en-US" sz="1100" dirty="0">
                <a:solidFill>
                  <a:srgbClr val="000000"/>
                </a:solidFill>
                <a:latin typeface="Arial"/>
                <a:ea typeface="ＭＳ Ｐゴシック"/>
              </a:rPr>
              <a:t>　都市局</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新規事業追加</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地方移住促進テレワーク拠点施設整備支援事業」</a:t>
            </a:r>
            <a:endParaRPr lang="en-US" altLang="ja-JP" sz="1100" dirty="0">
              <a:solidFill>
                <a:srgbClr val="000000"/>
              </a:solidFill>
              <a:latin typeface="Arial"/>
              <a:ea typeface="ＭＳ Ｐゴシック"/>
            </a:endParaRPr>
          </a:p>
        </p:txBody>
      </p:sp>
      <p:sp>
        <p:nvSpPr>
          <p:cNvPr id="10" name="テキスト ボックス 9"/>
          <p:cNvSpPr txBox="1"/>
          <p:nvPr/>
        </p:nvSpPr>
        <p:spPr>
          <a:xfrm>
            <a:off x="-2799145" y="1989588"/>
            <a:ext cx="2614495" cy="600068"/>
          </a:xfrm>
          <a:prstGeom prst="rect">
            <a:avLst/>
          </a:prstGeom>
          <a:solidFill>
            <a:srgbClr val="FFFF00"/>
          </a:solidFill>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914217" fontAlgn="auto">
              <a:spcBef>
                <a:spcPts val="0"/>
              </a:spcBef>
              <a:spcAft>
                <a:spcPts val="0"/>
              </a:spcAft>
              <a:defRPr/>
            </a:pPr>
            <a:r>
              <a:rPr lang="ja-JP" altLang="en-US" sz="1100" dirty="0">
                <a:solidFill>
                  <a:srgbClr val="000000"/>
                </a:solidFill>
                <a:latin typeface="Arial"/>
                <a:ea typeface="ＭＳ Ｐゴシック"/>
              </a:rPr>
              <a:t>■</a:t>
            </a:r>
            <a:r>
              <a:rPr lang="en-US" altLang="ja-JP" sz="1100" dirty="0">
                <a:solidFill>
                  <a:srgbClr val="000000"/>
                </a:solidFill>
                <a:latin typeface="Arial"/>
                <a:ea typeface="ＭＳ Ｐゴシック"/>
              </a:rPr>
              <a:t>R5.10.11</a:t>
            </a:r>
            <a:r>
              <a:rPr lang="ja-JP" altLang="en-US" sz="1100" dirty="0">
                <a:solidFill>
                  <a:srgbClr val="000000"/>
                </a:solidFill>
                <a:latin typeface="Arial"/>
                <a:ea typeface="ＭＳ Ｐゴシック"/>
              </a:rPr>
              <a:t>　都市局</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事業追加</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a:t>
            </a:r>
            <a:r>
              <a:rPr lang="ja-JP" altLang="en-US" sz="1100" dirty="0">
                <a:solidFill>
                  <a:srgbClr val="000000"/>
                </a:solidFill>
                <a:latin typeface="ＭＳ Ｐゴシック" panose="020B0600070205080204" pitchFamily="50" charset="-128"/>
                <a:ea typeface="ＭＳ Ｐゴシック" panose="020B0600070205080204" pitchFamily="50" charset="-128"/>
              </a:rPr>
              <a:t>テレワーク人口実態調査</a:t>
            </a:r>
            <a:r>
              <a:rPr lang="ja-JP" altLang="en-US" sz="1100" dirty="0">
                <a:solidFill>
                  <a:srgbClr val="000000"/>
                </a:solidFill>
                <a:latin typeface="Arial"/>
                <a:ea typeface="ＭＳ Ｐゴシック"/>
              </a:rPr>
              <a:t>」</a:t>
            </a:r>
            <a:endParaRPr lang="en-US" altLang="ja-JP" sz="1100" dirty="0">
              <a:solidFill>
                <a:srgbClr val="000000"/>
              </a:solidFill>
              <a:latin typeface="Arial"/>
              <a:ea typeface="ＭＳ Ｐゴシック"/>
            </a:endParaRPr>
          </a:p>
        </p:txBody>
      </p:sp>
      <p:sp>
        <p:nvSpPr>
          <p:cNvPr id="11" name="テキスト ボックス 10"/>
          <p:cNvSpPr txBox="1"/>
          <p:nvPr/>
        </p:nvSpPr>
        <p:spPr>
          <a:xfrm>
            <a:off x="-2799145" y="2673609"/>
            <a:ext cx="2614495" cy="600068"/>
          </a:xfrm>
          <a:prstGeom prst="rect">
            <a:avLst/>
          </a:prstGeom>
          <a:solidFill>
            <a:srgbClr val="FFFF00"/>
          </a:solidFill>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914217" fontAlgn="auto">
              <a:spcBef>
                <a:spcPts val="0"/>
              </a:spcBef>
              <a:spcAft>
                <a:spcPts val="0"/>
              </a:spcAft>
              <a:defRPr/>
            </a:pPr>
            <a:r>
              <a:rPr lang="ja-JP" altLang="en-US" sz="1100" dirty="0">
                <a:solidFill>
                  <a:srgbClr val="000000"/>
                </a:solidFill>
                <a:latin typeface="Arial"/>
                <a:ea typeface="ＭＳ Ｐゴシック"/>
              </a:rPr>
              <a:t>■</a:t>
            </a:r>
            <a:r>
              <a:rPr lang="en-US" altLang="ja-JP" sz="1100" dirty="0">
                <a:solidFill>
                  <a:srgbClr val="000000"/>
                </a:solidFill>
                <a:latin typeface="Arial"/>
                <a:ea typeface="ＭＳ Ｐゴシック"/>
              </a:rPr>
              <a:t>R5.10.11</a:t>
            </a:r>
            <a:r>
              <a:rPr lang="ja-JP" altLang="en-US" sz="1100" dirty="0">
                <a:solidFill>
                  <a:srgbClr val="000000"/>
                </a:solidFill>
                <a:latin typeface="Arial"/>
                <a:ea typeface="ＭＳ Ｐゴシック"/>
              </a:rPr>
              <a:t>　都市局</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事業削除</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官民連携まちなか再生推進事業」</a:t>
            </a:r>
            <a:endParaRPr lang="en-US" altLang="ja-JP" sz="1100" dirty="0">
              <a:solidFill>
                <a:srgbClr val="000000"/>
              </a:solidFill>
              <a:latin typeface="Arial"/>
              <a:ea typeface="ＭＳ Ｐゴシック"/>
            </a:endParaRPr>
          </a:p>
        </p:txBody>
      </p:sp>
      <p:sp>
        <p:nvSpPr>
          <p:cNvPr id="2" name="テキスト ボックス 1">
            <a:extLst>
              <a:ext uri="{FF2B5EF4-FFF2-40B4-BE49-F238E27FC236}">
                <a16:creationId xmlns:a16="http://schemas.microsoft.com/office/drawing/2014/main" id="{0F1C1725-163F-2C1F-F378-C2FF2FC93543}"/>
              </a:ext>
            </a:extLst>
          </p:cNvPr>
          <p:cNvSpPr txBox="1"/>
          <p:nvPr/>
        </p:nvSpPr>
        <p:spPr>
          <a:xfrm>
            <a:off x="-2799145" y="3378051"/>
            <a:ext cx="2614495" cy="600068"/>
          </a:xfrm>
          <a:prstGeom prst="rect">
            <a:avLst/>
          </a:prstGeom>
          <a:solidFill>
            <a:srgbClr val="FFFF00"/>
          </a:solidFill>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914217" fontAlgn="auto">
              <a:spcBef>
                <a:spcPts val="0"/>
              </a:spcBef>
              <a:spcAft>
                <a:spcPts val="0"/>
              </a:spcAft>
              <a:defRPr/>
            </a:pPr>
            <a:r>
              <a:rPr lang="ja-JP" altLang="en-US" sz="1100" dirty="0">
                <a:solidFill>
                  <a:srgbClr val="000000"/>
                </a:solidFill>
                <a:latin typeface="Arial"/>
                <a:ea typeface="ＭＳ Ｐゴシック"/>
              </a:rPr>
              <a:t>■</a:t>
            </a:r>
            <a:r>
              <a:rPr lang="en-US" altLang="ja-JP" sz="1100" dirty="0">
                <a:solidFill>
                  <a:srgbClr val="000000"/>
                </a:solidFill>
                <a:latin typeface="Arial"/>
                <a:ea typeface="ＭＳ Ｐゴシック"/>
              </a:rPr>
              <a:t>R5.12.22</a:t>
            </a:r>
            <a:r>
              <a:rPr lang="ja-JP" altLang="en-US" sz="1100" dirty="0">
                <a:solidFill>
                  <a:srgbClr val="000000"/>
                </a:solidFill>
                <a:latin typeface="Arial"/>
                <a:ea typeface="ＭＳ Ｐゴシック"/>
              </a:rPr>
              <a:t>地方振興課</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en-US" altLang="ja-JP" sz="1100" dirty="0">
                <a:solidFill>
                  <a:srgbClr val="000000"/>
                </a:solidFill>
                <a:latin typeface="Arial"/>
                <a:ea typeface="ＭＳ Ｐゴシック"/>
              </a:rPr>
              <a:t>R5</a:t>
            </a:r>
            <a:r>
              <a:rPr lang="ja-JP" altLang="en-US" sz="1100" dirty="0">
                <a:solidFill>
                  <a:srgbClr val="000000"/>
                </a:solidFill>
                <a:latin typeface="Arial"/>
                <a:ea typeface="ＭＳ Ｐゴシック"/>
              </a:rPr>
              <a:t>補正：「移住等促進に係る体制整備や取り組みに関する実証調査」を追加</a:t>
            </a:r>
          </a:p>
        </p:txBody>
      </p:sp>
      <p:sp>
        <p:nvSpPr>
          <p:cNvPr id="3" name="テキスト ボックス 2">
            <a:extLst>
              <a:ext uri="{FF2B5EF4-FFF2-40B4-BE49-F238E27FC236}">
                <a16:creationId xmlns:a16="http://schemas.microsoft.com/office/drawing/2014/main" id="{F856A490-A340-3A53-5742-5FAA82B66F8D}"/>
              </a:ext>
            </a:extLst>
          </p:cNvPr>
          <p:cNvSpPr txBox="1"/>
          <p:nvPr/>
        </p:nvSpPr>
        <p:spPr>
          <a:xfrm>
            <a:off x="-2799145" y="4095840"/>
            <a:ext cx="2614495" cy="769318"/>
          </a:xfrm>
          <a:prstGeom prst="rect">
            <a:avLst/>
          </a:prstGeom>
          <a:solidFill>
            <a:srgbClr val="FFFF00"/>
          </a:solidFill>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914217" fontAlgn="auto">
              <a:spcBef>
                <a:spcPts val="0"/>
              </a:spcBef>
              <a:spcAft>
                <a:spcPts val="0"/>
              </a:spcAft>
              <a:defRPr/>
            </a:pPr>
            <a:r>
              <a:rPr lang="ja-JP" altLang="en-US" sz="1100" dirty="0">
                <a:solidFill>
                  <a:srgbClr val="000000"/>
                </a:solidFill>
                <a:latin typeface="Arial"/>
                <a:ea typeface="ＭＳ Ｐゴシック"/>
              </a:rPr>
              <a:t>■</a:t>
            </a:r>
            <a:r>
              <a:rPr lang="en-US" altLang="ja-JP" sz="1100" dirty="0">
                <a:solidFill>
                  <a:srgbClr val="000000"/>
                </a:solidFill>
                <a:latin typeface="Arial"/>
                <a:ea typeface="ＭＳ Ｐゴシック"/>
              </a:rPr>
              <a:t>R6.3.25</a:t>
            </a:r>
            <a:r>
              <a:rPr lang="ja-JP" altLang="en-US" sz="1100" dirty="0">
                <a:solidFill>
                  <a:srgbClr val="000000"/>
                </a:solidFill>
                <a:latin typeface="Arial"/>
                <a:ea typeface="ＭＳ Ｐゴシック"/>
              </a:rPr>
              <a:t>不動産業課</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Ｒ５同様に調査業務としての予算要求となるため、Ｒ６要求額の記載は「－」</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予算は当初のみ。</a:t>
            </a:r>
            <a:endParaRPr lang="en-US" altLang="ja-JP" sz="1100" dirty="0">
              <a:solidFill>
                <a:srgbClr val="000000"/>
              </a:solidFill>
              <a:latin typeface="Arial"/>
              <a:ea typeface="ＭＳ Ｐゴシック"/>
            </a:endParaRPr>
          </a:p>
        </p:txBody>
      </p:sp>
      <p:sp>
        <p:nvSpPr>
          <p:cNvPr id="5" name="テキスト ボックス 4">
            <a:extLst>
              <a:ext uri="{FF2B5EF4-FFF2-40B4-BE49-F238E27FC236}">
                <a16:creationId xmlns:a16="http://schemas.microsoft.com/office/drawing/2014/main" id="{32C30F3A-EF0E-86EA-3F19-74D0A89B42A1}"/>
              </a:ext>
            </a:extLst>
          </p:cNvPr>
          <p:cNvSpPr txBox="1"/>
          <p:nvPr/>
        </p:nvSpPr>
        <p:spPr>
          <a:xfrm>
            <a:off x="-2799145" y="4973313"/>
            <a:ext cx="2614495" cy="600068"/>
          </a:xfrm>
          <a:prstGeom prst="rect">
            <a:avLst/>
          </a:prstGeom>
          <a:solidFill>
            <a:srgbClr val="FFFF00"/>
          </a:solidFill>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914217" fontAlgn="auto">
              <a:spcBef>
                <a:spcPts val="0"/>
              </a:spcBef>
              <a:spcAft>
                <a:spcPts val="0"/>
              </a:spcAft>
              <a:defRPr/>
            </a:pPr>
            <a:r>
              <a:rPr lang="ja-JP" altLang="en-US" sz="1100" dirty="0">
                <a:solidFill>
                  <a:srgbClr val="000000"/>
                </a:solidFill>
                <a:latin typeface="Arial"/>
                <a:ea typeface="ＭＳ Ｐゴシック"/>
              </a:rPr>
              <a:t>■</a:t>
            </a:r>
            <a:r>
              <a:rPr lang="en-US" altLang="ja-JP" sz="1100" dirty="0">
                <a:solidFill>
                  <a:srgbClr val="000000"/>
                </a:solidFill>
                <a:latin typeface="Arial"/>
                <a:ea typeface="ＭＳ Ｐゴシック"/>
              </a:rPr>
              <a:t>R6.3.29 </a:t>
            </a:r>
            <a:r>
              <a:rPr lang="ja-JP" altLang="en-US" sz="1100" dirty="0">
                <a:solidFill>
                  <a:srgbClr val="000000"/>
                </a:solidFill>
                <a:latin typeface="Arial"/>
                <a:ea typeface="ＭＳ Ｐゴシック"/>
              </a:rPr>
              <a:t>都市局</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Ｒ５当初</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数値が１行ずつズレていたため修正。</a:t>
            </a:r>
            <a:endParaRPr lang="en-US" altLang="ja-JP" sz="1100" dirty="0">
              <a:solidFill>
                <a:srgbClr val="000000"/>
              </a:solidFill>
              <a:latin typeface="Arial"/>
              <a:ea typeface="ＭＳ Ｐゴシック"/>
            </a:endParaRPr>
          </a:p>
        </p:txBody>
      </p:sp>
      <p:sp>
        <p:nvSpPr>
          <p:cNvPr id="12" name="テキスト ボックス 11">
            <a:extLst>
              <a:ext uri="{FF2B5EF4-FFF2-40B4-BE49-F238E27FC236}">
                <a16:creationId xmlns:a16="http://schemas.microsoft.com/office/drawing/2014/main" id="{511713D5-30D3-8D6D-71E7-7B2CCD87330C}"/>
              </a:ext>
            </a:extLst>
          </p:cNvPr>
          <p:cNvSpPr txBox="1"/>
          <p:nvPr/>
        </p:nvSpPr>
        <p:spPr>
          <a:xfrm>
            <a:off x="-2774037" y="5655665"/>
            <a:ext cx="2614495" cy="600068"/>
          </a:xfrm>
          <a:prstGeom prst="rect">
            <a:avLst/>
          </a:prstGeom>
          <a:solidFill>
            <a:srgbClr val="FFFF00"/>
          </a:solidFill>
        </p:spPr>
        <p:style>
          <a:lnRef idx="1">
            <a:schemeClr val="accent5"/>
          </a:lnRef>
          <a:fillRef idx="2">
            <a:schemeClr val="accent5"/>
          </a:fillRef>
          <a:effectRef idx="1">
            <a:schemeClr val="accent5"/>
          </a:effectRef>
          <a:fontRef idx="minor">
            <a:schemeClr val="dk1"/>
          </a:fontRef>
        </p:style>
        <p:txBody>
          <a:bodyPr wrap="square" rtlCol="0">
            <a:spAutoFit/>
          </a:bodyPr>
          <a:lstStyle/>
          <a:p>
            <a:pPr defTabSz="914217" fontAlgn="auto">
              <a:spcBef>
                <a:spcPts val="0"/>
              </a:spcBef>
              <a:spcAft>
                <a:spcPts val="0"/>
              </a:spcAft>
              <a:defRPr/>
            </a:pPr>
            <a:r>
              <a:rPr lang="ja-JP" altLang="en-US" sz="1100" dirty="0">
                <a:solidFill>
                  <a:srgbClr val="000000"/>
                </a:solidFill>
                <a:latin typeface="Arial"/>
                <a:ea typeface="ＭＳ Ｐゴシック"/>
              </a:rPr>
              <a:t>■</a:t>
            </a:r>
            <a:r>
              <a:rPr lang="en-US" altLang="ja-JP" sz="1100" dirty="0">
                <a:solidFill>
                  <a:srgbClr val="000000"/>
                </a:solidFill>
                <a:latin typeface="Arial"/>
                <a:ea typeface="ＭＳ Ｐゴシック"/>
              </a:rPr>
              <a:t>R6.4.22</a:t>
            </a:r>
            <a:r>
              <a:rPr lang="ja-JP" altLang="en-US" sz="1100" dirty="0">
                <a:solidFill>
                  <a:srgbClr val="000000"/>
                </a:solidFill>
                <a:latin typeface="Arial"/>
                <a:ea typeface="ＭＳ Ｐゴシック"/>
              </a:rPr>
              <a:t>　総合政策局</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事業追加</a:t>
            </a:r>
            <a:endParaRPr lang="en-US" altLang="ja-JP" sz="1100" dirty="0">
              <a:solidFill>
                <a:srgbClr val="000000"/>
              </a:solidFill>
              <a:latin typeface="Arial"/>
              <a:ea typeface="ＭＳ Ｐゴシック"/>
            </a:endParaRPr>
          </a:p>
          <a:p>
            <a:pPr defTabSz="914217" fontAlgn="auto">
              <a:spcBef>
                <a:spcPts val="0"/>
              </a:spcBef>
              <a:spcAft>
                <a:spcPts val="0"/>
              </a:spcAft>
              <a:defRPr/>
            </a:pPr>
            <a:r>
              <a:rPr lang="ja-JP" altLang="en-US" sz="1100" dirty="0">
                <a:solidFill>
                  <a:srgbClr val="000000"/>
                </a:solidFill>
                <a:latin typeface="Arial"/>
                <a:ea typeface="ＭＳ Ｐゴシック"/>
              </a:rPr>
              <a:t>「</a:t>
            </a:r>
            <a:r>
              <a:rPr lang="ja-JP" altLang="en-US" sz="1100" dirty="0">
                <a:solidFill>
                  <a:srgbClr val="000000"/>
                </a:solidFill>
                <a:highlight>
                  <a:srgbClr val="FFFF00"/>
                </a:highlight>
                <a:latin typeface="ＭＳ Ｐゴシック"/>
                <a:ea typeface="ＭＳ Ｐゴシック"/>
              </a:rPr>
              <a:t>共創</a:t>
            </a:r>
            <a:r>
              <a:rPr lang="en-US" altLang="ja-JP" sz="1100" dirty="0" err="1">
                <a:solidFill>
                  <a:srgbClr val="000000"/>
                </a:solidFill>
                <a:highlight>
                  <a:srgbClr val="FFFF00"/>
                </a:highlight>
                <a:latin typeface="ＭＳ Ｐゴシック"/>
                <a:ea typeface="ＭＳ Ｐゴシック"/>
              </a:rPr>
              <a:t>MaaS</a:t>
            </a:r>
            <a:r>
              <a:rPr lang="ja-JP" altLang="en-US" sz="1100" dirty="0">
                <a:solidFill>
                  <a:srgbClr val="000000"/>
                </a:solidFill>
                <a:highlight>
                  <a:srgbClr val="FFFF00"/>
                </a:highlight>
                <a:latin typeface="ＭＳ Ｐゴシック"/>
                <a:ea typeface="ＭＳ Ｐゴシック"/>
              </a:rPr>
              <a:t>実証プロジェクト」</a:t>
            </a:r>
            <a:endParaRPr lang="en-US" altLang="ja-JP" sz="1100" dirty="0">
              <a:solidFill>
                <a:srgbClr val="000000"/>
              </a:solidFill>
              <a:highlight>
                <a:srgbClr val="FFFF00"/>
              </a:highlight>
              <a:latin typeface="ＭＳ Ｐゴシック"/>
              <a:ea typeface="ＭＳ Ｐゴシック"/>
            </a:endParaRPr>
          </a:p>
        </p:txBody>
      </p:sp>
    </p:spTree>
    <p:extLst>
      <p:ext uri="{BB962C8B-B14F-4D97-AF65-F5344CB8AC3E}">
        <p14:creationId xmlns:p14="http://schemas.microsoft.com/office/powerpoint/2010/main" val="184485476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5" name="Rectangle 127"/>
          <p:cNvSpPr txBox="1">
            <a:spLocks noChangeArrowheads="1"/>
          </p:cNvSpPr>
          <p:nvPr/>
        </p:nvSpPr>
        <p:spPr>
          <a:xfrm>
            <a:off x="0" y="0"/>
            <a:ext cx="7788316" cy="476174"/>
          </a:xfrm>
          <a:prstGeom prst="rect">
            <a:avLst/>
          </a:prstGeom>
          <a:noFill/>
          <a:ln w="9525">
            <a:noFill/>
            <a:miter lim="800000"/>
            <a:headEnd/>
            <a:tailEnd/>
          </a:ln>
          <a:effectLst/>
        </p:spPr>
        <p:txBody>
          <a:bodyPr anchor="ctr">
            <a:normAutofit/>
          </a:bodyPr>
          <a:lstStyle/>
          <a:p>
            <a:pPr defTabSz="914217" fontAlgn="auto">
              <a:spcBef>
                <a:spcPts val="0"/>
              </a:spcBef>
              <a:spcAft>
                <a:spcPts val="0"/>
              </a:spcAft>
              <a:defRPr/>
            </a:pPr>
            <a:r>
              <a:rPr lang="ja-JP" altLang="en-US" sz="2400" dirty="0">
                <a:solidFill>
                  <a:srgbClr val="0070C0"/>
                </a:solidFill>
                <a:latin typeface="HGP創英角ｺﾞｼｯｸUB" pitchFamily="50" charset="-128"/>
                <a:ea typeface="HGP創英角ｺﾞｼｯｸUB" pitchFamily="50" charset="-128"/>
              </a:rPr>
              <a:t>二地域居住等関連施策一覧（他省庁関係）</a:t>
            </a:r>
          </a:p>
        </p:txBody>
      </p:sp>
      <p:graphicFrame>
        <p:nvGraphicFramePr>
          <p:cNvPr id="1376" name="表 4"/>
          <p:cNvGraphicFramePr>
            <a:graphicFrameLocks noGrp="1"/>
          </p:cNvGraphicFramePr>
          <p:nvPr/>
        </p:nvGraphicFramePr>
        <p:xfrm>
          <a:off x="281501" y="1076060"/>
          <a:ext cx="9170483" cy="6013191"/>
        </p:xfrm>
        <a:graphic>
          <a:graphicData uri="http://schemas.openxmlformats.org/drawingml/2006/table">
            <a:tbl>
              <a:tblPr>
                <a:tableStyleId>{5940675A-B579-460E-94D1-54222C63F5DA}</a:tableStyleId>
              </a:tblPr>
              <a:tblGrid>
                <a:gridCol w="402855">
                  <a:extLst>
                    <a:ext uri="{9D8B030D-6E8A-4147-A177-3AD203B41FA5}">
                      <a16:colId xmlns:a16="http://schemas.microsoft.com/office/drawing/2014/main" val="20000"/>
                    </a:ext>
                  </a:extLst>
                </a:gridCol>
                <a:gridCol w="1697390">
                  <a:extLst>
                    <a:ext uri="{9D8B030D-6E8A-4147-A177-3AD203B41FA5}">
                      <a16:colId xmlns:a16="http://schemas.microsoft.com/office/drawing/2014/main" val="20001"/>
                    </a:ext>
                  </a:extLst>
                </a:gridCol>
                <a:gridCol w="3779860">
                  <a:extLst>
                    <a:ext uri="{9D8B030D-6E8A-4147-A177-3AD203B41FA5}">
                      <a16:colId xmlns:a16="http://schemas.microsoft.com/office/drawing/2014/main" val="20002"/>
                    </a:ext>
                  </a:extLst>
                </a:gridCol>
                <a:gridCol w="760058">
                  <a:extLst>
                    <a:ext uri="{9D8B030D-6E8A-4147-A177-3AD203B41FA5}">
                      <a16:colId xmlns:a16="http://schemas.microsoft.com/office/drawing/2014/main" val="20003"/>
                    </a:ext>
                  </a:extLst>
                </a:gridCol>
                <a:gridCol w="759096">
                  <a:extLst>
                    <a:ext uri="{9D8B030D-6E8A-4147-A177-3AD203B41FA5}">
                      <a16:colId xmlns:a16="http://schemas.microsoft.com/office/drawing/2014/main" val="20005"/>
                    </a:ext>
                  </a:extLst>
                </a:gridCol>
                <a:gridCol w="759096">
                  <a:extLst>
                    <a:ext uri="{9D8B030D-6E8A-4147-A177-3AD203B41FA5}">
                      <a16:colId xmlns:a16="http://schemas.microsoft.com/office/drawing/2014/main" val="2596443232"/>
                    </a:ext>
                  </a:extLst>
                </a:gridCol>
                <a:gridCol w="1012128">
                  <a:extLst>
                    <a:ext uri="{9D8B030D-6E8A-4147-A177-3AD203B41FA5}">
                      <a16:colId xmlns:a16="http://schemas.microsoft.com/office/drawing/2014/main" val="3334802897"/>
                    </a:ext>
                  </a:extLst>
                </a:gridCol>
              </a:tblGrid>
              <a:tr h="210455">
                <a:tc rowSpan="2">
                  <a:txBody>
                    <a:bodyPr/>
                    <a:lstStyle/>
                    <a:p>
                      <a:pPr marL="0" marR="0" lvl="0" indent="0" algn="ctr" defTabSz="914400" rtl="0" eaLnBrk="1" fontAlgn="ctr" latinLnBrk="0" hangingPunct="1">
                        <a:lnSpc>
                          <a:spcPct val="150000"/>
                        </a:lnSpc>
                        <a:spcBef>
                          <a:spcPts val="0"/>
                        </a:spcBef>
                        <a:spcAft>
                          <a:spcPts val="0"/>
                        </a:spcAft>
                        <a:buClrTx/>
                        <a:buSzTx/>
                        <a:buFontTx/>
                        <a:buNone/>
                        <a:tabLst/>
                        <a:defRPr/>
                      </a:pP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主な区分</a:t>
                      </a:r>
                      <a:endParaRPr lang="en-US" altLang="ja-JP" sz="120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853" marR="3853" marT="3853" marB="0" anchor="ctr">
                    <a:solidFill>
                      <a:schemeClr val="bg1">
                        <a:lumMod val="85000"/>
                      </a:schemeClr>
                    </a:solidFill>
                  </a:tcPr>
                </a:tc>
                <a:tc rowSpan="2">
                  <a:txBody>
                    <a:bodyPr/>
                    <a:lstStyle/>
                    <a:p>
                      <a:pPr algn="ct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施策名</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853" marR="3853" marT="3853" marB="0" anchor="ctr">
                    <a:solidFill>
                      <a:schemeClr val="bg1">
                        <a:lumMod val="85000"/>
                      </a:schemeClr>
                    </a:solidFill>
                  </a:tcPr>
                </a:tc>
                <a:tc rowSpan="2">
                  <a:txBody>
                    <a:bodyPr/>
                    <a:lstStyle/>
                    <a:p>
                      <a:pPr algn="ct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施策内容等</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853" marR="3853" marT="3853" marB="0" anchor="ctr">
                    <a:solidFill>
                      <a:schemeClr val="bg1">
                        <a:lumMod val="85000"/>
                      </a:schemeClr>
                    </a:solidFill>
                  </a:tcPr>
                </a:tc>
                <a:tc gridSpan="3">
                  <a:txBody>
                    <a:bodyPr/>
                    <a:lstStyle/>
                    <a:p>
                      <a:pPr algn="ctr" fontAlgn="ctr"/>
                      <a:r>
                        <a:rPr lang="zh-TW" altLang="en-US" sz="1200" u="none" strike="noStrike" dirty="0">
                          <a:solidFill>
                            <a:schemeClr val="tx1"/>
                          </a:solidFill>
                          <a:effectLst/>
                        </a:rPr>
                        <a:t>予算額（百万円）</a:t>
                      </a:r>
                      <a:endParaRPr lang="zh-TW"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853" marR="3853" marT="3853" marB="0" anchor="ctr">
                    <a:solidFill>
                      <a:schemeClr val="bg1">
                        <a:lumMod val="85000"/>
                      </a:schemeClr>
                    </a:solidFill>
                  </a:tcPr>
                </a:tc>
                <a:tc hMerge="1">
                  <a:txBody>
                    <a:bodyPr/>
                    <a:lstStyle/>
                    <a:p>
                      <a:endParaRPr kumimoji="1" lang="ja-JP" altLang="en-US"/>
                    </a:p>
                  </a:txBody>
                  <a:tcPr/>
                </a:tc>
                <a:tc hMerge="1">
                  <a:txBody>
                    <a:bodyPr/>
                    <a:lstStyle/>
                    <a:p>
                      <a:pPr algn="ctr" fontAlgn="ctr"/>
                      <a:endParaRPr lang="zh-TW"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854" marR="3854" marT="3854" marB="0" anchor="ctr">
                    <a:solidFill>
                      <a:schemeClr val="bg1">
                        <a:lumMod val="85000"/>
                      </a:schemeClr>
                    </a:solidFill>
                  </a:tcPr>
                </a:tc>
                <a:tc rowSpan="2">
                  <a:txBody>
                    <a:bodyPr/>
                    <a:lstStyle/>
                    <a:p>
                      <a:pPr algn="ctr" fontAlgn="ct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担当局</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solidFill>
                      <a:schemeClr val="bg1">
                        <a:lumMod val="85000"/>
                      </a:schemeClr>
                    </a:solidFill>
                  </a:tcPr>
                </a:tc>
                <a:extLst>
                  <a:ext uri="{0D108BD9-81ED-4DB2-BD59-A6C34878D82A}">
                    <a16:rowId xmlns:a16="http://schemas.microsoft.com/office/drawing/2014/main" val="10000"/>
                  </a:ext>
                </a:extLst>
              </a:tr>
              <a:tr h="524801">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200" b="0" i="0" u="none" strike="noStrike" dirty="0">
                          <a:solidFill>
                            <a:schemeClr val="tx1"/>
                          </a:solidFill>
                          <a:effectLst/>
                          <a:latin typeface="ＭＳ Ｐゴシック" panose="020B0600070205080204" pitchFamily="50" charset="-128"/>
                          <a:ea typeface="ＭＳ Ｐゴシック" panose="020B0600070205080204" pitchFamily="50" charset="-128"/>
                        </a:rPr>
                        <a:t>R</a:t>
                      </a:r>
                      <a:r>
                        <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rPr>
                        <a:t>６当初</a:t>
                      </a:r>
                      <a:endParaRPr lang="en-US" altLang="ja-JP"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solidFill>
                      <a:schemeClr val="bg1">
                        <a:lumMod val="85000"/>
                      </a:schemeClr>
                    </a:solidFill>
                  </a:tcPr>
                </a:tc>
                <a:tc>
                  <a:txBody>
                    <a:bodyPr/>
                    <a:lstStyle/>
                    <a:p>
                      <a:pPr algn="ctr" fontAlgn="ctr"/>
                      <a:r>
                        <a:rPr lang="en-US" sz="1200" u="none" strike="noStrike" dirty="0">
                          <a:solidFill>
                            <a:schemeClr val="tx1"/>
                          </a:solidFill>
                          <a:effectLst/>
                          <a:latin typeface="ＭＳ Ｐゴシック" panose="020B0600070205080204" pitchFamily="50" charset="-128"/>
                          <a:ea typeface="ＭＳ Ｐゴシック" panose="020B0600070205080204" pitchFamily="50" charset="-128"/>
                        </a:rPr>
                        <a:t>R</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５当初</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200" u="none" strike="noStrike" dirty="0">
                          <a:solidFill>
                            <a:schemeClr val="tx1"/>
                          </a:solidFill>
                          <a:effectLst/>
                          <a:latin typeface="ＭＳ Ｐゴシック" panose="020B0600070205080204" pitchFamily="50" charset="-128"/>
                          <a:ea typeface="ＭＳ Ｐゴシック" panose="020B0600070205080204" pitchFamily="50" charset="-128"/>
                        </a:rPr>
                        <a:t>R</a:t>
                      </a:r>
                      <a:r>
                        <a:rPr lang="ja-JP" altLang="en-US" sz="1200" u="none" strike="noStrike" dirty="0">
                          <a:solidFill>
                            <a:schemeClr val="tx1"/>
                          </a:solidFill>
                          <a:effectLst/>
                          <a:latin typeface="ＭＳ Ｐゴシック" panose="020B0600070205080204" pitchFamily="50" charset="-128"/>
                          <a:ea typeface="ＭＳ Ｐゴシック" panose="020B0600070205080204" pitchFamily="50" charset="-128"/>
                        </a:rPr>
                        <a:t>５補正</a:t>
                      </a:r>
                      <a:endParaRPr lang="ja-JP" altLang="en-US" sz="12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solidFill>
                      <a:schemeClr val="bg1">
                        <a:lumMod val="85000"/>
                      </a:schemeClr>
                    </a:solidFill>
                  </a:tcPr>
                </a:tc>
                <a:tc vMerge="1">
                  <a:txBody>
                    <a:bodyPr/>
                    <a:lstStyle/>
                    <a:p>
                      <a:endParaRPr kumimoji="1" lang="ja-JP" altLang="en-US" dirty="0"/>
                    </a:p>
                  </a:txBody>
                  <a:tcPr/>
                </a:tc>
                <a:extLst>
                  <a:ext uri="{0D108BD9-81ED-4DB2-BD59-A6C34878D82A}">
                    <a16:rowId xmlns:a16="http://schemas.microsoft.com/office/drawing/2014/main" val="10001"/>
                  </a:ext>
                </a:extLst>
              </a:tr>
              <a:tr h="583915">
                <a:tc rowSpan="2">
                  <a:txBody>
                    <a:bodyPr/>
                    <a:lstStyle/>
                    <a:p>
                      <a:pPr algn="ctr" fontAlgn="ct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情報提供等</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853" marR="3853" marT="3853" marB="0" vert="eaVert" anchor="ctr">
                    <a:solidFill>
                      <a:schemeClr val="bg1"/>
                    </a:solidFill>
                  </a:tcPr>
                </a:tc>
                <a:tc>
                  <a:txBody>
                    <a:bodyPr/>
                    <a:lstStyle/>
                    <a:p>
                      <a:pPr algn="l" fontAlgn="ctr">
                        <a:lnSpc>
                          <a:spcPts val="1300"/>
                        </a:lnSpc>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移住・交流情報ガーデン</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853" marT="3853" marB="0" anchor="ctr"/>
                </a:tc>
                <a:tc>
                  <a:txBody>
                    <a:bodyPr/>
                    <a:lstStyle/>
                    <a:p>
                      <a:pPr algn="l" fontAlgn="ctr">
                        <a:lnSpc>
                          <a:spcPts val="1300"/>
                        </a:lnSpc>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相談窓口「移住・交流情報ガーデン」において、地方自治体、関係省庁と連携し、居住・就労・生活等総合的な情報提供を実施。</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tc>
                  <a:txBody>
                    <a:bodyPr/>
                    <a:lstStyle/>
                    <a:p>
                      <a:pPr algn="r" fontAlgn="ctr">
                        <a:lnSpc>
                          <a:spcPts val="1300"/>
                        </a:lnSpc>
                      </a:pPr>
                      <a:r>
                        <a:rPr lang="en-US" altLang="ja-JP" sz="1100" dirty="0">
                          <a:solidFill>
                            <a:schemeClr val="tx1"/>
                          </a:solidFill>
                          <a:latin typeface="ＭＳ Ｐゴシック" panose="020B0600070205080204" pitchFamily="50" charset="-128"/>
                          <a:ea typeface="ＭＳ Ｐゴシック" panose="020B0600070205080204" pitchFamily="50" charset="-128"/>
                        </a:rPr>
                        <a:t>93</a:t>
                      </a:r>
                      <a:endParaRPr sz="1100" dirty="0">
                        <a:solidFill>
                          <a:schemeClr val="tx1"/>
                        </a:solidFill>
                        <a:latin typeface="ＭＳ Ｐゴシック" panose="020B0600070205080204" pitchFamily="50" charset="-128"/>
                        <a:ea typeface="ＭＳ Ｐゴシック" panose="020B0600070205080204" pitchFamily="50" charset="-128"/>
                      </a:endParaRPr>
                    </a:p>
                  </a:txBody>
                  <a:tcPr marL="35994" marR="35994" marT="3853" marB="0" anchor="ctr">
                    <a:noFill/>
                  </a:tcPr>
                </a:tc>
                <a:tc>
                  <a:txBody>
                    <a:bodyPr/>
                    <a:lstStyle/>
                    <a:p>
                      <a:pPr algn="r" fontAlgn="ctr">
                        <a:lnSpc>
                          <a:spcPts val="1300"/>
                        </a:lnSpc>
                      </a:pPr>
                      <a:r>
                        <a:rPr lang="en-US" altLang="ja-JP" sz="1100" dirty="0">
                          <a:solidFill>
                            <a:schemeClr val="tx1"/>
                          </a:solidFill>
                          <a:latin typeface="ＭＳ Ｐゴシック" panose="020B0600070205080204" pitchFamily="50" charset="-128"/>
                          <a:ea typeface="ＭＳ Ｐゴシック" panose="020B0600070205080204" pitchFamily="50" charset="-128"/>
                        </a:rPr>
                        <a:t>93</a:t>
                      </a:r>
                      <a:endParaRPr sz="1100" dirty="0">
                        <a:solidFill>
                          <a:schemeClr val="tx1"/>
                        </a:solidFill>
                        <a:latin typeface="ＭＳ Ｐゴシック" panose="020B0600070205080204" pitchFamily="50" charset="-128"/>
                        <a:ea typeface="ＭＳ Ｐゴシック" panose="020B0600070205080204" pitchFamily="50" charset="-128"/>
                      </a:endParaRPr>
                    </a:p>
                  </a:txBody>
                  <a:tcPr marL="35994" marR="35994" marT="3853" marB="0" anchor="ctr"/>
                </a:tc>
                <a:tc>
                  <a:txBody>
                    <a:bodyPr/>
                    <a:lstStyle/>
                    <a:p>
                      <a:pPr marL="0" marR="0" lvl="0" indent="0" algn="r" defTabSz="914400"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a:t>
                      </a:r>
                    </a:p>
                  </a:txBody>
                  <a:tcPr marL="35994" marR="35994" marT="3853" marB="0" anchor="ctr"/>
                </a:tc>
                <a:tc>
                  <a:txBody>
                    <a:bodyPr/>
                    <a:lstStyle/>
                    <a:p>
                      <a:pPr algn="l" fontAlgn="ctr">
                        <a:lnSpc>
                          <a:spcPts val="1300"/>
                        </a:lnSpc>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総務省地域力創造グループ</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extLst>
                  <a:ext uri="{0D108BD9-81ED-4DB2-BD59-A6C34878D82A}">
                    <a16:rowId xmlns:a16="http://schemas.microsoft.com/office/drawing/2014/main" val="10002"/>
                  </a:ext>
                </a:extLst>
              </a:tr>
              <a:tr h="583915">
                <a:tc vMerge="1">
                  <a:txBody>
                    <a:bodyPr/>
                    <a:lstStyle/>
                    <a:p>
                      <a:endParaRPr kumimoji="1" lang="ja-JP" altLang="en-US"/>
                    </a:p>
                  </a:txBody>
                  <a:tcPr/>
                </a:tc>
                <a:tc>
                  <a:txBody>
                    <a:bodyPr/>
                    <a:lstStyle/>
                    <a:p>
                      <a:pPr algn="l" fontAlgn="ctr">
                        <a:lnSpc>
                          <a:spcPts val="1300"/>
                        </a:lnSpc>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自治体による移住関連情報の提供等への特交措置</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853" marT="3853" marB="0" anchor="ctr"/>
                </a:tc>
                <a:tc>
                  <a:txBody>
                    <a:bodyPr/>
                    <a:lstStyle/>
                    <a:p>
                      <a:pPr algn="l" fontAlgn="ctr">
                        <a:lnSpc>
                          <a:spcPts val="1300"/>
                        </a:lnSpc>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特別交付税措置で</a:t>
                      </a:r>
                      <a:r>
                        <a:rPr lang="en-US" altLang="ja-JP" sz="1100" u="none" strike="noStrike" dirty="0">
                          <a:solidFill>
                            <a:schemeClr val="tx1"/>
                          </a:solidFill>
                          <a:effectLst/>
                          <a:latin typeface="ＭＳ Ｐゴシック" panose="020B0600070205080204" pitchFamily="50" charset="-128"/>
                          <a:ea typeface="ＭＳ Ｐゴシック" panose="020B0600070205080204" pitchFamily="50" charset="-128"/>
                        </a:rPr>
                        <a:t>R</a:t>
                      </a: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３年度から二地域居住に係る経費についても対象に追加。</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a:t>
                      </a:r>
                    </a:p>
                  </a:txBody>
                  <a:tcPr marL="35994" marR="35994" marT="3853" marB="0" anchor="ctr">
                    <a:noFill/>
                  </a:tcP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a:t>
                      </a:r>
                    </a:p>
                  </a:txBody>
                  <a:tcPr marL="35994" marR="35994" marT="3853" marB="0" anchor="ctr"/>
                </a:tc>
                <a:tc>
                  <a:txBody>
                    <a:bodyPr/>
                    <a:lstStyle/>
                    <a:p>
                      <a:pPr algn="l" fontAlgn="ctr">
                        <a:lnSpc>
                          <a:spcPts val="1300"/>
                        </a:lnSpc>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総務省地域力創造グループ</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extLst>
                  <a:ext uri="{0D108BD9-81ED-4DB2-BD59-A6C34878D82A}">
                    <a16:rowId xmlns:a16="http://schemas.microsoft.com/office/drawing/2014/main" val="10003"/>
                  </a:ext>
                </a:extLst>
              </a:tr>
              <a:tr h="1195824">
                <a:tc rowSpan="4">
                  <a:txBody>
                    <a:bodyPr/>
                    <a:lstStyle/>
                    <a:p>
                      <a:pPr algn="ctr" fontAlgn="ct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テレワーク</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853" marR="3853" marT="3853" marB="0" vert="eaVert" anchor="ctr">
                    <a:solidFill>
                      <a:schemeClr val="bg1"/>
                    </a:solidFill>
                  </a:tcPr>
                </a:tc>
                <a:tc>
                  <a:txBody>
                    <a:bodyPr/>
                    <a:lstStyle/>
                    <a:p>
                      <a:pPr algn="l"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デジタル田園都市国家構想交付金</a:t>
                      </a:r>
                    </a:p>
                  </a:txBody>
                  <a:tcPr marL="35994" marR="3853" marT="3853" marB="0" anchor="ctr"/>
                </a:tc>
                <a:tc>
                  <a:txBody>
                    <a:bodyPr/>
                    <a:lstStyle/>
                    <a:p>
                      <a:pPr marL="0" marR="0" lvl="0" indent="0" algn="l" defTabSz="914395" rtl="0" eaLnBrk="1" fontAlgn="ctr" latinLnBrk="0" hangingPunct="1">
                        <a:lnSpc>
                          <a:spcPts val="1300"/>
                        </a:lnSpc>
                        <a:spcBef>
                          <a:spcPts val="0"/>
                        </a:spcBef>
                        <a:spcAft>
                          <a:spcPts val="0"/>
                        </a:spcAft>
                        <a:buClrTx/>
                        <a:buSzTx/>
                        <a:buFontTx/>
                        <a:buNone/>
                        <a:tabLst/>
                        <a:defRPr/>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デジタル実装タイプ（地方創生テレワーク型）にて、サテライトオフィス等の施設整備・運営・利用促進等、地方創生テレワークを推進する地方公共団体の取組を支援。</a:t>
                      </a:r>
                      <a:endParaRPr lang="en-US" altLang="ja-JP" sz="110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marL="0" marR="0" lvl="0" indent="0" algn="l"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地方創生拠点整備タイプにて、民間事業者に対する間接補助も含め、移住や二地域居住に活用する集合住宅やシェアハウスなどの地方創生に資する施設整備などを支援。</a:t>
                      </a:r>
                    </a:p>
                  </a:txBody>
                  <a:tcPr marL="35994" marR="35994" marT="3853"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100,000</a:t>
                      </a:r>
                    </a:p>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の内数</a:t>
                      </a:r>
                    </a:p>
                  </a:txBody>
                  <a:tcPr marL="35994" marR="35994" marT="3853" marB="0" anchor="ctr">
                    <a:noFill/>
                  </a:tcP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en-US" altLang="ja-JP" sz="1100" u="none" strike="noStrike" dirty="0">
                          <a:solidFill>
                            <a:schemeClr val="tx1"/>
                          </a:solidFill>
                          <a:effectLst/>
                          <a:latin typeface="ＭＳ Ｐゴシック" panose="020B0600070205080204" pitchFamily="50" charset="-128"/>
                          <a:ea typeface="ＭＳ Ｐゴシック" panose="020B0600070205080204" pitchFamily="50" charset="-128"/>
                        </a:rPr>
                        <a:t>100,000</a:t>
                      </a:r>
                    </a:p>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の内数</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735,000</a:t>
                      </a:r>
                    </a:p>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の内数</a:t>
                      </a:r>
                    </a:p>
                  </a:txBody>
                  <a:tcPr marL="35994" marR="35994" marT="3853" marB="0" anchor="ctr"/>
                </a:tc>
                <a:tc>
                  <a:txBody>
                    <a:bodyPr/>
                    <a:lstStyle/>
                    <a:p>
                      <a:pPr algn="l" fontAlgn="ctr">
                        <a:lnSpc>
                          <a:spcPts val="1300"/>
                        </a:lnSpc>
                      </a:pPr>
                      <a:r>
                        <a:rPr lang="zh-TW"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内閣府地方</a:t>
                      </a: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創生</a:t>
                      </a:r>
                      <a:r>
                        <a:rPr lang="zh-TW"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推進</a:t>
                      </a: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室／地方創生推進事務局</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extLst>
                  <a:ext uri="{0D108BD9-81ED-4DB2-BD59-A6C34878D82A}">
                    <a16:rowId xmlns:a16="http://schemas.microsoft.com/office/drawing/2014/main" val="10005"/>
                  </a:ext>
                </a:extLst>
              </a:tr>
              <a:tr h="583915">
                <a:tc vMerge="1">
                  <a:txBody>
                    <a:bodyPr/>
                    <a:lstStyle/>
                    <a:p>
                      <a:endParaRPr kumimoji="1" lang="ja-JP" altLang="en-US"/>
                    </a:p>
                  </a:txBody>
                  <a:tcPr/>
                </a:tc>
                <a:tc>
                  <a:txBody>
                    <a:bodyPr/>
                    <a:lstStyle/>
                    <a:p>
                      <a:pPr algn="l"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地方創生テレワーク推進事業</a:t>
                      </a:r>
                    </a:p>
                  </a:txBody>
                  <a:tcPr marL="35994" marR="3853" marT="3853" marB="0" anchor="ctr"/>
                </a:tc>
                <a:tc>
                  <a:txBody>
                    <a:bodyPr/>
                    <a:lstStyle/>
                    <a:p>
                      <a:pPr marL="0" marR="0" lvl="0" indent="0" algn="l"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地方公共団体や企業等に対する、情報提供や相談対応等を実施するとともに、地方創生テレワークに関する取組の一層の推進のために、</a:t>
                      </a:r>
                      <a:r>
                        <a:rPr lang="ja-JP" altLang="en-US" sz="1100" b="0" i="0" u="none" strike="noStrike" baseline="0" dirty="0">
                          <a:solidFill>
                            <a:schemeClr val="tx1"/>
                          </a:solidFill>
                          <a:effectLst/>
                          <a:latin typeface="ＭＳ Ｐゴシック" panose="020B0600070205080204" pitchFamily="50" charset="-128"/>
                          <a:ea typeface="ＭＳ Ｐゴシック" panose="020B0600070205080204" pitchFamily="50" charset="-128"/>
                        </a:rPr>
                        <a:t>優良事例の</a:t>
                      </a: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表彰を実施。</a:t>
                      </a:r>
                    </a:p>
                  </a:txBody>
                  <a:tcPr marL="35994" marR="35994" marT="3853"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120</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noFill/>
                  </a:tcP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120</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a:t>
                      </a:r>
                    </a:p>
                  </a:txBody>
                  <a:tcPr marL="35994" marR="35994" marT="3853" marB="0" anchor="ctr"/>
                </a:tc>
                <a:tc>
                  <a:txBody>
                    <a:bodyPr/>
                    <a:lstStyle/>
                    <a:p>
                      <a:pPr algn="l"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内閣府地方創生推進室</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extLst>
                  <a:ext uri="{0D108BD9-81ED-4DB2-BD59-A6C34878D82A}">
                    <a16:rowId xmlns:a16="http://schemas.microsoft.com/office/drawing/2014/main" val="10006"/>
                  </a:ext>
                </a:extLst>
              </a:tr>
              <a:tr h="583915">
                <a:tc vMerge="1">
                  <a:txBody>
                    <a:bodyPr/>
                    <a:lstStyle/>
                    <a:p>
                      <a:endParaRPr kumimoji="1" lang="ja-JP" altLang="en-US"/>
                    </a:p>
                  </a:txBody>
                  <a:tcPr/>
                </a:tc>
                <a:tc>
                  <a:txBody>
                    <a:bodyPr/>
                    <a:lstStyle/>
                    <a:p>
                      <a:pPr algn="l" fontAlgn="ctr">
                        <a:lnSpc>
                          <a:spcPts val="1300"/>
                        </a:lnSpc>
                      </a:pPr>
                      <a:r>
                        <a:rPr lang="zh-TW"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地方創生移住支援事業</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853" marT="3853" marB="0" anchor="ctr"/>
                </a:tc>
                <a:tc>
                  <a:txBody>
                    <a:bodyPr/>
                    <a:lstStyle/>
                    <a:p>
                      <a:pPr algn="l" fontAlgn="ctr">
                        <a:lnSpc>
                          <a:spcPts val="1300"/>
                        </a:lnSpc>
                      </a:pP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東京での仕事をテレワークにより続けながら移住する場合等を対象として</a:t>
                      </a:r>
                      <a:r>
                        <a:rPr lang="ja-JP" altLang="en-US" sz="1100" u="none" strike="noStrike" baseline="0" dirty="0">
                          <a:solidFill>
                            <a:schemeClr val="tx1"/>
                          </a:solidFill>
                          <a:effectLst/>
                          <a:latin typeface="ＭＳ Ｐゴシック" panose="020B0600070205080204" pitchFamily="50" charset="-128"/>
                          <a:ea typeface="ＭＳ Ｐゴシック" panose="020B0600070205080204" pitchFamily="50" charset="-128"/>
                        </a:rPr>
                        <a:t>、移住支援金を支給</a:t>
                      </a: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a:t>
                      </a:r>
                      <a:endPar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100,000</a:t>
                      </a:r>
                    </a:p>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の内数</a:t>
                      </a:r>
                    </a:p>
                  </a:txBody>
                  <a:tcPr marL="35994" marR="35994" marT="3853" marB="0" anchor="ctr">
                    <a:noFill/>
                  </a:tcP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100,000</a:t>
                      </a:r>
                    </a:p>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の内数</a:t>
                      </a:r>
                    </a:p>
                  </a:txBody>
                  <a:tcPr marL="35994" marR="35994" marT="3853" marB="0" anchor="ctr"/>
                </a:tc>
                <a:tc>
                  <a:txBody>
                    <a:bodyPr/>
                    <a:lstStyle/>
                    <a:p>
                      <a:pPr marL="0" marR="0" lvl="0" indent="0" algn="r"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a:t>
                      </a:r>
                    </a:p>
                  </a:txBody>
                  <a:tcPr marL="35994" marR="35994" marT="3853" marB="0" anchor="ctr"/>
                </a:tc>
                <a:tc>
                  <a:txBody>
                    <a:bodyPr/>
                    <a:lstStyle/>
                    <a:p>
                      <a:pPr algn="l" fontAlgn="ctr">
                        <a:lnSpc>
                          <a:spcPts val="1300"/>
                        </a:lnSpc>
                      </a:pPr>
                      <a:r>
                        <a:rPr lang="zh-TW"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内閣府地方</a:t>
                      </a: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創生</a:t>
                      </a:r>
                      <a:r>
                        <a:rPr lang="zh-TW"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推進</a:t>
                      </a:r>
                      <a:r>
                        <a:rPr lang="ja-JP" altLang="en-US" sz="1100" u="none" strike="noStrike" dirty="0">
                          <a:solidFill>
                            <a:schemeClr val="tx1"/>
                          </a:solidFill>
                          <a:effectLst/>
                          <a:latin typeface="ＭＳ Ｐゴシック" panose="020B0600070205080204" pitchFamily="50" charset="-128"/>
                          <a:ea typeface="ＭＳ Ｐゴシック" panose="020B0600070205080204" pitchFamily="50" charset="-128"/>
                        </a:rPr>
                        <a:t>事務局</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extLst>
                  <a:ext uri="{0D108BD9-81ED-4DB2-BD59-A6C34878D82A}">
                    <a16:rowId xmlns:a16="http://schemas.microsoft.com/office/drawing/2014/main" val="10007"/>
                  </a:ext>
                </a:extLst>
              </a:tr>
              <a:tr h="884068">
                <a:tc vMerge="1">
                  <a:txBody>
                    <a:bodyPr/>
                    <a:lstStyle/>
                    <a:p>
                      <a:pPr algn="ctr" fontAlgn="ctr"/>
                      <a:endParaRPr lang="ja-JP" altLang="en-US" sz="12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3854" marR="3854" marT="3854" marB="0" vert="eaVert" anchor="ctr">
                    <a:solidFill>
                      <a:schemeClr val="bg1"/>
                    </a:solidFill>
                  </a:tcPr>
                </a:tc>
                <a:tc>
                  <a:txBody>
                    <a:bodyPr/>
                    <a:lstStyle/>
                    <a:p>
                      <a:pPr algn="l"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農山漁村振興交付金（農山漁村発イノベーション対策）のうち農山漁村発イノベーション推進・整備事業（農泊推進型）</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853" marT="3853" marB="0" anchor="ctr"/>
                </a:tc>
                <a:tc>
                  <a:txBody>
                    <a:bodyPr/>
                    <a:lstStyle/>
                    <a:p>
                      <a:pPr algn="l"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地域における農泊実施体制の整備とともに、企業等からのワーケーションの受け入れに向けた環境整備を支援。</a:t>
                      </a:r>
                    </a:p>
                  </a:txBody>
                  <a:tcPr marL="35994" marR="35994" marT="3853" marB="0" anchor="ctr"/>
                </a:tc>
                <a:tc>
                  <a:txBody>
                    <a:bodyPr/>
                    <a:lstStyle/>
                    <a:p>
                      <a:pPr algn="r" fontAlgn="ctr">
                        <a:lnSpc>
                          <a:spcPts val="1300"/>
                        </a:lnSpc>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8,389</a:t>
                      </a:r>
                    </a:p>
                    <a:p>
                      <a:pPr algn="r"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の内数</a:t>
                      </a:r>
                    </a:p>
                  </a:txBody>
                  <a:tcPr marL="35994" marR="35994" marT="3853" marB="0" anchor="ctr">
                    <a:noFill/>
                  </a:tcPr>
                </a:tc>
                <a:tc>
                  <a:txBody>
                    <a:bodyPr/>
                    <a:lstStyle/>
                    <a:p>
                      <a:pPr algn="r" fontAlgn="ctr">
                        <a:lnSpc>
                          <a:spcPts val="1300"/>
                        </a:lnSpc>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9,070</a:t>
                      </a:r>
                    </a:p>
                    <a:p>
                      <a:pPr algn="r"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の内数</a:t>
                      </a:r>
                    </a:p>
                  </a:txBody>
                  <a:tcPr marL="35994" marR="35994" marT="3853" marB="0" anchor="ctr"/>
                </a:tc>
                <a:tc>
                  <a:txBody>
                    <a:bodyPr/>
                    <a:lstStyle/>
                    <a:p>
                      <a:pPr marL="0" marR="0" lvl="0" indent="0" algn="r" defTabSz="914400"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a:t>
                      </a:r>
                    </a:p>
                  </a:txBody>
                  <a:tcPr marL="35994" marR="35994" marT="3853" marB="0" anchor="ctr"/>
                </a:tc>
                <a:tc>
                  <a:txBody>
                    <a:bodyPr/>
                    <a:lstStyle/>
                    <a:p>
                      <a:pPr algn="l"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農林水産省農村振興局</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extLst>
                  <a:ext uri="{0D108BD9-81ED-4DB2-BD59-A6C34878D82A}">
                    <a16:rowId xmlns:a16="http://schemas.microsoft.com/office/drawing/2014/main" val="10008"/>
                  </a:ext>
                </a:extLst>
              </a:tr>
              <a:tr h="862266">
                <a:tc>
                  <a:txBody>
                    <a:bodyPr/>
                    <a:lstStyle/>
                    <a:p>
                      <a:pPr marL="0" marR="0" lvl="0" indent="0" algn="ctr" defTabSz="914395"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住まい</a:t>
                      </a:r>
                    </a:p>
                  </a:txBody>
                  <a:tcPr marL="3853" marR="3853" marT="3853" marB="0" vert="eaVert" anchor="ctr">
                    <a:solidFill>
                      <a:schemeClr val="bg1"/>
                    </a:solidFill>
                  </a:tcPr>
                </a:tc>
                <a:tc>
                  <a:txBody>
                    <a:bodyPr/>
                    <a:lstStyle/>
                    <a:p>
                      <a:pPr marL="0" marR="0" lvl="0" indent="0" algn="l"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農山漁村振興交付金（農山漁村発イノベーション対策）のうち農山漁村発イノベーション整備事業（定住促進・交流対策型）</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853" marT="3853" marB="0" anchor="ctr"/>
                </a:tc>
                <a:tc>
                  <a:txBody>
                    <a:bodyPr/>
                    <a:lstStyle/>
                    <a:p>
                      <a:pPr marL="0" marR="0" lvl="0" indent="0" algn="l"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農村の空き家・廃校等の地域資源を活用して、住みよい環境づくりを推進するために必要な田舎暮らし希望者の受け皿となる施設整備等を支援。農作物の収穫体験のための体験農園や滞在施設（滞在型市民農園（クラインガルデン））等の整備も支援。</a:t>
                      </a:r>
                    </a:p>
                  </a:txBody>
                  <a:tcPr marL="35994" marR="35994" marT="3853" marB="0" anchor="ctr"/>
                </a:tc>
                <a:tc>
                  <a:txBody>
                    <a:bodyPr/>
                    <a:lstStyle/>
                    <a:p>
                      <a:pPr algn="r" fontAlgn="ctr">
                        <a:lnSpc>
                          <a:spcPts val="1300"/>
                        </a:lnSpc>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8,389</a:t>
                      </a:r>
                    </a:p>
                    <a:p>
                      <a:pPr algn="r"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の内数</a:t>
                      </a:r>
                    </a:p>
                  </a:txBody>
                  <a:tcPr marL="35994" marR="35994" marT="3853" marB="0" anchor="ctr">
                    <a:noFill/>
                  </a:tcPr>
                </a:tc>
                <a:tc>
                  <a:txBody>
                    <a:bodyPr/>
                    <a:lstStyle/>
                    <a:p>
                      <a:pPr algn="r" fontAlgn="ctr">
                        <a:lnSpc>
                          <a:spcPts val="1300"/>
                        </a:lnSpc>
                      </a:pPr>
                      <a:r>
                        <a:rPr lang="en-US" altLang="ja-JP" sz="1100" b="0" i="0" u="none" strike="noStrike" dirty="0">
                          <a:solidFill>
                            <a:schemeClr val="tx1"/>
                          </a:solidFill>
                          <a:effectLst/>
                          <a:latin typeface="ＭＳ Ｐゴシック" panose="020B0600070205080204" pitchFamily="50" charset="-128"/>
                          <a:ea typeface="ＭＳ Ｐゴシック" panose="020B0600070205080204" pitchFamily="50" charset="-128"/>
                        </a:rPr>
                        <a:t>9,070</a:t>
                      </a:r>
                    </a:p>
                    <a:p>
                      <a:pPr algn="r" fontAlgn="ctr">
                        <a:lnSpc>
                          <a:spcPts val="1300"/>
                        </a:lnSpc>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の内数</a:t>
                      </a:r>
                    </a:p>
                  </a:txBody>
                  <a:tcPr marL="35994" marR="35994" marT="3853" marB="0" anchor="ctr"/>
                </a:tc>
                <a:tc>
                  <a:txBody>
                    <a:bodyPr/>
                    <a:lstStyle/>
                    <a:p>
                      <a:pPr marL="0" marR="0" lvl="0" indent="0" algn="r" defTabSz="914400"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a:t>
                      </a:r>
                    </a:p>
                  </a:txBody>
                  <a:tcPr marL="35994" marR="35994" marT="3853" marB="0" anchor="ctr"/>
                </a:tc>
                <a:tc>
                  <a:txBody>
                    <a:bodyPr/>
                    <a:lstStyle/>
                    <a:p>
                      <a:pPr marL="0" marR="0" lvl="0" indent="0" algn="l" defTabSz="914395" rtl="0" eaLnBrk="1" fontAlgn="ctr" latinLnBrk="0" hangingPunct="1">
                        <a:lnSpc>
                          <a:spcPts val="1300"/>
                        </a:lnSpc>
                        <a:spcBef>
                          <a:spcPts val="0"/>
                        </a:spcBef>
                        <a:spcAft>
                          <a:spcPts val="0"/>
                        </a:spcAft>
                        <a:buClrTx/>
                        <a:buSzTx/>
                        <a:buFontTx/>
                        <a:buNone/>
                        <a:tabLst/>
                        <a:defRPr/>
                      </a:pPr>
                      <a:r>
                        <a:rPr lang="ja-JP"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rPr>
                        <a:t>農林水産省農村振興局</a:t>
                      </a:r>
                      <a:endParaRPr lang="zh-TW" altLang="en-US" sz="11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5994" marR="35994" marT="3853" marB="0" anchor="ctr"/>
                </a:tc>
                <a:extLst>
                  <a:ext uri="{0D108BD9-81ED-4DB2-BD59-A6C34878D82A}">
                    <a16:rowId xmlns:a16="http://schemas.microsoft.com/office/drawing/2014/main" val="162909439"/>
                  </a:ext>
                </a:extLst>
              </a:tr>
            </a:tbl>
          </a:graphicData>
        </a:graphic>
      </p:graphicFrame>
      <p:sp>
        <p:nvSpPr>
          <p:cNvPr id="10" name="正方形/長方形 9"/>
          <p:cNvSpPr/>
          <p:nvPr/>
        </p:nvSpPr>
        <p:spPr>
          <a:xfrm>
            <a:off x="10135952" y="484027"/>
            <a:ext cx="2843860" cy="1199696"/>
          </a:xfrm>
          <a:prstGeom prst="rect">
            <a:avLst/>
          </a:prstGeom>
          <a:solidFill>
            <a:srgbClr val="7030A0"/>
          </a:solidFill>
        </p:spPr>
        <p:style>
          <a:lnRef idx="0">
            <a:schemeClr val="accent2"/>
          </a:lnRef>
          <a:fillRef idx="3">
            <a:schemeClr val="accent2"/>
          </a:fillRef>
          <a:effectRef idx="3">
            <a:schemeClr val="accent2"/>
          </a:effectRef>
          <a:fontRef idx="minor">
            <a:schemeClr val="lt1"/>
          </a:fontRef>
        </p:style>
        <p:txBody>
          <a:bodyPr rtlCol="0" anchor="ctr"/>
          <a:lstStyle/>
          <a:p>
            <a:pPr algn="ctr" defTabSz="914217" fontAlgn="auto">
              <a:spcBef>
                <a:spcPts val="0"/>
              </a:spcBef>
              <a:spcAft>
                <a:spcPts val="0"/>
              </a:spcAft>
              <a:defRPr/>
            </a:pPr>
            <a:r>
              <a:rPr lang="en-US" altLang="ja-JP" b="1" dirty="0">
                <a:solidFill>
                  <a:srgbClr val="FFFFFF"/>
                </a:solidFill>
                <a:latin typeface="Arial"/>
                <a:ea typeface="ＭＳ Ｐゴシック"/>
              </a:rPr>
              <a:t>R6</a:t>
            </a:r>
            <a:r>
              <a:rPr lang="ja-JP" altLang="en-US" b="1" dirty="0">
                <a:solidFill>
                  <a:srgbClr val="FFFFFF"/>
                </a:solidFill>
                <a:latin typeface="Arial"/>
                <a:ea typeface="ＭＳ Ｐゴシック"/>
              </a:rPr>
              <a:t>当初予算、</a:t>
            </a:r>
            <a:endParaRPr lang="en-US" altLang="ja-JP" b="1" dirty="0">
              <a:solidFill>
                <a:srgbClr val="FFFFFF"/>
              </a:solidFill>
              <a:latin typeface="Arial"/>
              <a:ea typeface="ＭＳ Ｐゴシック"/>
            </a:endParaRPr>
          </a:p>
          <a:p>
            <a:pPr algn="ctr" defTabSz="914217" fontAlgn="auto">
              <a:spcBef>
                <a:spcPts val="0"/>
              </a:spcBef>
              <a:spcAft>
                <a:spcPts val="0"/>
              </a:spcAft>
              <a:defRPr/>
            </a:pPr>
            <a:r>
              <a:rPr lang="en-US" altLang="ja-JP" b="1" dirty="0">
                <a:solidFill>
                  <a:srgbClr val="FFFFFF"/>
                </a:solidFill>
                <a:latin typeface="Arial"/>
                <a:ea typeface="ＭＳ Ｐゴシック"/>
              </a:rPr>
              <a:t>R5</a:t>
            </a:r>
            <a:r>
              <a:rPr lang="ja-JP" altLang="en-US" b="1" dirty="0">
                <a:solidFill>
                  <a:srgbClr val="FFFFFF"/>
                </a:solidFill>
                <a:latin typeface="Arial"/>
                <a:ea typeface="ＭＳ Ｐゴシック"/>
              </a:rPr>
              <a:t>当初予算、</a:t>
            </a:r>
            <a:endParaRPr lang="en-US" altLang="ja-JP" b="1" dirty="0">
              <a:solidFill>
                <a:srgbClr val="FFFFFF"/>
              </a:solidFill>
              <a:latin typeface="Arial"/>
              <a:ea typeface="ＭＳ Ｐゴシック"/>
            </a:endParaRPr>
          </a:p>
          <a:p>
            <a:pPr algn="ctr" defTabSz="914217" fontAlgn="auto">
              <a:spcBef>
                <a:spcPts val="0"/>
              </a:spcBef>
              <a:spcAft>
                <a:spcPts val="0"/>
              </a:spcAft>
              <a:defRPr/>
            </a:pPr>
            <a:r>
              <a:rPr lang="en-US" altLang="ja-JP" b="1" dirty="0">
                <a:solidFill>
                  <a:srgbClr val="FFFFFF"/>
                </a:solidFill>
                <a:latin typeface="Arial"/>
                <a:ea typeface="ＭＳ Ｐゴシック"/>
              </a:rPr>
              <a:t>R5</a:t>
            </a:r>
            <a:r>
              <a:rPr lang="ja-JP" altLang="en-US" b="1" dirty="0">
                <a:solidFill>
                  <a:srgbClr val="FFFFFF"/>
                </a:solidFill>
                <a:latin typeface="Arial"/>
                <a:ea typeface="ＭＳ Ｐゴシック"/>
              </a:rPr>
              <a:t>補正</a:t>
            </a:r>
          </a:p>
        </p:txBody>
      </p:sp>
      <p:sp>
        <p:nvSpPr>
          <p:cNvPr id="11" name="正方形/長方形 10">
            <a:extLst>
              <a:ext uri="{FF2B5EF4-FFF2-40B4-BE49-F238E27FC236}">
                <a16:creationId xmlns:a16="http://schemas.microsoft.com/office/drawing/2014/main" id="{8E4DDB00-92CB-4F52-B64C-F8EB0A7B7CB1}"/>
              </a:ext>
            </a:extLst>
          </p:cNvPr>
          <p:cNvSpPr/>
          <p:nvPr/>
        </p:nvSpPr>
        <p:spPr>
          <a:xfrm>
            <a:off x="10135952" y="1791954"/>
            <a:ext cx="2627871" cy="539973"/>
          </a:xfrm>
          <a:prstGeom prst="rect">
            <a:avLst/>
          </a:prstGeom>
          <a:solidFill>
            <a:srgbClr val="00CC66"/>
          </a:solidFill>
        </p:spPr>
        <p:style>
          <a:lnRef idx="0">
            <a:schemeClr val="accent2"/>
          </a:lnRef>
          <a:fillRef idx="3">
            <a:schemeClr val="accent2"/>
          </a:fillRef>
          <a:effectRef idx="3">
            <a:schemeClr val="accent2"/>
          </a:effectRef>
          <a:fontRef idx="minor">
            <a:schemeClr val="lt1"/>
          </a:fontRef>
        </p:style>
        <p:txBody>
          <a:bodyPr rtlCol="0" anchor="ctr"/>
          <a:lstStyle/>
          <a:p>
            <a:pPr algn="ctr" defTabSz="914217" fontAlgn="auto">
              <a:spcBef>
                <a:spcPts val="0"/>
              </a:spcBef>
              <a:spcAft>
                <a:spcPts val="0"/>
              </a:spcAft>
            </a:pPr>
            <a:r>
              <a:rPr lang="en-US" altLang="ja-JP" sz="2000" b="1" dirty="0">
                <a:solidFill>
                  <a:srgbClr val="FFFFFF"/>
                </a:solidFill>
                <a:latin typeface="Arial"/>
                <a:ea typeface="ＭＳ Ｐゴシック"/>
              </a:rPr>
              <a:t>240329</a:t>
            </a:r>
            <a:r>
              <a:rPr lang="ja-JP" altLang="en-US" sz="2000" b="1" dirty="0">
                <a:solidFill>
                  <a:srgbClr val="FFFFFF"/>
                </a:solidFill>
                <a:latin typeface="Arial"/>
                <a:ea typeface="ＭＳ Ｐゴシック"/>
              </a:rPr>
              <a:t>更新</a:t>
            </a:r>
          </a:p>
        </p:txBody>
      </p:sp>
      <p:sp>
        <p:nvSpPr>
          <p:cNvPr id="2" name="スライド番号プレースホルダー 1">
            <a:extLst>
              <a:ext uri="{FF2B5EF4-FFF2-40B4-BE49-F238E27FC236}">
                <a16:creationId xmlns:a16="http://schemas.microsoft.com/office/drawing/2014/main" id="{C505C67C-C013-349A-C5BF-9D4B8B3091A4}"/>
              </a:ext>
            </a:extLst>
          </p:cNvPr>
          <p:cNvSpPr>
            <a:spLocks noGrp="1"/>
          </p:cNvSpPr>
          <p:nvPr>
            <p:ph type="sldNum" sz="quarter" idx="10"/>
          </p:nvPr>
        </p:nvSpPr>
        <p:spPr>
          <a:xfrm>
            <a:off x="9416703" y="7336234"/>
            <a:ext cx="288032" cy="246221"/>
          </a:xfrm>
        </p:spPr>
        <p:txBody>
          <a:bodyPr/>
          <a:lstStyle/>
          <a:p>
            <a:pPr>
              <a:defRPr/>
            </a:pPr>
            <a:fld id="{8423AD53-7346-4CBA-B30D-A18A6551C3DF}" type="slidenum">
              <a:rPr lang="en-US" altLang="ja-JP" smtClean="0"/>
              <a:pPr>
                <a:defRPr/>
              </a:pPr>
              <a:t>55</a:t>
            </a:fld>
            <a:endParaRPr lang="en-US" altLang="ja-JP"/>
          </a:p>
        </p:txBody>
      </p:sp>
    </p:spTree>
    <p:extLst>
      <p:ext uri="{BB962C8B-B14F-4D97-AF65-F5344CB8AC3E}">
        <p14:creationId xmlns:p14="http://schemas.microsoft.com/office/powerpoint/2010/main" val="246726476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lang="ja-JP" altLang="en-US" sz="3000" dirty="0">
                <a:solidFill>
                  <a:schemeClr val="accent6"/>
                </a:solidFill>
                <a:latin typeface="ＤＦ特太ゴシック体" panose="020B0509000000000000" pitchFamily="49" charset="-128"/>
                <a:ea typeface="ＤＦ特太ゴシック体" panose="020B0509000000000000" pitchFamily="49" charset="-128"/>
              </a:rPr>
              <a:t>５．</a:t>
            </a:r>
            <a:r>
              <a:rPr kumimoji="1" lang="ja-JP" altLang="en-US" sz="3000" dirty="0">
                <a:solidFill>
                  <a:schemeClr val="accent6"/>
                </a:solidFill>
                <a:latin typeface="ＤＦ特太ゴシック体" panose="020B0509000000000000" pitchFamily="49" charset="-128"/>
                <a:ea typeface="ＤＦ特太ゴシック体" panose="020B0509000000000000" pitchFamily="49" charset="-128"/>
              </a:rPr>
              <a:t>その他の山村振興関連施策について</a:t>
            </a:r>
          </a:p>
        </p:txBody>
      </p:sp>
    </p:spTree>
    <p:extLst>
      <p:ext uri="{BB962C8B-B14F-4D97-AF65-F5344CB8AC3E}">
        <p14:creationId xmlns:p14="http://schemas.microsoft.com/office/powerpoint/2010/main" val="8532954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9168138C-BA47-0471-2D73-BDE95C086544}"/>
              </a:ext>
            </a:extLst>
          </p:cNvPr>
          <p:cNvPicPr>
            <a:picLocks noChangeAspect="1"/>
          </p:cNvPicPr>
          <p:nvPr/>
        </p:nvPicPr>
        <p:blipFill>
          <a:blip r:embed="rId3"/>
          <a:stretch>
            <a:fillRect/>
          </a:stretch>
        </p:blipFill>
        <p:spPr>
          <a:xfrm>
            <a:off x="6319746" y="2252633"/>
            <a:ext cx="2866909" cy="3274470"/>
          </a:xfrm>
          <a:prstGeom prst="rect">
            <a:avLst/>
          </a:prstGeom>
        </p:spPr>
      </p:pic>
      <p:pic>
        <p:nvPicPr>
          <p:cNvPr id="4" name="図 3">
            <a:extLst>
              <a:ext uri="{FF2B5EF4-FFF2-40B4-BE49-F238E27FC236}">
                <a16:creationId xmlns:a16="http://schemas.microsoft.com/office/drawing/2014/main" id="{214F35FA-FB77-0CD4-16A7-CAA7ED68729E}"/>
              </a:ext>
            </a:extLst>
          </p:cNvPr>
          <p:cNvPicPr>
            <a:picLocks/>
          </p:cNvPicPr>
          <p:nvPr/>
        </p:nvPicPr>
        <p:blipFill>
          <a:blip r:embed="rId4"/>
          <a:stretch>
            <a:fillRect/>
          </a:stretch>
        </p:blipFill>
        <p:spPr>
          <a:xfrm>
            <a:off x="776971" y="2000961"/>
            <a:ext cx="5039192" cy="2843544"/>
          </a:xfrm>
          <a:prstGeom prst="rect">
            <a:avLst/>
          </a:prstGeom>
        </p:spPr>
      </p:pic>
      <p:sp>
        <p:nvSpPr>
          <p:cNvPr id="1514" name="テキスト ボックス 16"/>
          <p:cNvSpPr txBox="1">
            <a:spLocks noChangeArrowheads="1"/>
          </p:cNvSpPr>
          <p:nvPr/>
        </p:nvSpPr>
        <p:spPr>
          <a:xfrm>
            <a:off x="509886" y="740707"/>
            <a:ext cx="8799341" cy="905727"/>
          </a:xfrm>
          <a:prstGeom prst="rect">
            <a:avLst/>
          </a:prstGeom>
          <a:solidFill>
            <a:srgbClr val="FFFFCC"/>
          </a:solidFill>
          <a:ln w="19050">
            <a:solidFill>
              <a:schemeClr val="accent1"/>
            </a:solidFill>
            <a:miter lim="800000"/>
            <a:headEnd/>
            <a:tailEnd/>
          </a:ln>
        </p:spPr>
        <p:txBody>
          <a:bodyPr wrap="square" tIns="83735" bIns="83735">
            <a:spAutoFit/>
          </a:bodyPr>
          <a:lstStyle>
            <a:defPPr>
              <a:defRPr lang="ja-JP"/>
            </a:defPPr>
            <a:lvl1pPr marL="182563" indent="-182563" algn="just">
              <a:lnSpc>
                <a:spcPts val="1800"/>
              </a:lnSpc>
              <a:spcBef>
                <a:spcPts val="600"/>
              </a:spcBef>
              <a:buFont typeface="Arial" pitchFamily="34" charset="0"/>
              <a:buChar char="•"/>
              <a:defRPr sz="1400"/>
            </a:lvl1pPr>
          </a:lstStyle>
          <a:p>
            <a:pPr marL="169839" indent="-169839" algn="l" defTabSz="850672" eaLnBrk="0" fontAlgn="auto" hangingPunct="0">
              <a:lnSpc>
                <a:spcPts val="1499"/>
              </a:lnSpc>
              <a:spcBef>
                <a:spcPts val="0"/>
              </a:spcBef>
              <a:spcAft>
                <a:spcPts val="558"/>
              </a:spcAft>
              <a:defRPr/>
            </a:pPr>
            <a:r>
              <a:rPr lang="ja-JP" altLang="en-US" dirty="0">
                <a:latin typeface="メイリオ" panose="020B0604030504040204" pitchFamily="50" charset="-128"/>
                <a:ea typeface="メイリオ" panose="020B0604030504040204" pitchFamily="50" charset="-128"/>
              </a:rPr>
              <a:t>令和６年冬期の雪害による</a:t>
            </a:r>
            <a:r>
              <a:rPr lang="ja-JP" altLang="en-US" b="1" u="sng" dirty="0">
                <a:latin typeface="メイリオ" panose="020B0604030504040204" pitchFamily="50" charset="-128"/>
                <a:ea typeface="メイリオ" panose="020B0604030504040204" pitchFamily="50" charset="-128"/>
              </a:rPr>
              <a:t>死者数は２２名</a:t>
            </a:r>
            <a:r>
              <a:rPr lang="ja-JP" altLang="en-US" dirty="0">
                <a:latin typeface="メイリオ" panose="020B0604030504040204" pitchFamily="50" charset="-128"/>
                <a:ea typeface="メイリオ" panose="020B0604030504040204" pitchFamily="50" charset="-128"/>
              </a:rPr>
              <a:t>で、このうち</a:t>
            </a:r>
            <a:r>
              <a:rPr lang="en-US" altLang="ja-JP" b="1" u="sng" dirty="0">
                <a:latin typeface="メイリオ" panose="020B0604030504040204" pitchFamily="50" charset="-128"/>
                <a:ea typeface="メイリオ" panose="020B0604030504040204" pitchFamily="50" charset="-128"/>
              </a:rPr>
              <a:t>65</a:t>
            </a:r>
            <a:r>
              <a:rPr lang="ja-JP" altLang="en-US" b="1" u="sng" dirty="0">
                <a:latin typeface="メイリオ" panose="020B0604030504040204" pitchFamily="50" charset="-128"/>
                <a:ea typeface="メイリオ" panose="020B0604030504040204" pitchFamily="50" charset="-128"/>
              </a:rPr>
              <a:t>歳以上の高齢者が約９割</a:t>
            </a:r>
            <a:r>
              <a:rPr lang="ja-JP" altLang="en-US" dirty="0">
                <a:latin typeface="メイリオ" panose="020B0604030504040204" pitchFamily="50" charset="-128"/>
                <a:ea typeface="メイリオ" panose="020B0604030504040204" pitchFamily="50" charset="-128"/>
              </a:rPr>
              <a:t>を占めている。</a:t>
            </a:r>
            <a:endParaRPr lang="en-US" altLang="ja-JP" dirty="0">
              <a:latin typeface="メイリオ" panose="020B0604030504040204" pitchFamily="50" charset="-128"/>
              <a:ea typeface="メイリオ" panose="020B0604030504040204" pitchFamily="50" charset="-128"/>
            </a:endParaRPr>
          </a:p>
          <a:p>
            <a:pPr marL="169839" indent="-169839" algn="l" defTabSz="850672" eaLnBrk="0" fontAlgn="auto" hangingPunct="0">
              <a:lnSpc>
                <a:spcPts val="1499"/>
              </a:lnSpc>
              <a:spcBef>
                <a:spcPts val="0"/>
              </a:spcBef>
              <a:spcAft>
                <a:spcPts val="558"/>
              </a:spcAft>
              <a:defRPr/>
            </a:pPr>
            <a:r>
              <a:rPr lang="ja-JP" altLang="en-US" dirty="0">
                <a:latin typeface="メイリオ" panose="020B0604030504040204" pitchFamily="50" charset="-128"/>
                <a:ea typeface="メイリオ" panose="020B0604030504040204" pitchFamily="50" charset="-128"/>
              </a:rPr>
              <a:t>また、死亡状況では</a:t>
            </a:r>
            <a:r>
              <a:rPr lang="ja-JP" altLang="en-US" b="1" u="sng" dirty="0">
                <a:latin typeface="メイリオ" panose="020B0604030504040204" pitchFamily="50" charset="-128"/>
                <a:ea typeface="メイリオ" panose="020B0604030504040204" pitchFamily="50" charset="-128"/>
              </a:rPr>
              <a:t>屋根雪下ろし等除雪作業中の死者数</a:t>
            </a:r>
            <a:r>
              <a:rPr lang="ja-JP" altLang="en-US" u="sng" dirty="0">
                <a:latin typeface="メイリオ" panose="020B0604030504040204" pitchFamily="50" charset="-128"/>
                <a:ea typeface="メイリオ" panose="020B0604030504040204" pitchFamily="50" charset="-128"/>
              </a:rPr>
              <a:t>が１９名と</a:t>
            </a:r>
            <a:r>
              <a:rPr lang="ja-JP" altLang="en-US" b="1" u="sng" dirty="0">
                <a:latin typeface="メイリオ" panose="020B0604030504040204" pitchFamily="50" charset="-128"/>
                <a:ea typeface="メイリオ" panose="020B0604030504040204" pitchFamily="50" charset="-128"/>
              </a:rPr>
              <a:t>全体の約９割</a:t>
            </a:r>
            <a:r>
              <a:rPr lang="ja-JP" altLang="en-US" dirty="0">
                <a:latin typeface="メイリオ" panose="020B0604030504040204" pitchFamily="50" charset="-128"/>
                <a:ea typeface="メイリオ" panose="020B0604030504040204" pitchFamily="50" charset="-128"/>
              </a:rPr>
              <a:t>となっている。</a:t>
            </a:r>
            <a:endParaRPr lang="en-US" altLang="ja-JP" dirty="0">
              <a:latin typeface="メイリオ" panose="020B0604030504040204" pitchFamily="50" charset="-128"/>
              <a:ea typeface="メイリオ" panose="020B0604030504040204" pitchFamily="50" charset="-128"/>
            </a:endParaRPr>
          </a:p>
          <a:p>
            <a:pPr marL="169839" indent="-169839" algn="l" defTabSz="850672" eaLnBrk="0" fontAlgn="auto" hangingPunct="0">
              <a:lnSpc>
                <a:spcPts val="1499"/>
              </a:lnSpc>
              <a:spcBef>
                <a:spcPts val="0"/>
              </a:spcBef>
              <a:spcAft>
                <a:spcPts val="558"/>
              </a:spcAft>
              <a:defRPr/>
            </a:pPr>
            <a:r>
              <a:rPr lang="ja-JP" altLang="en-US" dirty="0">
                <a:solidFill>
                  <a:prstClr val="black"/>
                </a:solidFill>
                <a:latin typeface="メイリオ" panose="020B0604030504040204" pitchFamily="50" charset="-128"/>
                <a:ea typeface="メイリオ" panose="020B0604030504040204" pitchFamily="50" charset="-128"/>
              </a:rPr>
              <a:t>雪害による死者数は増加傾向にあり、風水害などの自然災害と比べても大きな増加となっている。</a:t>
            </a:r>
            <a:endParaRPr lang="en-US" altLang="ja-JP" dirty="0">
              <a:solidFill>
                <a:prstClr val="black"/>
              </a:solidFill>
              <a:latin typeface="メイリオ" panose="020B0604030504040204" pitchFamily="50" charset="-128"/>
              <a:ea typeface="メイリオ" panose="020B0604030504040204" pitchFamily="50" charset="-128"/>
            </a:endParaRPr>
          </a:p>
        </p:txBody>
      </p:sp>
      <p:sp>
        <p:nvSpPr>
          <p:cNvPr id="1515" name="Text Box 8"/>
          <p:cNvSpPr txBox="1">
            <a:spLocks noChangeArrowheads="1"/>
          </p:cNvSpPr>
          <p:nvPr/>
        </p:nvSpPr>
        <p:spPr>
          <a:xfrm>
            <a:off x="777027" y="1710581"/>
            <a:ext cx="4812033" cy="264005"/>
          </a:xfrm>
          <a:prstGeom prst="rect">
            <a:avLst/>
          </a:prstGeom>
          <a:noFill/>
          <a:ln w="3175">
            <a:noFill/>
            <a:miter lim="800000"/>
            <a:headEnd/>
            <a:tailEnd/>
          </a:ln>
          <a:effectLst>
            <a:prstShdw prst="shdw17" dist="17961" dir="2700000">
              <a:schemeClr val="tx1">
                <a:gamma/>
                <a:shade val="60000"/>
                <a:invGamma/>
              </a:schemeClr>
            </a:prstShdw>
          </a:effectLst>
        </p:spPr>
        <p:txBody>
          <a:bodyPr>
            <a:spAutoFit/>
          </a:bodyPr>
          <a:lstStyle/>
          <a:p>
            <a:pPr algn="ctr" defTabSz="850672">
              <a:spcBef>
                <a:spcPct val="50000"/>
              </a:spcBef>
              <a:defRPr/>
            </a:pPr>
            <a:r>
              <a:rPr lang="en-US" altLang="ja-JP" sz="1116" dirty="0">
                <a:solidFill>
                  <a:prstClr val="black"/>
                </a:solidFill>
                <a:latin typeface="HGPｺﾞｼｯｸE" pitchFamily="50" charset="-128"/>
                <a:ea typeface="HGPｺﾞｼｯｸE" pitchFamily="50" charset="-128"/>
              </a:rPr>
              <a:t>【</a:t>
            </a:r>
            <a:r>
              <a:rPr lang="ja-JP" altLang="en-US" sz="1116" dirty="0">
                <a:solidFill>
                  <a:prstClr val="black"/>
                </a:solidFill>
                <a:latin typeface="HGPｺﾞｼｯｸE" pitchFamily="50" charset="-128"/>
                <a:ea typeface="HGPｺﾞｼｯｸE" pitchFamily="50" charset="-128"/>
              </a:rPr>
              <a:t>雪害による死者数の推移（冬期間累計降雪量との比較）</a:t>
            </a:r>
            <a:r>
              <a:rPr lang="en-US" altLang="ja-JP" sz="1116" dirty="0">
                <a:solidFill>
                  <a:prstClr val="black"/>
                </a:solidFill>
                <a:latin typeface="HGPｺﾞｼｯｸE" pitchFamily="50" charset="-128"/>
                <a:ea typeface="HGPｺﾞｼｯｸE" pitchFamily="50" charset="-128"/>
              </a:rPr>
              <a:t>】</a:t>
            </a:r>
            <a:endParaRPr lang="ja-JP" altLang="en-US" sz="1116" dirty="0">
              <a:solidFill>
                <a:prstClr val="black"/>
              </a:solidFill>
              <a:latin typeface="HGPｺﾞｼｯｸE" pitchFamily="50" charset="-128"/>
              <a:ea typeface="HGPｺﾞｼｯｸE" pitchFamily="50" charset="-128"/>
            </a:endParaRPr>
          </a:p>
        </p:txBody>
      </p:sp>
      <p:sp>
        <p:nvSpPr>
          <p:cNvPr id="1516" name="Rectangle 36"/>
          <p:cNvSpPr>
            <a:spLocks noChangeArrowheads="1"/>
          </p:cNvSpPr>
          <p:nvPr/>
        </p:nvSpPr>
        <p:spPr>
          <a:xfrm>
            <a:off x="1064397" y="6284434"/>
            <a:ext cx="4691764" cy="763768"/>
          </a:xfrm>
          <a:prstGeom prst="rect">
            <a:avLst/>
          </a:prstGeom>
          <a:noFill/>
          <a:ln w="9525">
            <a:noFill/>
            <a:miter lim="800000"/>
            <a:headEnd/>
            <a:tailEnd/>
          </a:ln>
        </p:spPr>
        <p:txBody>
          <a:bodyPr lIns="32494" tIns="32494" rIns="32494" bIns="32494"/>
          <a:lstStyle/>
          <a:p>
            <a:pPr marL="503610" indent="-503610" defTabSz="853625" eaLnBrk="0" hangingPunct="0">
              <a:defRPr/>
            </a:pPr>
            <a:r>
              <a:rPr lang="ja-JP" altLang="en-US" sz="794" dirty="0">
                <a:solidFill>
                  <a:prstClr val="black"/>
                </a:solidFill>
                <a:latin typeface="ＭＳ Ｐゴシック" pitchFamily="50" charset="-128"/>
              </a:rPr>
              <a:t>（備考） １　死者数・冬期間累計降雪量： </a:t>
            </a:r>
            <a:r>
              <a:rPr lang="en-US" altLang="ja-JP" sz="794" dirty="0">
                <a:solidFill>
                  <a:prstClr val="black"/>
                </a:solidFill>
                <a:latin typeface="ＭＳ Ｐゴシック" panose="020B0600070205080204" pitchFamily="50" charset="-128"/>
              </a:rPr>
              <a:t>H2</a:t>
            </a:r>
            <a:r>
              <a:rPr lang="ja-JP" altLang="en-US" sz="794" dirty="0">
                <a:solidFill>
                  <a:prstClr val="black"/>
                </a:solidFill>
                <a:latin typeface="ＭＳ Ｐゴシック" panose="020B0600070205080204" pitchFamily="50" charset="-128"/>
              </a:rPr>
              <a:t>～</a:t>
            </a:r>
            <a:r>
              <a:rPr lang="en-US" altLang="ja-JP" sz="794" dirty="0">
                <a:solidFill>
                  <a:prstClr val="black"/>
                </a:solidFill>
                <a:latin typeface="ＭＳ Ｐゴシック" panose="020B0600070205080204" pitchFamily="50" charset="-128"/>
              </a:rPr>
              <a:t>H16</a:t>
            </a:r>
            <a:r>
              <a:rPr lang="ja-JP" altLang="en-US" sz="794" dirty="0">
                <a:solidFill>
                  <a:prstClr val="black"/>
                </a:solidFill>
                <a:latin typeface="ＭＳ Ｐゴシック" panose="020B0600070205080204" pitchFamily="50" charset="-128"/>
              </a:rPr>
              <a:t>までは前年の暦年、</a:t>
            </a:r>
            <a:r>
              <a:rPr lang="en-US" altLang="ja-JP" sz="794" dirty="0">
                <a:solidFill>
                  <a:prstClr val="black"/>
                </a:solidFill>
                <a:latin typeface="ＭＳ Ｐゴシック" panose="020B0600070205080204" pitchFamily="50" charset="-128"/>
              </a:rPr>
              <a:t>H17</a:t>
            </a:r>
            <a:r>
              <a:rPr lang="ja-JP" altLang="en-US" sz="794" dirty="0">
                <a:solidFill>
                  <a:prstClr val="black"/>
                </a:solidFill>
                <a:latin typeface="ＭＳ Ｐゴシック" panose="020B0600070205080204" pitchFamily="50" charset="-128"/>
              </a:rPr>
              <a:t>は前年の暦年＋</a:t>
            </a:r>
            <a:r>
              <a:rPr lang="en-US" altLang="ja-JP" sz="794" dirty="0">
                <a:solidFill>
                  <a:prstClr val="black"/>
                </a:solidFill>
                <a:latin typeface="ＭＳ Ｐゴシック" panose="020B0600070205080204" pitchFamily="50" charset="-128"/>
              </a:rPr>
              <a:t>H17(1</a:t>
            </a:r>
            <a:r>
              <a:rPr lang="ja-JP" altLang="en-US" sz="794" dirty="0">
                <a:solidFill>
                  <a:prstClr val="black"/>
                </a:solidFill>
                <a:latin typeface="ＭＳ Ｐゴシック" panose="020B0600070205080204" pitchFamily="50" charset="-128"/>
              </a:rPr>
              <a:t>～</a:t>
            </a:r>
            <a:r>
              <a:rPr lang="en-US" altLang="ja-JP" sz="794" dirty="0">
                <a:solidFill>
                  <a:prstClr val="black"/>
                </a:solidFill>
                <a:latin typeface="ＭＳ Ｐゴシック" panose="020B0600070205080204" pitchFamily="50" charset="-128"/>
              </a:rPr>
              <a:t>3</a:t>
            </a:r>
            <a:r>
              <a:rPr lang="ja-JP" altLang="en-US" sz="794" dirty="0">
                <a:solidFill>
                  <a:prstClr val="black"/>
                </a:solidFill>
                <a:latin typeface="ＭＳ Ｐゴシック" panose="020B0600070205080204" pitchFamily="50" charset="-128"/>
              </a:rPr>
              <a:t>月</a:t>
            </a:r>
            <a:r>
              <a:rPr lang="en-US" altLang="ja-JP" sz="794" dirty="0">
                <a:solidFill>
                  <a:prstClr val="black"/>
                </a:solidFill>
                <a:latin typeface="ＭＳ Ｐゴシック" panose="020B0600070205080204" pitchFamily="50" charset="-128"/>
              </a:rPr>
              <a:t>)</a:t>
            </a:r>
            <a:r>
              <a:rPr lang="ja-JP" altLang="en-US" sz="794" dirty="0" err="1">
                <a:solidFill>
                  <a:prstClr val="black"/>
                </a:solidFill>
                <a:latin typeface="ＭＳ Ｐゴシック" panose="020B0600070205080204" pitchFamily="50" charset="-128"/>
              </a:rPr>
              <a:t>、</a:t>
            </a:r>
            <a:endParaRPr lang="en-US" altLang="ja-JP" sz="794" dirty="0">
              <a:solidFill>
                <a:prstClr val="black"/>
              </a:solidFill>
              <a:latin typeface="ＭＳ Ｐゴシック" panose="020B0600070205080204" pitchFamily="50" charset="-128"/>
            </a:endParaRPr>
          </a:p>
          <a:p>
            <a:pPr marL="503610" indent="-503610" defTabSz="853625" eaLnBrk="0" hangingPunct="0">
              <a:defRPr/>
            </a:pPr>
            <a:r>
              <a:rPr lang="ja-JP" altLang="en-US" sz="794" dirty="0">
                <a:solidFill>
                  <a:prstClr val="black"/>
                </a:solidFill>
                <a:latin typeface="ＭＳ Ｐゴシック" panose="020B0600070205080204" pitchFamily="50" charset="-128"/>
              </a:rPr>
              <a:t>　　　　　　　</a:t>
            </a:r>
            <a:r>
              <a:rPr lang="en-US" altLang="ja-JP" sz="794" dirty="0">
                <a:solidFill>
                  <a:prstClr val="black"/>
                </a:solidFill>
                <a:latin typeface="ＭＳ Ｐゴシック" panose="020B0600070205080204" pitchFamily="50" charset="-128"/>
              </a:rPr>
              <a:t>H18</a:t>
            </a:r>
            <a:r>
              <a:rPr lang="ja-JP" altLang="en-US" sz="794" dirty="0">
                <a:solidFill>
                  <a:prstClr val="black"/>
                </a:solidFill>
                <a:latin typeface="ＭＳ Ｐゴシック" panose="020B0600070205080204" pitchFamily="50" charset="-128"/>
              </a:rPr>
              <a:t>以降は年冬の数値。</a:t>
            </a:r>
            <a:endParaRPr lang="en-US" altLang="ja-JP" sz="794" dirty="0">
              <a:solidFill>
                <a:prstClr val="black"/>
              </a:solidFill>
              <a:latin typeface="ＭＳ Ｐゴシック" panose="020B0600070205080204" pitchFamily="50" charset="-128"/>
            </a:endParaRPr>
          </a:p>
          <a:p>
            <a:pPr marL="334910" indent="-200947" defTabSz="853625" eaLnBrk="0" hangingPunct="0">
              <a:defRPr/>
            </a:pPr>
            <a:r>
              <a:rPr lang="ja-JP" altLang="en-US" sz="794" dirty="0">
                <a:solidFill>
                  <a:prstClr val="black"/>
                </a:solidFill>
                <a:latin typeface="ＭＳ Ｐゴシック" panose="020B0600070205080204" pitchFamily="50" charset="-128"/>
              </a:rPr>
              <a:t>　　　</a:t>
            </a:r>
            <a:r>
              <a:rPr lang="en-US" altLang="ja-JP" sz="794" dirty="0">
                <a:solidFill>
                  <a:prstClr val="black"/>
                </a:solidFill>
                <a:latin typeface="ＭＳ Ｐゴシック" panose="020B0600070205080204" pitchFamily="50" charset="-128"/>
              </a:rPr>
              <a:t>2</a:t>
            </a:r>
            <a:r>
              <a:rPr lang="ja-JP" altLang="en-US" sz="794" dirty="0">
                <a:solidFill>
                  <a:prstClr val="black"/>
                </a:solidFill>
                <a:latin typeface="ＭＳ Ｐゴシック" panose="020B0600070205080204" pitchFamily="50" charset="-128"/>
              </a:rPr>
              <a:t>　死者数・被害状況 ： 消防庁公表資料より作成。</a:t>
            </a:r>
            <a:endParaRPr lang="en-US" altLang="ja-JP" sz="794" dirty="0">
              <a:solidFill>
                <a:prstClr val="black"/>
              </a:solidFill>
              <a:latin typeface="ＭＳ Ｐゴシック" panose="020B0600070205080204" pitchFamily="50" charset="-128"/>
            </a:endParaRPr>
          </a:p>
          <a:p>
            <a:pPr marL="200947" indent="-66982" defTabSz="853625" eaLnBrk="0" hangingPunct="0">
              <a:defRPr/>
            </a:pPr>
            <a:r>
              <a:rPr lang="ja-JP" altLang="en-US" sz="794" dirty="0">
                <a:solidFill>
                  <a:prstClr val="black"/>
                </a:solidFill>
                <a:latin typeface="ＭＳ Ｐゴシック" panose="020B0600070205080204" pitchFamily="50" charset="-128"/>
              </a:rPr>
              <a:t>　　　</a:t>
            </a:r>
            <a:r>
              <a:rPr lang="en-US" altLang="ja-JP" sz="794" dirty="0">
                <a:solidFill>
                  <a:prstClr val="black"/>
                </a:solidFill>
                <a:latin typeface="ＭＳ Ｐゴシック" panose="020B0600070205080204" pitchFamily="50" charset="-128"/>
              </a:rPr>
              <a:t>3</a:t>
            </a:r>
            <a:r>
              <a:rPr lang="ja-JP" altLang="en-US" sz="794" dirty="0">
                <a:solidFill>
                  <a:prstClr val="black"/>
                </a:solidFill>
                <a:latin typeface="ＭＳ Ｐゴシック" panose="020B0600070205080204" pitchFamily="50" charset="-128"/>
              </a:rPr>
              <a:t>　冬期間累計降雪量： 国土交通省「豪雪地帯基礎調査」</a:t>
            </a:r>
            <a:endParaRPr lang="en-US" altLang="ja-JP" sz="794" dirty="0">
              <a:solidFill>
                <a:prstClr val="black"/>
              </a:solidFill>
              <a:latin typeface="ＭＳ Ｐゴシック" panose="020B0600070205080204" pitchFamily="50" charset="-128"/>
            </a:endParaRPr>
          </a:p>
        </p:txBody>
      </p:sp>
      <p:sp>
        <p:nvSpPr>
          <p:cNvPr id="1518" name="Text Box 8"/>
          <p:cNvSpPr txBox="1">
            <a:spLocks noChangeArrowheads="1"/>
          </p:cNvSpPr>
          <p:nvPr/>
        </p:nvSpPr>
        <p:spPr>
          <a:xfrm>
            <a:off x="6104150" y="1710580"/>
            <a:ext cx="3417635" cy="264005"/>
          </a:xfrm>
          <a:prstGeom prst="rect">
            <a:avLst/>
          </a:prstGeom>
          <a:noFill/>
          <a:ln w="3175">
            <a:noFill/>
            <a:miter lim="800000"/>
            <a:headEnd/>
            <a:tailEnd/>
          </a:ln>
          <a:effectLst>
            <a:prstShdw prst="shdw17" dist="17961" dir="2700000">
              <a:schemeClr val="tx1">
                <a:gamma/>
                <a:shade val="60000"/>
                <a:invGamma/>
              </a:schemeClr>
            </a:prstShdw>
          </a:effectLst>
        </p:spPr>
        <p:txBody>
          <a:bodyPr wrap="square">
            <a:spAutoFit/>
          </a:bodyPr>
          <a:lstStyle/>
          <a:p>
            <a:pPr algn="ctr" defTabSz="850672">
              <a:spcBef>
                <a:spcPct val="50000"/>
              </a:spcBef>
              <a:defRPr/>
            </a:pPr>
            <a:r>
              <a:rPr lang="en-US" altLang="ja-JP" sz="1116" dirty="0">
                <a:solidFill>
                  <a:prstClr val="black"/>
                </a:solidFill>
                <a:latin typeface="HGPｺﾞｼｯｸE" pitchFamily="50" charset="-128"/>
                <a:ea typeface="HGPｺﾞｼｯｸE" pitchFamily="50" charset="-128"/>
              </a:rPr>
              <a:t>【</a:t>
            </a:r>
            <a:r>
              <a:rPr lang="ja-JP" altLang="en-US" sz="1116" dirty="0">
                <a:solidFill>
                  <a:prstClr val="black"/>
                </a:solidFill>
                <a:latin typeface="HGPｺﾞｼｯｸE" pitchFamily="50" charset="-128"/>
                <a:ea typeface="HGPｺﾞｼｯｸE" pitchFamily="50" charset="-128"/>
              </a:rPr>
              <a:t>雪害と風水害などの自然災害による死者数の推移</a:t>
            </a:r>
            <a:r>
              <a:rPr lang="en-US" altLang="ja-JP" sz="1116" dirty="0">
                <a:solidFill>
                  <a:prstClr val="black"/>
                </a:solidFill>
                <a:latin typeface="HGPｺﾞｼｯｸE" pitchFamily="50" charset="-128"/>
                <a:ea typeface="HGPｺﾞｼｯｸE" pitchFamily="50" charset="-128"/>
              </a:rPr>
              <a:t>】</a:t>
            </a:r>
            <a:endParaRPr lang="ja-JP" altLang="en-US" sz="1116" dirty="0">
              <a:solidFill>
                <a:prstClr val="black"/>
              </a:solidFill>
              <a:latin typeface="HGPｺﾞｼｯｸE" pitchFamily="50" charset="-128"/>
              <a:ea typeface="HGPｺﾞｼｯｸE" pitchFamily="50" charset="-128"/>
            </a:endParaRPr>
          </a:p>
        </p:txBody>
      </p:sp>
      <p:sp>
        <p:nvSpPr>
          <p:cNvPr id="1524" name="タイトル 1"/>
          <p:cNvSpPr>
            <a:spLocks noGrp="1"/>
          </p:cNvSpPr>
          <p:nvPr>
            <p:ph type="title"/>
          </p:nvPr>
        </p:nvSpPr>
        <p:spPr>
          <a:xfrm>
            <a:off x="416429" y="123406"/>
            <a:ext cx="8785466" cy="444076"/>
          </a:xfrm>
        </p:spPr>
        <p:txBody>
          <a:bodyPr/>
          <a:lstStyle/>
          <a:p>
            <a:pPr algn="l" defTabSz="751825" eaLnBrk="1" hangingPunct="1">
              <a:defRPr/>
            </a:pPr>
            <a:r>
              <a:rPr lang="ja-JP" altLang="en-US" sz="2400" kern="1200" dirty="0">
                <a:solidFill>
                  <a:srgbClr val="4087C8"/>
                </a:solidFill>
                <a:latin typeface="Arial" charset="0"/>
                <a:ea typeface="HG創英角ｺﾞｼｯｸUB" panose="020B0909000000000000" pitchFamily="49" charset="-128"/>
              </a:rPr>
              <a:t>豪雪地帯の現状（雪害による死者数の推移）</a:t>
            </a:r>
            <a:endParaRPr lang="ja-JP" altLang="en-US" sz="2400" dirty="0">
              <a:solidFill>
                <a:srgbClr val="4087C8"/>
              </a:solidFill>
              <a:latin typeface="HG創英角ｺﾞｼｯｸUB" panose="020B0909000000000000" pitchFamily="49" charset="-128"/>
              <a:ea typeface="HG創英角ｺﾞｼｯｸUB" panose="020B0909000000000000" pitchFamily="49" charset="-128"/>
            </a:endParaRPr>
          </a:p>
        </p:txBody>
      </p:sp>
      <p:sp>
        <p:nvSpPr>
          <p:cNvPr id="16" name="正方形/長方形 25"/>
          <p:cNvSpPr/>
          <p:nvPr/>
        </p:nvSpPr>
        <p:spPr>
          <a:xfrm>
            <a:off x="-1740037" y="460018"/>
            <a:ext cx="1439929" cy="647968"/>
          </a:xfrm>
          <a:prstGeom prst="rect">
            <a:avLst/>
          </a:prstGeom>
          <a:gradFill rotWithShape="1">
            <a:gsLst>
              <a:gs pos="0">
                <a:srgbClr val="333399">
                  <a:shade val="51000"/>
                  <a:satMod val="130000"/>
                </a:srgbClr>
              </a:gs>
              <a:gs pos="80000">
                <a:srgbClr val="333399">
                  <a:shade val="93000"/>
                  <a:satMod val="130000"/>
                </a:srgbClr>
              </a:gs>
              <a:gs pos="100000">
                <a:srgbClr val="333399">
                  <a:shade val="94000"/>
                  <a:satMod val="135000"/>
                </a:srgbClr>
              </a:gs>
            </a:gsLst>
            <a:lin ang="16200000" scaled="0"/>
            <a:tileRect/>
          </a:gra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p:spPr>
        <p:txBody>
          <a:bodyPr rtlCol="0" anchor="ctr"/>
          <a:lstStyle/>
          <a:p>
            <a:pPr algn="ctr" fontAlgn="auto">
              <a:spcBef>
                <a:spcPts val="0"/>
              </a:spcBef>
              <a:spcAft>
                <a:spcPts val="0"/>
              </a:spcAft>
              <a:defRPr/>
            </a:pPr>
            <a:r>
              <a:rPr kumimoji="0" lang="ja-JP" altLang="en-US" sz="2400" b="1" kern="0" dirty="0">
                <a:solidFill>
                  <a:srgbClr val="FFFFFF"/>
                </a:solidFill>
                <a:latin typeface="Arial"/>
                <a:ea typeface="ＭＳ Ｐゴシック"/>
              </a:rPr>
              <a:t>地振課</a:t>
            </a:r>
            <a:endParaRPr kumimoji="0" lang="en-US" altLang="ja-JP" sz="2400" b="1" kern="0" dirty="0">
              <a:solidFill>
                <a:srgbClr val="FFFFFF"/>
              </a:solidFill>
              <a:latin typeface="Arial"/>
              <a:ea typeface="ＭＳ Ｐゴシック"/>
            </a:endParaRPr>
          </a:p>
        </p:txBody>
      </p:sp>
      <p:sp>
        <p:nvSpPr>
          <p:cNvPr id="17" name="正方形/長方形 16"/>
          <p:cNvSpPr/>
          <p:nvPr/>
        </p:nvSpPr>
        <p:spPr>
          <a:xfrm>
            <a:off x="10171292" y="1719956"/>
            <a:ext cx="2231890" cy="647968"/>
          </a:xfrm>
          <a:prstGeom prst="rect">
            <a:avLst/>
          </a:prstGeom>
          <a:solidFill>
            <a:srgbClr val="00CC66"/>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ja-JP" sz="2000" b="1" dirty="0">
                <a:solidFill>
                  <a:srgbClr val="FFFFFF"/>
                </a:solidFill>
                <a:latin typeface="Arial"/>
                <a:ea typeface="ＭＳ Ｐゴシック"/>
              </a:rPr>
              <a:t>2</a:t>
            </a:r>
            <a:r>
              <a:rPr lang="ja-JP" altLang="en-US" sz="2000" b="1" dirty="0">
                <a:solidFill>
                  <a:srgbClr val="FFFFFF"/>
                </a:solidFill>
                <a:latin typeface="Arial"/>
                <a:ea typeface="ＭＳ Ｐゴシック"/>
              </a:rPr>
              <a:t>４</a:t>
            </a:r>
            <a:r>
              <a:rPr lang="en-US" altLang="ja-JP" sz="2000" b="1" dirty="0">
                <a:solidFill>
                  <a:srgbClr val="FFFFFF"/>
                </a:solidFill>
                <a:latin typeface="Arial"/>
                <a:ea typeface="ＭＳ Ｐゴシック"/>
              </a:rPr>
              <a:t>0517</a:t>
            </a:r>
            <a:r>
              <a:rPr lang="ja-JP" altLang="en-US" sz="2000" b="1" dirty="0">
                <a:solidFill>
                  <a:srgbClr val="FFFFFF"/>
                </a:solidFill>
                <a:latin typeface="Arial"/>
                <a:ea typeface="ＭＳ Ｐゴシック"/>
              </a:rPr>
              <a:t>　更新</a:t>
            </a:r>
          </a:p>
        </p:txBody>
      </p:sp>
      <p:sp>
        <p:nvSpPr>
          <p:cNvPr id="19" name="Rectangle 36"/>
          <p:cNvSpPr>
            <a:spLocks noChangeArrowheads="1"/>
          </p:cNvSpPr>
          <p:nvPr/>
        </p:nvSpPr>
        <p:spPr>
          <a:xfrm>
            <a:off x="6104150" y="5620392"/>
            <a:ext cx="3743449" cy="790197"/>
          </a:xfrm>
          <a:prstGeom prst="rect">
            <a:avLst/>
          </a:prstGeom>
          <a:noFill/>
          <a:ln w="9525">
            <a:noFill/>
            <a:miter lim="800000"/>
            <a:headEnd/>
            <a:tailEnd/>
          </a:ln>
        </p:spPr>
        <p:txBody>
          <a:bodyPr lIns="32494" tIns="32494" rIns="32494" bIns="32494"/>
          <a:lstStyle/>
          <a:p>
            <a:pPr marL="503610" indent="-503610" defTabSz="853625" eaLnBrk="0" hangingPunct="0">
              <a:defRPr/>
            </a:pPr>
            <a:r>
              <a:rPr lang="ja-JP" altLang="en-US" sz="838" dirty="0">
                <a:solidFill>
                  <a:prstClr val="black"/>
                </a:solidFill>
                <a:latin typeface="ＭＳ Ｐゴシック" pitchFamily="50" charset="-128"/>
                <a:ea typeface="ＭＳ Ｐゴシック" charset="-128"/>
              </a:rPr>
              <a:t>（備考</a:t>
            </a:r>
            <a:r>
              <a:rPr lang="ja-JP" altLang="en-US" sz="838" dirty="0">
                <a:solidFill>
                  <a:prstClr val="black"/>
                </a:solidFill>
                <a:latin typeface="ＭＳ Ｐゴシック" panose="020B0600070205080204" pitchFamily="50" charset="-128"/>
              </a:rPr>
              <a:t>） </a:t>
            </a:r>
            <a:endParaRPr lang="en-US" altLang="ja-JP" sz="838" dirty="0">
              <a:solidFill>
                <a:prstClr val="black"/>
              </a:solidFill>
              <a:latin typeface="ＭＳ Ｐゴシック" panose="020B0600070205080204" pitchFamily="50" charset="-128"/>
            </a:endParaRPr>
          </a:p>
          <a:p>
            <a:pPr marL="133964" defTabSz="853625" eaLnBrk="0" hangingPunct="0">
              <a:defRPr/>
            </a:pPr>
            <a:r>
              <a:rPr lang="ja-JP" altLang="en-US" sz="838" dirty="0">
                <a:solidFill>
                  <a:prstClr val="black"/>
                </a:solidFill>
                <a:latin typeface="ＭＳ Ｐゴシック" panose="020B0600070205080204" pitchFamily="50" charset="-128"/>
                <a:ea typeface="ＭＳ Ｐゴシック" charset="-128"/>
              </a:rPr>
              <a:t>１　消防庁データ（暦年）に基づき全国積雪寒冷地帯振興協議会作成</a:t>
            </a:r>
            <a:endParaRPr lang="en-US" altLang="ja-JP" sz="838" dirty="0">
              <a:solidFill>
                <a:prstClr val="black"/>
              </a:solidFill>
              <a:latin typeface="ＭＳ Ｐゴシック" panose="020B0600070205080204" pitchFamily="50" charset="-128"/>
              <a:ea typeface="ＭＳ Ｐゴシック" charset="-128"/>
            </a:endParaRPr>
          </a:p>
          <a:p>
            <a:pPr marL="133964" defTabSz="853625" eaLnBrk="0" hangingPunct="0">
              <a:defRPr/>
            </a:pPr>
            <a:r>
              <a:rPr lang="ja-JP" altLang="en-US" sz="838" dirty="0">
                <a:solidFill>
                  <a:prstClr val="black"/>
                </a:solidFill>
                <a:ea typeface="ＭＳ Ｐゴシック" charset="-128"/>
              </a:rPr>
              <a:t>２　自然災害のうち、単年での変動が大きい地震・津波による死者数は</a:t>
            </a:r>
          </a:p>
          <a:p>
            <a:pPr marL="133964" defTabSz="853625" eaLnBrk="0" hangingPunct="0">
              <a:defRPr/>
            </a:pPr>
            <a:r>
              <a:rPr lang="ja-JP" altLang="en-US" sz="838" dirty="0">
                <a:solidFill>
                  <a:prstClr val="black"/>
                </a:solidFill>
                <a:ea typeface="ＭＳ Ｐゴシック" charset="-128"/>
              </a:rPr>
              <a:t>　　除いて集計</a:t>
            </a:r>
          </a:p>
        </p:txBody>
      </p:sp>
      <p:pic>
        <p:nvPicPr>
          <p:cNvPr id="2" name="図 1"/>
          <p:cNvPicPr>
            <a:picLocks noChangeAspect="1"/>
          </p:cNvPicPr>
          <p:nvPr/>
        </p:nvPicPr>
        <p:blipFill>
          <a:blip r:embed="rId5"/>
          <a:stretch>
            <a:fillRect/>
          </a:stretch>
        </p:blipFill>
        <p:spPr>
          <a:xfrm>
            <a:off x="5168195" y="4088544"/>
            <a:ext cx="249918" cy="215989"/>
          </a:xfrm>
          <a:prstGeom prst="rect">
            <a:avLst/>
          </a:prstGeom>
        </p:spPr>
      </p:pic>
      <p:sp>
        <p:nvSpPr>
          <p:cNvPr id="1523" name="正方形/長方形 22"/>
          <p:cNvSpPr/>
          <p:nvPr/>
        </p:nvSpPr>
        <p:spPr>
          <a:xfrm>
            <a:off x="6921466" y="4628517"/>
            <a:ext cx="334627" cy="19051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rtlCol="0" anchor="ctr"/>
          <a:lstStyle/>
          <a:p>
            <a:pPr algn="ctr" defTabSz="850672">
              <a:defRPr/>
            </a:pPr>
            <a:endParaRPr lang="ja-JP" altLang="en-US" sz="1303" dirty="0">
              <a:solidFill>
                <a:prstClr val="black"/>
              </a:solidFill>
              <a:latin typeface="ＭＳ Ｐゴシック" panose="020B0600070205080204" pitchFamily="50" charset="-128"/>
              <a:ea typeface="ＭＳ Ｐゴシック" panose="020B0600070205080204" pitchFamily="50" charset="-128"/>
            </a:endParaRPr>
          </a:p>
        </p:txBody>
      </p:sp>
      <p:sp>
        <p:nvSpPr>
          <p:cNvPr id="1522" name="正方形/長方形 4"/>
          <p:cNvSpPr/>
          <p:nvPr/>
        </p:nvSpPr>
        <p:spPr>
          <a:xfrm>
            <a:off x="8480033" y="4275204"/>
            <a:ext cx="335637" cy="20931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rtlCol="0" anchor="ctr"/>
          <a:lstStyle/>
          <a:p>
            <a:pPr algn="ctr" defTabSz="850672">
              <a:defRPr/>
            </a:pPr>
            <a:endParaRPr lang="ja-JP" altLang="en-US" sz="1303" dirty="0">
              <a:solidFill>
                <a:prstClr val="black"/>
              </a:solidFill>
              <a:latin typeface="ＭＳ Ｐゴシック" panose="020B0600070205080204" pitchFamily="50" charset="-128"/>
              <a:ea typeface="ＭＳ Ｐゴシック" panose="020B0600070205080204" pitchFamily="50" charset="-128"/>
            </a:endParaRPr>
          </a:p>
        </p:txBody>
      </p:sp>
      <p:cxnSp>
        <p:nvCxnSpPr>
          <p:cNvPr id="27" name="直線矢印コネクタ 9"/>
          <p:cNvCxnSpPr/>
          <p:nvPr/>
        </p:nvCxnSpPr>
        <p:spPr>
          <a:xfrm>
            <a:off x="7088779" y="4316982"/>
            <a:ext cx="1365021"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直線コネクタ 28"/>
          <p:cNvSpPr/>
          <p:nvPr/>
        </p:nvSpPr>
        <p:spPr>
          <a:xfrm>
            <a:off x="7088779" y="4316982"/>
            <a:ext cx="5409" cy="28795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a:lstStyle/>
          <a:p>
            <a:endParaRPr lang="ja-JP" altLang="en-US"/>
          </a:p>
        </p:txBody>
      </p:sp>
      <p:sp>
        <p:nvSpPr>
          <p:cNvPr id="30" name="テキスト ボックス 1"/>
          <p:cNvSpPr txBox="1"/>
          <p:nvPr/>
        </p:nvSpPr>
        <p:spPr>
          <a:xfrm>
            <a:off x="7544079" y="4045241"/>
            <a:ext cx="776545" cy="22341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ja-JP" altLang="en-US" b="1" dirty="0">
                <a:solidFill>
                  <a:srgbClr val="FF0000"/>
                </a:solidFill>
                <a:latin typeface="メイリオ"/>
                <a:ea typeface="メイリオ"/>
              </a:rPr>
              <a:t>約</a:t>
            </a:r>
            <a:r>
              <a:rPr lang="en-US" altLang="ja-JP" b="1" dirty="0">
                <a:solidFill>
                  <a:srgbClr val="FF0000"/>
                </a:solidFill>
                <a:latin typeface="メイリオ"/>
                <a:ea typeface="メイリオ"/>
              </a:rPr>
              <a:t>2.6</a:t>
            </a:r>
            <a:r>
              <a:rPr lang="ja-JP" altLang="en-US" b="1" dirty="0">
                <a:solidFill>
                  <a:srgbClr val="FF0000"/>
                </a:solidFill>
                <a:latin typeface="メイリオ"/>
                <a:ea typeface="メイリオ"/>
              </a:rPr>
              <a:t>倍</a:t>
            </a:r>
          </a:p>
        </p:txBody>
      </p:sp>
      <p:pic>
        <p:nvPicPr>
          <p:cNvPr id="6" name="図 5">
            <a:extLst>
              <a:ext uri="{FF2B5EF4-FFF2-40B4-BE49-F238E27FC236}">
                <a16:creationId xmlns:a16="http://schemas.microsoft.com/office/drawing/2014/main" id="{59289F01-0799-D13E-4735-6ABC66115DEE}"/>
              </a:ext>
            </a:extLst>
          </p:cNvPr>
          <p:cNvPicPr>
            <a:picLocks noChangeAspect="1"/>
          </p:cNvPicPr>
          <p:nvPr/>
        </p:nvPicPr>
        <p:blipFill>
          <a:blip r:embed="rId6"/>
          <a:stretch>
            <a:fillRect/>
          </a:stretch>
        </p:blipFill>
        <p:spPr>
          <a:xfrm>
            <a:off x="1064397" y="4844505"/>
            <a:ext cx="4353716" cy="1378579"/>
          </a:xfrm>
          <a:prstGeom prst="rect">
            <a:avLst/>
          </a:prstGeom>
        </p:spPr>
      </p:pic>
      <p:sp>
        <p:nvSpPr>
          <p:cNvPr id="3" name="スライド番号プレースホルダー 2">
            <a:extLst>
              <a:ext uri="{FF2B5EF4-FFF2-40B4-BE49-F238E27FC236}">
                <a16:creationId xmlns:a16="http://schemas.microsoft.com/office/drawing/2014/main" id="{62773CAE-D62D-8C3D-1007-C6D886BE6295}"/>
              </a:ext>
            </a:extLst>
          </p:cNvPr>
          <p:cNvSpPr>
            <a:spLocks noGrp="1"/>
          </p:cNvSpPr>
          <p:nvPr>
            <p:ph type="sldNum" sz="quarter" idx="10"/>
          </p:nvPr>
        </p:nvSpPr>
        <p:spPr>
          <a:xfrm>
            <a:off x="7593383" y="7346570"/>
            <a:ext cx="2311030" cy="413132"/>
          </a:xfrm>
        </p:spPr>
        <p:txBody>
          <a:bodyPr/>
          <a:lstStyle/>
          <a:p>
            <a:pPr algn="r">
              <a:defRPr/>
            </a:pPr>
            <a:fld id="{B91C2A86-9902-4D4F-ABA7-1FCD82674808}" type="slidenum">
              <a:rPr lang="en-US" altLang="ja-JP" sz="1290" smtClean="0"/>
              <a:pPr algn="r">
                <a:defRPr/>
              </a:pPr>
              <a:t>57</a:t>
            </a:fld>
            <a:endParaRPr lang="en-US" altLang="ja-JP" sz="1290" dirty="0"/>
          </a:p>
        </p:txBody>
      </p:sp>
    </p:spTree>
    <p:extLst>
      <p:ext uri="{BB962C8B-B14F-4D97-AF65-F5344CB8AC3E}">
        <p14:creationId xmlns:p14="http://schemas.microsoft.com/office/powerpoint/2010/main" val="5868513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659785" y="2122408"/>
            <a:ext cx="8584838" cy="4745741"/>
          </a:xfrm>
          <a:prstGeom prst="rect">
            <a:avLst/>
          </a:prstGeom>
          <a:noFill/>
          <a:ln>
            <a:solidFill>
              <a:srgbClr val="4087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5209"/>
            <a:endParaRPr lang="ja-JP" altLang="en-US" sz="1723">
              <a:solidFill>
                <a:srgbClr val="FFFFFF"/>
              </a:solidFill>
              <a:latin typeface="Arial"/>
              <a:ea typeface="ＭＳ Ｐゴシック"/>
            </a:endParaRPr>
          </a:p>
        </p:txBody>
      </p:sp>
      <p:sp>
        <p:nvSpPr>
          <p:cNvPr id="9" name="正方形/長方形 8"/>
          <p:cNvSpPr/>
          <p:nvPr/>
        </p:nvSpPr>
        <p:spPr>
          <a:xfrm>
            <a:off x="756715" y="1249093"/>
            <a:ext cx="8449364" cy="830864"/>
          </a:xfrm>
          <a:prstGeom prst="rect">
            <a:avLst/>
          </a:prstGeom>
        </p:spPr>
        <p:txBody>
          <a:bodyPr wrap="square">
            <a:spAutoFit/>
          </a:bodyPr>
          <a:lstStyle/>
          <a:p>
            <a:pPr defTabSz="875209"/>
            <a:r>
              <a:rPr lang="ja-JP" altLang="en-US" sz="1600" dirty="0">
                <a:latin typeface="メイリオ" panose="020B0604030504040204" pitchFamily="50" charset="-128"/>
                <a:ea typeface="メイリオ" panose="020B0604030504040204" pitchFamily="50" charset="-128"/>
              </a:rPr>
              <a:t>　豪雪地帯において、除排雪時の死傷事故が多発していることを踏まえ、将来を見据えた戦略的な方針の策定と、持続可能な除排雪体制の整備等に取り組む自治体（道府県及び市町村）を支援する。</a:t>
            </a:r>
            <a:endParaRPr lang="en-US" altLang="ja-JP" sz="1600" dirty="0">
              <a:latin typeface="メイリオ" panose="020B0604030504040204" pitchFamily="50" charset="-128"/>
              <a:ea typeface="メイリオ" panose="020B0604030504040204" pitchFamily="50" charset="-128"/>
            </a:endParaRPr>
          </a:p>
        </p:txBody>
      </p:sp>
      <p:sp>
        <p:nvSpPr>
          <p:cNvPr id="10" name="正方形/長方形 9"/>
          <p:cNvSpPr/>
          <p:nvPr/>
        </p:nvSpPr>
        <p:spPr>
          <a:xfrm>
            <a:off x="659788" y="927522"/>
            <a:ext cx="8584837" cy="1081784"/>
          </a:xfrm>
          <a:prstGeom prst="rect">
            <a:avLst/>
          </a:prstGeom>
          <a:noFill/>
          <a:ln>
            <a:solidFill>
              <a:srgbClr val="4087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75209"/>
            <a:endParaRPr lang="ja-JP" altLang="en-US" sz="1723">
              <a:solidFill>
                <a:srgbClr val="FFFFFF"/>
              </a:solidFill>
              <a:latin typeface="Arial"/>
              <a:ea typeface="ＭＳ Ｐゴシック"/>
            </a:endParaRPr>
          </a:p>
        </p:txBody>
      </p:sp>
      <p:sp>
        <p:nvSpPr>
          <p:cNvPr id="11" name="正方形/長方形 10"/>
          <p:cNvSpPr/>
          <p:nvPr/>
        </p:nvSpPr>
        <p:spPr>
          <a:xfrm>
            <a:off x="659787" y="938662"/>
            <a:ext cx="1054832" cy="275703"/>
          </a:xfrm>
          <a:prstGeom prst="rect">
            <a:avLst/>
          </a:prstGeom>
          <a:solidFill>
            <a:srgbClr val="4087C8"/>
          </a:solidFill>
          <a:ln>
            <a:noFill/>
          </a:ln>
        </p:spPr>
        <p:style>
          <a:lnRef idx="2">
            <a:schemeClr val="accent1">
              <a:shade val="50000"/>
            </a:schemeClr>
          </a:lnRef>
          <a:fillRef idx="1">
            <a:schemeClr val="accent1"/>
          </a:fillRef>
          <a:effectRef idx="0">
            <a:schemeClr val="accent1"/>
          </a:effectRef>
          <a:fontRef idx="minor">
            <a:schemeClr val="lt1"/>
          </a:fontRef>
        </p:style>
        <p:txBody>
          <a:bodyPr bIns="0" rtlCol="0" anchor="ctr"/>
          <a:lstStyle/>
          <a:p>
            <a:pPr algn="ctr" defTabSz="875209"/>
            <a:r>
              <a:rPr lang="ja-JP" altLang="en-US" sz="1723" b="1" dirty="0">
                <a:solidFill>
                  <a:srgbClr val="FFFFFF"/>
                </a:solidFill>
                <a:latin typeface="メイリオ" panose="020B0604030504040204" pitchFamily="50" charset="-128"/>
                <a:ea typeface="メイリオ" panose="020B0604030504040204" pitchFamily="50" charset="-128"/>
              </a:rPr>
              <a:t>目的</a:t>
            </a:r>
            <a:endParaRPr lang="en-US" altLang="ja-JP" sz="1723" b="1" dirty="0">
              <a:solidFill>
                <a:srgbClr val="FFFFFF"/>
              </a:solidFill>
              <a:latin typeface="メイリオ" panose="020B0604030504040204" pitchFamily="50" charset="-128"/>
              <a:ea typeface="メイリオ" panose="020B0604030504040204" pitchFamily="50" charset="-128"/>
            </a:endParaRPr>
          </a:p>
        </p:txBody>
      </p:sp>
      <p:sp>
        <p:nvSpPr>
          <p:cNvPr id="13" name="テキスト ボックス 12"/>
          <p:cNvSpPr txBox="1"/>
          <p:nvPr/>
        </p:nvSpPr>
        <p:spPr>
          <a:xfrm>
            <a:off x="562718" y="2206024"/>
            <a:ext cx="8584838" cy="4462302"/>
          </a:xfrm>
          <a:prstGeom prst="rect">
            <a:avLst/>
          </a:prstGeom>
          <a:noFill/>
        </p:spPr>
        <p:txBody>
          <a:bodyPr wrap="square" rtlCol="0">
            <a:spAutoFit/>
          </a:bodyPr>
          <a:lstStyle/>
          <a:p>
            <a:pPr defTabSz="875209">
              <a:spcBef>
                <a:spcPts val="574"/>
              </a:spcBef>
            </a:pPr>
            <a:r>
              <a:rPr lang="en-US" altLang="ja-JP" sz="1723" b="1" dirty="0">
                <a:solidFill>
                  <a:srgbClr val="000000"/>
                </a:solidFill>
                <a:latin typeface="メイリオ" panose="020B0604030504040204" pitchFamily="50" charset="-128"/>
                <a:ea typeface="メイリオ" panose="020B0604030504040204" pitchFamily="50" charset="-128"/>
              </a:rPr>
              <a:t>【</a:t>
            </a:r>
            <a:r>
              <a:rPr lang="ja-JP" altLang="en-US" sz="1723" b="1" dirty="0">
                <a:solidFill>
                  <a:srgbClr val="000000"/>
                </a:solidFill>
                <a:latin typeface="メイリオ" panose="020B0604030504040204" pitchFamily="50" charset="-128"/>
                <a:ea typeface="メイリオ" panose="020B0604030504040204" pitchFamily="50" charset="-128"/>
              </a:rPr>
              <a:t>対象事業</a:t>
            </a:r>
            <a:r>
              <a:rPr lang="en-US" altLang="ja-JP" sz="1723" b="1" dirty="0">
                <a:solidFill>
                  <a:srgbClr val="000000"/>
                </a:solidFill>
                <a:latin typeface="メイリオ" panose="020B0604030504040204" pitchFamily="50" charset="-128"/>
                <a:ea typeface="メイリオ" panose="020B0604030504040204" pitchFamily="50" charset="-128"/>
              </a:rPr>
              <a:t>】</a:t>
            </a:r>
          </a:p>
          <a:p>
            <a:pPr marL="413484" indent="-241199" defTabSz="875209">
              <a:spcBef>
                <a:spcPts val="574"/>
              </a:spcBef>
              <a:buFont typeface="メイリオ" panose="020B0604030504040204" pitchFamily="50" charset="-128"/>
              <a:buChar char="○"/>
            </a:pPr>
            <a:r>
              <a:rPr lang="ja-JP" altLang="en-US" sz="1723" b="1" dirty="0">
                <a:solidFill>
                  <a:srgbClr val="000000"/>
                </a:solidFill>
                <a:latin typeface="メイリオ" panose="020B0604030504040204" pitchFamily="50" charset="-128"/>
                <a:ea typeface="メイリオ" panose="020B0604030504040204" pitchFamily="50" charset="-128"/>
              </a:rPr>
              <a:t>地域安全克雪方針策定への支援</a:t>
            </a:r>
            <a:r>
              <a:rPr lang="ja-JP" altLang="en-US" sz="1149" dirty="0">
                <a:solidFill>
                  <a:srgbClr val="000000"/>
                </a:solidFill>
                <a:latin typeface="メイリオ" panose="020B0604030504040204" pitchFamily="50" charset="-128"/>
                <a:ea typeface="メイリオ" panose="020B0604030504040204" pitchFamily="50" charset="-128"/>
              </a:rPr>
              <a:t>（補助率</a:t>
            </a:r>
            <a:r>
              <a:rPr lang="en-US" altLang="ja-JP" sz="1149" dirty="0">
                <a:solidFill>
                  <a:srgbClr val="000000"/>
                </a:solidFill>
                <a:latin typeface="メイリオ" panose="020B0604030504040204" pitchFamily="50" charset="-128"/>
                <a:ea typeface="メイリオ" panose="020B0604030504040204" pitchFamily="50" charset="-128"/>
              </a:rPr>
              <a:t>10/10</a:t>
            </a:r>
            <a:r>
              <a:rPr lang="ja-JP" altLang="en-US" sz="1149" dirty="0">
                <a:solidFill>
                  <a:srgbClr val="000000"/>
                </a:solidFill>
                <a:latin typeface="メイリオ" panose="020B0604030504040204" pitchFamily="50" charset="-128"/>
                <a:ea typeface="メイリオ" panose="020B0604030504040204" pitchFamily="50" charset="-128"/>
              </a:rPr>
              <a:t>）　</a:t>
            </a:r>
            <a:r>
              <a:rPr lang="en-US" altLang="ja-JP" sz="1149" dirty="0">
                <a:solidFill>
                  <a:srgbClr val="000000"/>
                </a:solidFill>
                <a:latin typeface="メイリオ" panose="020B0604030504040204" pitchFamily="50" charset="-128"/>
                <a:ea typeface="メイリオ" panose="020B0604030504040204" pitchFamily="50" charset="-128"/>
              </a:rPr>
              <a:t>※</a:t>
            </a:r>
            <a:r>
              <a:rPr lang="ja-JP" altLang="en-US" sz="1149" dirty="0">
                <a:latin typeface="メイリオ" panose="020B0604030504040204" pitchFamily="50" charset="-128"/>
                <a:ea typeface="メイリオ" panose="020B0604030504040204" pitchFamily="50" charset="-128"/>
              </a:rPr>
              <a:t>事業実施</a:t>
            </a:r>
            <a:r>
              <a:rPr lang="ja-JP" altLang="en-US" sz="1149" dirty="0">
                <a:solidFill>
                  <a:srgbClr val="000000"/>
                </a:solidFill>
                <a:latin typeface="メイリオ" panose="020B0604030504040204" pitchFamily="50" charset="-128"/>
                <a:ea typeface="メイリオ" panose="020B0604030504040204" pitchFamily="50" charset="-128"/>
              </a:rPr>
              <a:t>主体は市町村</a:t>
            </a:r>
          </a:p>
          <a:p>
            <a:pPr marL="413484" defTabSz="875209">
              <a:spcBef>
                <a:spcPts val="0"/>
              </a:spcBef>
            </a:pPr>
            <a:r>
              <a:rPr lang="ja-JP" altLang="en-US" sz="1340" dirty="0">
                <a:solidFill>
                  <a:srgbClr val="000000"/>
                </a:solidFill>
                <a:latin typeface="メイリオ" panose="020B0604030504040204" pitchFamily="50" charset="-128"/>
                <a:ea typeface="メイリオ" panose="020B0604030504040204" pitchFamily="50" charset="-128"/>
              </a:rPr>
              <a:t>　</a:t>
            </a:r>
            <a:r>
              <a:rPr lang="ja-JP" altLang="en-US" sz="1600" dirty="0">
                <a:solidFill>
                  <a:srgbClr val="000000"/>
                </a:solidFill>
                <a:latin typeface="メイリオ" panose="020B0604030504040204" pitchFamily="50" charset="-128"/>
                <a:ea typeface="メイリオ" panose="020B0604030504040204" pitchFamily="50" charset="-128"/>
              </a:rPr>
              <a:t>自立的で安全な地域を実現するための将来構想を地域ぐるみで設定し、その達成のための地域のルールや各主体の取組を定める地域安全克雪方針の策定に対して重点的な支援を行う。</a:t>
            </a:r>
            <a:endParaRPr lang="en-US" altLang="ja-JP" sz="1600" dirty="0">
              <a:solidFill>
                <a:srgbClr val="000000"/>
              </a:solidFill>
              <a:latin typeface="メイリオ" panose="020B0604030504040204" pitchFamily="50" charset="-128"/>
              <a:ea typeface="メイリオ" panose="020B0604030504040204" pitchFamily="50" charset="-128"/>
            </a:endParaRPr>
          </a:p>
          <a:p>
            <a:pPr marL="413484" indent="-241199" defTabSz="875209">
              <a:spcBef>
                <a:spcPts val="1723"/>
              </a:spcBef>
              <a:buFont typeface="メイリオ" panose="020B0604030504040204" pitchFamily="50" charset="-128"/>
              <a:buChar char="○"/>
            </a:pPr>
            <a:r>
              <a:rPr lang="ja-JP" altLang="en-US" sz="1723" b="1" dirty="0">
                <a:solidFill>
                  <a:srgbClr val="000000"/>
                </a:solidFill>
                <a:latin typeface="メイリオ" panose="020B0604030504040204" pitchFamily="50" charset="-128"/>
                <a:ea typeface="メイリオ" panose="020B0604030504040204" pitchFamily="50" charset="-128"/>
              </a:rPr>
              <a:t>方針策定に向けた試行的取組への支援</a:t>
            </a:r>
            <a:r>
              <a:rPr lang="ja-JP" altLang="en-US" sz="1149" dirty="0">
                <a:solidFill>
                  <a:srgbClr val="000000"/>
                </a:solidFill>
                <a:latin typeface="メイリオ" panose="020B0604030504040204" pitchFamily="50" charset="-128"/>
                <a:ea typeface="メイリオ" panose="020B0604030504040204" pitchFamily="50" charset="-128"/>
              </a:rPr>
              <a:t>（補助率</a:t>
            </a:r>
            <a:r>
              <a:rPr lang="en-US" altLang="ja-JP" sz="1149" dirty="0">
                <a:solidFill>
                  <a:srgbClr val="000000"/>
                </a:solidFill>
                <a:latin typeface="メイリオ" panose="020B0604030504040204" pitchFamily="50" charset="-128"/>
                <a:ea typeface="メイリオ" panose="020B0604030504040204" pitchFamily="50" charset="-128"/>
              </a:rPr>
              <a:t>1/2</a:t>
            </a:r>
            <a:r>
              <a:rPr lang="en-US" altLang="ja-JP" sz="1150" dirty="0">
                <a:solidFill>
                  <a:srgbClr val="000000"/>
                </a:solidFill>
                <a:latin typeface="メイリオ" panose="020B0604030504040204" pitchFamily="50" charset="-128"/>
                <a:ea typeface="メイリオ" panose="020B0604030504040204" pitchFamily="50" charset="-128"/>
              </a:rPr>
              <a:t>)</a:t>
            </a:r>
            <a:r>
              <a:rPr lang="ja-JP" altLang="en-US" sz="1150" dirty="0">
                <a:solidFill>
                  <a:srgbClr val="000000"/>
                </a:solidFill>
                <a:latin typeface="メイリオ" panose="020B0604030504040204" pitchFamily="50" charset="-128"/>
                <a:ea typeface="メイリオ" panose="020B0604030504040204" pitchFamily="50" charset="-128"/>
              </a:rPr>
              <a:t>　</a:t>
            </a:r>
            <a:r>
              <a:rPr lang="en-US" altLang="ja-JP" sz="1150" dirty="0">
                <a:solidFill>
                  <a:srgbClr val="000000"/>
                </a:solidFill>
                <a:latin typeface="メイリオ" panose="020B0604030504040204" pitchFamily="50" charset="-128"/>
                <a:ea typeface="メイリオ" panose="020B0604030504040204" pitchFamily="50" charset="-128"/>
              </a:rPr>
              <a:t> ※</a:t>
            </a:r>
            <a:r>
              <a:rPr lang="ja-JP" altLang="en-US" sz="1150" dirty="0">
                <a:latin typeface="メイリオ" panose="020B0604030504040204" pitchFamily="50" charset="-128"/>
                <a:ea typeface="メイリオ" panose="020B0604030504040204" pitchFamily="50" charset="-128"/>
              </a:rPr>
              <a:t>事業実施主体</a:t>
            </a:r>
            <a:r>
              <a:rPr lang="ja-JP" altLang="en-US" sz="1150" dirty="0">
                <a:solidFill>
                  <a:srgbClr val="000000"/>
                </a:solidFill>
                <a:latin typeface="メイリオ" panose="020B0604030504040204" pitchFamily="50" charset="-128"/>
                <a:ea typeface="メイリオ" panose="020B0604030504040204" pitchFamily="50" charset="-128"/>
              </a:rPr>
              <a:t>は道府県、市町村</a:t>
            </a:r>
            <a:endParaRPr lang="en-US" altLang="ja-JP" sz="1150" dirty="0">
              <a:solidFill>
                <a:srgbClr val="000000"/>
              </a:solidFill>
              <a:latin typeface="メイリオ" panose="020B0604030504040204" pitchFamily="50" charset="-128"/>
              <a:ea typeface="メイリオ" panose="020B0604030504040204" pitchFamily="50" charset="-128"/>
            </a:endParaRPr>
          </a:p>
          <a:p>
            <a:pPr marL="413484" defTabSz="875209">
              <a:spcBef>
                <a:spcPts val="0"/>
              </a:spcBef>
            </a:pPr>
            <a:r>
              <a:rPr lang="ja-JP" altLang="en-US" sz="1600" dirty="0">
                <a:solidFill>
                  <a:srgbClr val="000000"/>
                </a:solidFill>
                <a:latin typeface="メイリオ" panose="020B0604030504040204" pitchFamily="50" charset="-128"/>
                <a:ea typeface="メイリオ" panose="020B0604030504040204" pitchFamily="50" charset="-128"/>
              </a:rPr>
              <a:t>　方針策定に並行して行う試行的な取組に対して支援を行う。　</a:t>
            </a:r>
            <a:endParaRPr lang="en-US" altLang="ja-JP" sz="1600" dirty="0">
              <a:solidFill>
                <a:srgbClr val="000000"/>
              </a:solidFill>
              <a:latin typeface="メイリオ" panose="020B0604030504040204" pitchFamily="50" charset="-128"/>
              <a:ea typeface="メイリオ" panose="020B0604030504040204" pitchFamily="50" charset="-128"/>
            </a:endParaRPr>
          </a:p>
          <a:p>
            <a:pPr marL="413484" defTabSz="875209">
              <a:spcBef>
                <a:spcPts val="574"/>
              </a:spcBef>
            </a:pPr>
            <a:r>
              <a:rPr lang="ja-JP" altLang="en-US" sz="1532" dirty="0">
                <a:solidFill>
                  <a:srgbClr val="000000"/>
                </a:solidFill>
                <a:latin typeface="メイリオ" panose="020B0604030504040204" pitchFamily="50" charset="-128"/>
                <a:ea typeface="メイリオ" panose="020B0604030504040204" pitchFamily="50" charset="-128"/>
              </a:rPr>
              <a:t>＜取組の例＞</a:t>
            </a:r>
            <a:endParaRPr lang="en-US" altLang="ja-JP" sz="1532" dirty="0">
              <a:solidFill>
                <a:srgbClr val="000000"/>
              </a:solidFill>
              <a:latin typeface="メイリオ" panose="020B0604030504040204" pitchFamily="50" charset="-128"/>
              <a:ea typeface="メイリオ" panose="020B0604030504040204" pitchFamily="50" charset="-128"/>
            </a:endParaRPr>
          </a:p>
          <a:p>
            <a:pPr marL="930341" indent="-137828" defTabSz="875209">
              <a:spcBef>
                <a:spcPts val="0"/>
              </a:spcBef>
              <a:buFont typeface="Arial" panose="020B0604020202020204" pitchFamily="34" charset="0"/>
              <a:buChar char="•"/>
            </a:pPr>
            <a:r>
              <a:rPr lang="ja-JP" altLang="en-US" sz="1600" dirty="0">
                <a:solidFill>
                  <a:srgbClr val="000000"/>
                </a:solidFill>
                <a:latin typeface="メイリオ" panose="020B0604030504040204" pitchFamily="50" charset="-128"/>
                <a:ea typeface="メイリオ" panose="020B0604030504040204" pitchFamily="50" charset="-128"/>
              </a:rPr>
              <a:t>多様な主体の参画による除排雪の体制づくり</a:t>
            </a:r>
            <a:br>
              <a:rPr lang="en-US" altLang="ja-JP" sz="1600" dirty="0">
                <a:solidFill>
                  <a:srgbClr val="000000"/>
                </a:solidFill>
                <a:latin typeface="メイリオ" panose="020B0604030504040204" pitchFamily="50" charset="-128"/>
                <a:ea typeface="メイリオ" panose="020B0604030504040204" pitchFamily="50" charset="-128"/>
              </a:rPr>
            </a:br>
            <a:r>
              <a:rPr lang="ja-JP" altLang="en-US" sz="1600" dirty="0">
                <a:solidFill>
                  <a:srgbClr val="000000"/>
                </a:solidFill>
                <a:latin typeface="メイリオ" panose="020B0604030504040204" pitchFamily="50" charset="-128"/>
                <a:ea typeface="メイリオ" panose="020B0604030504040204" pitchFamily="50" charset="-128"/>
              </a:rPr>
              <a:t>（要援護世帯等への屋根雪下ろし支援や</a:t>
            </a:r>
            <a:br>
              <a:rPr lang="en-US" altLang="ja-JP" sz="1600" dirty="0">
                <a:solidFill>
                  <a:srgbClr val="000000"/>
                </a:solidFill>
                <a:latin typeface="メイリオ" panose="020B0604030504040204" pitchFamily="50" charset="-128"/>
                <a:ea typeface="メイリオ" panose="020B0604030504040204" pitchFamily="50" charset="-128"/>
              </a:rPr>
            </a:br>
            <a:r>
              <a:rPr lang="ja-JP" altLang="en-US" sz="1600" dirty="0">
                <a:solidFill>
                  <a:srgbClr val="000000"/>
                </a:solidFill>
                <a:latin typeface="メイリオ" panose="020B0604030504040204" pitchFamily="50" charset="-128"/>
                <a:ea typeface="メイリオ" panose="020B0604030504040204" pitchFamily="50" charset="-128"/>
              </a:rPr>
              <a:t>　除排雪のための装備・資機材の購入を含む）</a:t>
            </a:r>
            <a:endParaRPr lang="en-US" altLang="ja-JP" sz="1600" dirty="0">
              <a:solidFill>
                <a:srgbClr val="000000"/>
              </a:solidFill>
              <a:latin typeface="メイリオ" panose="020B0604030504040204" pitchFamily="50" charset="-128"/>
              <a:ea typeface="メイリオ" panose="020B0604030504040204" pitchFamily="50" charset="-128"/>
            </a:endParaRPr>
          </a:p>
          <a:p>
            <a:pPr marL="930341" indent="-137828" defTabSz="875209">
              <a:spcBef>
                <a:spcPts val="0"/>
              </a:spcBef>
              <a:buFont typeface="Arial" panose="020B0604020202020204" pitchFamily="34" charset="0"/>
              <a:buChar char="•"/>
            </a:pPr>
            <a:r>
              <a:rPr lang="ja-JP" altLang="en-US" sz="1600" dirty="0">
                <a:solidFill>
                  <a:srgbClr val="000000"/>
                </a:solidFill>
                <a:latin typeface="メイリオ" panose="020B0604030504040204" pitchFamily="50" charset="-128"/>
                <a:ea typeface="メイリオ" panose="020B0604030504040204" pitchFamily="50" charset="-128"/>
              </a:rPr>
              <a:t>安全講習会の開催等、除排雪の担い手の育成</a:t>
            </a:r>
            <a:endParaRPr lang="en-US" altLang="ja-JP" sz="1600" dirty="0">
              <a:solidFill>
                <a:srgbClr val="000000"/>
              </a:solidFill>
              <a:latin typeface="メイリオ" panose="020B0604030504040204" pitchFamily="50" charset="-128"/>
              <a:ea typeface="メイリオ" panose="020B0604030504040204" pitchFamily="50" charset="-128"/>
            </a:endParaRPr>
          </a:p>
          <a:p>
            <a:pPr marL="792512" defTabSz="875209">
              <a:spcBef>
                <a:spcPts val="0"/>
              </a:spcBef>
            </a:pPr>
            <a:r>
              <a:rPr lang="ja-JP" altLang="en-US" sz="1600" dirty="0">
                <a:latin typeface="メイリオ" panose="020B0604030504040204" pitchFamily="50" charset="-128"/>
                <a:ea typeface="メイリオ" panose="020B0604030504040204" pitchFamily="50" charset="-128"/>
              </a:rPr>
              <a:t>　（</a:t>
            </a:r>
            <a:r>
              <a:rPr lang="ja-JP" altLang="en-US" sz="1600" u="sng" dirty="0">
                <a:latin typeface="メイリオ" panose="020B0604030504040204" pitchFamily="50" charset="-128"/>
                <a:ea typeface="メイリオ" panose="020B0604030504040204" pitchFamily="50" charset="-128"/>
              </a:rPr>
              <a:t>移住間もない世帯への支援を含む</a:t>
            </a:r>
            <a:r>
              <a:rPr lang="ja-JP" altLang="en-US" sz="1600" dirty="0">
                <a:latin typeface="メイリオ" panose="020B0604030504040204" pitchFamily="50" charset="-128"/>
                <a:ea typeface="メイリオ" panose="020B0604030504040204" pitchFamily="50" charset="-128"/>
              </a:rPr>
              <a:t>）</a:t>
            </a:r>
            <a:endParaRPr lang="en-US" altLang="ja-JP" sz="1600" dirty="0">
              <a:latin typeface="メイリオ" panose="020B0604030504040204" pitchFamily="50" charset="-128"/>
              <a:ea typeface="メイリオ" panose="020B0604030504040204" pitchFamily="50" charset="-128"/>
            </a:endParaRPr>
          </a:p>
          <a:p>
            <a:pPr marL="930341" indent="-137828" defTabSz="875209">
              <a:spcBef>
                <a:spcPts val="0"/>
              </a:spcBef>
              <a:buFont typeface="Arial" panose="020B0604020202020204" pitchFamily="34" charset="0"/>
              <a:buChar char="•"/>
            </a:pPr>
            <a:r>
              <a:rPr lang="ja-JP" altLang="en-US" sz="1600" dirty="0">
                <a:latin typeface="メイリオ" panose="020B0604030504040204" pitchFamily="50" charset="-128"/>
                <a:ea typeface="メイリオ" panose="020B0604030504040204" pitchFamily="50" charset="-128"/>
              </a:rPr>
              <a:t>克雪住宅化やアンカー設置に関する普及活動</a:t>
            </a:r>
            <a:endParaRPr lang="en-US" altLang="ja-JP" sz="1600" dirty="0">
              <a:latin typeface="メイリオ" panose="020B0604030504040204" pitchFamily="50" charset="-128"/>
              <a:ea typeface="メイリオ" panose="020B0604030504040204" pitchFamily="50" charset="-128"/>
            </a:endParaRPr>
          </a:p>
          <a:p>
            <a:pPr marL="930341" indent="-137828" defTabSz="875209">
              <a:spcBef>
                <a:spcPts val="0"/>
              </a:spcBef>
              <a:buFont typeface="Arial" panose="020B0604020202020204" pitchFamily="34" charset="0"/>
              <a:buChar char="•"/>
            </a:pPr>
            <a:r>
              <a:rPr lang="ja-JP" altLang="en-US" sz="1600" dirty="0">
                <a:latin typeface="メイリオ" panose="020B0604030504040204" pitchFamily="50" charset="-128"/>
                <a:ea typeface="メイリオ" panose="020B0604030504040204" pitchFamily="50" charset="-128"/>
              </a:rPr>
              <a:t>除排雪に関する自動化、省力化等に資する技術の導入　</a:t>
            </a:r>
            <a:endParaRPr lang="en-US" altLang="ja-JP" sz="1600" dirty="0">
              <a:latin typeface="メイリオ" panose="020B0604030504040204" pitchFamily="50" charset="-128"/>
              <a:ea typeface="メイリオ" panose="020B0604030504040204" pitchFamily="50" charset="-128"/>
            </a:endParaRPr>
          </a:p>
          <a:p>
            <a:pPr marL="930341" indent="-137828" defTabSz="875209">
              <a:spcBef>
                <a:spcPts val="0"/>
              </a:spcBef>
              <a:buFont typeface="Arial" panose="020B0604020202020204" pitchFamily="34" charset="0"/>
              <a:buChar char="•"/>
            </a:pPr>
            <a:r>
              <a:rPr lang="ja-JP" altLang="en-US" sz="1600" u="sng" dirty="0">
                <a:latin typeface="メイリオ" panose="020B0604030504040204" pitchFamily="50" charset="-128"/>
                <a:ea typeface="メイリオ" panose="020B0604030504040204" pitchFamily="50" charset="-128"/>
              </a:rPr>
              <a:t>所有者不明空き家の屋根雪下ろし等による落雪被害防止に係る体制づくり</a:t>
            </a:r>
            <a:r>
              <a:rPr lang="ja-JP" altLang="en-US" sz="1600" dirty="0">
                <a:latin typeface="メイリオ" panose="020B0604030504040204" pitchFamily="50" charset="-128"/>
                <a:ea typeface="メイリオ" panose="020B0604030504040204" pitchFamily="50" charset="-128"/>
              </a:rPr>
              <a:t>　等　</a:t>
            </a:r>
            <a:endParaRPr lang="en-US" altLang="ja-JP" sz="1600" dirty="0">
              <a:latin typeface="メイリオ" panose="020B0604030504040204" pitchFamily="50" charset="-128"/>
              <a:ea typeface="メイリオ" panose="020B0604030504040204" pitchFamily="50" charset="-128"/>
            </a:endParaRPr>
          </a:p>
        </p:txBody>
      </p:sp>
      <p:pic>
        <p:nvPicPr>
          <p:cNvPr id="18" name="Picture 4"/>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930464" y="4389312"/>
            <a:ext cx="1890278" cy="1656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正方形/長方形 18"/>
          <p:cNvSpPr/>
          <p:nvPr/>
        </p:nvSpPr>
        <p:spPr>
          <a:xfrm>
            <a:off x="7265363" y="6036541"/>
            <a:ext cx="1267394" cy="224962"/>
          </a:xfrm>
          <a:prstGeom prst="rect">
            <a:avLst/>
          </a:prstGeom>
        </p:spPr>
        <p:txBody>
          <a:bodyPr wrap="square">
            <a:spAutoFit/>
          </a:bodyPr>
          <a:lstStyle/>
          <a:p>
            <a:pPr defTabSz="875209"/>
            <a:r>
              <a:rPr lang="ja-JP" altLang="en-US" sz="862" dirty="0">
                <a:solidFill>
                  <a:srgbClr val="000000"/>
                </a:solidFill>
                <a:latin typeface="メイリオ" panose="020B0604030504040204" pitchFamily="50" charset="-128"/>
                <a:ea typeface="メイリオ" panose="020B0604030504040204" pitchFamily="50" charset="-128"/>
              </a:rPr>
              <a:t>　雪下ろし実技講習</a:t>
            </a:r>
            <a:endParaRPr lang="en-US" altLang="ja-JP" sz="862" dirty="0">
              <a:solidFill>
                <a:srgbClr val="FF0000"/>
              </a:solidFill>
              <a:latin typeface="メイリオ" panose="020B0604030504040204" pitchFamily="50" charset="-128"/>
              <a:ea typeface="メイリオ" panose="020B0604030504040204" pitchFamily="50" charset="-128"/>
            </a:endParaRPr>
          </a:p>
        </p:txBody>
      </p:sp>
      <p:pic>
        <p:nvPicPr>
          <p:cNvPr id="5" name="図 4"/>
          <p:cNvPicPr>
            <a:picLocks noChangeAspect="1"/>
          </p:cNvPicPr>
          <p:nvPr/>
        </p:nvPicPr>
        <p:blipFill>
          <a:blip r:embed="rId4"/>
          <a:stretch>
            <a:fillRect/>
          </a:stretch>
        </p:blipFill>
        <p:spPr>
          <a:xfrm>
            <a:off x="375932" y="63426"/>
            <a:ext cx="5528665" cy="725371"/>
          </a:xfrm>
          <a:prstGeom prst="rect">
            <a:avLst/>
          </a:prstGeom>
        </p:spPr>
      </p:pic>
      <p:sp>
        <p:nvSpPr>
          <p:cNvPr id="2" name="正方形/長方形 1">
            <a:extLst>
              <a:ext uri="{FF2B5EF4-FFF2-40B4-BE49-F238E27FC236}">
                <a16:creationId xmlns:a16="http://schemas.microsoft.com/office/drawing/2014/main" id="{D0EF0322-0CAF-0C9F-02AD-93E7A6563073}"/>
              </a:ext>
            </a:extLst>
          </p:cNvPr>
          <p:cNvSpPr/>
          <p:nvPr/>
        </p:nvSpPr>
        <p:spPr>
          <a:xfrm>
            <a:off x="10171292" y="1719956"/>
            <a:ext cx="2231890" cy="647968"/>
          </a:xfrm>
          <a:prstGeom prst="rect">
            <a:avLst/>
          </a:prstGeom>
          <a:solidFill>
            <a:srgbClr val="00CC66"/>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ja-JP" sz="2000" b="1" dirty="0">
                <a:solidFill>
                  <a:srgbClr val="FFFFFF"/>
                </a:solidFill>
                <a:latin typeface="Arial"/>
                <a:ea typeface="ＭＳ Ｐゴシック"/>
              </a:rPr>
              <a:t>2</a:t>
            </a:r>
            <a:r>
              <a:rPr lang="ja-JP" altLang="en-US" sz="2000" b="1" dirty="0">
                <a:solidFill>
                  <a:srgbClr val="FFFFFF"/>
                </a:solidFill>
                <a:latin typeface="Arial"/>
                <a:ea typeface="ＭＳ Ｐゴシック"/>
              </a:rPr>
              <a:t>４</a:t>
            </a:r>
            <a:r>
              <a:rPr lang="en-US" altLang="ja-JP" sz="2000" b="1" dirty="0">
                <a:solidFill>
                  <a:srgbClr val="FFFFFF"/>
                </a:solidFill>
                <a:latin typeface="Arial"/>
                <a:ea typeface="ＭＳ Ｐゴシック"/>
              </a:rPr>
              <a:t>0517</a:t>
            </a:r>
            <a:r>
              <a:rPr lang="ja-JP" altLang="en-US" sz="2000" b="1" dirty="0">
                <a:solidFill>
                  <a:srgbClr val="FFFFFF"/>
                </a:solidFill>
                <a:latin typeface="Arial"/>
                <a:ea typeface="ＭＳ Ｐゴシック"/>
              </a:rPr>
              <a:t>　更新</a:t>
            </a:r>
          </a:p>
        </p:txBody>
      </p:sp>
      <p:sp>
        <p:nvSpPr>
          <p:cNvPr id="3" name="テキスト ボックス 2">
            <a:extLst>
              <a:ext uri="{FF2B5EF4-FFF2-40B4-BE49-F238E27FC236}">
                <a16:creationId xmlns:a16="http://schemas.microsoft.com/office/drawing/2014/main" id="{D00B1A71-967E-A2C8-19EB-352B58EF4128}"/>
              </a:ext>
            </a:extLst>
          </p:cNvPr>
          <p:cNvSpPr txBox="1"/>
          <p:nvPr/>
        </p:nvSpPr>
        <p:spPr>
          <a:xfrm>
            <a:off x="6401175" y="6560711"/>
            <a:ext cx="2787496" cy="276955"/>
          </a:xfrm>
          <a:prstGeom prst="rect">
            <a:avLst/>
          </a:prstGeom>
          <a:noFill/>
        </p:spPr>
        <p:txBody>
          <a:bodyPr wrap="none" rtlCol="0">
            <a:spAutoFit/>
          </a:bodyPr>
          <a:lstStyle/>
          <a:p>
            <a:r>
              <a:rPr lang="en-US" altLang="ja-JP" sz="1200" u="sng" dirty="0">
                <a:latin typeface="HGPｺﾞｼｯｸM" panose="020B0600000000000000" pitchFamily="50" charset="-128"/>
                <a:ea typeface="HGPｺﾞｼｯｸM" panose="020B0600000000000000" pitchFamily="50" charset="-128"/>
              </a:rPr>
              <a:t>※</a:t>
            </a:r>
            <a:r>
              <a:rPr lang="ja-JP" altLang="en-US" sz="1200" u="sng" dirty="0">
                <a:latin typeface="HGPｺﾞｼｯｸM" panose="020B0600000000000000" pitchFamily="50" charset="-128"/>
                <a:ea typeface="HGPｺﾞｼｯｸM" panose="020B0600000000000000" pitchFamily="50" charset="-128"/>
              </a:rPr>
              <a:t>下線部分につき令和６年度から明確化</a:t>
            </a:r>
          </a:p>
        </p:txBody>
      </p:sp>
      <p:sp>
        <p:nvSpPr>
          <p:cNvPr id="6" name="スライド番号プレースホルダー 6">
            <a:extLst>
              <a:ext uri="{FF2B5EF4-FFF2-40B4-BE49-F238E27FC236}">
                <a16:creationId xmlns:a16="http://schemas.microsoft.com/office/drawing/2014/main" id="{CA3828F4-C1CB-DB54-64A3-06B094AE2AD5}"/>
              </a:ext>
            </a:extLst>
          </p:cNvPr>
          <p:cNvSpPr txBox="1">
            <a:spLocks/>
          </p:cNvSpPr>
          <p:nvPr/>
        </p:nvSpPr>
        <p:spPr bwMode="auto">
          <a:xfrm>
            <a:off x="7593383" y="7364809"/>
            <a:ext cx="2311030" cy="42346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algn="l" rtl="0" fontAlgn="base">
              <a:spcBef>
                <a:spcPct val="0"/>
              </a:spcBef>
              <a:spcAft>
                <a:spcPct val="0"/>
              </a:spcAft>
              <a:defRPr kumimoji="1" sz="1292" kern="1200">
                <a:solidFill>
                  <a:schemeClr val="tx1"/>
                </a:solidFill>
                <a:latin typeface="Arial" charset="0"/>
                <a:ea typeface="ＭＳ Ｐゴシック" pitchFamily="50" charset="-128"/>
                <a:cs typeface="+mn-cs"/>
              </a:defRPr>
            </a:lvl1pPr>
            <a:lvl2pPr marL="503238" indent="-46038" algn="l" rtl="0" fontAlgn="base">
              <a:spcBef>
                <a:spcPct val="0"/>
              </a:spcBef>
              <a:spcAft>
                <a:spcPct val="0"/>
              </a:spcAft>
              <a:defRPr kumimoji="1" kern="1200">
                <a:solidFill>
                  <a:schemeClr val="tx1"/>
                </a:solidFill>
                <a:latin typeface="Arial" charset="0"/>
                <a:ea typeface="ＭＳ Ｐゴシック" pitchFamily="50" charset="-128"/>
                <a:cs typeface="+mn-cs"/>
              </a:defRPr>
            </a:lvl2pPr>
            <a:lvl3pPr marL="1008063" indent="-93663" algn="l" rtl="0" fontAlgn="base">
              <a:spcBef>
                <a:spcPct val="0"/>
              </a:spcBef>
              <a:spcAft>
                <a:spcPct val="0"/>
              </a:spcAft>
              <a:defRPr kumimoji="1" kern="1200">
                <a:solidFill>
                  <a:schemeClr val="tx1"/>
                </a:solidFill>
                <a:latin typeface="Arial" charset="0"/>
                <a:ea typeface="ＭＳ Ｐゴシック" pitchFamily="50" charset="-128"/>
                <a:cs typeface="+mn-cs"/>
              </a:defRPr>
            </a:lvl3pPr>
            <a:lvl4pPr marL="1512888" indent="-141288" algn="l" rtl="0" fontAlgn="base">
              <a:spcBef>
                <a:spcPct val="0"/>
              </a:spcBef>
              <a:spcAft>
                <a:spcPct val="0"/>
              </a:spcAft>
              <a:defRPr kumimoji="1" kern="1200">
                <a:solidFill>
                  <a:schemeClr val="tx1"/>
                </a:solidFill>
                <a:latin typeface="Arial" charset="0"/>
                <a:ea typeface="ＭＳ Ｐゴシック" pitchFamily="50" charset="-128"/>
                <a:cs typeface="+mn-cs"/>
              </a:defRPr>
            </a:lvl4pPr>
            <a:lvl5pPr marL="2017713" indent="-188913" algn="l" rtl="0" fontAlgn="base">
              <a:spcBef>
                <a:spcPct val="0"/>
              </a:spcBef>
              <a:spcAft>
                <a:spcPct val="0"/>
              </a:spcAft>
              <a:defRPr kumimoji="1" kern="1200">
                <a:solidFill>
                  <a:schemeClr val="tx1"/>
                </a:solidFill>
                <a:latin typeface="Arial" charset="0"/>
                <a:ea typeface="ＭＳ Ｐゴシック" pitchFamily="50" charset="-128"/>
                <a:cs typeface="+mn-cs"/>
              </a:defRPr>
            </a:lvl5pPr>
            <a:lvl6pPr marL="2286000" algn="l" defTabSz="914400" rtl="0" eaLnBrk="1" latinLnBrk="0" hangingPunct="1">
              <a:defRPr kumimoji="1" kern="1200">
                <a:solidFill>
                  <a:schemeClr val="tx1"/>
                </a:solidFill>
                <a:latin typeface="Arial" charset="0"/>
                <a:ea typeface="ＭＳ Ｐゴシック" pitchFamily="50" charset="-128"/>
                <a:cs typeface="+mn-cs"/>
              </a:defRPr>
            </a:lvl6pPr>
            <a:lvl7pPr marL="2743200" algn="l" defTabSz="914400" rtl="0" eaLnBrk="1" latinLnBrk="0" hangingPunct="1">
              <a:defRPr kumimoji="1" kern="1200">
                <a:solidFill>
                  <a:schemeClr val="tx1"/>
                </a:solidFill>
                <a:latin typeface="Arial" charset="0"/>
                <a:ea typeface="ＭＳ Ｐゴシック" pitchFamily="50" charset="-128"/>
                <a:cs typeface="+mn-cs"/>
              </a:defRPr>
            </a:lvl7pPr>
            <a:lvl8pPr marL="3200400" algn="l" defTabSz="914400" rtl="0" eaLnBrk="1" latinLnBrk="0" hangingPunct="1">
              <a:defRPr kumimoji="1" kern="1200">
                <a:solidFill>
                  <a:schemeClr val="tx1"/>
                </a:solidFill>
                <a:latin typeface="Arial" charset="0"/>
                <a:ea typeface="ＭＳ Ｐゴシック" pitchFamily="50" charset="-128"/>
                <a:cs typeface="+mn-cs"/>
              </a:defRPr>
            </a:lvl8pPr>
            <a:lvl9pPr marL="3657600" algn="l" defTabSz="914400" rtl="0" eaLnBrk="1" latinLnBrk="0" hangingPunct="1">
              <a:defRPr kumimoji="1" kern="1200">
                <a:solidFill>
                  <a:schemeClr val="tx1"/>
                </a:solidFill>
                <a:latin typeface="Arial" charset="0"/>
                <a:ea typeface="ＭＳ Ｐゴシック" pitchFamily="50" charset="-128"/>
                <a:cs typeface="+mn-cs"/>
              </a:defRPr>
            </a:lvl9pPr>
          </a:lstStyle>
          <a:p>
            <a:pPr algn="r">
              <a:defRPr/>
            </a:pPr>
            <a:fld id="{B91C2A86-9902-4D4F-ABA7-1FCD82674808}" type="slidenum">
              <a:rPr lang="en-US" altLang="ja-JP" smtClean="0"/>
              <a:pPr algn="r">
                <a:defRPr/>
              </a:pPr>
              <a:t>58</a:t>
            </a:fld>
            <a:endParaRPr lang="en-US" altLang="ja-JP" dirty="0"/>
          </a:p>
        </p:txBody>
      </p:sp>
    </p:spTree>
    <p:extLst>
      <p:ext uri="{BB962C8B-B14F-4D97-AF65-F5344CB8AC3E}">
        <p14:creationId xmlns:p14="http://schemas.microsoft.com/office/powerpoint/2010/main" val="2607592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正方形/長方形 83"/>
          <p:cNvSpPr/>
          <p:nvPr/>
        </p:nvSpPr>
        <p:spPr>
          <a:xfrm>
            <a:off x="4757237" y="2505320"/>
            <a:ext cx="4991200" cy="2768556"/>
          </a:xfrm>
          <a:prstGeom prst="rect">
            <a:avLst/>
          </a:prstGeom>
          <a:noFill/>
          <a:ln>
            <a:solidFill>
              <a:srgbClr val="FFCC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0478">
              <a:defRPr/>
            </a:pPr>
            <a:endParaRPr lang="ja-JP" altLang="en-US" sz="1950">
              <a:solidFill>
                <a:srgbClr val="FFFFFF"/>
              </a:solidFill>
              <a:latin typeface="Arial"/>
              <a:ea typeface="ＭＳ Ｐゴシック"/>
            </a:endParaRPr>
          </a:p>
        </p:txBody>
      </p:sp>
      <p:sp>
        <p:nvSpPr>
          <p:cNvPr id="33" name="AutoShape 6"/>
          <p:cNvSpPr>
            <a:spLocks noChangeArrowheads="1"/>
          </p:cNvSpPr>
          <p:nvPr/>
        </p:nvSpPr>
        <p:spPr bwMode="auto">
          <a:xfrm>
            <a:off x="4757236" y="5546833"/>
            <a:ext cx="4991200" cy="1937011"/>
          </a:xfrm>
          <a:prstGeom prst="rect">
            <a:avLst/>
          </a:prstGeom>
          <a:noFill/>
          <a:ln w="38100" cmpd="dbl">
            <a:solidFill>
              <a:schemeClr val="tx1"/>
            </a:solidFill>
            <a:round/>
            <a:headEnd/>
            <a:tailEnd/>
          </a:ln>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324" eaLnBrk="1" hangingPunct="1">
              <a:defRPr/>
            </a:pPr>
            <a:endParaRPr lang="ja-JP" altLang="en-US" sz="1950">
              <a:solidFill>
                <a:srgbClr val="000000"/>
              </a:solidFill>
            </a:endParaRPr>
          </a:p>
        </p:txBody>
      </p:sp>
      <p:sp>
        <p:nvSpPr>
          <p:cNvPr id="2" name="テキスト ボックス 1"/>
          <p:cNvSpPr txBox="1"/>
          <p:nvPr/>
        </p:nvSpPr>
        <p:spPr>
          <a:xfrm>
            <a:off x="194968" y="945571"/>
            <a:ext cx="9553469" cy="1115177"/>
          </a:xfrm>
          <a:prstGeom prst="rect">
            <a:avLst/>
          </a:prstGeom>
          <a:noFill/>
          <a:ln>
            <a:solidFill>
              <a:schemeClr val="tx1"/>
            </a:solidFill>
          </a:ln>
        </p:spPr>
        <p:txBody>
          <a:bodyPr wrap="square" rtlCol="0">
            <a:spAutoFit/>
          </a:bodyPr>
          <a:lstStyle/>
          <a:p>
            <a:pPr indent="164113" defTabSz="914324">
              <a:defRPr/>
            </a:pPr>
            <a:r>
              <a:rPr lang="ja-JP" altLang="en-US" sz="1516" b="1" dirty="0">
                <a:solidFill>
                  <a:srgbClr val="000000"/>
                </a:solidFill>
                <a:latin typeface="ＭＳ Ｐゴシック"/>
                <a:ea typeface="ＭＳ Ｐゴシック"/>
              </a:rPr>
              <a:t>国土形成計画は、国土形成計画法に基づく、</a:t>
            </a:r>
            <a:r>
              <a:rPr lang="ja-JP" altLang="en-US" sz="1516" b="1" dirty="0">
                <a:solidFill>
                  <a:srgbClr val="000000"/>
                </a:solidFill>
                <a:ea typeface="ＭＳ Ｐゴシック" charset="-128"/>
              </a:rPr>
              <a:t>国土の利用、整備及び保全（「国土の形成」）を推進するための総合的かつ基本的な計画</a:t>
            </a:r>
            <a:r>
              <a:rPr lang="ja-JP" altLang="en-US" sz="1516" b="1" dirty="0">
                <a:solidFill>
                  <a:srgbClr val="000000"/>
                </a:solidFill>
                <a:latin typeface="ＭＳ Ｐゴシック"/>
                <a:ea typeface="ＭＳ Ｐゴシック"/>
              </a:rPr>
              <a:t>。</a:t>
            </a:r>
            <a:endParaRPr lang="en-US" altLang="ja-JP" sz="1516" b="1" dirty="0">
              <a:solidFill>
                <a:srgbClr val="000000"/>
              </a:solidFill>
              <a:latin typeface="ＭＳ Ｐゴシック"/>
              <a:ea typeface="ＭＳ Ｐゴシック"/>
            </a:endParaRPr>
          </a:p>
          <a:p>
            <a:pPr indent="164113" defTabSz="914324">
              <a:spcBef>
                <a:spcPts val="650"/>
              </a:spcBef>
              <a:defRPr/>
            </a:pPr>
            <a:r>
              <a:rPr lang="ja-JP" altLang="en-US" sz="1516" b="1" dirty="0">
                <a:solidFill>
                  <a:srgbClr val="000000"/>
                </a:solidFill>
                <a:latin typeface="ＭＳ Ｐゴシック"/>
                <a:ea typeface="ＭＳ Ｐゴシック"/>
              </a:rPr>
              <a:t>国土形成計画法は、</a:t>
            </a:r>
            <a:r>
              <a:rPr lang="en-US" altLang="ja-JP" sz="1516" b="1" dirty="0">
                <a:solidFill>
                  <a:srgbClr val="000000"/>
                </a:solidFill>
                <a:latin typeface="ＭＳ Ｐゴシック"/>
                <a:ea typeface="ＭＳ Ｐゴシック"/>
              </a:rPr>
              <a:t>2005</a:t>
            </a:r>
            <a:r>
              <a:rPr lang="ja-JP" altLang="en-US" sz="1516" b="1" dirty="0">
                <a:solidFill>
                  <a:srgbClr val="000000"/>
                </a:solidFill>
                <a:latin typeface="ＭＳ Ｐゴシック"/>
                <a:ea typeface="ＭＳ Ｐゴシック"/>
              </a:rPr>
              <a:t>年に、従来の国土総合開発法を抜本的に改正し、本格的な人口減少社会を迎え、量的拡大から国土の質的向上を図るとともに、地方分権時代に即した国土計画を策定する仕組みに転換。</a:t>
            </a:r>
          </a:p>
        </p:txBody>
      </p:sp>
      <p:sp>
        <p:nvSpPr>
          <p:cNvPr id="6150" name="AutoShape 35"/>
          <p:cNvSpPr>
            <a:spLocks noChangeArrowheads="1"/>
          </p:cNvSpPr>
          <p:nvPr/>
        </p:nvSpPr>
        <p:spPr bwMode="auto">
          <a:xfrm>
            <a:off x="194968" y="2644468"/>
            <a:ext cx="4289313" cy="4094344"/>
          </a:xfrm>
          <a:prstGeom prst="rect">
            <a:avLst/>
          </a:prstGeom>
          <a:noFill/>
          <a:ln w="38100" cmpd="dbl">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324" eaLnBrk="1" hangingPunct="1">
              <a:defRPr/>
            </a:pPr>
            <a:endParaRPr lang="ja-JP" altLang="en-US" sz="1950">
              <a:solidFill>
                <a:srgbClr val="000000"/>
              </a:solidFill>
            </a:endParaRPr>
          </a:p>
        </p:txBody>
      </p:sp>
      <p:sp>
        <p:nvSpPr>
          <p:cNvPr id="6152" name="Freeform 37"/>
          <p:cNvSpPr>
            <a:spLocks/>
          </p:cNvSpPr>
          <p:nvPr/>
        </p:nvSpPr>
        <p:spPr bwMode="auto">
          <a:xfrm>
            <a:off x="389938" y="4423968"/>
            <a:ext cx="3920032" cy="1871700"/>
          </a:xfrm>
          <a:custGeom>
            <a:avLst/>
            <a:gdLst>
              <a:gd name="T0" fmla="*/ 2147483647 w 12231"/>
              <a:gd name="T1" fmla="*/ 0 h 4539"/>
              <a:gd name="T2" fmla="*/ 2147483647 w 12231"/>
              <a:gd name="T3" fmla="*/ 2147483647 h 4539"/>
              <a:gd name="T4" fmla="*/ 2147483647 w 12231"/>
              <a:gd name="T5" fmla="*/ 2147483647 h 4539"/>
              <a:gd name="T6" fmla="*/ 2147483647 w 12231"/>
              <a:gd name="T7" fmla="*/ 2147483647 h 4539"/>
              <a:gd name="T8" fmla="*/ 2147483647 w 12231"/>
              <a:gd name="T9" fmla="*/ 2147483647 h 4539"/>
              <a:gd name="T10" fmla="*/ 2147483647 w 12231"/>
              <a:gd name="T11" fmla="*/ 2147483647 h 4539"/>
              <a:gd name="T12" fmla="*/ 2147483647 w 12231"/>
              <a:gd name="T13" fmla="*/ 2147483647 h 4539"/>
              <a:gd name="T14" fmla="*/ 2147483647 w 12231"/>
              <a:gd name="T15" fmla="*/ 2147483647 h 4539"/>
              <a:gd name="T16" fmla="*/ 2147483647 w 12231"/>
              <a:gd name="T17" fmla="*/ 2147483647 h 4539"/>
              <a:gd name="T18" fmla="*/ 2147483647 w 12231"/>
              <a:gd name="T19" fmla="*/ 2147483647 h 4539"/>
              <a:gd name="T20" fmla="*/ 0 w 12231"/>
              <a:gd name="T21" fmla="*/ 2147483647 h 4539"/>
              <a:gd name="T22" fmla="*/ 0 w 12231"/>
              <a:gd name="T23" fmla="*/ 2147483647 h 4539"/>
              <a:gd name="T24" fmla="*/ 0 w 12231"/>
              <a:gd name="T25" fmla="*/ 2147483647 h 4539"/>
              <a:gd name="T26" fmla="*/ 2147483647 w 12231"/>
              <a:gd name="T27" fmla="*/ 2147483647 h 4539"/>
              <a:gd name="T28" fmla="*/ 2147483647 w 12231"/>
              <a:gd name="T29" fmla="*/ 2147483647 h 4539"/>
              <a:gd name="T30" fmla="*/ 2147483647 w 12231"/>
              <a:gd name="T31" fmla="*/ 2147483647 h 4539"/>
              <a:gd name="T32" fmla="*/ 2147483647 w 12231"/>
              <a:gd name="T33" fmla="*/ 2147483647 h 4539"/>
              <a:gd name="T34" fmla="*/ 2147483647 w 12231"/>
              <a:gd name="T35" fmla="*/ 2147483647 h 4539"/>
              <a:gd name="T36" fmla="*/ 2147483647 w 12231"/>
              <a:gd name="T37" fmla="*/ 2147483647 h 4539"/>
              <a:gd name="T38" fmla="*/ 2147483647 w 12231"/>
              <a:gd name="T39" fmla="*/ 2147483647 h 4539"/>
              <a:gd name="T40" fmla="*/ 2147483647 w 12231"/>
              <a:gd name="T41" fmla="*/ 2147483647 h 4539"/>
              <a:gd name="T42" fmla="*/ 2147483647 w 12231"/>
              <a:gd name="T43" fmla="*/ 2147483647 h 4539"/>
              <a:gd name="T44" fmla="*/ 2147483647 w 12231"/>
              <a:gd name="T45" fmla="*/ 2147483647 h 4539"/>
              <a:gd name="T46" fmla="*/ 2147483647 w 12231"/>
              <a:gd name="T47" fmla="*/ 2147483647 h 4539"/>
              <a:gd name="T48" fmla="*/ 2147483647 w 12231"/>
              <a:gd name="T49" fmla="*/ 2147483647 h 4539"/>
              <a:gd name="T50" fmla="*/ 2147483647 w 12231"/>
              <a:gd name="T51" fmla="*/ 2147483647 h 4539"/>
              <a:gd name="T52" fmla="*/ 2147483647 w 12231"/>
              <a:gd name="T53" fmla="*/ 2147483647 h 4539"/>
              <a:gd name="T54" fmla="*/ 2147483647 w 12231"/>
              <a:gd name="T55" fmla="*/ 2147483647 h 4539"/>
              <a:gd name="T56" fmla="*/ 2147483647 w 12231"/>
              <a:gd name="T57" fmla="*/ 2147483647 h 4539"/>
              <a:gd name="T58" fmla="*/ 2147483647 w 12231"/>
              <a:gd name="T59" fmla="*/ 2147483647 h 4539"/>
              <a:gd name="T60" fmla="*/ 2147483647 w 12231"/>
              <a:gd name="T61" fmla="*/ 2147483647 h 4539"/>
              <a:gd name="T62" fmla="*/ 2147483647 w 12231"/>
              <a:gd name="T63" fmla="*/ 2147483647 h 4539"/>
              <a:gd name="T64" fmla="*/ 2147483647 w 12231"/>
              <a:gd name="T65" fmla="*/ 2147483647 h 4539"/>
              <a:gd name="T66" fmla="*/ 2147483647 w 12231"/>
              <a:gd name="T67" fmla="*/ 2147483647 h 4539"/>
              <a:gd name="T68" fmla="*/ 2147483647 w 12231"/>
              <a:gd name="T69" fmla="*/ 2147483647 h 4539"/>
              <a:gd name="T70" fmla="*/ 2147483647 w 12231"/>
              <a:gd name="T71" fmla="*/ 2147483647 h 4539"/>
              <a:gd name="T72" fmla="*/ 2147483647 w 12231"/>
              <a:gd name="T73" fmla="*/ 2147483647 h 4539"/>
              <a:gd name="T74" fmla="*/ 2147483647 w 12231"/>
              <a:gd name="T75" fmla="*/ 2147483647 h 4539"/>
              <a:gd name="T76" fmla="*/ 2147483647 w 12231"/>
              <a:gd name="T77" fmla="*/ 2147483647 h 4539"/>
              <a:gd name="T78" fmla="*/ 2147483647 w 12231"/>
              <a:gd name="T79" fmla="*/ 2147483647 h 4539"/>
              <a:gd name="T80" fmla="*/ 2147483647 w 12231"/>
              <a:gd name="T81" fmla="*/ 2147483647 h 4539"/>
              <a:gd name="T82" fmla="*/ 2147483647 w 12231"/>
              <a:gd name="T83" fmla="*/ 2147483647 h 4539"/>
              <a:gd name="T84" fmla="*/ 2147483647 w 12231"/>
              <a:gd name="T85" fmla="*/ 2147483647 h 4539"/>
              <a:gd name="T86" fmla="*/ 2147483647 w 12231"/>
              <a:gd name="T87" fmla="*/ 2147483647 h 4539"/>
              <a:gd name="T88" fmla="*/ 2147483647 w 12231"/>
              <a:gd name="T89" fmla="*/ 0 h 4539"/>
              <a:gd name="T90" fmla="*/ 2147483647 w 12231"/>
              <a:gd name="T91" fmla="*/ 0 h 453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231"/>
              <a:gd name="T139" fmla="*/ 0 h 4539"/>
              <a:gd name="T140" fmla="*/ 12231 w 12231"/>
              <a:gd name="T141" fmla="*/ 4539 h 453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231" h="4539">
                <a:moveTo>
                  <a:pt x="430" y="0"/>
                </a:moveTo>
                <a:lnTo>
                  <a:pt x="410" y="0"/>
                </a:lnTo>
                <a:lnTo>
                  <a:pt x="387" y="0"/>
                </a:lnTo>
                <a:lnTo>
                  <a:pt x="367" y="4"/>
                </a:lnTo>
                <a:lnTo>
                  <a:pt x="343" y="8"/>
                </a:lnTo>
                <a:lnTo>
                  <a:pt x="323" y="11"/>
                </a:lnTo>
                <a:lnTo>
                  <a:pt x="304" y="15"/>
                </a:lnTo>
                <a:lnTo>
                  <a:pt x="265" y="31"/>
                </a:lnTo>
                <a:lnTo>
                  <a:pt x="225" y="51"/>
                </a:lnTo>
                <a:lnTo>
                  <a:pt x="189" y="71"/>
                </a:lnTo>
                <a:lnTo>
                  <a:pt x="158" y="98"/>
                </a:lnTo>
                <a:lnTo>
                  <a:pt x="126" y="126"/>
                </a:lnTo>
                <a:lnTo>
                  <a:pt x="98" y="157"/>
                </a:lnTo>
                <a:lnTo>
                  <a:pt x="71" y="189"/>
                </a:lnTo>
                <a:lnTo>
                  <a:pt x="51" y="224"/>
                </a:lnTo>
                <a:lnTo>
                  <a:pt x="32" y="264"/>
                </a:lnTo>
                <a:lnTo>
                  <a:pt x="16" y="304"/>
                </a:lnTo>
                <a:lnTo>
                  <a:pt x="12" y="323"/>
                </a:lnTo>
                <a:lnTo>
                  <a:pt x="8" y="343"/>
                </a:lnTo>
                <a:lnTo>
                  <a:pt x="3" y="366"/>
                </a:lnTo>
                <a:lnTo>
                  <a:pt x="0" y="386"/>
                </a:lnTo>
                <a:lnTo>
                  <a:pt x="0" y="410"/>
                </a:lnTo>
                <a:lnTo>
                  <a:pt x="0" y="430"/>
                </a:lnTo>
                <a:lnTo>
                  <a:pt x="0" y="4104"/>
                </a:lnTo>
                <a:lnTo>
                  <a:pt x="0" y="4128"/>
                </a:lnTo>
                <a:lnTo>
                  <a:pt x="0" y="4148"/>
                </a:lnTo>
                <a:lnTo>
                  <a:pt x="3" y="4172"/>
                </a:lnTo>
                <a:lnTo>
                  <a:pt x="8" y="4191"/>
                </a:lnTo>
                <a:lnTo>
                  <a:pt x="12" y="4211"/>
                </a:lnTo>
                <a:lnTo>
                  <a:pt x="16" y="4235"/>
                </a:lnTo>
                <a:lnTo>
                  <a:pt x="32" y="4274"/>
                </a:lnTo>
                <a:lnTo>
                  <a:pt x="51" y="4310"/>
                </a:lnTo>
                <a:lnTo>
                  <a:pt x="71" y="4345"/>
                </a:lnTo>
                <a:lnTo>
                  <a:pt x="98" y="4381"/>
                </a:lnTo>
                <a:lnTo>
                  <a:pt x="126" y="4408"/>
                </a:lnTo>
                <a:lnTo>
                  <a:pt x="158" y="4439"/>
                </a:lnTo>
                <a:lnTo>
                  <a:pt x="189" y="4463"/>
                </a:lnTo>
                <a:lnTo>
                  <a:pt x="225" y="4483"/>
                </a:lnTo>
                <a:lnTo>
                  <a:pt x="265" y="4503"/>
                </a:lnTo>
                <a:lnTo>
                  <a:pt x="304" y="4519"/>
                </a:lnTo>
                <a:lnTo>
                  <a:pt x="323" y="4523"/>
                </a:lnTo>
                <a:lnTo>
                  <a:pt x="343" y="4527"/>
                </a:lnTo>
                <a:lnTo>
                  <a:pt x="367" y="4530"/>
                </a:lnTo>
                <a:lnTo>
                  <a:pt x="387" y="4534"/>
                </a:lnTo>
                <a:lnTo>
                  <a:pt x="410" y="4534"/>
                </a:lnTo>
                <a:lnTo>
                  <a:pt x="430" y="4539"/>
                </a:lnTo>
                <a:lnTo>
                  <a:pt x="11798" y="4539"/>
                </a:lnTo>
                <a:lnTo>
                  <a:pt x="11821" y="4534"/>
                </a:lnTo>
                <a:lnTo>
                  <a:pt x="11841" y="4534"/>
                </a:lnTo>
                <a:lnTo>
                  <a:pt x="11865" y="4530"/>
                </a:lnTo>
                <a:lnTo>
                  <a:pt x="11884" y="4527"/>
                </a:lnTo>
                <a:lnTo>
                  <a:pt x="11904" y="4523"/>
                </a:lnTo>
                <a:lnTo>
                  <a:pt x="11927" y="4519"/>
                </a:lnTo>
                <a:lnTo>
                  <a:pt x="11967" y="4503"/>
                </a:lnTo>
                <a:lnTo>
                  <a:pt x="12003" y="4483"/>
                </a:lnTo>
                <a:lnTo>
                  <a:pt x="12038" y="4463"/>
                </a:lnTo>
                <a:lnTo>
                  <a:pt x="12074" y="4439"/>
                </a:lnTo>
                <a:lnTo>
                  <a:pt x="12101" y="4408"/>
                </a:lnTo>
                <a:lnTo>
                  <a:pt x="12133" y="4381"/>
                </a:lnTo>
                <a:lnTo>
                  <a:pt x="12156" y="4345"/>
                </a:lnTo>
                <a:lnTo>
                  <a:pt x="12176" y="4310"/>
                </a:lnTo>
                <a:lnTo>
                  <a:pt x="12196" y="4274"/>
                </a:lnTo>
                <a:lnTo>
                  <a:pt x="12211" y="4235"/>
                </a:lnTo>
                <a:lnTo>
                  <a:pt x="12216" y="4211"/>
                </a:lnTo>
                <a:lnTo>
                  <a:pt x="12220" y="4191"/>
                </a:lnTo>
                <a:lnTo>
                  <a:pt x="12223" y="4172"/>
                </a:lnTo>
                <a:lnTo>
                  <a:pt x="12227" y="4148"/>
                </a:lnTo>
                <a:lnTo>
                  <a:pt x="12227" y="4128"/>
                </a:lnTo>
                <a:lnTo>
                  <a:pt x="12231" y="4104"/>
                </a:lnTo>
                <a:lnTo>
                  <a:pt x="12231" y="430"/>
                </a:lnTo>
                <a:lnTo>
                  <a:pt x="12227" y="410"/>
                </a:lnTo>
                <a:lnTo>
                  <a:pt x="12227" y="386"/>
                </a:lnTo>
                <a:lnTo>
                  <a:pt x="12223" y="366"/>
                </a:lnTo>
                <a:lnTo>
                  <a:pt x="12220" y="343"/>
                </a:lnTo>
                <a:lnTo>
                  <a:pt x="12216" y="323"/>
                </a:lnTo>
                <a:lnTo>
                  <a:pt x="12211" y="304"/>
                </a:lnTo>
                <a:lnTo>
                  <a:pt x="12196" y="264"/>
                </a:lnTo>
                <a:lnTo>
                  <a:pt x="12176" y="224"/>
                </a:lnTo>
                <a:lnTo>
                  <a:pt x="12156" y="189"/>
                </a:lnTo>
                <a:lnTo>
                  <a:pt x="12133" y="157"/>
                </a:lnTo>
                <a:lnTo>
                  <a:pt x="12101" y="126"/>
                </a:lnTo>
                <a:lnTo>
                  <a:pt x="12074" y="98"/>
                </a:lnTo>
                <a:lnTo>
                  <a:pt x="12038" y="71"/>
                </a:lnTo>
                <a:lnTo>
                  <a:pt x="12003" y="51"/>
                </a:lnTo>
                <a:lnTo>
                  <a:pt x="11967" y="31"/>
                </a:lnTo>
                <a:lnTo>
                  <a:pt x="11927" y="15"/>
                </a:lnTo>
                <a:lnTo>
                  <a:pt x="11904" y="11"/>
                </a:lnTo>
                <a:lnTo>
                  <a:pt x="11884" y="8"/>
                </a:lnTo>
                <a:lnTo>
                  <a:pt x="11865" y="4"/>
                </a:lnTo>
                <a:lnTo>
                  <a:pt x="11841" y="0"/>
                </a:lnTo>
                <a:lnTo>
                  <a:pt x="11821" y="0"/>
                </a:lnTo>
                <a:lnTo>
                  <a:pt x="11798" y="0"/>
                </a:lnTo>
                <a:lnTo>
                  <a:pt x="430" y="0"/>
                </a:lnTo>
              </a:path>
            </a:pathLst>
          </a:custGeom>
          <a:solidFill>
            <a:srgbClr val="FFCC99"/>
          </a:solidFill>
          <a:ln w="8001">
            <a:solidFill>
              <a:srgbClr val="000000"/>
            </a:solidFill>
            <a:round/>
            <a:headEnd/>
            <a:tailEnd/>
          </a:ln>
        </p:spPr>
        <p:txBody>
          <a:bodyPr/>
          <a:lstStyle/>
          <a:p>
            <a:pPr defTabSz="914324">
              <a:defRPr/>
            </a:pPr>
            <a:endParaRPr lang="ja-JP" altLang="en-US" sz="1950">
              <a:solidFill>
                <a:srgbClr val="000000"/>
              </a:solidFill>
              <a:ea typeface="ＭＳ Ｐゴシック" charset="-128"/>
            </a:endParaRPr>
          </a:p>
        </p:txBody>
      </p:sp>
      <p:sp>
        <p:nvSpPr>
          <p:cNvPr id="6153" name="Freeform 38"/>
          <p:cNvSpPr>
            <a:spLocks/>
          </p:cNvSpPr>
          <p:nvPr/>
        </p:nvSpPr>
        <p:spPr bwMode="auto">
          <a:xfrm>
            <a:off x="389937" y="2973245"/>
            <a:ext cx="3899375" cy="1013838"/>
          </a:xfrm>
          <a:custGeom>
            <a:avLst/>
            <a:gdLst>
              <a:gd name="T0" fmla="*/ 2147483647 w 12231"/>
              <a:gd name="T1" fmla="*/ 0 h 2368"/>
              <a:gd name="T2" fmla="*/ 2147483647 w 12231"/>
              <a:gd name="T3" fmla="*/ 2147483647 h 2368"/>
              <a:gd name="T4" fmla="*/ 2147483647 w 12231"/>
              <a:gd name="T5" fmla="*/ 2147483647 h 2368"/>
              <a:gd name="T6" fmla="*/ 2147483647 w 12231"/>
              <a:gd name="T7" fmla="*/ 2147483647 h 2368"/>
              <a:gd name="T8" fmla="*/ 2147483647 w 12231"/>
              <a:gd name="T9" fmla="*/ 2147483647 h 2368"/>
              <a:gd name="T10" fmla="*/ 2147483647 w 12231"/>
              <a:gd name="T11" fmla="*/ 2147483647 h 2368"/>
              <a:gd name="T12" fmla="*/ 2147483647 w 12231"/>
              <a:gd name="T13" fmla="*/ 2147483647 h 2368"/>
              <a:gd name="T14" fmla="*/ 2147483647 w 12231"/>
              <a:gd name="T15" fmla="*/ 2147483647 h 2368"/>
              <a:gd name="T16" fmla="*/ 2147483647 w 12231"/>
              <a:gd name="T17" fmla="*/ 2147483647 h 2368"/>
              <a:gd name="T18" fmla="*/ 0 w 12231"/>
              <a:gd name="T19" fmla="*/ 2147483647 h 2368"/>
              <a:gd name="T20" fmla="*/ 0 w 12231"/>
              <a:gd name="T21" fmla="*/ 2147483647 h 2368"/>
              <a:gd name="T22" fmla="*/ 0 w 12231"/>
              <a:gd name="T23" fmla="*/ 2147483647 h 2368"/>
              <a:gd name="T24" fmla="*/ 2147483647 w 12231"/>
              <a:gd name="T25" fmla="*/ 2147483647 h 2368"/>
              <a:gd name="T26" fmla="*/ 2147483647 w 12231"/>
              <a:gd name="T27" fmla="*/ 2147483647 h 2368"/>
              <a:gd name="T28" fmla="*/ 2147483647 w 12231"/>
              <a:gd name="T29" fmla="*/ 2147483647 h 2368"/>
              <a:gd name="T30" fmla="*/ 2147483647 w 12231"/>
              <a:gd name="T31" fmla="*/ 2147483647 h 2368"/>
              <a:gd name="T32" fmla="*/ 2147483647 w 12231"/>
              <a:gd name="T33" fmla="*/ 2147483647 h 2368"/>
              <a:gd name="T34" fmla="*/ 2147483647 w 12231"/>
              <a:gd name="T35" fmla="*/ 2147483647 h 2368"/>
              <a:gd name="T36" fmla="*/ 2147483647 w 12231"/>
              <a:gd name="T37" fmla="*/ 2147483647 h 2368"/>
              <a:gd name="T38" fmla="*/ 2147483647 w 12231"/>
              <a:gd name="T39" fmla="*/ 2147483647 h 2368"/>
              <a:gd name="T40" fmla="*/ 2147483647 w 12231"/>
              <a:gd name="T41" fmla="*/ 2147483647 h 2368"/>
              <a:gd name="T42" fmla="*/ 2147483647 w 12231"/>
              <a:gd name="T43" fmla="*/ 2147483647 h 2368"/>
              <a:gd name="T44" fmla="*/ 2147483647 w 12231"/>
              <a:gd name="T45" fmla="*/ 2147483647 h 2368"/>
              <a:gd name="T46" fmla="*/ 2147483647 w 12231"/>
              <a:gd name="T47" fmla="*/ 2147483647 h 2368"/>
              <a:gd name="T48" fmla="*/ 2147483647 w 12231"/>
              <a:gd name="T49" fmla="*/ 2147483647 h 2368"/>
              <a:gd name="T50" fmla="*/ 2147483647 w 12231"/>
              <a:gd name="T51" fmla="*/ 2147483647 h 2368"/>
              <a:gd name="T52" fmla="*/ 2147483647 w 12231"/>
              <a:gd name="T53" fmla="*/ 2147483647 h 2368"/>
              <a:gd name="T54" fmla="*/ 2147483647 w 12231"/>
              <a:gd name="T55" fmla="*/ 2147483647 h 2368"/>
              <a:gd name="T56" fmla="*/ 2147483647 w 12231"/>
              <a:gd name="T57" fmla="*/ 2147483647 h 2368"/>
              <a:gd name="T58" fmla="*/ 2147483647 w 12231"/>
              <a:gd name="T59" fmla="*/ 2147483647 h 2368"/>
              <a:gd name="T60" fmla="*/ 2147483647 w 12231"/>
              <a:gd name="T61" fmla="*/ 2147483647 h 2368"/>
              <a:gd name="T62" fmla="*/ 2147483647 w 12231"/>
              <a:gd name="T63" fmla="*/ 2147483647 h 2368"/>
              <a:gd name="T64" fmla="*/ 2147483647 w 12231"/>
              <a:gd name="T65" fmla="*/ 2147483647 h 2368"/>
              <a:gd name="T66" fmla="*/ 2147483647 w 12231"/>
              <a:gd name="T67" fmla="*/ 2147483647 h 2368"/>
              <a:gd name="T68" fmla="*/ 2147483647 w 12231"/>
              <a:gd name="T69" fmla="*/ 2147483647 h 2368"/>
              <a:gd name="T70" fmla="*/ 2147483647 w 12231"/>
              <a:gd name="T71" fmla="*/ 2147483647 h 2368"/>
              <a:gd name="T72" fmla="*/ 2147483647 w 12231"/>
              <a:gd name="T73" fmla="*/ 2147483647 h 2368"/>
              <a:gd name="T74" fmla="*/ 2147483647 w 12231"/>
              <a:gd name="T75" fmla="*/ 2147483647 h 2368"/>
              <a:gd name="T76" fmla="*/ 2147483647 w 12231"/>
              <a:gd name="T77" fmla="*/ 0 h 2368"/>
              <a:gd name="T78" fmla="*/ 2147483647 w 12231"/>
              <a:gd name="T79" fmla="*/ 0 h 23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2231"/>
              <a:gd name="T121" fmla="*/ 0 h 2368"/>
              <a:gd name="T122" fmla="*/ 12231 w 12231"/>
              <a:gd name="T123" fmla="*/ 2368 h 236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2231" h="2368">
                <a:moveTo>
                  <a:pt x="394" y="0"/>
                </a:moveTo>
                <a:lnTo>
                  <a:pt x="371" y="0"/>
                </a:lnTo>
                <a:lnTo>
                  <a:pt x="351" y="0"/>
                </a:lnTo>
                <a:lnTo>
                  <a:pt x="331" y="4"/>
                </a:lnTo>
                <a:lnTo>
                  <a:pt x="312" y="8"/>
                </a:lnTo>
                <a:lnTo>
                  <a:pt x="276" y="15"/>
                </a:lnTo>
                <a:lnTo>
                  <a:pt x="241" y="28"/>
                </a:lnTo>
                <a:lnTo>
                  <a:pt x="205" y="48"/>
                </a:lnTo>
                <a:lnTo>
                  <a:pt x="174" y="66"/>
                </a:lnTo>
                <a:lnTo>
                  <a:pt x="142" y="86"/>
                </a:lnTo>
                <a:lnTo>
                  <a:pt x="114" y="114"/>
                </a:lnTo>
                <a:lnTo>
                  <a:pt x="87" y="142"/>
                </a:lnTo>
                <a:lnTo>
                  <a:pt x="67" y="174"/>
                </a:lnTo>
                <a:lnTo>
                  <a:pt x="47" y="205"/>
                </a:lnTo>
                <a:lnTo>
                  <a:pt x="27" y="241"/>
                </a:lnTo>
                <a:lnTo>
                  <a:pt x="16" y="276"/>
                </a:lnTo>
                <a:lnTo>
                  <a:pt x="8" y="312"/>
                </a:lnTo>
                <a:lnTo>
                  <a:pt x="3" y="332"/>
                </a:lnTo>
                <a:lnTo>
                  <a:pt x="0" y="352"/>
                </a:lnTo>
                <a:lnTo>
                  <a:pt x="0" y="371"/>
                </a:lnTo>
                <a:lnTo>
                  <a:pt x="0" y="394"/>
                </a:lnTo>
                <a:lnTo>
                  <a:pt x="0" y="1973"/>
                </a:lnTo>
                <a:lnTo>
                  <a:pt x="0" y="1993"/>
                </a:lnTo>
                <a:lnTo>
                  <a:pt x="0" y="2013"/>
                </a:lnTo>
                <a:lnTo>
                  <a:pt x="3" y="2032"/>
                </a:lnTo>
                <a:lnTo>
                  <a:pt x="8" y="2052"/>
                </a:lnTo>
                <a:lnTo>
                  <a:pt x="16" y="2088"/>
                </a:lnTo>
                <a:lnTo>
                  <a:pt x="27" y="2123"/>
                </a:lnTo>
                <a:lnTo>
                  <a:pt x="47" y="2159"/>
                </a:lnTo>
                <a:lnTo>
                  <a:pt x="67" y="2190"/>
                </a:lnTo>
                <a:lnTo>
                  <a:pt x="87" y="2222"/>
                </a:lnTo>
                <a:lnTo>
                  <a:pt x="114" y="2250"/>
                </a:lnTo>
                <a:lnTo>
                  <a:pt x="142" y="2277"/>
                </a:lnTo>
                <a:lnTo>
                  <a:pt x="174" y="2297"/>
                </a:lnTo>
                <a:lnTo>
                  <a:pt x="205" y="2317"/>
                </a:lnTo>
                <a:lnTo>
                  <a:pt x="241" y="2336"/>
                </a:lnTo>
                <a:lnTo>
                  <a:pt x="276" y="2348"/>
                </a:lnTo>
                <a:lnTo>
                  <a:pt x="312" y="2356"/>
                </a:lnTo>
                <a:lnTo>
                  <a:pt x="351" y="2364"/>
                </a:lnTo>
                <a:lnTo>
                  <a:pt x="371" y="2364"/>
                </a:lnTo>
                <a:lnTo>
                  <a:pt x="394" y="2368"/>
                </a:lnTo>
                <a:lnTo>
                  <a:pt x="11836" y="2368"/>
                </a:lnTo>
                <a:lnTo>
                  <a:pt x="11856" y="2364"/>
                </a:lnTo>
                <a:lnTo>
                  <a:pt x="11876" y="2364"/>
                </a:lnTo>
                <a:lnTo>
                  <a:pt x="11916" y="2356"/>
                </a:lnTo>
                <a:lnTo>
                  <a:pt x="11951" y="2348"/>
                </a:lnTo>
                <a:lnTo>
                  <a:pt x="11987" y="2336"/>
                </a:lnTo>
                <a:lnTo>
                  <a:pt x="12022" y="2317"/>
                </a:lnTo>
                <a:lnTo>
                  <a:pt x="12054" y="2297"/>
                </a:lnTo>
                <a:lnTo>
                  <a:pt x="12085" y="2277"/>
                </a:lnTo>
                <a:lnTo>
                  <a:pt x="12113" y="2250"/>
                </a:lnTo>
                <a:lnTo>
                  <a:pt x="12140" y="2222"/>
                </a:lnTo>
                <a:lnTo>
                  <a:pt x="12160" y="2190"/>
                </a:lnTo>
                <a:lnTo>
                  <a:pt x="12180" y="2159"/>
                </a:lnTo>
                <a:lnTo>
                  <a:pt x="12200" y="2123"/>
                </a:lnTo>
                <a:lnTo>
                  <a:pt x="12211" y="2088"/>
                </a:lnTo>
                <a:lnTo>
                  <a:pt x="12220" y="2052"/>
                </a:lnTo>
                <a:lnTo>
                  <a:pt x="12227" y="2013"/>
                </a:lnTo>
                <a:lnTo>
                  <a:pt x="12227" y="1993"/>
                </a:lnTo>
                <a:lnTo>
                  <a:pt x="12231" y="1973"/>
                </a:lnTo>
                <a:lnTo>
                  <a:pt x="12231" y="394"/>
                </a:lnTo>
                <a:lnTo>
                  <a:pt x="12227" y="371"/>
                </a:lnTo>
                <a:lnTo>
                  <a:pt x="12227" y="352"/>
                </a:lnTo>
                <a:lnTo>
                  <a:pt x="12220" y="312"/>
                </a:lnTo>
                <a:lnTo>
                  <a:pt x="12211" y="276"/>
                </a:lnTo>
                <a:lnTo>
                  <a:pt x="12200" y="241"/>
                </a:lnTo>
                <a:lnTo>
                  <a:pt x="12180" y="205"/>
                </a:lnTo>
                <a:lnTo>
                  <a:pt x="12160" y="174"/>
                </a:lnTo>
                <a:lnTo>
                  <a:pt x="12140" y="142"/>
                </a:lnTo>
                <a:lnTo>
                  <a:pt x="12113" y="114"/>
                </a:lnTo>
                <a:lnTo>
                  <a:pt x="12085" y="86"/>
                </a:lnTo>
                <a:lnTo>
                  <a:pt x="12054" y="66"/>
                </a:lnTo>
                <a:lnTo>
                  <a:pt x="12022" y="48"/>
                </a:lnTo>
                <a:lnTo>
                  <a:pt x="11987" y="28"/>
                </a:lnTo>
                <a:lnTo>
                  <a:pt x="11951" y="15"/>
                </a:lnTo>
                <a:lnTo>
                  <a:pt x="11916" y="8"/>
                </a:lnTo>
                <a:lnTo>
                  <a:pt x="11896" y="4"/>
                </a:lnTo>
                <a:lnTo>
                  <a:pt x="11876" y="0"/>
                </a:lnTo>
                <a:lnTo>
                  <a:pt x="11856" y="0"/>
                </a:lnTo>
                <a:lnTo>
                  <a:pt x="11836" y="0"/>
                </a:lnTo>
                <a:lnTo>
                  <a:pt x="394" y="0"/>
                </a:lnTo>
                <a:close/>
              </a:path>
            </a:pathLst>
          </a:custGeom>
          <a:solidFill>
            <a:srgbClr val="FFCC99"/>
          </a:solidFill>
          <a:ln w="9525">
            <a:solidFill>
              <a:schemeClr val="tx1"/>
            </a:solidFill>
            <a:round/>
            <a:headEnd/>
            <a:tailEnd/>
          </a:ln>
        </p:spPr>
        <p:txBody>
          <a:bodyPr/>
          <a:lstStyle/>
          <a:p>
            <a:pPr defTabSz="914324">
              <a:defRPr/>
            </a:pPr>
            <a:endParaRPr lang="ja-JP" altLang="en-US" sz="1950">
              <a:solidFill>
                <a:srgbClr val="000000"/>
              </a:solidFill>
              <a:ea typeface="ＭＳ Ｐゴシック" charset="-128"/>
            </a:endParaRPr>
          </a:p>
        </p:txBody>
      </p:sp>
      <p:sp>
        <p:nvSpPr>
          <p:cNvPr id="6184" name="Rectangle 41"/>
          <p:cNvSpPr>
            <a:spLocks noChangeArrowheads="1"/>
          </p:cNvSpPr>
          <p:nvPr/>
        </p:nvSpPr>
        <p:spPr bwMode="auto">
          <a:xfrm>
            <a:off x="1559750" y="2973246"/>
            <a:ext cx="1559750" cy="378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8491" tIns="38994" rIns="58491" bIns="38994">
            <a:spAutoFit/>
          </a:bodyP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324" eaLnBrk="1" hangingPunct="1">
              <a:defRPr/>
            </a:pPr>
            <a:r>
              <a:rPr lang="ja-JP" altLang="en-US" sz="1950" b="1" dirty="0">
                <a:solidFill>
                  <a:srgbClr val="000000"/>
                </a:solidFill>
                <a:latin typeface="ＭＳ Ｐゴシック" panose="020B0600070205080204" pitchFamily="50" charset="-128"/>
              </a:rPr>
              <a:t>全国計画</a:t>
            </a:r>
            <a:endParaRPr lang="ja-JP" altLang="en-US" sz="1950" b="1" dirty="0">
              <a:solidFill>
                <a:srgbClr val="000000"/>
              </a:solidFill>
            </a:endParaRPr>
          </a:p>
        </p:txBody>
      </p:sp>
      <p:sp>
        <p:nvSpPr>
          <p:cNvPr id="6179" name="Freeform 46"/>
          <p:cNvSpPr>
            <a:spLocks/>
          </p:cNvSpPr>
          <p:nvPr/>
        </p:nvSpPr>
        <p:spPr bwMode="auto">
          <a:xfrm>
            <a:off x="584906" y="3363183"/>
            <a:ext cx="3509438" cy="545913"/>
          </a:xfrm>
          <a:custGeom>
            <a:avLst/>
            <a:gdLst>
              <a:gd name="T0" fmla="*/ 0 w 7101"/>
              <a:gd name="T1" fmla="*/ 0 h 1776"/>
              <a:gd name="T2" fmla="*/ 0 w 7101"/>
              <a:gd name="T3" fmla="*/ 0 h 1776"/>
              <a:gd name="T4" fmla="*/ 0 w 7101"/>
              <a:gd name="T5" fmla="*/ 0 h 1776"/>
              <a:gd name="T6" fmla="*/ 0 w 7101"/>
              <a:gd name="T7" fmla="*/ 0 h 1776"/>
              <a:gd name="T8" fmla="*/ 0 w 7101"/>
              <a:gd name="T9" fmla="*/ 0 h 1776"/>
              <a:gd name="T10" fmla="*/ 0 w 7101"/>
              <a:gd name="T11" fmla="*/ 0 h 1776"/>
              <a:gd name="T12" fmla="*/ 0 w 7101"/>
              <a:gd name="T13" fmla="*/ 0 h 1776"/>
              <a:gd name="T14" fmla="*/ 0 w 7101"/>
              <a:gd name="T15" fmla="*/ 0 h 1776"/>
              <a:gd name="T16" fmla="*/ 0 w 7101"/>
              <a:gd name="T17" fmla="*/ 0 h 1776"/>
              <a:gd name="T18" fmla="*/ 0 w 7101"/>
              <a:gd name="T19" fmla="*/ 0 h 1776"/>
              <a:gd name="T20" fmla="*/ 0 w 7101"/>
              <a:gd name="T21" fmla="*/ 0 h 1776"/>
              <a:gd name="T22" fmla="*/ 0 w 7101"/>
              <a:gd name="T23" fmla="*/ 0 h 1776"/>
              <a:gd name="T24" fmla="*/ 0 w 7101"/>
              <a:gd name="T25" fmla="*/ 0 h 1776"/>
              <a:gd name="T26" fmla="*/ 0 w 7101"/>
              <a:gd name="T27" fmla="*/ 0 h 1776"/>
              <a:gd name="T28" fmla="*/ 0 w 7101"/>
              <a:gd name="T29" fmla="*/ 0 h 1776"/>
              <a:gd name="T30" fmla="*/ 0 w 7101"/>
              <a:gd name="T31" fmla="*/ 0 h 1776"/>
              <a:gd name="T32" fmla="*/ 0 w 7101"/>
              <a:gd name="T33" fmla="*/ 0 h 1776"/>
              <a:gd name="T34" fmla="*/ 0 w 7101"/>
              <a:gd name="T35" fmla="*/ 0 h 1776"/>
              <a:gd name="T36" fmla="*/ 0 w 7101"/>
              <a:gd name="T37" fmla="*/ 0 h 1776"/>
              <a:gd name="T38" fmla="*/ 0 w 7101"/>
              <a:gd name="T39" fmla="*/ 0 h 1776"/>
              <a:gd name="T40" fmla="*/ 0 w 7101"/>
              <a:gd name="T41" fmla="*/ 0 h 1776"/>
              <a:gd name="T42" fmla="*/ 0 w 7101"/>
              <a:gd name="T43" fmla="*/ 0 h 1776"/>
              <a:gd name="T44" fmla="*/ 0 w 7101"/>
              <a:gd name="T45" fmla="*/ 0 h 1776"/>
              <a:gd name="T46" fmla="*/ 0 w 7101"/>
              <a:gd name="T47" fmla="*/ 0 h 1776"/>
              <a:gd name="T48" fmla="*/ 0 w 7101"/>
              <a:gd name="T49" fmla="*/ 0 h 1776"/>
              <a:gd name="T50" fmla="*/ 0 w 7101"/>
              <a:gd name="T51" fmla="*/ 0 h 1776"/>
              <a:gd name="T52" fmla="*/ 0 w 7101"/>
              <a:gd name="T53" fmla="*/ 0 h 1776"/>
              <a:gd name="T54" fmla="*/ 0 w 7101"/>
              <a:gd name="T55" fmla="*/ 0 h 1776"/>
              <a:gd name="T56" fmla="*/ 0 w 7101"/>
              <a:gd name="T57" fmla="*/ 0 h 1776"/>
              <a:gd name="T58" fmla="*/ 0 w 7101"/>
              <a:gd name="T59" fmla="*/ 0 h 1776"/>
              <a:gd name="T60" fmla="*/ 0 w 7101"/>
              <a:gd name="T61" fmla="*/ 0 h 1776"/>
              <a:gd name="T62" fmla="*/ 0 w 7101"/>
              <a:gd name="T63" fmla="*/ 0 h 1776"/>
              <a:gd name="T64" fmla="*/ 0 w 7101"/>
              <a:gd name="T65" fmla="*/ 0 h 1776"/>
              <a:gd name="T66" fmla="*/ 0 w 7101"/>
              <a:gd name="T67" fmla="*/ 0 h 17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101"/>
              <a:gd name="T103" fmla="*/ 0 h 1776"/>
              <a:gd name="T104" fmla="*/ 7101 w 7101"/>
              <a:gd name="T105" fmla="*/ 1776 h 17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101" h="1776">
                <a:moveTo>
                  <a:pt x="295" y="0"/>
                </a:moveTo>
                <a:lnTo>
                  <a:pt x="264" y="0"/>
                </a:lnTo>
                <a:lnTo>
                  <a:pt x="233" y="4"/>
                </a:lnTo>
                <a:lnTo>
                  <a:pt x="204" y="13"/>
                </a:lnTo>
                <a:lnTo>
                  <a:pt x="177" y="20"/>
                </a:lnTo>
                <a:lnTo>
                  <a:pt x="153" y="35"/>
                </a:lnTo>
                <a:lnTo>
                  <a:pt x="130" y="48"/>
                </a:lnTo>
                <a:lnTo>
                  <a:pt x="106" y="67"/>
                </a:lnTo>
                <a:lnTo>
                  <a:pt x="86" y="87"/>
                </a:lnTo>
                <a:lnTo>
                  <a:pt x="67" y="107"/>
                </a:lnTo>
                <a:lnTo>
                  <a:pt x="47" y="131"/>
                </a:lnTo>
                <a:lnTo>
                  <a:pt x="35" y="155"/>
                </a:lnTo>
                <a:lnTo>
                  <a:pt x="20" y="178"/>
                </a:lnTo>
                <a:lnTo>
                  <a:pt x="11" y="206"/>
                </a:lnTo>
                <a:lnTo>
                  <a:pt x="4" y="233"/>
                </a:lnTo>
                <a:lnTo>
                  <a:pt x="0" y="264"/>
                </a:lnTo>
                <a:lnTo>
                  <a:pt x="0" y="297"/>
                </a:lnTo>
                <a:lnTo>
                  <a:pt x="0" y="1480"/>
                </a:lnTo>
                <a:lnTo>
                  <a:pt x="0" y="1508"/>
                </a:lnTo>
                <a:lnTo>
                  <a:pt x="4" y="1540"/>
                </a:lnTo>
                <a:lnTo>
                  <a:pt x="11" y="1567"/>
                </a:lnTo>
                <a:lnTo>
                  <a:pt x="20" y="1595"/>
                </a:lnTo>
                <a:lnTo>
                  <a:pt x="35" y="1618"/>
                </a:lnTo>
                <a:lnTo>
                  <a:pt x="47" y="1642"/>
                </a:lnTo>
                <a:lnTo>
                  <a:pt x="67" y="1666"/>
                </a:lnTo>
                <a:lnTo>
                  <a:pt x="86" y="1689"/>
                </a:lnTo>
                <a:lnTo>
                  <a:pt x="106" y="1705"/>
                </a:lnTo>
                <a:lnTo>
                  <a:pt x="130" y="1725"/>
                </a:lnTo>
                <a:lnTo>
                  <a:pt x="153" y="1737"/>
                </a:lnTo>
                <a:lnTo>
                  <a:pt x="177" y="1753"/>
                </a:lnTo>
                <a:lnTo>
                  <a:pt x="204" y="1760"/>
                </a:lnTo>
                <a:lnTo>
                  <a:pt x="233" y="1769"/>
                </a:lnTo>
                <a:lnTo>
                  <a:pt x="264" y="1773"/>
                </a:lnTo>
                <a:lnTo>
                  <a:pt x="295" y="1776"/>
                </a:lnTo>
                <a:lnTo>
                  <a:pt x="6806" y="1776"/>
                </a:lnTo>
                <a:lnTo>
                  <a:pt x="6834" y="1773"/>
                </a:lnTo>
                <a:lnTo>
                  <a:pt x="6865" y="1769"/>
                </a:lnTo>
                <a:lnTo>
                  <a:pt x="6892" y="1760"/>
                </a:lnTo>
                <a:lnTo>
                  <a:pt x="6921" y="1753"/>
                </a:lnTo>
                <a:lnTo>
                  <a:pt x="6944" y="1737"/>
                </a:lnTo>
                <a:lnTo>
                  <a:pt x="6968" y="1725"/>
                </a:lnTo>
                <a:lnTo>
                  <a:pt x="6992" y="1705"/>
                </a:lnTo>
                <a:lnTo>
                  <a:pt x="7015" y="1689"/>
                </a:lnTo>
                <a:lnTo>
                  <a:pt x="7030" y="1666"/>
                </a:lnTo>
                <a:lnTo>
                  <a:pt x="7050" y="1642"/>
                </a:lnTo>
                <a:lnTo>
                  <a:pt x="7063" y="1618"/>
                </a:lnTo>
                <a:lnTo>
                  <a:pt x="7078" y="1595"/>
                </a:lnTo>
                <a:lnTo>
                  <a:pt x="7086" y="1567"/>
                </a:lnTo>
                <a:lnTo>
                  <a:pt x="7094" y="1540"/>
                </a:lnTo>
                <a:lnTo>
                  <a:pt x="7098" y="1508"/>
                </a:lnTo>
                <a:lnTo>
                  <a:pt x="7101" y="1480"/>
                </a:lnTo>
                <a:lnTo>
                  <a:pt x="7101" y="297"/>
                </a:lnTo>
                <a:lnTo>
                  <a:pt x="7098" y="264"/>
                </a:lnTo>
                <a:lnTo>
                  <a:pt x="7094" y="233"/>
                </a:lnTo>
                <a:lnTo>
                  <a:pt x="7086" y="206"/>
                </a:lnTo>
                <a:lnTo>
                  <a:pt x="7078" y="178"/>
                </a:lnTo>
                <a:lnTo>
                  <a:pt x="7063" y="155"/>
                </a:lnTo>
                <a:lnTo>
                  <a:pt x="7050" y="131"/>
                </a:lnTo>
                <a:lnTo>
                  <a:pt x="7030" y="107"/>
                </a:lnTo>
                <a:lnTo>
                  <a:pt x="7015" y="87"/>
                </a:lnTo>
                <a:lnTo>
                  <a:pt x="6992" y="67"/>
                </a:lnTo>
                <a:lnTo>
                  <a:pt x="6968" y="48"/>
                </a:lnTo>
                <a:lnTo>
                  <a:pt x="6944" y="35"/>
                </a:lnTo>
                <a:lnTo>
                  <a:pt x="6921" y="20"/>
                </a:lnTo>
                <a:lnTo>
                  <a:pt x="6892" y="13"/>
                </a:lnTo>
                <a:lnTo>
                  <a:pt x="6865" y="4"/>
                </a:lnTo>
                <a:lnTo>
                  <a:pt x="6834" y="0"/>
                </a:lnTo>
                <a:lnTo>
                  <a:pt x="6806" y="0"/>
                </a:lnTo>
                <a:lnTo>
                  <a:pt x="295" y="0"/>
                </a:lnTo>
                <a:close/>
              </a:path>
            </a:pathLst>
          </a:custGeom>
          <a:solidFill>
            <a:srgbClr val="FFE6CD"/>
          </a:solidFill>
          <a:ln w="9525">
            <a:solidFill>
              <a:schemeClr val="tx1"/>
            </a:solidFill>
            <a:round/>
            <a:headEnd/>
            <a:tailEnd/>
          </a:ln>
        </p:spPr>
        <p:txBody>
          <a:bodyPr anchor="ctr"/>
          <a:lstStyle/>
          <a:p>
            <a:pPr algn="ctr" defTabSz="914324">
              <a:defRPr/>
            </a:pPr>
            <a:r>
              <a:rPr lang="ja-JP" altLang="en-US" sz="1300" dirty="0">
                <a:solidFill>
                  <a:srgbClr val="000000"/>
                </a:solidFill>
                <a:latin typeface="ＭＳ Ｐゴシック" panose="020B0600070205080204" pitchFamily="50" charset="-128"/>
                <a:ea typeface="ＭＳ Ｐゴシック" charset="-128"/>
              </a:rPr>
              <a:t>国による明確な</a:t>
            </a:r>
            <a:r>
              <a:rPr lang="ja-JP" altLang="en-US" sz="1300" dirty="0">
                <a:solidFill>
                  <a:srgbClr val="000000"/>
                </a:solidFill>
                <a:ea typeface="ＭＳ Ｐゴシック" charset="-128"/>
              </a:rPr>
              <a:t>国土及び国民生活の姿の提示</a:t>
            </a:r>
          </a:p>
          <a:p>
            <a:pPr algn="ctr" defTabSz="914324">
              <a:defRPr/>
            </a:pPr>
            <a:r>
              <a:rPr lang="ja-JP" altLang="en-US" sz="1300" dirty="0">
                <a:solidFill>
                  <a:srgbClr val="000000"/>
                </a:solidFill>
                <a:ea typeface="ＭＳ Ｐゴシック" charset="-128"/>
              </a:rPr>
              <a:t>（国の責務の明確化）</a:t>
            </a:r>
          </a:p>
        </p:txBody>
      </p:sp>
      <p:sp>
        <p:nvSpPr>
          <p:cNvPr id="6177" name="Freeform 49"/>
          <p:cNvSpPr>
            <a:spLocks/>
          </p:cNvSpPr>
          <p:nvPr/>
        </p:nvSpPr>
        <p:spPr bwMode="auto">
          <a:xfrm>
            <a:off x="584906" y="4922933"/>
            <a:ext cx="3509438" cy="545913"/>
          </a:xfrm>
          <a:custGeom>
            <a:avLst/>
            <a:gdLst>
              <a:gd name="T0" fmla="*/ 0 w 7101"/>
              <a:gd name="T1" fmla="*/ 0 h 1776"/>
              <a:gd name="T2" fmla="*/ 0 w 7101"/>
              <a:gd name="T3" fmla="*/ 0 h 1776"/>
              <a:gd name="T4" fmla="*/ 0 w 7101"/>
              <a:gd name="T5" fmla="*/ 0 h 1776"/>
              <a:gd name="T6" fmla="*/ 0 w 7101"/>
              <a:gd name="T7" fmla="*/ 0 h 1776"/>
              <a:gd name="T8" fmla="*/ 0 w 7101"/>
              <a:gd name="T9" fmla="*/ 0 h 1776"/>
              <a:gd name="T10" fmla="*/ 0 w 7101"/>
              <a:gd name="T11" fmla="*/ 0 h 1776"/>
              <a:gd name="T12" fmla="*/ 0 w 7101"/>
              <a:gd name="T13" fmla="*/ 0 h 1776"/>
              <a:gd name="T14" fmla="*/ 0 w 7101"/>
              <a:gd name="T15" fmla="*/ 0 h 1776"/>
              <a:gd name="T16" fmla="*/ 0 w 7101"/>
              <a:gd name="T17" fmla="*/ 0 h 1776"/>
              <a:gd name="T18" fmla="*/ 0 w 7101"/>
              <a:gd name="T19" fmla="*/ 0 h 1776"/>
              <a:gd name="T20" fmla="*/ 0 w 7101"/>
              <a:gd name="T21" fmla="*/ 0 h 1776"/>
              <a:gd name="T22" fmla="*/ 0 w 7101"/>
              <a:gd name="T23" fmla="*/ 0 h 1776"/>
              <a:gd name="T24" fmla="*/ 0 w 7101"/>
              <a:gd name="T25" fmla="*/ 0 h 1776"/>
              <a:gd name="T26" fmla="*/ 0 w 7101"/>
              <a:gd name="T27" fmla="*/ 0 h 1776"/>
              <a:gd name="T28" fmla="*/ 0 w 7101"/>
              <a:gd name="T29" fmla="*/ 0 h 1776"/>
              <a:gd name="T30" fmla="*/ 0 w 7101"/>
              <a:gd name="T31" fmla="*/ 0 h 1776"/>
              <a:gd name="T32" fmla="*/ 0 w 7101"/>
              <a:gd name="T33" fmla="*/ 0 h 1776"/>
              <a:gd name="T34" fmla="*/ 0 w 7101"/>
              <a:gd name="T35" fmla="*/ 0 h 1776"/>
              <a:gd name="T36" fmla="*/ 0 w 7101"/>
              <a:gd name="T37" fmla="*/ 0 h 1776"/>
              <a:gd name="T38" fmla="*/ 0 w 7101"/>
              <a:gd name="T39" fmla="*/ 0 h 1776"/>
              <a:gd name="T40" fmla="*/ 0 w 7101"/>
              <a:gd name="T41" fmla="*/ 0 h 1776"/>
              <a:gd name="T42" fmla="*/ 0 w 7101"/>
              <a:gd name="T43" fmla="*/ 0 h 1776"/>
              <a:gd name="T44" fmla="*/ 0 w 7101"/>
              <a:gd name="T45" fmla="*/ 0 h 1776"/>
              <a:gd name="T46" fmla="*/ 0 w 7101"/>
              <a:gd name="T47" fmla="*/ 0 h 1776"/>
              <a:gd name="T48" fmla="*/ 0 w 7101"/>
              <a:gd name="T49" fmla="*/ 0 h 1776"/>
              <a:gd name="T50" fmla="*/ 0 w 7101"/>
              <a:gd name="T51" fmla="*/ 0 h 1776"/>
              <a:gd name="T52" fmla="*/ 0 w 7101"/>
              <a:gd name="T53" fmla="*/ 0 h 1776"/>
              <a:gd name="T54" fmla="*/ 0 w 7101"/>
              <a:gd name="T55" fmla="*/ 0 h 1776"/>
              <a:gd name="T56" fmla="*/ 0 w 7101"/>
              <a:gd name="T57" fmla="*/ 0 h 1776"/>
              <a:gd name="T58" fmla="*/ 0 w 7101"/>
              <a:gd name="T59" fmla="*/ 0 h 1776"/>
              <a:gd name="T60" fmla="*/ 0 w 7101"/>
              <a:gd name="T61" fmla="*/ 0 h 1776"/>
              <a:gd name="T62" fmla="*/ 0 w 7101"/>
              <a:gd name="T63" fmla="*/ 0 h 1776"/>
              <a:gd name="T64" fmla="*/ 0 w 7101"/>
              <a:gd name="T65" fmla="*/ 0 h 1776"/>
              <a:gd name="T66" fmla="*/ 0 w 7101"/>
              <a:gd name="T67" fmla="*/ 0 h 17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101"/>
              <a:gd name="T103" fmla="*/ 0 h 1776"/>
              <a:gd name="T104" fmla="*/ 7101 w 7101"/>
              <a:gd name="T105" fmla="*/ 1776 h 17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101" h="1776">
                <a:moveTo>
                  <a:pt x="295" y="0"/>
                </a:moveTo>
                <a:lnTo>
                  <a:pt x="264" y="0"/>
                </a:lnTo>
                <a:lnTo>
                  <a:pt x="233" y="3"/>
                </a:lnTo>
                <a:lnTo>
                  <a:pt x="204" y="11"/>
                </a:lnTo>
                <a:lnTo>
                  <a:pt x="177" y="20"/>
                </a:lnTo>
                <a:lnTo>
                  <a:pt x="153" y="35"/>
                </a:lnTo>
                <a:lnTo>
                  <a:pt x="130" y="47"/>
                </a:lnTo>
                <a:lnTo>
                  <a:pt x="106" y="67"/>
                </a:lnTo>
                <a:lnTo>
                  <a:pt x="86" y="87"/>
                </a:lnTo>
                <a:lnTo>
                  <a:pt x="67" y="106"/>
                </a:lnTo>
                <a:lnTo>
                  <a:pt x="47" y="129"/>
                </a:lnTo>
                <a:lnTo>
                  <a:pt x="35" y="153"/>
                </a:lnTo>
                <a:lnTo>
                  <a:pt x="20" y="177"/>
                </a:lnTo>
                <a:lnTo>
                  <a:pt x="11" y="205"/>
                </a:lnTo>
                <a:lnTo>
                  <a:pt x="4" y="233"/>
                </a:lnTo>
                <a:lnTo>
                  <a:pt x="0" y="264"/>
                </a:lnTo>
                <a:lnTo>
                  <a:pt x="0" y="296"/>
                </a:lnTo>
                <a:lnTo>
                  <a:pt x="0" y="1480"/>
                </a:lnTo>
                <a:lnTo>
                  <a:pt x="0" y="1507"/>
                </a:lnTo>
                <a:lnTo>
                  <a:pt x="4" y="1539"/>
                </a:lnTo>
                <a:lnTo>
                  <a:pt x="11" y="1567"/>
                </a:lnTo>
                <a:lnTo>
                  <a:pt x="20" y="1594"/>
                </a:lnTo>
                <a:lnTo>
                  <a:pt x="35" y="1618"/>
                </a:lnTo>
                <a:lnTo>
                  <a:pt x="47" y="1641"/>
                </a:lnTo>
                <a:lnTo>
                  <a:pt x="67" y="1665"/>
                </a:lnTo>
                <a:lnTo>
                  <a:pt x="86" y="1689"/>
                </a:lnTo>
                <a:lnTo>
                  <a:pt x="106" y="1705"/>
                </a:lnTo>
                <a:lnTo>
                  <a:pt x="130" y="1725"/>
                </a:lnTo>
                <a:lnTo>
                  <a:pt x="153" y="1736"/>
                </a:lnTo>
                <a:lnTo>
                  <a:pt x="177" y="1752"/>
                </a:lnTo>
                <a:lnTo>
                  <a:pt x="204" y="1760"/>
                </a:lnTo>
                <a:lnTo>
                  <a:pt x="233" y="1767"/>
                </a:lnTo>
                <a:lnTo>
                  <a:pt x="264" y="1772"/>
                </a:lnTo>
                <a:lnTo>
                  <a:pt x="295" y="1776"/>
                </a:lnTo>
                <a:lnTo>
                  <a:pt x="6806" y="1776"/>
                </a:lnTo>
                <a:lnTo>
                  <a:pt x="6834" y="1772"/>
                </a:lnTo>
                <a:lnTo>
                  <a:pt x="6865" y="1767"/>
                </a:lnTo>
                <a:lnTo>
                  <a:pt x="6892" y="1760"/>
                </a:lnTo>
                <a:lnTo>
                  <a:pt x="6921" y="1752"/>
                </a:lnTo>
                <a:lnTo>
                  <a:pt x="6944" y="1736"/>
                </a:lnTo>
                <a:lnTo>
                  <a:pt x="6968" y="1725"/>
                </a:lnTo>
                <a:lnTo>
                  <a:pt x="6992" y="1705"/>
                </a:lnTo>
                <a:lnTo>
                  <a:pt x="7015" y="1689"/>
                </a:lnTo>
                <a:lnTo>
                  <a:pt x="7030" y="1665"/>
                </a:lnTo>
                <a:lnTo>
                  <a:pt x="7050" y="1641"/>
                </a:lnTo>
                <a:lnTo>
                  <a:pt x="7063" y="1618"/>
                </a:lnTo>
                <a:lnTo>
                  <a:pt x="7078" y="1594"/>
                </a:lnTo>
                <a:lnTo>
                  <a:pt x="7086" y="1567"/>
                </a:lnTo>
                <a:lnTo>
                  <a:pt x="7094" y="1539"/>
                </a:lnTo>
                <a:lnTo>
                  <a:pt x="7098" y="1507"/>
                </a:lnTo>
                <a:lnTo>
                  <a:pt x="7101" y="1480"/>
                </a:lnTo>
                <a:lnTo>
                  <a:pt x="7101" y="296"/>
                </a:lnTo>
                <a:lnTo>
                  <a:pt x="7098" y="264"/>
                </a:lnTo>
                <a:lnTo>
                  <a:pt x="7094" y="233"/>
                </a:lnTo>
                <a:lnTo>
                  <a:pt x="7086" y="205"/>
                </a:lnTo>
                <a:lnTo>
                  <a:pt x="7078" y="177"/>
                </a:lnTo>
                <a:lnTo>
                  <a:pt x="7063" y="153"/>
                </a:lnTo>
                <a:lnTo>
                  <a:pt x="7050" y="129"/>
                </a:lnTo>
                <a:lnTo>
                  <a:pt x="7030" y="106"/>
                </a:lnTo>
                <a:lnTo>
                  <a:pt x="7015" y="87"/>
                </a:lnTo>
                <a:lnTo>
                  <a:pt x="6992" y="67"/>
                </a:lnTo>
                <a:lnTo>
                  <a:pt x="6968" y="47"/>
                </a:lnTo>
                <a:lnTo>
                  <a:pt x="6944" y="35"/>
                </a:lnTo>
                <a:lnTo>
                  <a:pt x="6921" y="20"/>
                </a:lnTo>
                <a:lnTo>
                  <a:pt x="6892" y="11"/>
                </a:lnTo>
                <a:lnTo>
                  <a:pt x="6865" y="3"/>
                </a:lnTo>
                <a:lnTo>
                  <a:pt x="6834" y="0"/>
                </a:lnTo>
                <a:lnTo>
                  <a:pt x="6806" y="0"/>
                </a:lnTo>
                <a:lnTo>
                  <a:pt x="295" y="0"/>
                </a:lnTo>
              </a:path>
            </a:pathLst>
          </a:custGeom>
          <a:solidFill>
            <a:srgbClr val="FFE6CD"/>
          </a:solidFill>
          <a:ln w="8001">
            <a:solidFill>
              <a:srgbClr val="000000"/>
            </a:solidFill>
            <a:round/>
            <a:headEnd/>
            <a:tailEnd/>
          </a:ln>
        </p:spPr>
        <p:txBody>
          <a:bodyPr anchor="ctr"/>
          <a:lstStyle/>
          <a:p>
            <a:pPr defTabSz="914324">
              <a:defRPr/>
            </a:pPr>
            <a:r>
              <a:rPr lang="ja-JP" altLang="en-US" sz="1300" dirty="0">
                <a:solidFill>
                  <a:srgbClr val="000000"/>
                </a:solidFill>
                <a:ea typeface="ＭＳ Ｐゴシック" charset="-128"/>
              </a:rPr>
              <a:t>ブロック単位の地方ごとに、国と都府県等が適切な役割分担の下、相互に連携・協力して策定</a:t>
            </a:r>
          </a:p>
        </p:txBody>
      </p:sp>
      <p:sp>
        <p:nvSpPr>
          <p:cNvPr id="6178" name="Rectangle 50"/>
          <p:cNvSpPr>
            <a:spLocks noChangeArrowheads="1"/>
          </p:cNvSpPr>
          <p:nvPr/>
        </p:nvSpPr>
        <p:spPr bwMode="auto">
          <a:xfrm>
            <a:off x="1165678" y="4893841"/>
            <a:ext cx="2477570" cy="396326"/>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324" eaLnBrk="1" hangingPunct="1">
              <a:defRPr/>
            </a:pPr>
            <a:endParaRPr lang="ja-JP" altLang="en-US" sz="1108" dirty="0">
              <a:solidFill>
                <a:srgbClr val="FF0000"/>
              </a:solidFill>
            </a:endParaRPr>
          </a:p>
        </p:txBody>
      </p:sp>
      <p:sp>
        <p:nvSpPr>
          <p:cNvPr id="6159" name="Rectangle 52"/>
          <p:cNvSpPr>
            <a:spLocks noChangeArrowheads="1"/>
          </p:cNvSpPr>
          <p:nvPr/>
        </p:nvSpPr>
        <p:spPr bwMode="auto">
          <a:xfrm>
            <a:off x="584906" y="5546833"/>
            <a:ext cx="3509438" cy="701888"/>
          </a:xfrm>
          <a:prstGeom prst="rect">
            <a:avLst/>
          </a:prstGeom>
          <a:solidFill>
            <a:srgbClr val="FFFFFF"/>
          </a:solidFill>
          <a:ln w="9525">
            <a:solidFill>
              <a:srgbClr val="000000"/>
            </a:solidFill>
            <a:miter lim="800000"/>
            <a:headEnd/>
            <a:tailEnd/>
          </a:ln>
        </p:spPr>
        <p:txBody>
          <a:bodyPr lIns="116981" tIns="77988" rIns="116981" bIns="77988" anchor="ct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324" eaLnBrk="1" hangingPunct="1">
              <a:defRPr/>
            </a:pPr>
            <a:r>
              <a:rPr lang="ja-JP" altLang="en-US" sz="1300" dirty="0">
                <a:solidFill>
                  <a:srgbClr val="000000"/>
                </a:solidFill>
                <a:latin typeface="ＭＳ Ｐゴシック" panose="020B0600070205080204" pitchFamily="50" charset="-128"/>
              </a:rPr>
              <a:t>国の地方支分部局、</a:t>
            </a:r>
            <a:r>
              <a:rPr lang="ja-JP" altLang="en-US" sz="1300" dirty="0">
                <a:solidFill>
                  <a:srgbClr val="000000"/>
                </a:solidFill>
              </a:rPr>
              <a:t>関係都府県、関係政令市、地元経済界等が対等な立場で協議する場   （広域地方計画協議会）を組織</a:t>
            </a:r>
          </a:p>
        </p:txBody>
      </p:sp>
      <p:sp>
        <p:nvSpPr>
          <p:cNvPr id="6160" name="Freeform 53"/>
          <p:cNvSpPr>
            <a:spLocks/>
          </p:cNvSpPr>
          <p:nvPr/>
        </p:nvSpPr>
        <p:spPr bwMode="auto">
          <a:xfrm>
            <a:off x="1910694" y="4251474"/>
            <a:ext cx="935850" cy="233963"/>
          </a:xfrm>
          <a:custGeom>
            <a:avLst/>
            <a:gdLst>
              <a:gd name="T0" fmla="*/ 0 w 3160"/>
              <a:gd name="T1" fmla="*/ 2147483647 h 461"/>
              <a:gd name="T2" fmla="*/ 2147483647 w 3160"/>
              <a:gd name="T3" fmla="*/ 2147483647 h 461"/>
              <a:gd name="T4" fmla="*/ 2147483647 w 3160"/>
              <a:gd name="T5" fmla="*/ 2147483647 h 461"/>
              <a:gd name="T6" fmla="*/ 2147483647 w 3160"/>
              <a:gd name="T7" fmla="*/ 2147483647 h 461"/>
              <a:gd name="T8" fmla="*/ 2147483647 w 3160"/>
              <a:gd name="T9" fmla="*/ 2147483647 h 461"/>
              <a:gd name="T10" fmla="*/ 2147483647 w 3160"/>
              <a:gd name="T11" fmla="*/ 2147483647 h 461"/>
              <a:gd name="T12" fmla="*/ 2147483647 w 3160"/>
              <a:gd name="T13" fmla="*/ 2147483647 h 461"/>
              <a:gd name="T14" fmla="*/ 2147483647 w 3160"/>
              <a:gd name="T15" fmla="*/ 2147483647 h 461"/>
              <a:gd name="T16" fmla="*/ 2147483647 w 3160"/>
              <a:gd name="T17" fmla="*/ 2147483647 h 461"/>
              <a:gd name="T18" fmla="*/ 2147483647 w 3160"/>
              <a:gd name="T19" fmla="*/ 2147483647 h 461"/>
              <a:gd name="T20" fmla="*/ 2147483647 w 3160"/>
              <a:gd name="T21" fmla="*/ 2147483647 h 461"/>
              <a:gd name="T22" fmla="*/ 2147483647 w 3160"/>
              <a:gd name="T23" fmla="*/ 2147483647 h 461"/>
              <a:gd name="T24" fmla="*/ 2147483647 w 3160"/>
              <a:gd name="T25" fmla="*/ 2147483647 h 461"/>
              <a:gd name="T26" fmla="*/ 2147483647 w 3160"/>
              <a:gd name="T27" fmla="*/ 2147483647 h 461"/>
              <a:gd name="T28" fmla="*/ 2147483647 w 3160"/>
              <a:gd name="T29" fmla="*/ 2147483647 h 461"/>
              <a:gd name="T30" fmla="*/ 2147483647 w 3160"/>
              <a:gd name="T31" fmla="*/ 2147483647 h 461"/>
              <a:gd name="T32" fmla="*/ 2147483647 w 3160"/>
              <a:gd name="T33" fmla="*/ 2147483647 h 461"/>
              <a:gd name="T34" fmla="*/ 2147483647 w 3160"/>
              <a:gd name="T35" fmla="*/ 2147483647 h 461"/>
              <a:gd name="T36" fmla="*/ 2147483647 w 3160"/>
              <a:gd name="T37" fmla="*/ 2147483647 h 461"/>
              <a:gd name="T38" fmla="*/ 2147483647 w 3160"/>
              <a:gd name="T39" fmla="*/ 2147483647 h 461"/>
              <a:gd name="T40" fmla="*/ 2147483647 w 3160"/>
              <a:gd name="T41" fmla="*/ 2147483647 h 461"/>
              <a:gd name="T42" fmla="*/ 2147483647 w 3160"/>
              <a:gd name="T43" fmla="*/ 2147483647 h 461"/>
              <a:gd name="T44" fmla="*/ 2147483647 w 3160"/>
              <a:gd name="T45" fmla="*/ 2147483647 h 461"/>
              <a:gd name="T46" fmla="*/ 2147483647 w 3160"/>
              <a:gd name="T47" fmla="*/ 2147483647 h 461"/>
              <a:gd name="T48" fmla="*/ 2147483647 w 3160"/>
              <a:gd name="T49" fmla="*/ 2147483647 h 461"/>
              <a:gd name="T50" fmla="*/ 2147483647 w 3160"/>
              <a:gd name="T51" fmla="*/ 2147483647 h 461"/>
              <a:gd name="T52" fmla="*/ 2147483647 w 3160"/>
              <a:gd name="T53" fmla="*/ 2147483647 h 461"/>
              <a:gd name="T54" fmla="*/ 2147483647 w 3160"/>
              <a:gd name="T55" fmla="*/ 2147483647 h 461"/>
              <a:gd name="T56" fmla="*/ 2147483647 w 3160"/>
              <a:gd name="T57" fmla="*/ 2147483647 h 461"/>
              <a:gd name="T58" fmla="*/ 2147483647 w 3160"/>
              <a:gd name="T59" fmla="*/ 0 h 461"/>
              <a:gd name="T60" fmla="*/ 2147483647 w 3160"/>
              <a:gd name="T61" fmla="*/ 2147483647 h 461"/>
              <a:gd name="T62" fmla="*/ 2147483647 w 3160"/>
              <a:gd name="T63" fmla="*/ 2147483647 h 461"/>
              <a:gd name="T64" fmla="*/ 2147483647 w 3160"/>
              <a:gd name="T65" fmla="*/ 2147483647 h 461"/>
              <a:gd name="T66" fmla="*/ 2147483647 w 3160"/>
              <a:gd name="T67" fmla="*/ 2147483647 h 461"/>
              <a:gd name="T68" fmla="*/ 2147483647 w 3160"/>
              <a:gd name="T69" fmla="*/ 2147483647 h 461"/>
              <a:gd name="T70" fmla="*/ 2147483647 w 3160"/>
              <a:gd name="T71" fmla="*/ 2147483647 h 461"/>
              <a:gd name="T72" fmla="*/ 2147483647 w 3160"/>
              <a:gd name="T73" fmla="*/ 2147483647 h 461"/>
              <a:gd name="T74" fmla="*/ 2147483647 w 3160"/>
              <a:gd name="T75" fmla="*/ 2147483647 h 461"/>
              <a:gd name="T76" fmla="*/ 2147483647 w 3160"/>
              <a:gd name="T77" fmla="*/ 2147483647 h 461"/>
              <a:gd name="T78" fmla="*/ 2147483647 w 3160"/>
              <a:gd name="T79" fmla="*/ 2147483647 h 461"/>
              <a:gd name="T80" fmla="*/ 2147483647 w 3160"/>
              <a:gd name="T81" fmla="*/ 2147483647 h 461"/>
              <a:gd name="T82" fmla="*/ 2147483647 w 3160"/>
              <a:gd name="T83" fmla="*/ 2147483647 h 461"/>
              <a:gd name="T84" fmla="*/ 2147483647 w 3160"/>
              <a:gd name="T85" fmla="*/ 2147483647 h 461"/>
              <a:gd name="T86" fmla="*/ 2147483647 w 3160"/>
              <a:gd name="T87" fmla="*/ 2147483647 h 461"/>
              <a:gd name="T88" fmla="*/ 2147483647 w 3160"/>
              <a:gd name="T89" fmla="*/ 2147483647 h 461"/>
              <a:gd name="T90" fmla="*/ 2147483647 w 3160"/>
              <a:gd name="T91" fmla="*/ 2147483647 h 461"/>
              <a:gd name="T92" fmla="*/ 2147483647 w 3160"/>
              <a:gd name="T93" fmla="*/ 2147483647 h 461"/>
              <a:gd name="T94" fmla="*/ 2147483647 w 3160"/>
              <a:gd name="T95" fmla="*/ 2147483647 h 461"/>
              <a:gd name="T96" fmla="*/ 2147483647 w 3160"/>
              <a:gd name="T97" fmla="*/ 2147483647 h 461"/>
              <a:gd name="T98" fmla="*/ 2147483647 w 3160"/>
              <a:gd name="T99" fmla="*/ 2147483647 h 461"/>
              <a:gd name="T100" fmla="*/ 2147483647 w 3160"/>
              <a:gd name="T101" fmla="*/ 2147483647 h 461"/>
              <a:gd name="T102" fmla="*/ 2147483647 w 3160"/>
              <a:gd name="T103" fmla="*/ 2147483647 h 461"/>
              <a:gd name="T104" fmla="*/ 2147483647 w 3160"/>
              <a:gd name="T105" fmla="*/ 2147483647 h 461"/>
              <a:gd name="T106" fmla="*/ 2147483647 w 3160"/>
              <a:gd name="T107" fmla="*/ 2147483647 h 461"/>
              <a:gd name="T108" fmla="*/ 2147483647 w 3160"/>
              <a:gd name="T109" fmla="*/ 0 h 46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60"/>
              <a:gd name="T166" fmla="*/ 0 h 461"/>
              <a:gd name="T167" fmla="*/ 3160 w 3160"/>
              <a:gd name="T168" fmla="*/ 461 h 46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60" h="461">
                <a:moveTo>
                  <a:pt x="0" y="0"/>
                </a:moveTo>
                <a:lnTo>
                  <a:pt x="0" y="23"/>
                </a:lnTo>
                <a:lnTo>
                  <a:pt x="4" y="47"/>
                </a:lnTo>
                <a:lnTo>
                  <a:pt x="11" y="71"/>
                </a:lnTo>
                <a:lnTo>
                  <a:pt x="24" y="91"/>
                </a:lnTo>
                <a:lnTo>
                  <a:pt x="35" y="114"/>
                </a:lnTo>
                <a:lnTo>
                  <a:pt x="51" y="138"/>
                </a:lnTo>
                <a:lnTo>
                  <a:pt x="67" y="157"/>
                </a:lnTo>
                <a:lnTo>
                  <a:pt x="86" y="177"/>
                </a:lnTo>
                <a:lnTo>
                  <a:pt x="110" y="197"/>
                </a:lnTo>
                <a:lnTo>
                  <a:pt x="133" y="220"/>
                </a:lnTo>
                <a:lnTo>
                  <a:pt x="162" y="236"/>
                </a:lnTo>
                <a:lnTo>
                  <a:pt x="193" y="256"/>
                </a:lnTo>
                <a:lnTo>
                  <a:pt x="224" y="275"/>
                </a:lnTo>
                <a:lnTo>
                  <a:pt x="257" y="291"/>
                </a:lnTo>
                <a:lnTo>
                  <a:pt x="291" y="307"/>
                </a:lnTo>
                <a:lnTo>
                  <a:pt x="331" y="322"/>
                </a:lnTo>
                <a:lnTo>
                  <a:pt x="371" y="339"/>
                </a:lnTo>
                <a:lnTo>
                  <a:pt x="410" y="355"/>
                </a:lnTo>
                <a:lnTo>
                  <a:pt x="453" y="366"/>
                </a:lnTo>
                <a:lnTo>
                  <a:pt x="497" y="382"/>
                </a:lnTo>
                <a:lnTo>
                  <a:pt x="544" y="395"/>
                </a:lnTo>
                <a:lnTo>
                  <a:pt x="592" y="402"/>
                </a:lnTo>
                <a:lnTo>
                  <a:pt x="639" y="413"/>
                </a:lnTo>
                <a:lnTo>
                  <a:pt x="690" y="422"/>
                </a:lnTo>
                <a:lnTo>
                  <a:pt x="741" y="430"/>
                </a:lnTo>
                <a:lnTo>
                  <a:pt x="793" y="437"/>
                </a:lnTo>
                <a:lnTo>
                  <a:pt x="848" y="446"/>
                </a:lnTo>
                <a:lnTo>
                  <a:pt x="899" y="449"/>
                </a:lnTo>
                <a:lnTo>
                  <a:pt x="955" y="453"/>
                </a:lnTo>
                <a:lnTo>
                  <a:pt x="1014" y="457"/>
                </a:lnTo>
                <a:lnTo>
                  <a:pt x="1068" y="457"/>
                </a:lnTo>
                <a:lnTo>
                  <a:pt x="1128" y="461"/>
                </a:lnTo>
                <a:lnTo>
                  <a:pt x="1776" y="461"/>
                </a:lnTo>
                <a:lnTo>
                  <a:pt x="1862" y="457"/>
                </a:lnTo>
                <a:lnTo>
                  <a:pt x="1949" y="453"/>
                </a:lnTo>
                <a:lnTo>
                  <a:pt x="2036" y="446"/>
                </a:lnTo>
                <a:lnTo>
                  <a:pt x="2118" y="437"/>
                </a:lnTo>
                <a:lnTo>
                  <a:pt x="2202" y="426"/>
                </a:lnTo>
                <a:lnTo>
                  <a:pt x="2280" y="410"/>
                </a:lnTo>
                <a:lnTo>
                  <a:pt x="2355" y="395"/>
                </a:lnTo>
                <a:lnTo>
                  <a:pt x="2426" y="375"/>
                </a:lnTo>
                <a:lnTo>
                  <a:pt x="2462" y="366"/>
                </a:lnTo>
                <a:lnTo>
                  <a:pt x="2493" y="355"/>
                </a:lnTo>
                <a:lnTo>
                  <a:pt x="2525" y="342"/>
                </a:lnTo>
                <a:lnTo>
                  <a:pt x="2556" y="331"/>
                </a:lnTo>
                <a:lnTo>
                  <a:pt x="2588" y="319"/>
                </a:lnTo>
                <a:lnTo>
                  <a:pt x="2616" y="304"/>
                </a:lnTo>
                <a:lnTo>
                  <a:pt x="2644" y="291"/>
                </a:lnTo>
                <a:lnTo>
                  <a:pt x="2671" y="280"/>
                </a:lnTo>
                <a:lnTo>
                  <a:pt x="2698" y="264"/>
                </a:lnTo>
                <a:lnTo>
                  <a:pt x="2722" y="248"/>
                </a:lnTo>
                <a:lnTo>
                  <a:pt x="2746" y="233"/>
                </a:lnTo>
                <a:lnTo>
                  <a:pt x="2766" y="216"/>
                </a:lnTo>
                <a:lnTo>
                  <a:pt x="2785" y="200"/>
                </a:lnTo>
                <a:lnTo>
                  <a:pt x="2805" y="185"/>
                </a:lnTo>
                <a:lnTo>
                  <a:pt x="2820" y="169"/>
                </a:lnTo>
                <a:lnTo>
                  <a:pt x="2837" y="153"/>
                </a:lnTo>
                <a:lnTo>
                  <a:pt x="3160" y="153"/>
                </a:lnTo>
                <a:lnTo>
                  <a:pt x="2580" y="0"/>
                </a:lnTo>
                <a:lnTo>
                  <a:pt x="1870" y="153"/>
                </a:lnTo>
                <a:lnTo>
                  <a:pt x="2194" y="153"/>
                </a:lnTo>
                <a:lnTo>
                  <a:pt x="2169" y="177"/>
                </a:lnTo>
                <a:lnTo>
                  <a:pt x="2142" y="204"/>
                </a:lnTo>
                <a:lnTo>
                  <a:pt x="2111" y="228"/>
                </a:lnTo>
                <a:lnTo>
                  <a:pt x="2075" y="248"/>
                </a:lnTo>
                <a:lnTo>
                  <a:pt x="2036" y="271"/>
                </a:lnTo>
                <a:lnTo>
                  <a:pt x="1996" y="291"/>
                </a:lnTo>
                <a:lnTo>
                  <a:pt x="1952" y="315"/>
                </a:lnTo>
                <a:lnTo>
                  <a:pt x="1905" y="331"/>
                </a:lnTo>
                <a:lnTo>
                  <a:pt x="1858" y="351"/>
                </a:lnTo>
                <a:lnTo>
                  <a:pt x="1807" y="366"/>
                </a:lnTo>
                <a:lnTo>
                  <a:pt x="1752" y="382"/>
                </a:lnTo>
                <a:lnTo>
                  <a:pt x="1696" y="398"/>
                </a:lnTo>
                <a:lnTo>
                  <a:pt x="1637" y="410"/>
                </a:lnTo>
                <a:lnTo>
                  <a:pt x="1578" y="422"/>
                </a:lnTo>
                <a:lnTo>
                  <a:pt x="1514" y="433"/>
                </a:lnTo>
                <a:lnTo>
                  <a:pt x="1452" y="442"/>
                </a:lnTo>
                <a:lnTo>
                  <a:pt x="1361" y="430"/>
                </a:lnTo>
                <a:lnTo>
                  <a:pt x="1321" y="422"/>
                </a:lnTo>
                <a:lnTo>
                  <a:pt x="1278" y="413"/>
                </a:lnTo>
                <a:lnTo>
                  <a:pt x="1239" y="406"/>
                </a:lnTo>
                <a:lnTo>
                  <a:pt x="1199" y="395"/>
                </a:lnTo>
                <a:lnTo>
                  <a:pt x="1159" y="386"/>
                </a:lnTo>
                <a:lnTo>
                  <a:pt x="1124" y="375"/>
                </a:lnTo>
                <a:lnTo>
                  <a:pt x="1088" y="366"/>
                </a:lnTo>
                <a:lnTo>
                  <a:pt x="1053" y="355"/>
                </a:lnTo>
                <a:lnTo>
                  <a:pt x="1017" y="342"/>
                </a:lnTo>
                <a:lnTo>
                  <a:pt x="986" y="331"/>
                </a:lnTo>
                <a:lnTo>
                  <a:pt x="955" y="315"/>
                </a:lnTo>
                <a:lnTo>
                  <a:pt x="923" y="304"/>
                </a:lnTo>
                <a:lnTo>
                  <a:pt x="895" y="287"/>
                </a:lnTo>
                <a:lnTo>
                  <a:pt x="868" y="275"/>
                </a:lnTo>
                <a:lnTo>
                  <a:pt x="844" y="260"/>
                </a:lnTo>
                <a:lnTo>
                  <a:pt x="817" y="244"/>
                </a:lnTo>
                <a:lnTo>
                  <a:pt x="797" y="228"/>
                </a:lnTo>
                <a:lnTo>
                  <a:pt x="773" y="213"/>
                </a:lnTo>
                <a:lnTo>
                  <a:pt x="753" y="197"/>
                </a:lnTo>
                <a:lnTo>
                  <a:pt x="733" y="180"/>
                </a:lnTo>
                <a:lnTo>
                  <a:pt x="717" y="162"/>
                </a:lnTo>
                <a:lnTo>
                  <a:pt x="702" y="145"/>
                </a:lnTo>
                <a:lnTo>
                  <a:pt x="690" y="129"/>
                </a:lnTo>
                <a:lnTo>
                  <a:pt x="679" y="110"/>
                </a:lnTo>
                <a:lnTo>
                  <a:pt x="666" y="94"/>
                </a:lnTo>
                <a:lnTo>
                  <a:pt x="659" y="75"/>
                </a:lnTo>
                <a:lnTo>
                  <a:pt x="655" y="54"/>
                </a:lnTo>
                <a:lnTo>
                  <a:pt x="646" y="35"/>
                </a:lnTo>
                <a:lnTo>
                  <a:pt x="646" y="20"/>
                </a:lnTo>
                <a:lnTo>
                  <a:pt x="643" y="0"/>
                </a:lnTo>
                <a:lnTo>
                  <a:pt x="0" y="0"/>
                </a:lnTo>
              </a:path>
            </a:pathLst>
          </a:custGeom>
          <a:solidFill>
            <a:schemeClr val="accent1"/>
          </a:solidFill>
          <a:ln w="8001">
            <a:solidFill>
              <a:srgbClr val="000000"/>
            </a:solidFill>
            <a:round/>
            <a:headEnd/>
            <a:tailEnd/>
          </a:ln>
        </p:spPr>
        <p:txBody>
          <a:bodyPr/>
          <a:lstStyle/>
          <a:p>
            <a:pPr defTabSz="914324">
              <a:defRPr/>
            </a:pPr>
            <a:endParaRPr lang="ja-JP" altLang="en-US" sz="1950">
              <a:solidFill>
                <a:srgbClr val="000000"/>
              </a:solidFill>
              <a:ea typeface="ＭＳ Ｐゴシック" charset="-128"/>
            </a:endParaRPr>
          </a:p>
        </p:txBody>
      </p:sp>
      <p:sp>
        <p:nvSpPr>
          <p:cNvPr id="6161" name="Freeform 54"/>
          <p:cNvSpPr>
            <a:spLocks/>
          </p:cNvSpPr>
          <p:nvPr/>
        </p:nvSpPr>
        <p:spPr bwMode="auto">
          <a:xfrm>
            <a:off x="1910694" y="3948089"/>
            <a:ext cx="935850" cy="233963"/>
          </a:xfrm>
          <a:custGeom>
            <a:avLst/>
            <a:gdLst>
              <a:gd name="T0" fmla="*/ 2147483647 w 3160"/>
              <a:gd name="T1" fmla="*/ 2147483647 h 459"/>
              <a:gd name="T2" fmla="*/ 2147483647 w 3160"/>
              <a:gd name="T3" fmla="*/ 2147483647 h 459"/>
              <a:gd name="T4" fmla="*/ 2147483647 w 3160"/>
              <a:gd name="T5" fmla="*/ 2147483647 h 459"/>
              <a:gd name="T6" fmla="*/ 2147483647 w 3160"/>
              <a:gd name="T7" fmla="*/ 2147483647 h 459"/>
              <a:gd name="T8" fmla="*/ 2147483647 w 3160"/>
              <a:gd name="T9" fmla="*/ 2147483647 h 459"/>
              <a:gd name="T10" fmla="*/ 2147483647 w 3160"/>
              <a:gd name="T11" fmla="*/ 2147483647 h 459"/>
              <a:gd name="T12" fmla="*/ 2147483647 w 3160"/>
              <a:gd name="T13" fmla="*/ 2147483647 h 459"/>
              <a:gd name="T14" fmla="*/ 2147483647 w 3160"/>
              <a:gd name="T15" fmla="*/ 2147483647 h 459"/>
              <a:gd name="T16" fmla="*/ 2147483647 w 3160"/>
              <a:gd name="T17" fmla="*/ 2147483647 h 459"/>
              <a:gd name="T18" fmla="*/ 2147483647 w 3160"/>
              <a:gd name="T19" fmla="*/ 2147483647 h 459"/>
              <a:gd name="T20" fmla="*/ 2147483647 w 3160"/>
              <a:gd name="T21" fmla="*/ 2147483647 h 459"/>
              <a:gd name="T22" fmla="*/ 2147483647 w 3160"/>
              <a:gd name="T23" fmla="*/ 2147483647 h 459"/>
              <a:gd name="T24" fmla="*/ 2147483647 w 3160"/>
              <a:gd name="T25" fmla="*/ 2147483647 h 459"/>
              <a:gd name="T26" fmla="*/ 2147483647 w 3160"/>
              <a:gd name="T27" fmla="*/ 2147483647 h 459"/>
              <a:gd name="T28" fmla="*/ 2147483647 w 3160"/>
              <a:gd name="T29" fmla="*/ 2147483647 h 459"/>
              <a:gd name="T30" fmla="*/ 2147483647 w 3160"/>
              <a:gd name="T31" fmla="*/ 0 h 459"/>
              <a:gd name="T32" fmla="*/ 2147483647 w 3160"/>
              <a:gd name="T33" fmla="*/ 0 h 459"/>
              <a:gd name="T34" fmla="*/ 2147483647 w 3160"/>
              <a:gd name="T35" fmla="*/ 2147483647 h 459"/>
              <a:gd name="T36" fmla="*/ 2147483647 w 3160"/>
              <a:gd name="T37" fmla="*/ 2147483647 h 459"/>
              <a:gd name="T38" fmla="*/ 2147483647 w 3160"/>
              <a:gd name="T39" fmla="*/ 2147483647 h 459"/>
              <a:gd name="T40" fmla="*/ 2147483647 w 3160"/>
              <a:gd name="T41" fmla="*/ 2147483647 h 459"/>
              <a:gd name="T42" fmla="*/ 2147483647 w 3160"/>
              <a:gd name="T43" fmla="*/ 2147483647 h 459"/>
              <a:gd name="T44" fmla="*/ 2147483647 w 3160"/>
              <a:gd name="T45" fmla="*/ 2147483647 h 459"/>
              <a:gd name="T46" fmla="*/ 2147483647 w 3160"/>
              <a:gd name="T47" fmla="*/ 2147483647 h 459"/>
              <a:gd name="T48" fmla="*/ 2147483647 w 3160"/>
              <a:gd name="T49" fmla="*/ 2147483647 h 459"/>
              <a:gd name="T50" fmla="*/ 2147483647 w 3160"/>
              <a:gd name="T51" fmla="*/ 2147483647 h 459"/>
              <a:gd name="T52" fmla="*/ 2147483647 w 3160"/>
              <a:gd name="T53" fmla="*/ 2147483647 h 459"/>
              <a:gd name="T54" fmla="*/ 2147483647 w 3160"/>
              <a:gd name="T55" fmla="*/ 2147483647 h 459"/>
              <a:gd name="T56" fmla="*/ 2147483647 w 3160"/>
              <a:gd name="T57" fmla="*/ 2147483647 h 459"/>
              <a:gd name="T58" fmla="*/ 2147483647 w 3160"/>
              <a:gd name="T59" fmla="*/ 2147483647 h 459"/>
              <a:gd name="T60" fmla="*/ 2147483647 w 3160"/>
              <a:gd name="T61" fmla="*/ 2147483647 h 459"/>
              <a:gd name="T62" fmla="*/ 2147483647 w 3160"/>
              <a:gd name="T63" fmla="*/ 2147483647 h 459"/>
              <a:gd name="T64" fmla="*/ 2147483647 w 3160"/>
              <a:gd name="T65" fmla="*/ 2147483647 h 459"/>
              <a:gd name="T66" fmla="*/ 2147483647 w 3160"/>
              <a:gd name="T67" fmla="*/ 2147483647 h 459"/>
              <a:gd name="T68" fmla="*/ 2147483647 w 3160"/>
              <a:gd name="T69" fmla="*/ 2147483647 h 459"/>
              <a:gd name="T70" fmla="*/ 2147483647 w 3160"/>
              <a:gd name="T71" fmla="*/ 2147483647 h 459"/>
              <a:gd name="T72" fmla="*/ 2147483647 w 3160"/>
              <a:gd name="T73" fmla="*/ 2147483647 h 459"/>
              <a:gd name="T74" fmla="*/ 2147483647 w 3160"/>
              <a:gd name="T75" fmla="*/ 2147483647 h 459"/>
              <a:gd name="T76" fmla="*/ 2147483647 w 3160"/>
              <a:gd name="T77" fmla="*/ 2147483647 h 459"/>
              <a:gd name="T78" fmla="*/ 2147483647 w 3160"/>
              <a:gd name="T79" fmla="*/ 2147483647 h 459"/>
              <a:gd name="T80" fmla="*/ 2147483647 w 3160"/>
              <a:gd name="T81" fmla="*/ 2147483647 h 459"/>
              <a:gd name="T82" fmla="*/ 2147483647 w 3160"/>
              <a:gd name="T83" fmla="*/ 2147483647 h 459"/>
              <a:gd name="T84" fmla="*/ 2147483647 w 3160"/>
              <a:gd name="T85" fmla="*/ 2147483647 h 459"/>
              <a:gd name="T86" fmla="*/ 2147483647 w 3160"/>
              <a:gd name="T87" fmla="*/ 2147483647 h 459"/>
              <a:gd name="T88" fmla="*/ 2147483647 w 3160"/>
              <a:gd name="T89" fmla="*/ 2147483647 h 459"/>
              <a:gd name="T90" fmla="*/ 2147483647 w 3160"/>
              <a:gd name="T91" fmla="*/ 2147483647 h 459"/>
              <a:gd name="T92" fmla="*/ 2147483647 w 3160"/>
              <a:gd name="T93" fmla="*/ 2147483647 h 459"/>
              <a:gd name="T94" fmla="*/ 2147483647 w 3160"/>
              <a:gd name="T95" fmla="*/ 2147483647 h 459"/>
              <a:gd name="T96" fmla="*/ 2147483647 w 3160"/>
              <a:gd name="T97" fmla="*/ 2147483647 h 459"/>
              <a:gd name="T98" fmla="*/ 2147483647 w 3160"/>
              <a:gd name="T99" fmla="*/ 2147483647 h 459"/>
              <a:gd name="T100" fmla="*/ 2147483647 w 3160"/>
              <a:gd name="T101" fmla="*/ 2147483647 h 459"/>
              <a:gd name="T102" fmla="*/ 2147483647 w 3160"/>
              <a:gd name="T103" fmla="*/ 2147483647 h 459"/>
              <a:gd name="T104" fmla="*/ 2147483647 w 3160"/>
              <a:gd name="T105" fmla="*/ 2147483647 h 459"/>
              <a:gd name="T106" fmla="*/ 2147483647 w 3160"/>
              <a:gd name="T107" fmla="*/ 2147483647 h 459"/>
              <a:gd name="T108" fmla="*/ 2147483647 w 3160"/>
              <a:gd name="T109" fmla="*/ 2147483647 h 4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60"/>
              <a:gd name="T166" fmla="*/ 0 h 459"/>
              <a:gd name="T167" fmla="*/ 3160 w 3160"/>
              <a:gd name="T168" fmla="*/ 459 h 4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60" h="459">
                <a:moveTo>
                  <a:pt x="3160" y="459"/>
                </a:moveTo>
                <a:lnTo>
                  <a:pt x="3160" y="435"/>
                </a:lnTo>
                <a:lnTo>
                  <a:pt x="3156" y="411"/>
                </a:lnTo>
                <a:lnTo>
                  <a:pt x="3148" y="388"/>
                </a:lnTo>
                <a:lnTo>
                  <a:pt x="3136" y="368"/>
                </a:lnTo>
                <a:lnTo>
                  <a:pt x="3124" y="344"/>
                </a:lnTo>
                <a:lnTo>
                  <a:pt x="3109" y="324"/>
                </a:lnTo>
                <a:lnTo>
                  <a:pt x="3093" y="301"/>
                </a:lnTo>
                <a:lnTo>
                  <a:pt x="3073" y="281"/>
                </a:lnTo>
                <a:lnTo>
                  <a:pt x="3049" y="262"/>
                </a:lnTo>
                <a:lnTo>
                  <a:pt x="3026" y="242"/>
                </a:lnTo>
                <a:lnTo>
                  <a:pt x="2998" y="222"/>
                </a:lnTo>
                <a:lnTo>
                  <a:pt x="2966" y="202"/>
                </a:lnTo>
                <a:lnTo>
                  <a:pt x="2935" y="182"/>
                </a:lnTo>
                <a:lnTo>
                  <a:pt x="2904" y="166"/>
                </a:lnTo>
                <a:lnTo>
                  <a:pt x="2867" y="151"/>
                </a:lnTo>
                <a:lnTo>
                  <a:pt x="2829" y="135"/>
                </a:lnTo>
                <a:lnTo>
                  <a:pt x="2793" y="119"/>
                </a:lnTo>
                <a:lnTo>
                  <a:pt x="2749" y="104"/>
                </a:lnTo>
                <a:lnTo>
                  <a:pt x="2706" y="91"/>
                </a:lnTo>
                <a:lnTo>
                  <a:pt x="2662" y="80"/>
                </a:lnTo>
                <a:lnTo>
                  <a:pt x="2620" y="68"/>
                </a:lnTo>
                <a:lnTo>
                  <a:pt x="2572" y="56"/>
                </a:lnTo>
                <a:lnTo>
                  <a:pt x="2520" y="44"/>
                </a:lnTo>
                <a:lnTo>
                  <a:pt x="2473" y="36"/>
                </a:lnTo>
                <a:lnTo>
                  <a:pt x="2422" y="29"/>
                </a:lnTo>
                <a:lnTo>
                  <a:pt x="2367" y="20"/>
                </a:lnTo>
                <a:lnTo>
                  <a:pt x="2316" y="13"/>
                </a:lnTo>
                <a:lnTo>
                  <a:pt x="2260" y="9"/>
                </a:lnTo>
                <a:lnTo>
                  <a:pt x="2205" y="5"/>
                </a:lnTo>
                <a:lnTo>
                  <a:pt x="2145" y="0"/>
                </a:lnTo>
                <a:lnTo>
                  <a:pt x="2090" y="0"/>
                </a:lnTo>
                <a:lnTo>
                  <a:pt x="2031" y="0"/>
                </a:lnTo>
                <a:lnTo>
                  <a:pt x="1388" y="0"/>
                </a:lnTo>
                <a:lnTo>
                  <a:pt x="1297" y="0"/>
                </a:lnTo>
                <a:lnTo>
                  <a:pt x="1210" y="5"/>
                </a:lnTo>
                <a:lnTo>
                  <a:pt x="1124" y="13"/>
                </a:lnTo>
                <a:lnTo>
                  <a:pt x="1041" y="20"/>
                </a:lnTo>
                <a:lnTo>
                  <a:pt x="959" y="33"/>
                </a:lnTo>
                <a:lnTo>
                  <a:pt x="883" y="48"/>
                </a:lnTo>
                <a:lnTo>
                  <a:pt x="804" y="64"/>
                </a:lnTo>
                <a:lnTo>
                  <a:pt x="733" y="84"/>
                </a:lnTo>
                <a:lnTo>
                  <a:pt x="702" y="95"/>
                </a:lnTo>
                <a:lnTo>
                  <a:pt x="666" y="104"/>
                </a:lnTo>
                <a:lnTo>
                  <a:pt x="635" y="115"/>
                </a:lnTo>
                <a:lnTo>
                  <a:pt x="603" y="127"/>
                </a:lnTo>
                <a:lnTo>
                  <a:pt x="571" y="139"/>
                </a:lnTo>
                <a:lnTo>
                  <a:pt x="544" y="155"/>
                </a:lnTo>
                <a:lnTo>
                  <a:pt x="517" y="166"/>
                </a:lnTo>
                <a:lnTo>
                  <a:pt x="488" y="182"/>
                </a:lnTo>
                <a:lnTo>
                  <a:pt x="461" y="194"/>
                </a:lnTo>
                <a:lnTo>
                  <a:pt x="437" y="210"/>
                </a:lnTo>
                <a:lnTo>
                  <a:pt x="413" y="226"/>
                </a:lnTo>
                <a:lnTo>
                  <a:pt x="393" y="242"/>
                </a:lnTo>
                <a:lnTo>
                  <a:pt x="374" y="257"/>
                </a:lnTo>
                <a:lnTo>
                  <a:pt x="355" y="273"/>
                </a:lnTo>
                <a:lnTo>
                  <a:pt x="339" y="289"/>
                </a:lnTo>
                <a:lnTo>
                  <a:pt x="322" y="304"/>
                </a:lnTo>
                <a:lnTo>
                  <a:pt x="0" y="304"/>
                </a:lnTo>
                <a:lnTo>
                  <a:pt x="579" y="459"/>
                </a:lnTo>
                <a:lnTo>
                  <a:pt x="1290" y="304"/>
                </a:lnTo>
                <a:lnTo>
                  <a:pt x="966" y="304"/>
                </a:lnTo>
                <a:lnTo>
                  <a:pt x="990" y="281"/>
                </a:lnTo>
                <a:lnTo>
                  <a:pt x="1021" y="257"/>
                </a:lnTo>
                <a:lnTo>
                  <a:pt x="1048" y="230"/>
                </a:lnTo>
                <a:lnTo>
                  <a:pt x="1084" y="210"/>
                </a:lnTo>
                <a:lnTo>
                  <a:pt x="1124" y="186"/>
                </a:lnTo>
                <a:lnTo>
                  <a:pt x="1163" y="166"/>
                </a:lnTo>
                <a:lnTo>
                  <a:pt x="1206" y="147"/>
                </a:lnTo>
                <a:lnTo>
                  <a:pt x="1254" y="127"/>
                </a:lnTo>
                <a:lnTo>
                  <a:pt x="1301" y="107"/>
                </a:lnTo>
                <a:lnTo>
                  <a:pt x="1352" y="91"/>
                </a:lnTo>
                <a:lnTo>
                  <a:pt x="1408" y="76"/>
                </a:lnTo>
                <a:lnTo>
                  <a:pt x="1463" y="60"/>
                </a:lnTo>
                <a:lnTo>
                  <a:pt x="1523" y="48"/>
                </a:lnTo>
                <a:lnTo>
                  <a:pt x="1581" y="36"/>
                </a:lnTo>
                <a:lnTo>
                  <a:pt x="1645" y="29"/>
                </a:lnTo>
                <a:lnTo>
                  <a:pt x="1708" y="16"/>
                </a:lnTo>
                <a:lnTo>
                  <a:pt x="1798" y="33"/>
                </a:lnTo>
                <a:lnTo>
                  <a:pt x="1838" y="36"/>
                </a:lnTo>
                <a:lnTo>
                  <a:pt x="1881" y="44"/>
                </a:lnTo>
                <a:lnTo>
                  <a:pt x="1921" y="52"/>
                </a:lnTo>
                <a:lnTo>
                  <a:pt x="1960" y="64"/>
                </a:lnTo>
                <a:lnTo>
                  <a:pt x="2000" y="71"/>
                </a:lnTo>
                <a:lnTo>
                  <a:pt x="2036" y="84"/>
                </a:lnTo>
                <a:lnTo>
                  <a:pt x="2074" y="95"/>
                </a:lnTo>
                <a:lnTo>
                  <a:pt x="2110" y="104"/>
                </a:lnTo>
                <a:lnTo>
                  <a:pt x="2142" y="119"/>
                </a:lnTo>
                <a:lnTo>
                  <a:pt x="2174" y="131"/>
                </a:lnTo>
                <a:lnTo>
                  <a:pt x="2205" y="142"/>
                </a:lnTo>
                <a:lnTo>
                  <a:pt x="2236" y="155"/>
                </a:lnTo>
                <a:lnTo>
                  <a:pt x="2264" y="171"/>
                </a:lnTo>
                <a:lnTo>
                  <a:pt x="2292" y="186"/>
                </a:lnTo>
                <a:lnTo>
                  <a:pt x="2319" y="198"/>
                </a:lnTo>
                <a:lnTo>
                  <a:pt x="2343" y="213"/>
                </a:lnTo>
                <a:lnTo>
                  <a:pt x="2367" y="230"/>
                </a:lnTo>
                <a:lnTo>
                  <a:pt x="2387" y="246"/>
                </a:lnTo>
                <a:lnTo>
                  <a:pt x="2406" y="262"/>
                </a:lnTo>
                <a:lnTo>
                  <a:pt x="2425" y="277"/>
                </a:lnTo>
                <a:lnTo>
                  <a:pt x="2442" y="297"/>
                </a:lnTo>
                <a:lnTo>
                  <a:pt x="2458" y="313"/>
                </a:lnTo>
                <a:lnTo>
                  <a:pt x="2469" y="333"/>
                </a:lnTo>
                <a:lnTo>
                  <a:pt x="2481" y="348"/>
                </a:lnTo>
                <a:lnTo>
                  <a:pt x="2493" y="368"/>
                </a:lnTo>
                <a:lnTo>
                  <a:pt x="2501" y="384"/>
                </a:lnTo>
                <a:lnTo>
                  <a:pt x="2509" y="404"/>
                </a:lnTo>
                <a:lnTo>
                  <a:pt x="2513" y="423"/>
                </a:lnTo>
                <a:lnTo>
                  <a:pt x="2516" y="439"/>
                </a:lnTo>
                <a:lnTo>
                  <a:pt x="2516" y="459"/>
                </a:lnTo>
                <a:lnTo>
                  <a:pt x="3160" y="459"/>
                </a:lnTo>
              </a:path>
            </a:pathLst>
          </a:custGeom>
          <a:solidFill>
            <a:schemeClr val="accent1"/>
          </a:solidFill>
          <a:ln w="8001">
            <a:solidFill>
              <a:srgbClr val="000000"/>
            </a:solidFill>
            <a:round/>
            <a:headEnd/>
            <a:tailEnd/>
          </a:ln>
        </p:spPr>
        <p:txBody>
          <a:bodyPr/>
          <a:lstStyle/>
          <a:p>
            <a:pPr defTabSz="914324">
              <a:defRPr/>
            </a:pPr>
            <a:endParaRPr lang="ja-JP" altLang="en-US" sz="1950">
              <a:solidFill>
                <a:srgbClr val="000000"/>
              </a:solidFill>
              <a:ea typeface="ＭＳ Ｐゴシック" charset="-128"/>
            </a:endParaRPr>
          </a:p>
        </p:txBody>
      </p:sp>
      <p:sp>
        <p:nvSpPr>
          <p:cNvPr id="6162" name="Freeform 55"/>
          <p:cNvSpPr>
            <a:spLocks/>
          </p:cNvSpPr>
          <p:nvPr/>
        </p:nvSpPr>
        <p:spPr bwMode="auto">
          <a:xfrm>
            <a:off x="389937" y="6404695"/>
            <a:ext cx="3899375" cy="657853"/>
          </a:xfrm>
          <a:custGeom>
            <a:avLst/>
            <a:gdLst>
              <a:gd name="T0" fmla="*/ 2147483647 w 11438"/>
              <a:gd name="T1" fmla="*/ 2147483647 h 1776"/>
              <a:gd name="T2" fmla="*/ 2147483647 w 11438"/>
              <a:gd name="T3" fmla="*/ 2147483647 h 1776"/>
              <a:gd name="T4" fmla="*/ 2147483647 w 11438"/>
              <a:gd name="T5" fmla="*/ 2147483647 h 1776"/>
              <a:gd name="T6" fmla="*/ 2147483647 w 11438"/>
              <a:gd name="T7" fmla="*/ 2147483647 h 1776"/>
              <a:gd name="T8" fmla="*/ 2147483647 w 11438"/>
              <a:gd name="T9" fmla="*/ 2147483647 h 1776"/>
              <a:gd name="T10" fmla="*/ 2147483647 w 11438"/>
              <a:gd name="T11" fmla="*/ 2147483647 h 1776"/>
              <a:gd name="T12" fmla="*/ 2147483647 w 11438"/>
              <a:gd name="T13" fmla="*/ 2147483647 h 1776"/>
              <a:gd name="T14" fmla="*/ 2147483647 w 11438"/>
              <a:gd name="T15" fmla="*/ 2147483647 h 1776"/>
              <a:gd name="T16" fmla="*/ 2147483647 w 11438"/>
              <a:gd name="T17" fmla="*/ 2147483647 h 1776"/>
              <a:gd name="T18" fmla="*/ 2147483647 w 11438"/>
              <a:gd name="T19" fmla="*/ 2147483647 h 1776"/>
              <a:gd name="T20" fmla="*/ 2147483647 w 11438"/>
              <a:gd name="T21" fmla="*/ 2147483647 h 1776"/>
              <a:gd name="T22" fmla="*/ 2147483647 w 11438"/>
              <a:gd name="T23" fmla="*/ 2147483647 h 1776"/>
              <a:gd name="T24" fmla="*/ 2147483647 w 11438"/>
              <a:gd name="T25" fmla="*/ 2147483647 h 1776"/>
              <a:gd name="T26" fmla="*/ 2147483647 w 11438"/>
              <a:gd name="T27" fmla="*/ 2147483647 h 1776"/>
              <a:gd name="T28" fmla="*/ 2147483647 w 11438"/>
              <a:gd name="T29" fmla="*/ 2147483647 h 1776"/>
              <a:gd name="T30" fmla="*/ 2147483647 w 11438"/>
              <a:gd name="T31" fmla="*/ 2147483647 h 1776"/>
              <a:gd name="T32" fmla="*/ 2147483647 w 11438"/>
              <a:gd name="T33" fmla="*/ 2147483647 h 1776"/>
              <a:gd name="T34" fmla="*/ 2147483647 w 11438"/>
              <a:gd name="T35" fmla="*/ 2147483647 h 1776"/>
              <a:gd name="T36" fmla="*/ 2147483647 w 11438"/>
              <a:gd name="T37" fmla="*/ 2147483647 h 1776"/>
              <a:gd name="T38" fmla="*/ 2147483647 w 11438"/>
              <a:gd name="T39" fmla="*/ 2147483647 h 1776"/>
              <a:gd name="T40" fmla="*/ 2147483647 w 11438"/>
              <a:gd name="T41" fmla="*/ 2147483647 h 1776"/>
              <a:gd name="T42" fmla="*/ 2147483647 w 11438"/>
              <a:gd name="T43" fmla="*/ 2147483647 h 1776"/>
              <a:gd name="T44" fmla="*/ 2147483647 w 11438"/>
              <a:gd name="T45" fmla="*/ 0 h 1776"/>
              <a:gd name="T46" fmla="*/ 2147483647 w 11438"/>
              <a:gd name="T47" fmla="*/ 2147483647 h 1776"/>
              <a:gd name="T48" fmla="*/ 2147483647 w 11438"/>
              <a:gd name="T49" fmla="*/ 2147483647 h 1776"/>
              <a:gd name="T50" fmla="*/ 2147483647 w 11438"/>
              <a:gd name="T51" fmla="*/ 2147483647 h 1776"/>
              <a:gd name="T52" fmla="*/ 2147483647 w 11438"/>
              <a:gd name="T53" fmla="*/ 2147483647 h 1776"/>
              <a:gd name="T54" fmla="*/ 2147483647 w 11438"/>
              <a:gd name="T55" fmla="*/ 2147483647 h 1776"/>
              <a:gd name="T56" fmla="*/ 2147483647 w 11438"/>
              <a:gd name="T57" fmla="*/ 2147483647 h 1776"/>
              <a:gd name="T58" fmla="*/ 2147483647 w 11438"/>
              <a:gd name="T59" fmla="*/ 2147483647 h 1776"/>
              <a:gd name="T60" fmla="*/ 2147483647 w 11438"/>
              <a:gd name="T61" fmla="*/ 2147483647 h 1776"/>
              <a:gd name="T62" fmla="*/ 2147483647 w 11438"/>
              <a:gd name="T63" fmla="*/ 2147483647 h 1776"/>
              <a:gd name="T64" fmla="*/ 2147483647 w 11438"/>
              <a:gd name="T65" fmla="*/ 2147483647 h 1776"/>
              <a:gd name="T66" fmla="*/ 2147483647 w 11438"/>
              <a:gd name="T67" fmla="*/ 2147483647 h 1776"/>
              <a:gd name="T68" fmla="*/ 2147483647 w 11438"/>
              <a:gd name="T69" fmla="*/ 2147483647 h 1776"/>
              <a:gd name="T70" fmla="*/ 2147483647 w 11438"/>
              <a:gd name="T71" fmla="*/ 2147483647 h 1776"/>
              <a:gd name="T72" fmla="*/ 2147483647 w 11438"/>
              <a:gd name="T73" fmla="*/ 2147483647 h 1776"/>
              <a:gd name="T74" fmla="*/ 2147483647 w 11438"/>
              <a:gd name="T75" fmla="*/ 2147483647 h 1776"/>
              <a:gd name="T76" fmla="*/ 2147483647 w 11438"/>
              <a:gd name="T77" fmla="*/ 2147483647 h 1776"/>
              <a:gd name="T78" fmla="*/ 2147483647 w 11438"/>
              <a:gd name="T79" fmla="*/ 2147483647 h 1776"/>
              <a:gd name="T80" fmla="*/ 2147483647 w 11438"/>
              <a:gd name="T81" fmla="*/ 2147483647 h 1776"/>
              <a:gd name="T82" fmla="*/ 2147483647 w 11438"/>
              <a:gd name="T83" fmla="*/ 2147483647 h 1776"/>
              <a:gd name="T84" fmla="*/ 2147483647 w 11438"/>
              <a:gd name="T85" fmla="*/ 2147483647 h 1776"/>
              <a:gd name="T86" fmla="*/ 2147483647 w 11438"/>
              <a:gd name="T87" fmla="*/ 2147483647 h 1776"/>
              <a:gd name="T88" fmla="*/ 2147483647 w 11438"/>
              <a:gd name="T89" fmla="*/ 2147483647 h 1776"/>
              <a:gd name="T90" fmla="*/ 2147483647 w 11438"/>
              <a:gd name="T91" fmla="*/ 2147483647 h 17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438"/>
              <a:gd name="T139" fmla="*/ 0 h 1776"/>
              <a:gd name="T140" fmla="*/ 11438 w 11438"/>
              <a:gd name="T141" fmla="*/ 1776 h 17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438" h="1776">
                <a:moveTo>
                  <a:pt x="1905" y="1776"/>
                </a:moveTo>
                <a:lnTo>
                  <a:pt x="1815" y="1768"/>
                </a:lnTo>
                <a:lnTo>
                  <a:pt x="1721" y="1761"/>
                </a:lnTo>
                <a:lnTo>
                  <a:pt x="1634" y="1749"/>
                </a:lnTo>
                <a:lnTo>
                  <a:pt x="1543" y="1741"/>
                </a:lnTo>
                <a:lnTo>
                  <a:pt x="1456" y="1725"/>
                </a:lnTo>
                <a:lnTo>
                  <a:pt x="1370" y="1713"/>
                </a:lnTo>
                <a:lnTo>
                  <a:pt x="1286" y="1697"/>
                </a:lnTo>
                <a:lnTo>
                  <a:pt x="1203" y="1681"/>
                </a:lnTo>
                <a:lnTo>
                  <a:pt x="1121" y="1666"/>
                </a:lnTo>
                <a:lnTo>
                  <a:pt x="1037" y="1646"/>
                </a:lnTo>
                <a:lnTo>
                  <a:pt x="959" y="1626"/>
                </a:lnTo>
                <a:lnTo>
                  <a:pt x="880" y="1606"/>
                </a:lnTo>
                <a:lnTo>
                  <a:pt x="801" y="1587"/>
                </a:lnTo>
                <a:lnTo>
                  <a:pt x="726" y="1563"/>
                </a:lnTo>
                <a:lnTo>
                  <a:pt x="651" y="1539"/>
                </a:lnTo>
                <a:lnTo>
                  <a:pt x="577" y="1516"/>
                </a:lnTo>
                <a:lnTo>
                  <a:pt x="517" y="1480"/>
                </a:lnTo>
                <a:lnTo>
                  <a:pt x="462" y="1444"/>
                </a:lnTo>
                <a:lnTo>
                  <a:pt x="406" y="1409"/>
                </a:lnTo>
                <a:lnTo>
                  <a:pt x="355" y="1374"/>
                </a:lnTo>
                <a:lnTo>
                  <a:pt x="308" y="1335"/>
                </a:lnTo>
                <a:lnTo>
                  <a:pt x="264" y="1299"/>
                </a:lnTo>
                <a:lnTo>
                  <a:pt x="221" y="1259"/>
                </a:lnTo>
                <a:lnTo>
                  <a:pt x="182" y="1220"/>
                </a:lnTo>
                <a:lnTo>
                  <a:pt x="146" y="1180"/>
                </a:lnTo>
                <a:lnTo>
                  <a:pt x="115" y="1137"/>
                </a:lnTo>
                <a:lnTo>
                  <a:pt x="87" y="1097"/>
                </a:lnTo>
                <a:lnTo>
                  <a:pt x="60" y="1055"/>
                </a:lnTo>
                <a:lnTo>
                  <a:pt x="40" y="1015"/>
                </a:lnTo>
                <a:lnTo>
                  <a:pt x="20" y="971"/>
                </a:lnTo>
                <a:lnTo>
                  <a:pt x="16" y="947"/>
                </a:lnTo>
                <a:lnTo>
                  <a:pt x="8" y="928"/>
                </a:lnTo>
                <a:lnTo>
                  <a:pt x="4" y="908"/>
                </a:lnTo>
                <a:lnTo>
                  <a:pt x="0" y="884"/>
                </a:lnTo>
                <a:lnTo>
                  <a:pt x="4" y="864"/>
                </a:lnTo>
                <a:lnTo>
                  <a:pt x="8" y="840"/>
                </a:lnTo>
                <a:lnTo>
                  <a:pt x="16" y="822"/>
                </a:lnTo>
                <a:lnTo>
                  <a:pt x="20" y="802"/>
                </a:lnTo>
                <a:lnTo>
                  <a:pt x="40" y="758"/>
                </a:lnTo>
                <a:lnTo>
                  <a:pt x="60" y="718"/>
                </a:lnTo>
                <a:lnTo>
                  <a:pt x="87" y="675"/>
                </a:lnTo>
                <a:lnTo>
                  <a:pt x="115" y="636"/>
                </a:lnTo>
                <a:lnTo>
                  <a:pt x="146" y="596"/>
                </a:lnTo>
                <a:lnTo>
                  <a:pt x="182" y="553"/>
                </a:lnTo>
                <a:lnTo>
                  <a:pt x="221" y="513"/>
                </a:lnTo>
                <a:lnTo>
                  <a:pt x="264" y="474"/>
                </a:lnTo>
                <a:lnTo>
                  <a:pt x="308" y="438"/>
                </a:lnTo>
                <a:lnTo>
                  <a:pt x="355" y="398"/>
                </a:lnTo>
                <a:lnTo>
                  <a:pt x="406" y="359"/>
                </a:lnTo>
                <a:lnTo>
                  <a:pt x="462" y="324"/>
                </a:lnTo>
                <a:lnTo>
                  <a:pt x="517" y="285"/>
                </a:lnTo>
                <a:lnTo>
                  <a:pt x="577" y="249"/>
                </a:lnTo>
                <a:lnTo>
                  <a:pt x="726" y="201"/>
                </a:lnTo>
                <a:lnTo>
                  <a:pt x="801" y="181"/>
                </a:lnTo>
                <a:lnTo>
                  <a:pt x="880" y="158"/>
                </a:lnTo>
                <a:lnTo>
                  <a:pt x="959" y="138"/>
                </a:lnTo>
                <a:lnTo>
                  <a:pt x="1037" y="119"/>
                </a:lnTo>
                <a:lnTo>
                  <a:pt x="1121" y="103"/>
                </a:lnTo>
                <a:lnTo>
                  <a:pt x="1203" y="87"/>
                </a:lnTo>
                <a:lnTo>
                  <a:pt x="1286" y="72"/>
                </a:lnTo>
                <a:lnTo>
                  <a:pt x="1370" y="56"/>
                </a:lnTo>
                <a:lnTo>
                  <a:pt x="1456" y="43"/>
                </a:lnTo>
                <a:lnTo>
                  <a:pt x="1543" y="32"/>
                </a:lnTo>
                <a:lnTo>
                  <a:pt x="1634" y="20"/>
                </a:lnTo>
                <a:lnTo>
                  <a:pt x="1721" y="12"/>
                </a:lnTo>
                <a:lnTo>
                  <a:pt x="1815" y="5"/>
                </a:lnTo>
                <a:lnTo>
                  <a:pt x="1905" y="0"/>
                </a:lnTo>
                <a:lnTo>
                  <a:pt x="11438" y="0"/>
                </a:lnTo>
                <a:lnTo>
                  <a:pt x="11347" y="5"/>
                </a:lnTo>
                <a:lnTo>
                  <a:pt x="11257" y="12"/>
                </a:lnTo>
                <a:lnTo>
                  <a:pt x="11171" y="20"/>
                </a:lnTo>
                <a:lnTo>
                  <a:pt x="11083" y="32"/>
                </a:lnTo>
                <a:lnTo>
                  <a:pt x="11000" y="43"/>
                </a:lnTo>
                <a:lnTo>
                  <a:pt x="10918" y="56"/>
                </a:lnTo>
                <a:lnTo>
                  <a:pt x="10834" y="72"/>
                </a:lnTo>
                <a:lnTo>
                  <a:pt x="10752" y="87"/>
                </a:lnTo>
                <a:lnTo>
                  <a:pt x="10673" y="103"/>
                </a:lnTo>
                <a:lnTo>
                  <a:pt x="10590" y="119"/>
                </a:lnTo>
                <a:lnTo>
                  <a:pt x="10512" y="138"/>
                </a:lnTo>
                <a:lnTo>
                  <a:pt x="10432" y="158"/>
                </a:lnTo>
                <a:lnTo>
                  <a:pt x="10350" y="181"/>
                </a:lnTo>
                <a:lnTo>
                  <a:pt x="10270" y="201"/>
                </a:lnTo>
                <a:lnTo>
                  <a:pt x="10108" y="249"/>
                </a:lnTo>
                <a:lnTo>
                  <a:pt x="10050" y="285"/>
                </a:lnTo>
                <a:lnTo>
                  <a:pt x="9994" y="324"/>
                </a:lnTo>
                <a:lnTo>
                  <a:pt x="9943" y="359"/>
                </a:lnTo>
                <a:lnTo>
                  <a:pt x="9892" y="398"/>
                </a:lnTo>
                <a:lnTo>
                  <a:pt x="9844" y="438"/>
                </a:lnTo>
                <a:lnTo>
                  <a:pt x="9797" y="474"/>
                </a:lnTo>
                <a:lnTo>
                  <a:pt x="9754" y="513"/>
                </a:lnTo>
                <a:lnTo>
                  <a:pt x="9719" y="553"/>
                </a:lnTo>
                <a:lnTo>
                  <a:pt x="9683" y="596"/>
                </a:lnTo>
                <a:lnTo>
                  <a:pt x="9648" y="636"/>
                </a:lnTo>
                <a:lnTo>
                  <a:pt x="9619" y="675"/>
                </a:lnTo>
                <a:lnTo>
                  <a:pt x="9595" y="718"/>
                </a:lnTo>
                <a:lnTo>
                  <a:pt x="9572" y="758"/>
                </a:lnTo>
                <a:lnTo>
                  <a:pt x="9564" y="778"/>
                </a:lnTo>
                <a:lnTo>
                  <a:pt x="9557" y="802"/>
                </a:lnTo>
                <a:lnTo>
                  <a:pt x="9548" y="822"/>
                </a:lnTo>
                <a:lnTo>
                  <a:pt x="9541" y="840"/>
                </a:lnTo>
                <a:lnTo>
                  <a:pt x="9537" y="864"/>
                </a:lnTo>
                <a:lnTo>
                  <a:pt x="9533" y="884"/>
                </a:lnTo>
                <a:lnTo>
                  <a:pt x="9537" y="908"/>
                </a:lnTo>
                <a:lnTo>
                  <a:pt x="9541" y="928"/>
                </a:lnTo>
                <a:lnTo>
                  <a:pt x="9548" y="947"/>
                </a:lnTo>
                <a:lnTo>
                  <a:pt x="9557" y="971"/>
                </a:lnTo>
                <a:lnTo>
                  <a:pt x="9564" y="991"/>
                </a:lnTo>
                <a:lnTo>
                  <a:pt x="9572" y="1015"/>
                </a:lnTo>
                <a:lnTo>
                  <a:pt x="9595" y="1055"/>
                </a:lnTo>
                <a:lnTo>
                  <a:pt x="9619" y="1097"/>
                </a:lnTo>
                <a:lnTo>
                  <a:pt x="9648" y="1137"/>
                </a:lnTo>
                <a:lnTo>
                  <a:pt x="9683" y="1180"/>
                </a:lnTo>
                <a:lnTo>
                  <a:pt x="9719" y="1220"/>
                </a:lnTo>
                <a:lnTo>
                  <a:pt x="9754" y="1259"/>
                </a:lnTo>
                <a:lnTo>
                  <a:pt x="9797" y="1299"/>
                </a:lnTo>
                <a:lnTo>
                  <a:pt x="9844" y="1335"/>
                </a:lnTo>
                <a:lnTo>
                  <a:pt x="9892" y="1374"/>
                </a:lnTo>
                <a:lnTo>
                  <a:pt x="9943" y="1409"/>
                </a:lnTo>
                <a:lnTo>
                  <a:pt x="9994" y="1444"/>
                </a:lnTo>
                <a:lnTo>
                  <a:pt x="10050" y="1480"/>
                </a:lnTo>
                <a:lnTo>
                  <a:pt x="10108" y="1516"/>
                </a:lnTo>
                <a:lnTo>
                  <a:pt x="10192" y="1539"/>
                </a:lnTo>
                <a:lnTo>
                  <a:pt x="10270" y="1563"/>
                </a:lnTo>
                <a:lnTo>
                  <a:pt x="10350" y="1587"/>
                </a:lnTo>
                <a:lnTo>
                  <a:pt x="10432" y="1606"/>
                </a:lnTo>
                <a:lnTo>
                  <a:pt x="10512" y="1626"/>
                </a:lnTo>
                <a:lnTo>
                  <a:pt x="10590" y="1646"/>
                </a:lnTo>
                <a:lnTo>
                  <a:pt x="10673" y="1666"/>
                </a:lnTo>
                <a:lnTo>
                  <a:pt x="10752" y="1681"/>
                </a:lnTo>
                <a:lnTo>
                  <a:pt x="10834" y="1697"/>
                </a:lnTo>
                <a:lnTo>
                  <a:pt x="10918" y="1713"/>
                </a:lnTo>
                <a:lnTo>
                  <a:pt x="11000" y="1725"/>
                </a:lnTo>
                <a:lnTo>
                  <a:pt x="11083" y="1741"/>
                </a:lnTo>
                <a:lnTo>
                  <a:pt x="11171" y="1749"/>
                </a:lnTo>
                <a:lnTo>
                  <a:pt x="11257" y="1761"/>
                </a:lnTo>
                <a:lnTo>
                  <a:pt x="11347" y="1768"/>
                </a:lnTo>
                <a:lnTo>
                  <a:pt x="11438" y="1776"/>
                </a:lnTo>
                <a:lnTo>
                  <a:pt x="1905" y="1776"/>
                </a:lnTo>
                <a:close/>
              </a:path>
            </a:pathLst>
          </a:custGeom>
          <a:solidFill>
            <a:srgbClr val="C5E5E7"/>
          </a:solidFill>
          <a:ln w="9525">
            <a:solidFill>
              <a:schemeClr val="tx1"/>
            </a:solidFill>
            <a:round/>
            <a:headEnd/>
            <a:tailEnd/>
          </a:ln>
        </p:spPr>
        <p:txBody>
          <a:bodyPr/>
          <a:lstStyle/>
          <a:p>
            <a:pPr defTabSz="914324">
              <a:defRPr/>
            </a:pPr>
            <a:endParaRPr lang="ja-JP" altLang="en-US" sz="1950">
              <a:solidFill>
                <a:srgbClr val="000000"/>
              </a:solidFill>
              <a:ea typeface="ＭＳ Ｐゴシック" charset="-128"/>
            </a:endParaRPr>
          </a:p>
        </p:txBody>
      </p:sp>
      <p:sp>
        <p:nvSpPr>
          <p:cNvPr id="6163" name="Rectangle 56"/>
          <p:cNvSpPr>
            <a:spLocks noChangeArrowheads="1"/>
          </p:cNvSpPr>
          <p:nvPr/>
        </p:nvSpPr>
        <p:spPr bwMode="auto">
          <a:xfrm>
            <a:off x="896856" y="6443690"/>
            <a:ext cx="2729563" cy="550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324" eaLnBrk="1" hangingPunct="1">
              <a:defRPr/>
            </a:pPr>
            <a:r>
              <a:rPr lang="ja-JP" altLang="en-US" sz="1192" b="1" dirty="0">
                <a:solidFill>
                  <a:srgbClr val="000000"/>
                </a:solidFill>
                <a:latin typeface="ＭＳ Ｐゴシック"/>
                <a:ea typeface="ＭＳ Ｐゴシック"/>
              </a:rPr>
              <a:t>計画への多様な主体の参画</a:t>
            </a:r>
          </a:p>
          <a:p>
            <a:pPr defTabSz="914324" eaLnBrk="1" hangingPunct="1">
              <a:defRPr/>
            </a:pPr>
            <a:r>
              <a:rPr lang="ja-JP" altLang="en-US" sz="1192" dirty="0">
                <a:solidFill>
                  <a:srgbClr val="000000"/>
                </a:solidFill>
                <a:latin typeface="ＭＳ Ｐゴシック"/>
                <a:ea typeface="ＭＳ Ｐゴシック"/>
              </a:rPr>
              <a:t>・地方公共団体から国への計画提案制度</a:t>
            </a:r>
            <a:endParaRPr lang="en-US" altLang="ja-JP" sz="1192" dirty="0">
              <a:solidFill>
                <a:srgbClr val="000000"/>
              </a:solidFill>
              <a:latin typeface="ＭＳ Ｐゴシック"/>
              <a:ea typeface="ＭＳ Ｐゴシック"/>
            </a:endParaRPr>
          </a:p>
          <a:p>
            <a:pPr defTabSz="914324" eaLnBrk="1" hangingPunct="1">
              <a:defRPr/>
            </a:pPr>
            <a:r>
              <a:rPr lang="ja-JP" altLang="en-US" sz="1192" dirty="0">
                <a:solidFill>
                  <a:srgbClr val="000000"/>
                </a:solidFill>
                <a:latin typeface="ＭＳ Ｐゴシック"/>
                <a:ea typeface="ＭＳ Ｐゴシック"/>
              </a:rPr>
              <a:t>・国民の意見を反映させる仕組み</a:t>
            </a:r>
          </a:p>
        </p:txBody>
      </p:sp>
      <p:sp>
        <p:nvSpPr>
          <p:cNvPr id="6164" name="Rectangle 57"/>
          <p:cNvSpPr>
            <a:spLocks noChangeArrowheads="1"/>
          </p:cNvSpPr>
          <p:nvPr/>
        </p:nvSpPr>
        <p:spPr bwMode="auto">
          <a:xfrm>
            <a:off x="2300631" y="4104064"/>
            <a:ext cx="152286" cy="2332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324" eaLnBrk="1" hangingPunct="1">
              <a:defRPr/>
            </a:pPr>
            <a:r>
              <a:rPr lang="ja-JP" altLang="en-US" sz="1516" b="1" dirty="0">
                <a:solidFill>
                  <a:srgbClr val="000000"/>
                </a:solidFill>
                <a:latin typeface="ＤＨＰ特太ゴシック体" panose="020B0500000000000000" pitchFamily="50" charset="-128"/>
                <a:ea typeface="ＤＨＰ特太ゴシック体" panose="020B0500000000000000" pitchFamily="50" charset="-128"/>
              </a:rPr>
              <a:t>＋</a:t>
            </a:r>
            <a:endParaRPr lang="ja-JP" altLang="en-US" sz="2600" dirty="0">
              <a:solidFill>
                <a:srgbClr val="000000"/>
              </a:solidFill>
            </a:endParaRPr>
          </a:p>
        </p:txBody>
      </p:sp>
      <p:sp>
        <p:nvSpPr>
          <p:cNvPr id="80" name="Rectangle 2"/>
          <p:cNvSpPr>
            <a:spLocks noChangeArrowheads="1"/>
          </p:cNvSpPr>
          <p:nvPr/>
        </p:nvSpPr>
        <p:spPr bwMode="auto">
          <a:xfrm>
            <a:off x="194968" y="7184571"/>
            <a:ext cx="4289313" cy="39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92857" indent="-92857" defTabSz="914324">
              <a:defRPr/>
            </a:pPr>
            <a:r>
              <a:rPr lang="en-US" altLang="ja-JP" sz="1300" dirty="0">
                <a:solidFill>
                  <a:srgbClr val="000000"/>
                </a:solidFill>
                <a:latin typeface="ＭＳ Ｐゴシック"/>
                <a:ea typeface="ＭＳ Ｐゴシック"/>
              </a:rPr>
              <a:t>※</a:t>
            </a:r>
            <a:r>
              <a:rPr lang="ja-JP" altLang="en-US" sz="1300" dirty="0">
                <a:solidFill>
                  <a:srgbClr val="000000"/>
                </a:solidFill>
                <a:latin typeface="ＭＳ Ｐゴシック"/>
                <a:ea typeface="ＭＳ Ｐゴシック"/>
              </a:rPr>
              <a:t>国土形成計画（全国計画）は、国土利用計画（全国計画）と一体のものとして定めることとされている。</a:t>
            </a:r>
          </a:p>
        </p:txBody>
      </p:sp>
      <p:sp>
        <p:nvSpPr>
          <p:cNvPr id="73" name="Rectangle 68"/>
          <p:cNvSpPr>
            <a:spLocks noChangeArrowheads="1"/>
          </p:cNvSpPr>
          <p:nvPr/>
        </p:nvSpPr>
        <p:spPr bwMode="auto">
          <a:xfrm>
            <a:off x="-1" y="165695"/>
            <a:ext cx="9904413" cy="545913"/>
          </a:xfrm>
          <a:prstGeom prst="rect">
            <a:avLst/>
          </a:prstGeom>
        </p:spPr>
        <p:txBody>
          <a:bodyPr anchor="ctr"/>
          <a:lstStyle/>
          <a:p>
            <a:pPr algn="ctr" defTabSz="990498" eaLnBrk="0" hangingPunct="0">
              <a:defRPr/>
            </a:pPr>
            <a:r>
              <a:rPr lang="ja-JP" altLang="en-US" sz="2600" kern="0" dirty="0">
                <a:solidFill>
                  <a:srgbClr val="4087C8"/>
                </a:solidFill>
                <a:latin typeface="HGP創英角ｺﾞｼｯｸUB"/>
                <a:ea typeface="HGP創英角ｺﾞｼｯｸUB"/>
              </a:rPr>
              <a:t>国土形成計画の制度概要</a:t>
            </a:r>
          </a:p>
        </p:txBody>
      </p:sp>
      <p:sp>
        <p:nvSpPr>
          <p:cNvPr id="74" name="Rectangle 41"/>
          <p:cNvSpPr>
            <a:spLocks noChangeArrowheads="1"/>
          </p:cNvSpPr>
          <p:nvPr/>
        </p:nvSpPr>
        <p:spPr bwMode="auto">
          <a:xfrm>
            <a:off x="1559750" y="4532996"/>
            <a:ext cx="1559750" cy="378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8994" rIns="0" bIns="38994">
            <a:spAutoFit/>
          </a:bodyP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324" eaLnBrk="1" hangingPunct="1">
              <a:defRPr/>
            </a:pPr>
            <a:r>
              <a:rPr lang="ja-JP" altLang="en-US" sz="1950" b="1" dirty="0">
                <a:solidFill>
                  <a:srgbClr val="000000"/>
                </a:solidFill>
                <a:latin typeface="ＭＳ Ｐゴシック" panose="020B0600070205080204" pitchFamily="50" charset="-128"/>
              </a:rPr>
              <a:t>広域地方計画</a:t>
            </a:r>
            <a:endParaRPr lang="ja-JP" altLang="en-US" sz="1950" b="1" dirty="0">
              <a:solidFill>
                <a:srgbClr val="000000"/>
              </a:solidFill>
            </a:endParaRPr>
          </a:p>
        </p:txBody>
      </p:sp>
      <p:sp>
        <p:nvSpPr>
          <p:cNvPr id="67" name="テキスト ボックス 66"/>
          <p:cNvSpPr txBox="1"/>
          <p:nvPr/>
        </p:nvSpPr>
        <p:spPr>
          <a:xfrm>
            <a:off x="5693086" y="2271358"/>
            <a:ext cx="3119500" cy="389938"/>
          </a:xfrm>
          <a:prstGeom prst="rect">
            <a:avLst/>
          </a:prstGeom>
          <a:solidFill>
            <a:srgbClr val="FFCC99"/>
          </a:solidFill>
          <a:ln>
            <a:solidFill>
              <a:srgbClr val="FFCC66"/>
            </a:solidFill>
          </a:ln>
        </p:spPr>
        <p:style>
          <a:lnRef idx="2">
            <a:schemeClr val="accent1"/>
          </a:lnRef>
          <a:fillRef idx="1">
            <a:schemeClr val="lt1"/>
          </a:fillRef>
          <a:effectRef idx="0">
            <a:schemeClr val="accent1"/>
          </a:effectRef>
          <a:fontRef idx="minor">
            <a:schemeClr val="dk1"/>
          </a:fontRef>
        </p:style>
        <p:txBody>
          <a:bodyPr wrap="square" rtlCol="0">
            <a:noAutofit/>
          </a:bodyPr>
          <a:lstStyle/>
          <a:p>
            <a:pPr algn="ctr" defTabSz="990478">
              <a:defRPr/>
            </a:pPr>
            <a:r>
              <a:rPr lang="ja-JP" altLang="en-US" sz="1733" b="1" dirty="0">
                <a:solidFill>
                  <a:srgbClr val="000000"/>
                </a:solidFill>
                <a:latin typeface="Arial"/>
                <a:ea typeface="ＭＳ Ｐゴシック"/>
              </a:rPr>
              <a:t>国土形成計画の基本理念</a:t>
            </a:r>
          </a:p>
        </p:txBody>
      </p:sp>
      <p:sp>
        <p:nvSpPr>
          <p:cNvPr id="7" name="正方形/長方形 6"/>
          <p:cNvSpPr/>
          <p:nvPr/>
        </p:nvSpPr>
        <p:spPr>
          <a:xfrm>
            <a:off x="4757237" y="2700289"/>
            <a:ext cx="4991200" cy="2582758"/>
          </a:xfrm>
          <a:prstGeom prst="rect">
            <a:avLst/>
          </a:prstGeom>
        </p:spPr>
        <p:txBody>
          <a:bodyPr wrap="square">
            <a:spAutoFit/>
          </a:bodyPr>
          <a:lstStyle/>
          <a:p>
            <a:pPr defTabSz="990478">
              <a:defRPr/>
            </a:pPr>
            <a:r>
              <a:rPr lang="ja-JP" altLang="en-US" sz="1300" dirty="0">
                <a:solidFill>
                  <a:srgbClr val="000000"/>
                </a:solidFill>
                <a:latin typeface="ＭＳ Ｐ明朝" panose="02020600040205080304" pitchFamily="18" charset="-128"/>
                <a:ea typeface="ＭＳ Ｐ明朝" panose="02020600040205080304" pitchFamily="18" charset="-128"/>
              </a:rPr>
              <a:t>●我が国及び世界の人口、産業その他の</a:t>
            </a:r>
            <a:r>
              <a:rPr lang="ja-JP" altLang="en-US" sz="1300" b="1" dirty="0">
                <a:solidFill>
                  <a:srgbClr val="000000"/>
                </a:solidFill>
                <a:latin typeface="ＭＳ Ｐゴシック"/>
                <a:ea typeface="ＭＳ Ｐゴシック"/>
              </a:rPr>
              <a:t>社会経済構造の変化に的確に対応</a:t>
            </a:r>
            <a:r>
              <a:rPr lang="ja-JP" altLang="en-US" sz="1300" dirty="0">
                <a:solidFill>
                  <a:srgbClr val="000000"/>
                </a:solidFill>
                <a:latin typeface="ＭＳ Ｐ明朝" panose="02020600040205080304" pitchFamily="18" charset="-128"/>
                <a:ea typeface="ＭＳ Ｐ明朝" panose="02020600040205080304" pitchFamily="18" charset="-128"/>
              </a:rPr>
              <a:t>し、</a:t>
            </a:r>
            <a:endParaRPr lang="en-US" altLang="ja-JP" sz="1300" dirty="0">
              <a:solidFill>
                <a:srgbClr val="000000"/>
              </a:solidFill>
              <a:latin typeface="ＭＳ Ｐ明朝" panose="02020600040205080304" pitchFamily="18" charset="-128"/>
              <a:ea typeface="ＭＳ Ｐ明朝" panose="02020600040205080304" pitchFamily="18" charset="-128"/>
            </a:endParaRPr>
          </a:p>
          <a:p>
            <a:pPr defTabSz="990478">
              <a:defRPr/>
            </a:pPr>
            <a:r>
              <a:rPr lang="ja-JP" altLang="en-US" sz="1300" dirty="0">
                <a:solidFill>
                  <a:srgbClr val="000000"/>
                </a:solidFill>
                <a:latin typeface="ＭＳ Ｐ明朝" panose="02020600040205080304" pitchFamily="18" charset="-128"/>
                <a:ea typeface="ＭＳ Ｐ明朝" panose="02020600040205080304" pitchFamily="18" charset="-128"/>
              </a:rPr>
              <a:t>・その特性に応じて</a:t>
            </a:r>
            <a:r>
              <a:rPr lang="ja-JP" altLang="en-US" sz="1300" b="1" dirty="0">
                <a:solidFill>
                  <a:srgbClr val="000000"/>
                </a:solidFill>
                <a:latin typeface="ＭＳ Ｐゴシック"/>
                <a:ea typeface="ＭＳ Ｐゴシック"/>
              </a:rPr>
              <a:t>自立的に発展する地域社会</a:t>
            </a:r>
            <a:endParaRPr lang="en-US" altLang="ja-JP" sz="1300" b="1" dirty="0">
              <a:solidFill>
                <a:srgbClr val="000000"/>
              </a:solidFill>
              <a:latin typeface="ＭＳ Ｐゴシック"/>
              <a:ea typeface="ＭＳ Ｐゴシック"/>
            </a:endParaRPr>
          </a:p>
          <a:p>
            <a:pPr defTabSz="990478">
              <a:defRPr/>
            </a:pPr>
            <a:r>
              <a:rPr lang="ja-JP" altLang="en-US" sz="1300" dirty="0">
                <a:solidFill>
                  <a:srgbClr val="000000"/>
                </a:solidFill>
                <a:latin typeface="ＭＳ Ｐ明朝" panose="02020600040205080304" pitchFamily="18" charset="-128"/>
                <a:ea typeface="ＭＳ Ｐ明朝" panose="02020600040205080304" pitchFamily="18" charset="-128"/>
              </a:rPr>
              <a:t>・国際競争力の強化及び科学技術の振興等による</a:t>
            </a:r>
            <a:r>
              <a:rPr lang="ja-JP" altLang="en-US" sz="1300" b="1" dirty="0">
                <a:solidFill>
                  <a:srgbClr val="000000"/>
                </a:solidFill>
                <a:latin typeface="ＭＳ Ｐゴシック"/>
                <a:ea typeface="ＭＳ Ｐゴシック"/>
              </a:rPr>
              <a:t>活力ある経済社会</a:t>
            </a:r>
            <a:endParaRPr lang="en-US" altLang="ja-JP" sz="1300" b="1" dirty="0">
              <a:solidFill>
                <a:srgbClr val="000000"/>
              </a:solidFill>
              <a:latin typeface="ＭＳ Ｐゴシック"/>
              <a:ea typeface="ＭＳ Ｐゴシック"/>
            </a:endParaRPr>
          </a:p>
          <a:p>
            <a:pPr defTabSz="990478">
              <a:defRPr/>
            </a:pPr>
            <a:r>
              <a:rPr lang="ja-JP" altLang="en-US" sz="1300" dirty="0">
                <a:solidFill>
                  <a:srgbClr val="000000"/>
                </a:solidFill>
                <a:latin typeface="ＭＳ Ｐ明朝" panose="02020600040205080304" pitchFamily="18" charset="-128"/>
                <a:ea typeface="ＭＳ Ｐ明朝" panose="02020600040205080304" pitchFamily="18" charset="-128"/>
              </a:rPr>
              <a:t>・</a:t>
            </a:r>
            <a:r>
              <a:rPr lang="ja-JP" altLang="en-US" sz="1300" b="1" dirty="0">
                <a:solidFill>
                  <a:srgbClr val="000000"/>
                </a:solidFill>
                <a:latin typeface="ＭＳ Ｐゴシック"/>
                <a:ea typeface="ＭＳ Ｐゴシック"/>
              </a:rPr>
              <a:t>安全が確保された国民生活</a:t>
            </a:r>
            <a:endParaRPr lang="en-US" altLang="ja-JP" sz="1300" b="1" dirty="0">
              <a:solidFill>
                <a:srgbClr val="000000"/>
              </a:solidFill>
              <a:latin typeface="ＭＳ Ｐゴシック"/>
              <a:ea typeface="ＭＳ Ｐゴシック"/>
            </a:endParaRPr>
          </a:p>
          <a:p>
            <a:pPr defTabSz="990478">
              <a:spcAft>
                <a:spcPts val="0"/>
              </a:spcAft>
              <a:defRPr/>
            </a:pPr>
            <a:r>
              <a:rPr lang="ja-JP" altLang="en-US" sz="1300" dirty="0">
                <a:solidFill>
                  <a:srgbClr val="000000"/>
                </a:solidFill>
                <a:latin typeface="ＭＳ Ｐ明朝" panose="02020600040205080304" pitchFamily="18" charset="-128"/>
                <a:ea typeface="ＭＳ Ｐ明朝" panose="02020600040205080304" pitchFamily="18" charset="-128"/>
              </a:rPr>
              <a:t>・地球環境の保全にも寄与する</a:t>
            </a:r>
            <a:r>
              <a:rPr lang="ja-JP" altLang="en-US" sz="1300" b="1" dirty="0">
                <a:solidFill>
                  <a:srgbClr val="000000"/>
                </a:solidFill>
                <a:latin typeface="ＭＳ Ｐゴシック"/>
                <a:ea typeface="ＭＳ Ｐゴシック"/>
              </a:rPr>
              <a:t>豊かな環境の基盤となる国土</a:t>
            </a:r>
            <a:endParaRPr lang="en-US" altLang="ja-JP" sz="1300" b="1" dirty="0">
              <a:solidFill>
                <a:srgbClr val="000000"/>
              </a:solidFill>
              <a:latin typeface="ＭＳ Ｐゴシック"/>
              <a:ea typeface="ＭＳ Ｐゴシック"/>
            </a:endParaRPr>
          </a:p>
          <a:p>
            <a:pPr defTabSz="990478">
              <a:spcAft>
                <a:spcPts val="0"/>
              </a:spcAft>
              <a:defRPr/>
            </a:pPr>
            <a:r>
              <a:rPr lang="ja-JP" altLang="en-US" sz="1300" dirty="0">
                <a:solidFill>
                  <a:srgbClr val="000000"/>
                </a:solidFill>
                <a:latin typeface="ＭＳ Ｐ明朝" panose="02020600040205080304" pitchFamily="18" charset="-128"/>
                <a:ea typeface="ＭＳ Ｐ明朝" panose="02020600040205080304" pitchFamily="18" charset="-128"/>
              </a:rPr>
              <a:t>を実現するよう、我が国の</a:t>
            </a:r>
            <a:r>
              <a:rPr lang="ja-JP" altLang="en-US" sz="1300" b="1" dirty="0">
                <a:solidFill>
                  <a:srgbClr val="000000"/>
                </a:solidFill>
                <a:latin typeface="ＭＳ Ｐゴシック"/>
                <a:ea typeface="ＭＳ Ｐゴシック"/>
              </a:rPr>
              <a:t>自然的、経済的、社会的及び文化的諸条件を維持向上させる国土の形成</a:t>
            </a:r>
            <a:r>
              <a:rPr lang="ja-JP" altLang="en-US" sz="1300" dirty="0">
                <a:solidFill>
                  <a:srgbClr val="000000"/>
                </a:solidFill>
                <a:latin typeface="ＭＳ Ｐ明朝" panose="02020600040205080304" pitchFamily="18" charset="-128"/>
                <a:ea typeface="ＭＳ Ｐ明朝" panose="02020600040205080304" pitchFamily="18" charset="-128"/>
              </a:rPr>
              <a:t>に関する施策を適切に定める</a:t>
            </a:r>
            <a:endParaRPr lang="en-US" altLang="ja-JP" sz="1300" dirty="0">
              <a:solidFill>
                <a:srgbClr val="000000"/>
              </a:solidFill>
              <a:latin typeface="ＭＳ Ｐ明朝" panose="02020600040205080304" pitchFamily="18" charset="-128"/>
              <a:ea typeface="ＭＳ Ｐ明朝" panose="02020600040205080304" pitchFamily="18" charset="-128"/>
            </a:endParaRPr>
          </a:p>
          <a:p>
            <a:pPr defTabSz="990478">
              <a:spcBef>
                <a:spcPts val="650"/>
              </a:spcBef>
              <a:defRPr/>
            </a:pPr>
            <a:r>
              <a:rPr lang="ja-JP" altLang="en-US" sz="1300" dirty="0">
                <a:solidFill>
                  <a:srgbClr val="000000"/>
                </a:solidFill>
                <a:latin typeface="ＭＳ Ｐ明朝" panose="02020600040205080304" pitchFamily="18" charset="-128"/>
                <a:ea typeface="ＭＳ Ｐ明朝" panose="02020600040205080304" pitchFamily="18" charset="-128"/>
              </a:rPr>
              <a:t>●総合的な国土の形成に関する施策の実施に関し、</a:t>
            </a:r>
            <a:r>
              <a:rPr lang="ja-JP" altLang="en-US" sz="1300" b="1" dirty="0">
                <a:solidFill>
                  <a:srgbClr val="000000"/>
                </a:solidFill>
                <a:latin typeface="ＭＳ Ｐゴシック"/>
                <a:ea typeface="ＭＳ Ｐゴシック"/>
              </a:rPr>
              <a:t>地方公共団体の主体的な取組を尊重</a:t>
            </a:r>
            <a:r>
              <a:rPr lang="ja-JP" altLang="en-US" sz="1300" dirty="0">
                <a:solidFill>
                  <a:srgbClr val="000000"/>
                </a:solidFill>
                <a:latin typeface="ＭＳ Ｐ明朝" panose="02020600040205080304" pitchFamily="18" charset="-128"/>
                <a:ea typeface="ＭＳ Ｐ明朝" panose="02020600040205080304" pitchFamily="18" charset="-128"/>
              </a:rPr>
              <a:t>しつつ、</a:t>
            </a:r>
            <a:r>
              <a:rPr lang="ja-JP" altLang="en-US" sz="1300" b="1" dirty="0">
                <a:solidFill>
                  <a:srgbClr val="000000"/>
                </a:solidFill>
                <a:latin typeface="ＭＳ Ｐゴシック"/>
                <a:ea typeface="ＭＳ Ｐゴシック"/>
              </a:rPr>
              <a:t>全国的な規模で又は全国的な視点に立って行わなければならない施策の実施</a:t>
            </a:r>
            <a:r>
              <a:rPr lang="ja-JP" altLang="en-US" sz="1300" dirty="0">
                <a:solidFill>
                  <a:srgbClr val="000000"/>
                </a:solidFill>
                <a:latin typeface="ＭＳ Ｐ明朝" panose="02020600040205080304" pitchFamily="18" charset="-128"/>
                <a:ea typeface="ＭＳ Ｐ明朝" panose="02020600040205080304" pitchFamily="18" charset="-128"/>
              </a:rPr>
              <a:t>等、国の責務が全うされるように定める</a:t>
            </a:r>
            <a:endParaRPr lang="en-US" altLang="ja-JP" sz="1300" dirty="0">
              <a:solidFill>
                <a:srgbClr val="000000"/>
              </a:solidFill>
              <a:latin typeface="ＭＳ Ｐ明朝" panose="02020600040205080304" pitchFamily="18" charset="-128"/>
              <a:ea typeface="ＭＳ Ｐ明朝" panose="02020600040205080304" pitchFamily="18" charset="-128"/>
            </a:endParaRPr>
          </a:p>
        </p:txBody>
      </p:sp>
      <p:sp>
        <p:nvSpPr>
          <p:cNvPr id="305155" name="Rectangle 3"/>
          <p:cNvSpPr>
            <a:spLocks noChangeArrowheads="1"/>
          </p:cNvSpPr>
          <p:nvPr/>
        </p:nvSpPr>
        <p:spPr bwMode="auto">
          <a:xfrm>
            <a:off x="584906" y="2271358"/>
            <a:ext cx="3509438" cy="584906"/>
          </a:xfrm>
          <a:prstGeom prst="rect">
            <a:avLst/>
          </a:prstGeom>
          <a:gradFill rotWithShape="1">
            <a:gsLst>
              <a:gs pos="0">
                <a:srgbClr val="FFB343"/>
              </a:gs>
              <a:gs pos="50000">
                <a:schemeClr val="bg1"/>
              </a:gs>
              <a:gs pos="100000">
                <a:srgbClr val="FFB343"/>
              </a:gs>
            </a:gsLst>
            <a:lin ang="5400000" scaled="1"/>
          </a:gradFill>
          <a:ln w="9525">
            <a:noFill/>
            <a:miter lim="800000"/>
            <a:headEnd/>
            <a:tailEnd/>
          </a:ln>
        </p:spPr>
        <p:txBody>
          <a:bodyPr wrap="none" lIns="0" tIns="0" rIns="0" bIns="0" anchor="ctr"/>
          <a:lstStyle/>
          <a:p>
            <a:pPr algn="ctr" defTabSz="914324">
              <a:defRPr/>
            </a:pPr>
            <a:r>
              <a:rPr lang="ja-JP" altLang="en-US" sz="2166" b="1" dirty="0">
                <a:solidFill>
                  <a:srgbClr val="000000"/>
                </a:solidFill>
                <a:latin typeface="ＭＳ Ｐゴシック"/>
                <a:ea typeface="ＭＳ Ｐゴシック"/>
              </a:rPr>
              <a:t>国土形成計画</a:t>
            </a:r>
            <a:endParaRPr lang="en-US" altLang="ja-JP" sz="2166" b="1" dirty="0">
              <a:solidFill>
                <a:srgbClr val="000000"/>
              </a:solidFill>
              <a:latin typeface="ＭＳ Ｐゴシック"/>
              <a:ea typeface="ＭＳ Ｐゴシック"/>
            </a:endParaRPr>
          </a:p>
          <a:p>
            <a:pPr algn="ctr" defTabSz="914324">
              <a:defRPr/>
            </a:pPr>
            <a:r>
              <a:rPr lang="ja-JP" altLang="en-US" sz="1516" b="1" dirty="0">
                <a:solidFill>
                  <a:srgbClr val="000000"/>
                </a:solidFill>
                <a:ea typeface="ＭＳ Ｐゴシック" charset="-128"/>
              </a:rPr>
              <a:t>国と地方の協働によるビジョンづくり</a:t>
            </a:r>
          </a:p>
        </p:txBody>
      </p:sp>
      <p:sp>
        <p:nvSpPr>
          <p:cNvPr id="61" name="Rectangle 9"/>
          <p:cNvSpPr>
            <a:spLocks noChangeArrowheads="1"/>
          </p:cNvSpPr>
          <p:nvPr/>
        </p:nvSpPr>
        <p:spPr bwMode="auto">
          <a:xfrm>
            <a:off x="6072774" y="5545084"/>
            <a:ext cx="80150" cy="28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324" eaLnBrk="1" hangingPunct="1">
              <a:defRPr/>
            </a:pPr>
            <a:endParaRPr lang="en-US" altLang="ja-JP" sz="738" dirty="0">
              <a:solidFill>
                <a:srgbClr val="000000"/>
              </a:solidFill>
            </a:endParaRPr>
          </a:p>
          <a:p>
            <a:pPr defTabSz="914324" eaLnBrk="1" hangingPunct="1">
              <a:defRPr/>
            </a:pPr>
            <a:r>
              <a:rPr lang="en-US" altLang="ja-JP" sz="1108" dirty="0">
                <a:solidFill>
                  <a:srgbClr val="000000"/>
                </a:solidFill>
              </a:rPr>
              <a:t>  </a:t>
            </a:r>
            <a:endParaRPr lang="ja-JP" altLang="en-US" sz="1108" dirty="0">
              <a:solidFill>
                <a:srgbClr val="000000"/>
              </a:solidFill>
            </a:endParaRPr>
          </a:p>
        </p:txBody>
      </p:sp>
      <p:sp>
        <p:nvSpPr>
          <p:cNvPr id="52" name="Freeform 21"/>
          <p:cNvSpPr>
            <a:spLocks/>
          </p:cNvSpPr>
          <p:nvPr/>
        </p:nvSpPr>
        <p:spPr bwMode="auto">
          <a:xfrm>
            <a:off x="4952205" y="7106583"/>
            <a:ext cx="4601263" cy="311950"/>
          </a:xfrm>
          <a:prstGeom prst="roundRect">
            <a:avLst/>
          </a:prstGeom>
          <a:solidFill>
            <a:srgbClr val="FFFFCC"/>
          </a:solidFill>
          <a:ln w="8001">
            <a:solidFill>
              <a:srgbClr val="000000"/>
            </a:solidFill>
            <a:round/>
            <a:headEnd/>
            <a:tailEnd/>
          </a:ln>
        </p:spPr>
        <p:txBody>
          <a:bodyPr/>
          <a:lstStyle/>
          <a:p>
            <a:pPr algn="ctr" defTabSz="914324">
              <a:defRPr/>
            </a:pPr>
            <a:r>
              <a:rPr lang="ja-JP" altLang="en-US" sz="1192" dirty="0">
                <a:solidFill>
                  <a:srgbClr val="000000"/>
                </a:solidFill>
                <a:latin typeface="ＭＳ Ｐゴシック" panose="020B0600070205080204" pitchFamily="50" charset="-128"/>
                <a:ea typeface="ＭＳ Ｐゴシック" charset="-128"/>
              </a:rPr>
              <a:t>地域の自立的発展を可能とする国土の形成</a:t>
            </a:r>
            <a:endParaRPr lang="ja-JP" altLang="en-US" sz="1192" dirty="0">
              <a:solidFill>
                <a:srgbClr val="000000"/>
              </a:solidFill>
              <a:ea typeface="ＭＳ Ｐゴシック" charset="-128"/>
            </a:endParaRPr>
          </a:p>
        </p:txBody>
      </p:sp>
      <p:sp>
        <p:nvSpPr>
          <p:cNvPr id="49" name="Text Box 28"/>
          <p:cNvSpPr txBox="1">
            <a:spLocks noChangeArrowheads="1"/>
          </p:cNvSpPr>
          <p:nvPr/>
        </p:nvSpPr>
        <p:spPr bwMode="auto">
          <a:xfrm>
            <a:off x="5693086" y="5390858"/>
            <a:ext cx="3119500" cy="389938"/>
          </a:xfrm>
          <a:prstGeom prst="rect">
            <a:avLst/>
          </a:prstGeom>
          <a:solidFill>
            <a:srgbClr val="FFCC99"/>
          </a:solidFill>
          <a:ln>
            <a:noFill/>
          </a:ln>
        </p:spPr>
        <p:txBody>
          <a:bodyPr vert="horz" wrap="square" lIns="84356" tIns="42178" rIns="84356" bIns="42178" anchor="ctr">
            <a:noAutofit/>
          </a:bodyPr>
          <a:lstStyle>
            <a:lvl1pPr eaLnBrk="0" hangingPunct="0">
              <a:defRPr kumimoji="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kumimoji="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kumimoji="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kumimoji="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324" eaLnBrk="1" hangingPunct="1">
              <a:lnSpc>
                <a:spcPct val="105000"/>
              </a:lnSpc>
              <a:defRPr/>
            </a:pPr>
            <a:r>
              <a:rPr lang="ja-JP" altLang="en-US" sz="1733" b="1" dirty="0">
                <a:solidFill>
                  <a:srgbClr val="000000"/>
                </a:solidFill>
                <a:latin typeface="Arial"/>
                <a:ea typeface="ＭＳ Ｐゴシック"/>
              </a:rPr>
              <a:t>成熟社会型の計画</a:t>
            </a:r>
          </a:p>
        </p:txBody>
      </p:sp>
      <p:sp>
        <p:nvSpPr>
          <p:cNvPr id="62" name="Freeform 21"/>
          <p:cNvSpPr>
            <a:spLocks/>
          </p:cNvSpPr>
          <p:nvPr/>
        </p:nvSpPr>
        <p:spPr bwMode="auto">
          <a:xfrm>
            <a:off x="4952205" y="6755639"/>
            <a:ext cx="4601263" cy="311950"/>
          </a:xfrm>
          <a:prstGeom prst="roundRect">
            <a:avLst/>
          </a:prstGeom>
          <a:solidFill>
            <a:srgbClr val="FFFFCC"/>
          </a:solidFill>
          <a:ln w="8001">
            <a:solidFill>
              <a:srgbClr val="000000"/>
            </a:solidFill>
            <a:round/>
            <a:headEnd/>
            <a:tailEnd/>
          </a:ln>
        </p:spPr>
        <p:txBody>
          <a:bodyPr/>
          <a:lstStyle/>
          <a:p>
            <a:pPr algn="ctr" defTabSz="914324">
              <a:defRPr/>
            </a:pPr>
            <a:r>
              <a:rPr lang="ja-JP" altLang="en-US" sz="1192" dirty="0">
                <a:solidFill>
                  <a:srgbClr val="000000"/>
                </a:solidFill>
                <a:ea typeface="ＭＳ Ｐゴシック" charset="-128"/>
              </a:rPr>
              <a:t>利便性の向上に加え</a:t>
            </a:r>
            <a:r>
              <a:rPr lang="ja-JP" altLang="en-US" sz="1192" dirty="0">
                <a:solidFill>
                  <a:srgbClr val="000000"/>
                </a:solidFill>
                <a:latin typeface="ＭＳ Ｐゴシック" panose="020B0600070205080204" pitchFamily="50" charset="-128"/>
                <a:ea typeface="ＭＳ Ｐゴシック" charset="-128"/>
              </a:rPr>
              <a:t>国民生活の安全・安心・安定の確保</a:t>
            </a:r>
          </a:p>
        </p:txBody>
      </p:sp>
      <p:sp>
        <p:nvSpPr>
          <p:cNvPr id="63" name="Freeform 21"/>
          <p:cNvSpPr>
            <a:spLocks/>
          </p:cNvSpPr>
          <p:nvPr/>
        </p:nvSpPr>
        <p:spPr bwMode="auto">
          <a:xfrm>
            <a:off x="4952206" y="6404695"/>
            <a:ext cx="2222644" cy="311950"/>
          </a:xfrm>
          <a:prstGeom prst="roundRect">
            <a:avLst/>
          </a:prstGeom>
          <a:solidFill>
            <a:srgbClr val="FFFFCC"/>
          </a:solidFill>
          <a:ln w="8001">
            <a:solidFill>
              <a:srgbClr val="000000"/>
            </a:solidFill>
            <a:round/>
            <a:headEnd/>
            <a:tailEnd/>
          </a:ln>
        </p:spPr>
        <p:txBody>
          <a:bodyPr/>
          <a:lstStyle/>
          <a:p>
            <a:pPr algn="ctr" defTabSz="914324">
              <a:defRPr/>
            </a:pPr>
            <a:r>
              <a:rPr lang="ja-JP" altLang="en-US" sz="1192" dirty="0">
                <a:solidFill>
                  <a:srgbClr val="000000"/>
                </a:solidFill>
                <a:ea typeface="ＭＳ Ｐゴシック" charset="-128"/>
              </a:rPr>
              <a:t>ストックの活用</a:t>
            </a:r>
          </a:p>
        </p:txBody>
      </p:sp>
      <p:sp>
        <p:nvSpPr>
          <p:cNvPr id="65" name="Freeform 21"/>
          <p:cNvSpPr>
            <a:spLocks/>
          </p:cNvSpPr>
          <p:nvPr/>
        </p:nvSpPr>
        <p:spPr bwMode="auto">
          <a:xfrm>
            <a:off x="7330825" y="6404695"/>
            <a:ext cx="2222644" cy="311950"/>
          </a:xfrm>
          <a:prstGeom prst="roundRect">
            <a:avLst/>
          </a:prstGeom>
          <a:solidFill>
            <a:srgbClr val="FFFFCC"/>
          </a:solidFill>
          <a:ln w="8001">
            <a:solidFill>
              <a:srgbClr val="000000"/>
            </a:solidFill>
            <a:round/>
            <a:headEnd/>
            <a:tailEnd/>
          </a:ln>
        </p:spPr>
        <p:txBody>
          <a:bodyPr/>
          <a:lstStyle/>
          <a:p>
            <a:pPr algn="ctr" defTabSz="914324">
              <a:defRPr/>
            </a:pPr>
            <a:r>
              <a:rPr lang="ja-JP" altLang="en-US" sz="1192" dirty="0">
                <a:solidFill>
                  <a:srgbClr val="000000"/>
                </a:solidFill>
                <a:latin typeface="ＭＳ Ｐゴシック" panose="020B0600070205080204" pitchFamily="50" charset="-128"/>
                <a:ea typeface="ＭＳ Ｐゴシック" charset="-128"/>
              </a:rPr>
              <a:t>海洋利用・国際協調</a:t>
            </a:r>
            <a:endParaRPr lang="ja-JP" altLang="en-US" sz="1192" dirty="0">
              <a:solidFill>
                <a:srgbClr val="000000"/>
              </a:solidFill>
              <a:ea typeface="ＭＳ Ｐゴシック" charset="-128"/>
            </a:endParaRPr>
          </a:p>
        </p:txBody>
      </p:sp>
      <p:sp>
        <p:nvSpPr>
          <p:cNvPr id="66" name="Freeform 21"/>
          <p:cNvSpPr>
            <a:spLocks/>
          </p:cNvSpPr>
          <p:nvPr/>
        </p:nvSpPr>
        <p:spPr bwMode="auto">
          <a:xfrm>
            <a:off x="4952206" y="5858783"/>
            <a:ext cx="2222644" cy="492907"/>
          </a:xfrm>
          <a:prstGeom prst="roundRect">
            <a:avLst/>
          </a:prstGeom>
          <a:solidFill>
            <a:srgbClr val="FFFFCC"/>
          </a:solidFill>
          <a:ln w="8001">
            <a:solidFill>
              <a:srgbClr val="000000"/>
            </a:solidFill>
            <a:round/>
            <a:headEnd/>
            <a:tailEnd/>
          </a:ln>
        </p:spPr>
        <p:txBody>
          <a:bodyPr/>
          <a:lstStyle/>
          <a:p>
            <a:pPr algn="ctr" defTabSz="914324">
              <a:defRPr/>
            </a:pPr>
            <a:r>
              <a:rPr lang="ja-JP" altLang="en-US" sz="1192" dirty="0">
                <a:solidFill>
                  <a:srgbClr val="000000"/>
                </a:solidFill>
                <a:ea typeface="ＭＳ Ｐゴシック" charset="-128"/>
              </a:rPr>
              <a:t>景観、環境を含めた</a:t>
            </a:r>
            <a:endParaRPr lang="en-US" altLang="ja-JP" sz="1192" dirty="0">
              <a:solidFill>
                <a:srgbClr val="000000"/>
              </a:solidFill>
              <a:ea typeface="ＭＳ Ｐゴシック" charset="-128"/>
            </a:endParaRPr>
          </a:p>
          <a:p>
            <a:pPr algn="ctr" defTabSz="914324">
              <a:defRPr/>
            </a:pPr>
            <a:r>
              <a:rPr lang="ja-JP" altLang="en-US" sz="1192" dirty="0">
                <a:solidFill>
                  <a:srgbClr val="000000"/>
                </a:solidFill>
                <a:ea typeface="ＭＳ Ｐゴシック" charset="-128"/>
              </a:rPr>
              <a:t>国土の質的向上</a:t>
            </a:r>
          </a:p>
        </p:txBody>
      </p:sp>
      <p:sp>
        <p:nvSpPr>
          <p:cNvPr id="68" name="Freeform 21"/>
          <p:cNvSpPr>
            <a:spLocks/>
          </p:cNvSpPr>
          <p:nvPr/>
        </p:nvSpPr>
        <p:spPr bwMode="auto">
          <a:xfrm>
            <a:off x="7330825" y="5858783"/>
            <a:ext cx="2222644" cy="492906"/>
          </a:xfrm>
          <a:prstGeom prst="roundRect">
            <a:avLst/>
          </a:prstGeom>
          <a:solidFill>
            <a:srgbClr val="FFFFCC"/>
          </a:solidFill>
          <a:ln w="8001">
            <a:solidFill>
              <a:srgbClr val="000000"/>
            </a:solidFill>
            <a:round/>
            <a:headEnd/>
            <a:tailEnd/>
          </a:ln>
        </p:spPr>
        <p:txBody>
          <a:bodyPr anchor="ctr" anchorCtr="0"/>
          <a:lstStyle/>
          <a:p>
            <a:pPr algn="ctr" defTabSz="914324">
              <a:defRPr/>
            </a:pPr>
            <a:r>
              <a:rPr lang="ja-JP" altLang="en-US" sz="1192" dirty="0">
                <a:solidFill>
                  <a:srgbClr val="000000"/>
                </a:solidFill>
                <a:latin typeface="ＭＳ Ｐゴシック" panose="020B0600070205080204" pitchFamily="50" charset="-128"/>
                <a:ea typeface="ＭＳ Ｐゴシック" charset="-128"/>
              </a:rPr>
              <a:t>有限な資源の利用・保全</a:t>
            </a:r>
            <a:endParaRPr lang="ja-JP" altLang="en-US" sz="1192" dirty="0">
              <a:solidFill>
                <a:srgbClr val="000000"/>
              </a:solidFill>
              <a:ea typeface="ＭＳ Ｐゴシック" charset="-128"/>
            </a:endParaRPr>
          </a:p>
        </p:txBody>
      </p:sp>
      <p:sp>
        <p:nvSpPr>
          <p:cNvPr id="34" name="スライド番号プレースホルダー 5"/>
          <p:cNvSpPr>
            <a:spLocks noGrp="1"/>
          </p:cNvSpPr>
          <p:nvPr>
            <p:ph type="sldNum" sz="quarter" idx="4294967295"/>
          </p:nvPr>
        </p:nvSpPr>
        <p:spPr>
          <a:xfrm>
            <a:off x="7593382" y="7216507"/>
            <a:ext cx="2311030" cy="515855"/>
          </a:xfrm>
        </p:spPr>
        <p:txBody>
          <a:bodyPr/>
          <a:lstStyle/>
          <a:p>
            <a:pPr defTabSz="914311">
              <a:defRPr/>
            </a:pPr>
            <a:fld id="{1605389D-1ABF-4351-8C3E-16885CD30125}" type="slidenum">
              <a:rPr lang="en-US" altLang="ja-JP" sz="2166">
                <a:solidFill>
                  <a:prstClr val="black"/>
                </a:solidFill>
                <a:latin typeface="HGPｺﾞｼｯｸM" panose="020B0600000000000000" pitchFamily="50" charset="-128"/>
                <a:ea typeface="HGPｺﾞｼｯｸM" panose="020B0600000000000000" pitchFamily="50" charset="-128"/>
              </a:rPr>
              <a:pPr defTabSz="914311">
                <a:defRPr/>
              </a:pPr>
              <a:t>5</a:t>
            </a:fld>
            <a:endParaRPr lang="en-US" altLang="ja-JP" sz="2166" dirty="0">
              <a:solidFill>
                <a:prstClr val="black"/>
              </a:solidFill>
              <a:latin typeface="HGPｺﾞｼｯｸM" panose="020B0600000000000000" pitchFamily="50" charset="-128"/>
              <a:ea typeface="HGPｺﾞｼｯｸM" panose="020B0600000000000000" pitchFamily="50" charset="-128"/>
            </a:endParaRPr>
          </a:p>
        </p:txBody>
      </p:sp>
    </p:spTree>
    <p:extLst>
      <p:ext uri="{BB962C8B-B14F-4D97-AF65-F5344CB8AC3E}">
        <p14:creationId xmlns:p14="http://schemas.microsoft.com/office/powerpoint/2010/main" val="19879140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8" name="テキスト ボックス 194"/>
          <p:cNvSpPr txBox="1"/>
          <p:nvPr/>
        </p:nvSpPr>
        <p:spPr>
          <a:xfrm>
            <a:off x="464390" y="2034635"/>
            <a:ext cx="4896983" cy="276955"/>
          </a:xfrm>
          <a:prstGeom prst="rect">
            <a:avLst/>
          </a:prstGeom>
          <a:noFill/>
        </p:spPr>
        <p:txBody>
          <a:bodyPr wrap="square" rtlCol="0">
            <a:spAutoFit/>
          </a:bodyPr>
          <a:lstStyle/>
          <a:p>
            <a:pPr algn="ctr" eaLnBrk="0" hangingPunct="0">
              <a:defRPr/>
            </a:pPr>
            <a:r>
              <a:rPr lang="ja-JP" altLang="en-US" sz="1200" b="1" dirty="0">
                <a:solidFill>
                  <a:prstClr val="black"/>
                </a:solidFill>
                <a:latin typeface="ＭＳ Ｐゴシック" panose="020B0600070205080204" pitchFamily="50" charset="-128"/>
                <a:cs typeface="Arial" panose="020B0604020202020204" pitchFamily="34" charset="0"/>
              </a:rPr>
              <a:t>克雪体制づくりアドバイザー派遣地域　（Ｈ</a:t>
            </a:r>
            <a:r>
              <a:rPr lang="en-US" altLang="ja-JP" sz="1200" b="1" dirty="0">
                <a:solidFill>
                  <a:prstClr val="black"/>
                </a:solidFill>
                <a:latin typeface="ＭＳ Ｐゴシック" panose="020B0600070205080204" pitchFamily="50" charset="-128"/>
                <a:cs typeface="Arial" panose="020B0604020202020204" pitchFamily="34" charset="0"/>
              </a:rPr>
              <a:t>30</a:t>
            </a:r>
            <a:r>
              <a:rPr lang="ja-JP" altLang="en-US" sz="1200" b="1" dirty="0">
                <a:solidFill>
                  <a:prstClr val="black"/>
                </a:solidFill>
                <a:latin typeface="ＭＳ Ｐゴシック" panose="020B0600070205080204" pitchFamily="50" charset="-128"/>
                <a:cs typeface="Arial" panose="020B0604020202020204" pitchFamily="34" charset="0"/>
              </a:rPr>
              <a:t>年度～　</a:t>
            </a:r>
            <a:r>
              <a:rPr lang="en-US" altLang="ja-JP" sz="1200" b="1" dirty="0">
                <a:latin typeface="ＭＳ Ｐゴシック" panose="020B0600070205080204" pitchFamily="50" charset="-128"/>
                <a:cs typeface="Arial" panose="020B0604020202020204" pitchFamily="34" charset="0"/>
              </a:rPr>
              <a:t>28</a:t>
            </a:r>
            <a:r>
              <a:rPr lang="ja-JP" altLang="en-US" sz="1200" b="1" dirty="0">
                <a:solidFill>
                  <a:prstClr val="black"/>
                </a:solidFill>
                <a:latin typeface="ＭＳ Ｐゴシック" panose="020B0600070205080204" pitchFamily="50" charset="-128"/>
                <a:cs typeface="Arial" panose="020B0604020202020204" pitchFamily="34" charset="0"/>
              </a:rPr>
              <a:t>地域）</a:t>
            </a:r>
            <a:endParaRPr sz="1200" dirty="0">
              <a:solidFill>
                <a:prstClr val="black"/>
              </a:solidFill>
            </a:endParaRPr>
          </a:p>
        </p:txBody>
      </p:sp>
      <p:sp>
        <p:nvSpPr>
          <p:cNvPr id="1939" name="テキスト ボックス 18"/>
          <p:cNvSpPr txBox="1"/>
          <p:nvPr/>
        </p:nvSpPr>
        <p:spPr>
          <a:xfrm>
            <a:off x="5450563" y="2639692"/>
            <a:ext cx="3953329" cy="1751930"/>
          </a:xfrm>
          <a:prstGeom prst="rect">
            <a:avLst/>
          </a:prstGeom>
          <a:noFill/>
          <a:ln>
            <a:solidFill>
              <a:schemeClr val="accent1"/>
            </a:solidFill>
          </a:ln>
        </p:spPr>
        <p:style>
          <a:lnRef idx="2">
            <a:schemeClr val="accent1"/>
          </a:lnRef>
          <a:fillRef idx="1">
            <a:schemeClr val="lt1"/>
          </a:fillRef>
          <a:effectRef idx="0">
            <a:schemeClr val="accent1"/>
          </a:effectRef>
          <a:fontRef idx="minor">
            <a:schemeClr val="dk1"/>
          </a:fontRef>
        </p:style>
        <p:txBody>
          <a:bodyPr wrap="square" rtlCol="0">
            <a:noAutofit/>
          </a:bodyPr>
          <a:lstStyle/>
          <a:p>
            <a:pPr eaLnBrk="0" hangingPunct="0">
              <a:defRPr/>
            </a:pPr>
            <a:endParaRPr lang="en-US" altLang="ja-JP" sz="1100" dirty="0">
              <a:solidFill>
                <a:srgbClr val="4F81BD"/>
              </a:solidFill>
              <a:latin typeface="Calibri"/>
              <a:ea typeface="ＭＳ Ｐゴシック" panose="020B0600070205080204" pitchFamily="50" charset="-128"/>
            </a:endParaRPr>
          </a:p>
          <a:p>
            <a:pPr eaLnBrk="0" hangingPunct="0">
              <a:defRPr/>
            </a:pPr>
            <a:endParaRPr lang="en-US" altLang="ja-JP" sz="1100" dirty="0">
              <a:solidFill>
                <a:srgbClr val="4F81BD"/>
              </a:solidFill>
              <a:latin typeface="Calibri"/>
              <a:ea typeface="ＭＳ Ｐゴシック" panose="020B0600070205080204" pitchFamily="50" charset="-128"/>
            </a:endParaRPr>
          </a:p>
          <a:p>
            <a:pPr eaLnBrk="0" hangingPunct="0">
              <a:defRPr/>
            </a:pPr>
            <a:endParaRPr lang="en-US" altLang="ja-JP" sz="1100" dirty="0">
              <a:solidFill>
                <a:srgbClr val="4F81BD"/>
              </a:solidFill>
              <a:latin typeface="Calibri"/>
              <a:ea typeface="ＭＳ Ｐゴシック" panose="020B0600070205080204" pitchFamily="50" charset="-128"/>
            </a:endParaRPr>
          </a:p>
          <a:p>
            <a:pPr eaLnBrk="0" hangingPunct="0">
              <a:defRPr/>
            </a:pPr>
            <a:endParaRPr lang="en-US" altLang="ja-JP" sz="1100" dirty="0">
              <a:solidFill>
                <a:srgbClr val="4F81BD"/>
              </a:solidFill>
              <a:latin typeface="Calibri"/>
              <a:ea typeface="ＭＳ Ｐゴシック" panose="020B0600070205080204" pitchFamily="50" charset="-128"/>
            </a:endParaRPr>
          </a:p>
          <a:p>
            <a:pPr marL="92057" eaLnBrk="0" hangingPunct="0">
              <a:spcBef>
                <a:spcPts val="600"/>
              </a:spcBef>
              <a:defRPr/>
            </a:pPr>
            <a:endParaRPr lang="en-US" altLang="ja-JP" sz="1100" dirty="0">
              <a:solidFill>
                <a:prstClr val="black"/>
              </a:solidFill>
              <a:latin typeface="Arial" panose="020B0604020202020204" pitchFamily="34" charset="0"/>
              <a:ea typeface="ＭＳ Ｐゴシック" panose="020B0600070205080204" pitchFamily="50" charset="-128"/>
            </a:endParaRPr>
          </a:p>
          <a:p>
            <a:pPr marL="92057" eaLnBrk="0" hangingPunct="0">
              <a:spcBef>
                <a:spcPts val="600"/>
              </a:spcBef>
              <a:defRPr/>
            </a:pPr>
            <a:endParaRPr lang="en-US" altLang="ja-JP" sz="1100" dirty="0">
              <a:solidFill>
                <a:prstClr val="black"/>
              </a:solidFill>
              <a:latin typeface="Arial" panose="020B0604020202020204" pitchFamily="34" charset="0"/>
              <a:ea typeface="ＭＳ Ｐゴシック" panose="020B0600070205080204" pitchFamily="50" charset="-128"/>
            </a:endParaRPr>
          </a:p>
          <a:p>
            <a:pPr marL="92057" eaLnBrk="0" hangingPunct="0">
              <a:spcBef>
                <a:spcPts val="600"/>
              </a:spcBef>
              <a:defRPr/>
            </a:pPr>
            <a:endParaRPr lang="en-US" altLang="ja-JP" sz="1100" dirty="0">
              <a:solidFill>
                <a:prstClr val="black"/>
              </a:solidFill>
              <a:latin typeface="Arial" panose="020B0604020202020204" pitchFamily="34" charset="0"/>
              <a:ea typeface="ＭＳ Ｐゴシック" panose="020B0600070205080204" pitchFamily="50" charset="-128"/>
            </a:endParaRPr>
          </a:p>
        </p:txBody>
      </p:sp>
      <p:sp>
        <p:nvSpPr>
          <p:cNvPr id="1940" name="Text Box 8"/>
          <p:cNvSpPr txBox="1">
            <a:spLocks noChangeArrowheads="1"/>
          </p:cNvSpPr>
          <p:nvPr/>
        </p:nvSpPr>
        <p:spPr>
          <a:xfrm>
            <a:off x="5444086" y="2334490"/>
            <a:ext cx="3965107" cy="431931"/>
          </a:xfrm>
          <a:prstGeom prst="rect">
            <a:avLst/>
          </a:prstGeom>
          <a:solidFill>
            <a:schemeClr val="accent1">
              <a:lumMod val="75000"/>
            </a:schemeClr>
          </a:solidFill>
          <a:ln w="19050">
            <a:solidFill>
              <a:schemeClr val="accent1"/>
            </a:solidFill>
            <a:miter lim="800000"/>
            <a:headEnd/>
            <a:tailEnd/>
          </a:ln>
        </p:spPr>
        <p:txBody>
          <a:bodyPr wrap="square" lIns="0" tIns="0" rIns="0" bIns="0" anchor="ctr">
            <a:noAutofit/>
          </a:bodyPr>
          <a:lstStyle>
            <a:defPPr>
              <a:defRPr lang="ja-JP"/>
            </a:defPPr>
            <a:lvl1pPr marL="182563" indent="-182563" algn="just">
              <a:lnSpc>
                <a:spcPts val="1800"/>
              </a:lnSpc>
              <a:spcBef>
                <a:spcPts val="600"/>
              </a:spcBef>
              <a:buFont typeface="Arial" pitchFamily="34" charset="0"/>
              <a:buChar char="•"/>
              <a:defRPr sz="1400"/>
            </a:lvl1pPr>
          </a:lstStyle>
          <a:p>
            <a:pPr marL="0" indent="0" algn="ctr" eaLnBrk="0" hangingPunct="0">
              <a:lnSpc>
                <a:spcPct val="100000"/>
              </a:lnSpc>
              <a:spcBef>
                <a:spcPts val="0"/>
              </a:spcBef>
              <a:buNone/>
              <a:defRPr/>
            </a:pPr>
            <a:r>
              <a:rPr lang="ja-JP" altLang="en-US" sz="1100" dirty="0">
                <a:solidFill>
                  <a:prstClr val="white"/>
                </a:solidFill>
                <a:latin typeface="HGPｺﾞｼｯｸE" panose="020B0900000000000000" pitchFamily="50" charset="-128"/>
                <a:ea typeface="HGPｺﾞｼｯｸE" panose="020B0900000000000000" pitchFamily="50" charset="-128"/>
              </a:rPr>
              <a:t>共助除排雪体制づくり</a:t>
            </a:r>
            <a:endParaRPr lang="en-US" altLang="ja-JP" sz="1100" dirty="0">
              <a:solidFill>
                <a:prstClr val="white"/>
              </a:solidFill>
              <a:latin typeface="HGPｺﾞｼｯｸE" panose="020B0900000000000000" pitchFamily="50" charset="-128"/>
              <a:ea typeface="HGPｺﾞｼｯｸE" panose="020B0900000000000000" pitchFamily="50" charset="-128"/>
            </a:endParaRPr>
          </a:p>
          <a:p>
            <a:pPr marL="0" indent="0" algn="ctr" eaLnBrk="0" hangingPunct="0">
              <a:lnSpc>
                <a:spcPct val="100000"/>
              </a:lnSpc>
              <a:spcBef>
                <a:spcPts val="0"/>
              </a:spcBef>
              <a:buNone/>
              <a:defRPr/>
            </a:pPr>
            <a:r>
              <a:rPr lang="ja-JP" altLang="en-US" sz="1100" dirty="0">
                <a:solidFill>
                  <a:prstClr val="white"/>
                </a:solidFill>
                <a:latin typeface="HGPｺﾞｼｯｸE" panose="020B0900000000000000" pitchFamily="50" charset="-128"/>
                <a:ea typeface="HGPｺﾞｼｯｸE" panose="020B0900000000000000" pitchFamily="50" charset="-128"/>
              </a:rPr>
              <a:t>（新潟県村上市：</a:t>
            </a:r>
            <a:r>
              <a:rPr lang="en-US" altLang="ja-JP" sz="1100" dirty="0">
                <a:solidFill>
                  <a:prstClr val="white"/>
                </a:solidFill>
                <a:latin typeface="HGPｺﾞｼｯｸE" panose="020B0900000000000000" pitchFamily="50" charset="-128"/>
                <a:ea typeface="HGPｺﾞｼｯｸE" panose="020B0900000000000000" pitchFamily="50" charset="-128"/>
              </a:rPr>
              <a:t>R5</a:t>
            </a:r>
            <a:r>
              <a:rPr lang="ja-JP" altLang="en-US" sz="1100" dirty="0">
                <a:solidFill>
                  <a:prstClr val="white"/>
                </a:solidFill>
                <a:latin typeface="HGPｺﾞｼｯｸE" panose="020B0900000000000000" pitchFamily="50" charset="-128"/>
                <a:ea typeface="HGPｺﾞｼｯｸE" panose="020B0900000000000000" pitchFamily="50" charset="-128"/>
              </a:rPr>
              <a:t>）</a:t>
            </a:r>
          </a:p>
        </p:txBody>
      </p:sp>
      <p:sp>
        <p:nvSpPr>
          <p:cNvPr id="1941" name="テキスト ボックス 21"/>
          <p:cNvSpPr txBox="1"/>
          <p:nvPr/>
        </p:nvSpPr>
        <p:spPr>
          <a:xfrm>
            <a:off x="5450132" y="4739017"/>
            <a:ext cx="3953758" cy="1894754"/>
          </a:xfrm>
          <a:prstGeom prst="rect">
            <a:avLst/>
          </a:prstGeom>
          <a:noFill/>
          <a:ln>
            <a:solidFill>
              <a:schemeClr val="accent1"/>
            </a:solidFill>
          </a:ln>
        </p:spPr>
        <p:style>
          <a:lnRef idx="2">
            <a:schemeClr val="accent1"/>
          </a:lnRef>
          <a:fillRef idx="1">
            <a:schemeClr val="lt1"/>
          </a:fillRef>
          <a:effectRef idx="0">
            <a:schemeClr val="accent1"/>
          </a:effectRef>
          <a:fontRef idx="minor">
            <a:schemeClr val="dk1"/>
          </a:fontRef>
        </p:style>
        <p:txBody>
          <a:bodyPr wrap="square" rtlCol="0">
            <a:noAutofit/>
          </a:bodyPr>
          <a:lstStyle/>
          <a:p>
            <a:pPr eaLnBrk="0" hangingPunct="0">
              <a:defRPr/>
            </a:pPr>
            <a:endParaRPr lang="en-US" altLang="ja-JP" sz="1100" dirty="0">
              <a:solidFill>
                <a:srgbClr val="4F81BD"/>
              </a:solidFill>
              <a:latin typeface="Calibri"/>
              <a:ea typeface="ＭＳ Ｐゴシック" panose="020B0600070205080204" pitchFamily="50" charset="-128"/>
            </a:endParaRPr>
          </a:p>
          <a:p>
            <a:pPr eaLnBrk="0" hangingPunct="0">
              <a:defRPr/>
            </a:pPr>
            <a:endParaRPr lang="en-US" altLang="ja-JP" sz="1100" dirty="0">
              <a:solidFill>
                <a:srgbClr val="4F81BD"/>
              </a:solidFill>
              <a:latin typeface="Calibri"/>
              <a:ea typeface="ＭＳ Ｐゴシック" panose="020B0600070205080204" pitchFamily="50" charset="-128"/>
            </a:endParaRPr>
          </a:p>
          <a:p>
            <a:pPr eaLnBrk="0" hangingPunct="0">
              <a:defRPr/>
            </a:pPr>
            <a:endParaRPr lang="en-US" altLang="ja-JP" sz="1100" dirty="0">
              <a:solidFill>
                <a:srgbClr val="4F81BD"/>
              </a:solidFill>
              <a:latin typeface="Calibri"/>
              <a:ea typeface="ＭＳ Ｐゴシック" panose="020B0600070205080204" pitchFamily="50" charset="-128"/>
            </a:endParaRPr>
          </a:p>
          <a:p>
            <a:pPr eaLnBrk="0" hangingPunct="0">
              <a:defRPr/>
            </a:pPr>
            <a:endParaRPr lang="en-US" altLang="ja-JP" sz="1100" dirty="0">
              <a:solidFill>
                <a:srgbClr val="4F81BD"/>
              </a:solidFill>
              <a:latin typeface="Calibri"/>
              <a:ea typeface="ＭＳ Ｐゴシック" panose="020B0600070205080204" pitchFamily="50" charset="-128"/>
            </a:endParaRPr>
          </a:p>
          <a:p>
            <a:pPr marL="92057" eaLnBrk="0" hangingPunct="0">
              <a:spcBef>
                <a:spcPts val="600"/>
              </a:spcBef>
              <a:defRPr/>
            </a:pPr>
            <a:endParaRPr lang="en-US" altLang="ja-JP" sz="1100" dirty="0">
              <a:solidFill>
                <a:prstClr val="black"/>
              </a:solidFill>
              <a:latin typeface="Arial" panose="020B0604020202020204" pitchFamily="34" charset="0"/>
              <a:ea typeface="ＭＳ Ｐゴシック" panose="020B0600070205080204" pitchFamily="50" charset="-128"/>
            </a:endParaRPr>
          </a:p>
          <a:p>
            <a:pPr marL="92057" eaLnBrk="0" hangingPunct="0">
              <a:spcBef>
                <a:spcPts val="600"/>
              </a:spcBef>
              <a:defRPr/>
            </a:pPr>
            <a:endParaRPr lang="en-US" altLang="ja-JP" sz="1100" dirty="0">
              <a:solidFill>
                <a:prstClr val="black"/>
              </a:solidFill>
              <a:latin typeface="Arial" panose="020B0604020202020204" pitchFamily="34" charset="0"/>
              <a:ea typeface="ＭＳ Ｐゴシック" panose="020B0600070205080204" pitchFamily="50" charset="-128"/>
            </a:endParaRPr>
          </a:p>
          <a:p>
            <a:pPr marL="92057" eaLnBrk="0" hangingPunct="0">
              <a:spcBef>
                <a:spcPts val="600"/>
              </a:spcBef>
              <a:defRPr/>
            </a:pPr>
            <a:endParaRPr lang="en-US" altLang="ja-JP" sz="1100" dirty="0">
              <a:solidFill>
                <a:prstClr val="black"/>
              </a:solidFill>
              <a:latin typeface="Arial" panose="020B0604020202020204" pitchFamily="34" charset="0"/>
              <a:ea typeface="ＭＳ Ｐゴシック" panose="020B0600070205080204" pitchFamily="50" charset="-128"/>
            </a:endParaRPr>
          </a:p>
        </p:txBody>
      </p:sp>
      <p:sp>
        <p:nvSpPr>
          <p:cNvPr id="1942" name="Text Box 8"/>
          <p:cNvSpPr txBox="1">
            <a:spLocks noChangeArrowheads="1"/>
          </p:cNvSpPr>
          <p:nvPr/>
        </p:nvSpPr>
        <p:spPr>
          <a:xfrm>
            <a:off x="5446011" y="4433817"/>
            <a:ext cx="3963182" cy="431931"/>
          </a:xfrm>
          <a:prstGeom prst="rect">
            <a:avLst/>
          </a:prstGeom>
          <a:solidFill>
            <a:schemeClr val="accent1">
              <a:lumMod val="75000"/>
            </a:schemeClr>
          </a:solidFill>
          <a:ln w="19050">
            <a:solidFill>
              <a:schemeClr val="accent1"/>
            </a:solidFill>
            <a:miter lim="800000"/>
            <a:headEnd/>
            <a:tailEnd/>
          </a:ln>
        </p:spPr>
        <p:txBody>
          <a:bodyPr wrap="square" lIns="0" tIns="0" rIns="0" bIns="0" anchor="ctr">
            <a:noAutofit/>
          </a:bodyPr>
          <a:lstStyle>
            <a:defPPr>
              <a:defRPr lang="ja-JP"/>
            </a:defPPr>
            <a:lvl1pPr marL="182563" indent="-182563" algn="just">
              <a:lnSpc>
                <a:spcPts val="1800"/>
              </a:lnSpc>
              <a:spcBef>
                <a:spcPts val="600"/>
              </a:spcBef>
              <a:buFont typeface="Arial" pitchFamily="34" charset="0"/>
              <a:buChar char="•"/>
              <a:defRPr sz="1400"/>
            </a:lvl1pPr>
          </a:lstStyle>
          <a:p>
            <a:pPr marL="0" indent="0" algn="ctr" eaLnBrk="0" hangingPunct="0">
              <a:lnSpc>
                <a:spcPct val="100000"/>
              </a:lnSpc>
              <a:spcBef>
                <a:spcPts val="0"/>
              </a:spcBef>
              <a:buNone/>
              <a:defRPr/>
            </a:pPr>
            <a:r>
              <a:rPr lang="ja-JP" altLang="en-US" sz="1100" dirty="0">
                <a:solidFill>
                  <a:prstClr val="white"/>
                </a:solidFill>
                <a:latin typeface="HGPｺﾞｼｯｸE" panose="020B0900000000000000" pitchFamily="50" charset="-128"/>
                <a:ea typeface="HGPｺﾞｼｯｸE" panose="020B0900000000000000" pitchFamily="50" charset="-128"/>
              </a:rPr>
              <a:t>除雪作業中の事故防止に向けた安全対策等</a:t>
            </a:r>
            <a:endParaRPr lang="en-US" altLang="ja-JP" sz="1100" dirty="0">
              <a:solidFill>
                <a:prstClr val="white"/>
              </a:solidFill>
              <a:latin typeface="HGPｺﾞｼｯｸE" panose="020B0900000000000000" pitchFamily="50" charset="-128"/>
              <a:ea typeface="HGPｺﾞｼｯｸE" panose="020B0900000000000000" pitchFamily="50" charset="-128"/>
            </a:endParaRPr>
          </a:p>
          <a:p>
            <a:pPr marL="0" indent="0" algn="ctr" eaLnBrk="0" hangingPunct="0">
              <a:lnSpc>
                <a:spcPct val="100000"/>
              </a:lnSpc>
              <a:spcBef>
                <a:spcPts val="0"/>
              </a:spcBef>
              <a:buNone/>
              <a:defRPr/>
            </a:pPr>
            <a:r>
              <a:rPr lang="ja-JP" altLang="en-US" sz="1100" dirty="0">
                <a:solidFill>
                  <a:prstClr val="white"/>
                </a:solidFill>
                <a:latin typeface="HGPｺﾞｼｯｸE" panose="020B0900000000000000" pitchFamily="50" charset="-128"/>
                <a:ea typeface="HGPｺﾞｼｯｸE" panose="020B0900000000000000" pitchFamily="50" charset="-128"/>
              </a:rPr>
              <a:t>（長野県長野市：</a:t>
            </a:r>
            <a:r>
              <a:rPr lang="en-US" altLang="ja-JP" sz="1100" dirty="0">
                <a:solidFill>
                  <a:prstClr val="white"/>
                </a:solidFill>
                <a:latin typeface="HGPｺﾞｼｯｸE" panose="020B0900000000000000" pitchFamily="50" charset="-128"/>
                <a:ea typeface="HGPｺﾞｼｯｸE" panose="020B0900000000000000" pitchFamily="50" charset="-128"/>
              </a:rPr>
              <a:t>R4</a:t>
            </a:r>
            <a:r>
              <a:rPr lang="ja-JP" altLang="en-US" sz="1100" dirty="0">
                <a:solidFill>
                  <a:prstClr val="white"/>
                </a:solidFill>
                <a:latin typeface="HGPｺﾞｼｯｸE" panose="020B0900000000000000" pitchFamily="50" charset="-128"/>
                <a:ea typeface="HGPｺﾞｼｯｸE" panose="020B0900000000000000" pitchFamily="50" charset="-128"/>
              </a:rPr>
              <a:t>）</a:t>
            </a:r>
          </a:p>
        </p:txBody>
      </p:sp>
      <p:sp>
        <p:nvSpPr>
          <p:cNvPr id="1943" name="テキスト ボックス 25"/>
          <p:cNvSpPr txBox="1"/>
          <p:nvPr/>
        </p:nvSpPr>
        <p:spPr>
          <a:xfrm>
            <a:off x="5450561" y="2754772"/>
            <a:ext cx="3968576" cy="1565755"/>
          </a:xfrm>
          <a:prstGeom prst="rect">
            <a:avLst/>
          </a:prstGeom>
          <a:noFill/>
          <a:ln>
            <a:solidFill>
              <a:schemeClr val="accent1">
                <a:lumMod val="75000"/>
              </a:schemeClr>
            </a:solidFill>
          </a:ln>
        </p:spPr>
        <p:txBody>
          <a:bodyPr wrap="square" rtlCol="0">
            <a:spAutoFit/>
          </a:bodyPr>
          <a:lstStyle/>
          <a:p>
            <a:pPr marL="88882" indent="-88882" eaLnBrk="0" hangingPunct="0">
              <a:lnSpc>
                <a:spcPct val="110000"/>
              </a:lnSpc>
              <a:defRPr/>
            </a:pPr>
            <a:r>
              <a:rPr lang="ja-JP" altLang="en-US" sz="1100" dirty="0"/>
              <a:t>■課題</a:t>
            </a:r>
            <a:endParaRPr lang="en-US" altLang="ja-JP" sz="1100" dirty="0"/>
          </a:p>
          <a:p>
            <a:pPr marL="88882" indent="-88882" algn="just" eaLnBrk="0" hangingPunct="0">
              <a:lnSpc>
                <a:spcPct val="110000"/>
              </a:lnSpc>
              <a:defRPr/>
            </a:pPr>
            <a:r>
              <a:rPr lang="ja-JP" altLang="en-US" sz="1100" dirty="0"/>
              <a:t>　共助による地域除排雪の取組が市内の若者等に認知されておらず、担い手の掘り起こしに苦慮していることが課題であった。</a:t>
            </a:r>
            <a:endParaRPr lang="en-US" altLang="ja-JP" sz="1100" dirty="0"/>
          </a:p>
          <a:p>
            <a:pPr marL="88882" indent="-88882" algn="just" eaLnBrk="0" hangingPunct="0">
              <a:lnSpc>
                <a:spcPct val="110000"/>
              </a:lnSpc>
              <a:defRPr/>
            </a:pPr>
            <a:r>
              <a:rPr lang="ja-JP" altLang="en-US" sz="1100" dirty="0"/>
              <a:t>■派遣の内容</a:t>
            </a:r>
            <a:endParaRPr lang="en-US" altLang="ja-JP" sz="1100" dirty="0"/>
          </a:p>
          <a:p>
            <a:pPr marL="88882" indent="-88882" algn="just" eaLnBrk="0" hangingPunct="0">
              <a:lnSpc>
                <a:spcPct val="110000"/>
              </a:lnSpc>
              <a:defRPr/>
            </a:pPr>
            <a:r>
              <a:rPr lang="ja-JP" altLang="en-US" sz="1100" dirty="0"/>
              <a:t>　アドバイザーから、他の地域における共助による体制づくり、有償ボランティアの仕組み、地域内除雪チームづくり、地区外との除雪交流、労力交換等の取組について紹介し、共助除排雪体制づくりのヒントについて助言を行った。</a:t>
            </a:r>
            <a:endParaRPr lang="en-US" altLang="ja-JP" sz="1100" dirty="0"/>
          </a:p>
        </p:txBody>
      </p:sp>
      <p:sp>
        <p:nvSpPr>
          <p:cNvPr id="1944" name="テキスト ボックス 26"/>
          <p:cNvSpPr txBox="1"/>
          <p:nvPr/>
        </p:nvSpPr>
        <p:spPr>
          <a:xfrm>
            <a:off x="5450561" y="4881842"/>
            <a:ext cx="3959805" cy="1751930"/>
          </a:xfrm>
          <a:prstGeom prst="rect">
            <a:avLst/>
          </a:prstGeom>
          <a:noFill/>
          <a:ln>
            <a:solidFill>
              <a:schemeClr val="accent1">
                <a:lumMod val="75000"/>
              </a:schemeClr>
            </a:solidFill>
          </a:ln>
        </p:spPr>
        <p:txBody>
          <a:bodyPr wrap="square" rtlCol="0">
            <a:spAutoFit/>
          </a:bodyPr>
          <a:lstStyle/>
          <a:p>
            <a:pPr marL="88882" indent="-88882" algn="just" eaLnBrk="0" hangingPunct="0">
              <a:lnSpc>
                <a:spcPct val="110000"/>
              </a:lnSpc>
              <a:defRPr/>
            </a:pPr>
            <a:r>
              <a:rPr lang="ja-JP" altLang="en-US" sz="1100" dirty="0"/>
              <a:t>■課題</a:t>
            </a:r>
            <a:endParaRPr lang="en-US" altLang="ja-JP" sz="1100" dirty="0"/>
          </a:p>
          <a:p>
            <a:pPr marL="88882" indent="-88882" algn="just" eaLnBrk="0" hangingPunct="0">
              <a:lnSpc>
                <a:spcPct val="110000"/>
              </a:lnSpc>
              <a:defRPr/>
            </a:pPr>
            <a:r>
              <a:rPr lang="ja-JP" altLang="en-US" sz="1100" dirty="0"/>
              <a:t>　地域の除排雪を担ってきた業者や有志によるボランティアが減少。女性の一人暮らしも増え、除雪機の使用方法も分からないため、自宅周りの除雪が困難な世帯が増加。</a:t>
            </a:r>
          </a:p>
          <a:p>
            <a:pPr marL="88882" indent="-88882" algn="just" eaLnBrk="0" hangingPunct="0">
              <a:lnSpc>
                <a:spcPct val="110000"/>
              </a:lnSpc>
              <a:defRPr/>
            </a:pPr>
            <a:r>
              <a:rPr lang="ja-JP" altLang="en-US" sz="1100" dirty="0"/>
              <a:t>■派遣の内容</a:t>
            </a:r>
            <a:endParaRPr lang="en-US" altLang="ja-JP" sz="1100" dirty="0"/>
          </a:p>
          <a:p>
            <a:pPr marL="88882" indent="-88882" algn="just" eaLnBrk="0" hangingPunct="0">
              <a:lnSpc>
                <a:spcPct val="110000"/>
              </a:lnSpc>
              <a:defRPr/>
            </a:pPr>
            <a:r>
              <a:rPr lang="ja-JP" altLang="en-US" sz="1100" dirty="0"/>
              <a:t>　地域においてアドバイザーが参加する雪かき講習会を実施。アドバイザーから除雪機の有用性とその危険性、手入れの方法等について座学と実技を実施。実技では、安全な作業方法について一人ひとり除雪機を操作してもらいながら指導を実施。</a:t>
            </a:r>
            <a:endParaRPr lang="en-US" altLang="ja-JP" sz="1100" dirty="0"/>
          </a:p>
        </p:txBody>
      </p:sp>
      <p:sp>
        <p:nvSpPr>
          <p:cNvPr id="1946" name="テキスト ボックス 1"/>
          <p:cNvSpPr txBox="1"/>
          <p:nvPr/>
        </p:nvSpPr>
        <p:spPr>
          <a:xfrm>
            <a:off x="416430" y="5905743"/>
            <a:ext cx="4909576" cy="861636"/>
          </a:xfrm>
          <a:prstGeom prst="rect">
            <a:avLst/>
          </a:prstGeom>
          <a:solidFill>
            <a:srgbClr val="FFFF99"/>
          </a:solidFill>
          <a:ln>
            <a:solidFill>
              <a:srgbClr val="FF0000"/>
            </a:solidFill>
          </a:ln>
        </p:spPr>
        <p:txBody>
          <a:bodyPr wrap="square" rtlCol="0">
            <a:spAutoFit/>
          </a:bodyPr>
          <a:lstStyle/>
          <a:p>
            <a:pPr eaLnBrk="0" hangingPunct="0">
              <a:spcBef>
                <a:spcPts val="0"/>
              </a:spcBef>
              <a:defRPr/>
            </a:pPr>
            <a:r>
              <a:rPr lang="ja-JP" altLang="en-US" sz="1000" b="1" dirty="0">
                <a:solidFill>
                  <a:srgbClr val="FF0000"/>
                </a:solidFill>
                <a:latin typeface="メイリオ" panose="020B0604030504040204" pitchFamily="50" charset="-128"/>
                <a:ea typeface="メイリオ" panose="020B0604030504040204" pitchFamily="50" charset="-128"/>
              </a:rPr>
              <a:t>豪雪地帯安全確保緊急対策交付金によるアドバイザーの活用事業例</a:t>
            </a:r>
            <a:endParaRPr lang="en-US" altLang="ja-JP" sz="1000" b="1" dirty="0">
              <a:solidFill>
                <a:srgbClr val="FF0000"/>
              </a:solidFill>
              <a:latin typeface="メイリオ" panose="020B0604030504040204" pitchFamily="50" charset="-128"/>
              <a:ea typeface="メイリオ" panose="020B0604030504040204" pitchFamily="50" charset="-128"/>
            </a:endParaRPr>
          </a:p>
          <a:p>
            <a:pPr eaLnBrk="0" hangingPunct="0">
              <a:spcBef>
                <a:spcPts val="0"/>
              </a:spcBef>
              <a:defRPr/>
            </a:pPr>
            <a:r>
              <a:rPr lang="ja-JP" altLang="en-US" sz="1000" dirty="0">
                <a:solidFill>
                  <a:srgbClr val="FF0000"/>
                </a:solidFill>
                <a:latin typeface="メイリオ" panose="020B0604030504040204" pitchFamily="50" charset="-128"/>
                <a:ea typeface="メイリオ" panose="020B0604030504040204" pitchFamily="50" charset="-128"/>
              </a:rPr>
              <a:t>　■克雪方針策定事業</a:t>
            </a:r>
            <a:endParaRPr lang="en-US" altLang="ja-JP" sz="1000" dirty="0">
              <a:solidFill>
                <a:srgbClr val="FF0000"/>
              </a:solidFill>
              <a:latin typeface="メイリオ" panose="020B0604030504040204" pitchFamily="50" charset="-128"/>
              <a:ea typeface="メイリオ" panose="020B0604030504040204" pitchFamily="50" charset="-128"/>
            </a:endParaRPr>
          </a:p>
          <a:p>
            <a:pPr eaLnBrk="0" hangingPunct="0">
              <a:spcBef>
                <a:spcPts val="0"/>
              </a:spcBef>
              <a:defRPr/>
            </a:pPr>
            <a:r>
              <a:rPr lang="ja-JP" altLang="en-US" sz="1000" dirty="0">
                <a:solidFill>
                  <a:srgbClr val="FF0000"/>
                </a:solidFill>
                <a:latin typeface="メイリオ" panose="020B0604030504040204" pitchFamily="50" charset="-128"/>
                <a:ea typeface="メイリオ" panose="020B0604030504040204" pitchFamily="50" charset="-128"/>
              </a:rPr>
              <a:t>　　　シンポジウム、ワークショップへの招致、方針作りへの助言　等</a:t>
            </a:r>
            <a:endParaRPr lang="en-US" altLang="ja-JP" sz="1000" dirty="0">
              <a:solidFill>
                <a:srgbClr val="FF0000"/>
              </a:solidFill>
              <a:latin typeface="メイリオ" panose="020B0604030504040204" pitchFamily="50" charset="-128"/>
              <a:ea typeface="メイリオ" panose="020B0604030504040204" pitchFamily="50" charset="-128"/>
            </a:endParaRPr>
          </a:p>
          <a:p>
            <a:pPr eaLnBrk="0" hangingPunct="0">
              <a:spcBef>
                <a:spcPts val="0"/>
              </a:spcBef>
              <a:defRPr/>
            </a:pPr>
            <a:r>
              <a:rPr lang="ja-JP" altLang="en-US" sz="1000" dirty="0">
                <a:solidFill>
                  <a:srgbClr val="FF0000"/>
                </a:solidFill>
                <a:latin typeface="メイリオ" panose="020B0604030504040204" pitchFamily="50" charset="-128"/>
                <a:ea typeface="メイリオ" panose="020B0604030504040204" pitchFamily="50" charset="-128"/>
              </a:rPr>
              <a:t>　■安全克雪事業</a:t>
            </a:r>
            <a:endParaRPr lang="en-US" altLang="ja-JP" sz="1000" dirty="0">
              <a:solidFill>
                <a:srgbClr val="FF0000"/>
              </a:solidFill>
              <a:latin typeface="メイリオ" panose="020B0604030504040204" pitchFamily="50" charset="-128"/>
              <a:ea typeface="メイリオ" panose="020B0604030504040204" pitchFamily="50" charset="-128"/>
            </a:endParaRPr>
          </a:p>
          <a:p>
            <a:pPr eaLnBrk="0" hangingPunct="0">
              <a:spcBef>
                <a:spcPts val="0"/>
              </a:spcBef>
              <a:defRPr/>
            </a:pPr>
            <a:r>
              <a:rPr lang="ja-JP" altLang="en-US" sz="1000" dirty="0">
                <a:solidFill>
                  <a:srgbClr val="FF0000"/>
                </a:solidFill>
                <a:latin typeface="メイリオ" panose="020B0604030504040204" pitchFamily="50" charset="-128"/>
                <a:ea typeface="メイリオ" panose="020B0604030504040204" pitchFamily="50" charset="-128"/>
              </a:rPr>
              <a:t>　　　共助組織立ち上げに関する講習会・安全対策講習会の実施の講師　等</a:t>
            </a:r>
            <a:endParaRPr lang="en-US" altLang="ja-JP" sz="1000" dirty="0">
              <a:solidFill>
                <a:srgbClr val="FF0000"/>
              </a:solidFill>
              <a:latin typeface="メイリオ" panose="020B0604030504040204" pitchFamily="50" charset="-128"/>
              <a:ea typeface="メイリオ" panose="020B0604030504040204" pitchFamily="50" charset="-128"/>
            </a:endParaRPr>
          </a:p>
        </p:txBody>
      </p:sp>
      <p:sp>
        <p:nvSpPr>
          <p:cNvPr id="1949" name="テキスト ボックス 194"/>
          <p:cNvSpPr txBox="1"/>
          <p:nvPr/>
        </p:nvSpPr>
        <p:spPr>
          <a:xfrm>
            <a:off x="5446010" y="2034635"/>
            <a:ext cx="3973127" cy="276955"/>
          </a:xfrm>
          <a:prstGeom prst="rect">
            <a:avLst/>
          </a:prstGeom>
          <a:noFill/>
        </p:spPr>
        <p:txBody>
          <a:bodyPr wrap="square" rtlCol="0">
            <a:spAutoFit/>
          </a:bodyPr>
          <a:lstStyle/>
          <a:p>
            <a:pPr algn="ctr" eaLnBrk="0" hangingPunct="0">
              <a:defRPr/>
            </a:pPr>
            <a:r>
              <a:rPr lang="ja-JP" altLang="en-US" sz="1200" b="1" dirty="0">
                <a:solidFill>
                  <a:prstClr val="black"/>
                </a:solidFill>
                <a:latin typeface="ＭＳ Ｐゴシック" panose="020B0600070205080204" pitchFamily="50" charset="-128"/>
                <a:cs typeface="Arial" panose="020B0604020202020204" pitchFamily="34" charset="0"/>
              </a:rPr>
              <a:t>克雪体制づくりアドバイザーの派遣内容</a:t>
            </a:r>
            <a:endParaRPr sz="1200" dirty="0">
              <a:solidFill>
                <a:prstClr val="black"/>
              </a:solidFill>
            </a:endParaRPr>
          </a:p>
        </p:txBody>
      </p:sp>
      <p:sp>
        <p:nvSpPr>
          <p:cNvPr id="2" name="テキスト ボックス 16">
            <a:extLst>
              <a:ext uri="{FF2B5EF4-FFF2-40B4-BE49-F238E27FC236}">
                <a16:creationId xmlns:a16="http://schemas.microsoft.com/office/drawing/2014/main" id="{EDACB532-3F61-AA62-3300-C7B870F4FFDD}"/>
              </a:ext>
            </a:extLst>
          </p:cNvPr>
          <p:cNvSpPr txBox="1">
            <a:spLocks noChangeArrowheads="1"/>
          </p:cNvSpPr>
          <p:nvPr/>
        </p:nvSpPr>
        <p:spPr>
          <a:xfrm>
            <a:off x="451797" y="855514"/>
            <a:ext cx="9071676" cy="946431"/>
          </a:xfrm>
          <a:prstGeom prst="rect">
            <a:avLst/>
          </a:prstGeom>
          <a:solidFill>
            <a:srgbClr val="FFFFCC"/>
          </a:solidFill>
          <a:ln w="19050">
            <a:solidFill>
              <a:schemeClr val="accent1"/>
            </a:solidFill>
            <a:miter lim="800000"/>
            <a:headEnd/>
            <a:tailEnd/>
          </a:ln>
        </p:spPr>
        <p:txBody>
          <a:bodyPr wrap="square" tIns="89986" bIns="89986">
            <a:spAutoFit/>
          </a:bodyPr>
          <a:lstStyle>
            <a:defPPr>
              <a:defRPr lang="ja-JP"/>
            </a:defPPr>
            <a:lvl1pPr marL="182563" indent="-182563" algn="just">
              <a:lnSpc>
                <a:spcPts val="1800"/>
              </a:lnSpc>
              <a:spcBef>
                <a:spcPts val="600"/>
              </a:spcBef>
              <a:buFont typeface="Arial" pitchFamily="34" charset="0"/>
              <a:buChar char="•"/>
              <a:defRPr sz="1400"/>
            </a:lvl1pPr>
          </a:lstStyle>
          <a:p>
            <a:pPr marL="179352" indent="-179352" algn="l" eaLnBrk="0" hangingPunct="0">
              <a:lnSpc>
                <a:spcPct val="120000"/>
              </a:lnSpc>
              <a:buNone/>
              <a:defRPr/>
            </a:pPr>
            <a:r>
              <a:rPr kumimoji="0" lang="ja-JP" altLang="en-US" kern="100" dirty="0">
                <a:latin typeface="メイリオ" panose="020B0604030504040204" pitchFamily="50" charset="-128"/>
                <a:ea typeface="メイリオ" panose="020B0604030504040204" pitchFamily="50" charset="-128"/>
                <a:cs typeface="Meiryo UI" panose="020B0604030504040204" pitchFamily="50" charset="-128"/>
              </a:rPr>
              <a:t>・国土交通省では、</a:t>
            </a:r>
            <a:r>
              <a:rPr kumimoji="0" lang="ja-JP" altLang="en-US" b="1" kern="100" dirty="0">
                <a:latin typeface="メイリオ" panose="020B0604030504040204" pitchFamily="50" charset="-128"/>
                <a:ea typeface="メイリオ" panose="020B0604030504040204" pitchFamily="50" charset="-128"/>
                <a:cs typeface="Meiryo UI" panose="020B0604030504040204" pitchFamily="50" charset="-128"/>
              </a:rPr>
              <a:t>平成</a:t>
            </a:r>
            <a:r>
              <a:rPr kumimoji="0" lang="en-US" altLang="ja-JP" b="1" kern="100" dirty="0">
                <a:latin typeface="メイリオ" panose="020B0604030504040204" pitchFamily="50" charset="-128"/>
                <a:ea typeface="メイリオ" panose="020B0604030504040204" pitchFamily="50" charset="-128"/>
                <a:cs typeface="Meiryo UI" panose="020B0604030504040204" pitchFamily="50" charset="-128"/>
              </a:rPr>
              <a:t>30</a:t>
            </a:r>
            <a:r>
              <a:rPr kumimoji="0" lang="ja-JP" altLang="en-US" b="1" kern="100" dirty="0">
                <a:latin typeface="メイリオ" panose="020B0604030504040204" pitchFamily="50" charset="-128"/>
                <a:ea typeface="メイリオ" panose="020B0604030504040204" pitchFamily="50" charset="-128"/>
                <a:cs typeface="Meiryo UI" panose="020B0604030504040204" pitchFamily="50" charset="-128"/>
              </a:rPr>
              <a:t>年度に「克雪体制づくりアドバイザー制度」を創設</a:t>
            </a:r>
            <a:r>
              <a:rPr kumimoji="0" lang="ja-JP" altLang="en-US" kern="100" dirty="0">
                <a:latin typeface="メイリオ" panose="020B0604030504040204" pitchFamily="50" charset="-128"/>
                <a:ea typeface="メイリオ" panose="020B0604030504040204" pitchFamily="50" charset="-128"/>
                <a:cs typeface="Meiryo UI" panose="020B0604030504040204" pitchFamily="50" charset="-128"/>
              </a:rPr>
              <a:t>し、克雪</a:t>
            </a:r>
            <a:r>
              <a:rPr kumimoji="0" lang="ja-JP" altLang="ja-JP" kern="100" dirty="0">
                <a:latin typeface="メイリオ" panose="020B0604030504040204" pitchFamily="50" charset="-128"/>
                <a:ea typeface="メイリオ" panose="020B0604030504040204" pitchFamily="50" charset="-128"/>
                <a:cs typeface="Meiryo UI" panose="020B0604030504040204" pitchFamily="50" charset="-128"/>
              </a:rPr>
              <a:t>体制の整備及び除排雪に関する安全対策の専門的な知識や豊かな経験を有する</a:t>
            </a:r>
            <a:r>
              <a:rPr kumimoji="0" lang="ja-JP" altLang="en-US" kern="100" dirty="0">
                <a:latin typeface="メイリオ" panose="020B0604030504040204" pitchFamily="50" charset="-128"/>
                <a:ea typeface="メイリオ" panose="020B0604030504040204" pitchFamily="50" charset="-128"/>
                <a:cs typeface="Meiryo UI" panose="020B0604030504040204" pitchFamily="50" charset="-128"/>
              </a:rPr>
              <a:t>者を</a:t>
            </a:r>
            <a:r>
              <a:rPr kumimoji="0" lang="ja-JP" altLang="ja-JP" kern="100" dirty="0">
                <a:latin typeface="メイリオ" panose="020B0604030504040204" pitchFamily="50" charset="-128"/>
                <a:ea typeface="メイリオ" panose="020B0604030504040204" pitchFamily="50" charset="-128"/>
                <a:cs typeface="Meiryo UI" panose="020B0604030504040204" pitchFamily="50" charset="-128"/>
              </a:rPr>
              <a:t>「克雪体制づくりアドバイザー」</a:t>
            </a:r>
            <a:r>
              <a:rPr kumimoji="0" lang="ja-JP" altLang="en-US" kern="100" dirty="0">
                <a:latin typeface="メイリオ" panose="020B0604030504040204" pitchFamily="50" charset="-128"/>
                <a:ea typeface="メイリオ" panose="020B0604030504040204" pitchFamily="50" charset="-128"/>
                <a:cs typeface="Meiryo UI" panose="020B0604030504040204" pitchFamily="50" charset="-128"/>
              </a:rPr>
              <a:t>として登録し克雪体制づくりの課題に直面している</a:t>
            </a:r>
            <a:r>
              <a:rPr kumimoji="0" lang="ja-JP" altLang="ja-JP" b="1" kern="100" dirty="0">
                <a:latin typeface="メイリオ" panose="020B0604030504040204" pitchFamily="50" charset="-128"/>
                <a:ea typeface="メイリオ" panose="020B0604030504040204" pitchFamily="50" charset="-128"/>
                <a:cs typeface="Meiryo UI" panose="020B0604030504040204" pitchFamily="50" charset="-128"/>
              </a:rPr>
              <a:t>豪雪地帯の道府県・市町村や各種</a:t>
            </a:r>
            <a:r>
              <a:rPr kumimoji="0" lang="ja-JP" altLang="en-US" b="1" kern="100" dirty="0">
                <a:latin typeface="メイリオ" panose="020B0604030504040204" pitchFamily="50" charset="-128"/>
                <a:ea typeface="メイリオ" panose="020B0604030504040204" pitchFamily="50" charset="-128"/>
                <a:cs typeface="Meiryo UI" panose="020B0604030504040204" pitchFamily="50" charset="-128"/>
              </a:rPr>
              <a:t>活動</a:t>
            </a:r>
            <a:r>
              <a:rPr kumimoji="0" lang="ja-JP" altLang="ja-JP" b="1" kern="100" dirty="0">
                <a:latin typeface="メイリオ" panose="020B0604030504040204" pitchFamily="50" charset="-128"/>
                <a:ea typeface="メイリオ" panose="020B0604030504040204" pitchFamily="50" charset="-128"/>
                <a:cs typeface="Meiryo UI" panose="020B0604030504040204" pitchFamily="50" charset="-128"/>
              </a:rPr>
              <a:t>団体等</a:t>
            </a:r>
            <a:r>
              <a:rPr kumimoji="0" lang="ja-JP" altLang="en-US" b="1" kern="100" dirty="0">
                <a:latin typeface="メイリオ" panose="020B0604030504040204" pitchFamily="50" charset="-128"/>
                <a:ea typeface="メイリオ" panose="020B0604030504040204" pitchFamily="50" charset="-128"/>
                <a:cs typeface="Meiryo UI" panose="020B0604030504040204" pitchFamily="50" charset="-128"/>
              </a:rPr>
              <a:t>へ</a:t>
            </a:r>
            <a:r>
              <a:rPr kumimoji="0" lang="ja-JP" altLang="ja-JP" b="1" kern="100" dirty="0">
                <a:latin typeface="メイリオ" panose="020B0604030504040204" pitchFamily="50" charset="-128"/>
                <a:ea typeface="メイリオ" panose="020B0604030504040204" pitchFamily="50" charset="-128"/>
                <a:cs typeface="Meiryo UI" panose="020B0604030504040204" pitchFamily="50" charset="-128"/>
              </a:rPr>
              <a:t>派遣</a:t>
            </a:r>
            <a:r>
              <a:rPr kumimoji="0" lang="ja-JP" altLang="en-US" kern="100" dirty="0">
                <a:latin typeface="メイリオ" panose="020B0604030504040204" pitchFamily="50" charset="-128"/>
                <a:ea typeface="メイリオ" panose="020B0604030504040204" pitchFamily="50" charset="-128"/>
                <a:cs typeface="Meiryo UI" panose="020B0604030504040204" pitchFamily="50" charset="-128"/>
              </a:rPr>
              <a:t>している。</a:t>
            </a:r>
            <a:endParaRPr lang="en-US" altLang="ja-JP" dirty="0">
              <a:latin typeface="メイリオ" panose="020B0604030504040204" pitchFamily="50" charset="-128"/>
              <a:ea typeface="メイリオ" panose="020B0604030504040204" pitchFamily="50" charset="-128"/>
            </a:endParaRPr>
          </a:p>
        </p:txBody>
      </p:sp>
      <p:sp>
        <p:nvSpPr>
          <p:cNvPr id="5" name="Rectangle 2">
            <a:extLst>
              <a:ext uri="{FF2B5EF4-FFF2-40B4-BE49-F238E27FC236}">
                <a16:creationId xmlns:a16="http://schemas.microsoft.com/office/drawing/2014/main" id="{B345C9C4-2FBE-00A1-132C-D4DF2EE625AB}"/>
              </a:ext>
            </a:extLst>
          </p:cNvPr>
          <p:cNvSpPr txBox="1">
            <a:spLocks noChangeArrowheads="1"/>
          </p:cNvSpPr>
          <p:nvPr/>
        </p:nvSpPr>
        <p:spPr bwMode="auto">
          <a:xfrm>
            <a:off x="344433" y="131577"/>
            <a:ext cx="9163221" cy="435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13" rIns="91425" bIns="45713" numCol="1" anchor="ctr" anchorCtr="0" compatLnSpc="1">
            <a:prstTxWarp prst="textNoShape">
              <a:avLst/>
            </a:prstTxWarp>
            <a:noAutofit/>
          </a:bodyPr>
          <a:lstStyle>
            <a:lvl1pPr algn="just" rtl="0" eaLnBrk="1" fontAlgn="base" hangingPunct="1">
              <a:spcBef>
                <a:spcPct val="0"/>
              </a:spcBef>
              <a:spcAft>
                <a:spcPct val="0"/>
              </a:spcAft>
              <a:defRPr kumimoji="1" sz="2000">
                <a:solidFill>
                  <a:schemeClr val="bg1"/>
                </a:solidFill>
                <a:latin typeface="HGPｺﾞｼｯｸE" pitchFamily="50" charset="-128"/>
                <a:ea typeface="HGPｺﾞｼｯｸE" pitchFamily="50" charset="-128"/>
                <a:cs typeface="+mj-cs"/>
              </a:defRPr>
            </a:lvl1pPr>
            <a:lvl2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algn="l"/>
            <a:r>
              <a:rPr lang="ja-JP" altLang="en-US" sz="2400" kern="0" dirty="0">
                <a:solidFill>
                  <a:srgbClr val="4F81BD"/>
                </a:solidFill>
                <a:latin typeface="HG創英角ｺﾞｼｯｸUB" panose="020B0909000000000000" pitchFamily="49" charset="-128"/>
                <a:ea typeface="HG創英角ｺﾞｼｯｸUB" panose="020B0909000000000000" pitchFamily="49" charset="-128"/>
              </a:rPr>
              <a:t>克雪体制づくりアドバイザー派遣制度</a:t>
            </a:r>
          </a:p>
        </p:txBody>
      </p:sp>
      <p:pic>
        <p:nvPicPr>
          <p:cNvPr id="3" name="図 2">
            <a:extLst>
              <a:ext uri="{FF2B5EF4-FFF2-40B4-BE49-F238E27FC236}">
                <a16:creationId xmlns:a16="http://schemas.microsoft.com/office/drawing/2014/main" id="{E17BF551-72CF-5B10-000C-267ABED452F9}"/>
              </a:ext>
            </a:extLst>
          </p:cNvPr>
          <p:cNvPicPr>
            <a:picLocks noChangeAspect="1"/>
          </p:cNvPicPr>
          <p:nvPr/>
        </p:nvPicPr>
        <p:blipFill>
          <a:blip r:embed="rId3"/>
          <a:stretch>
            <a:fillRect/>
          </a:stretch>
        </p:blipFill>
        <p:spPr>
          <a:xfrm>
            <a:off x="344433" y="2325477"/>
            <a:ext cx="5282451" cy="3508270"/>
          </a:xfrm>
          <a:prstGeom prst="rect">
            <a:avLst/>
          </a:prstGeom>
        </p:spPr>
      </p:pic>
      <p:pic>
        <p:nvPicPr>
          <p:cNvPr id="6" name="図 5" descr="テキスト, 地図 が含まれている画像&#10;&#10;自動的に生成された説明">
            <a:extLst>
              <a:ext uri="{FF2B5EF4-FFF2-40B4-BE49-F238E27FC236}">
                <a16:creationId xmlns:a16="http://schemas.microsoft.com/office/drawing/2014/main" id="{06A655BA-0772-BC88-FC93-2E52EBD072B2}"/>
              </a:ext>
            </a:extLst>
          </p:cNvPr>
          <p:cNvPicPr>
            <a:picLocks noChangeAspect="1"/>
          </p:cNvPicPr>
          <p:nvPr/>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50838" y="2377917"/>
            <a:ext cx="2111945" cy="746136"/>
          </a:xfrm>
          <a:prstGeom prst="rect">
            <a:avLst/>
          </a:prstGeom>
        </p:spPr>
      </p:pic>
      <p:sp>
        <p:nvSpPr>
          <p:cNvPr id="4" name="正方形/長方形 3">
            <a:extLst>
              <a:ext uri="{FF2B5EF4-FFF2-40B4-BE49-F238E27FC236}">
                <a16:creationId xmlns:a16="http://schemas.microsoft.com/office/drawing/2014/main" id="{E98AF83E-E3A7-8C8B-BF13-B698FF80BA93}"/>
              </a:ext>
            </a:extLst>
          </p:cNvPr>
          <p:cNvSpPr/>
          <p:nvPr/>
        </p:nvSpPr>
        <p:spPr>
          <a:xfrm>
            <a:off x="10171292" y="1719956"/>
            <a:ext cx="2231890" cy="647968"/>
          </a:xfrm>
          <a:prstGeom prst="rect">
            <a:avLst/>
          </a:prstGeom>
          <a:solidFill>
            <a:srgbClr val="00CC66"/>
          </a:solidFill>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ja-JP" sz="2000" b="1" dirty="0">
                <a:solidFill>
                  <a:srgbClr val="FFFFFF"/>
                </a:solidFill>
                <a:latin typeface="Arial"/>
                <a:ea typeface="ＭＳ Ｐゴシック"/>
              </a:rPr>
              <a:t>2</a:t>
            </a:r>
            <a:r>
              <a:rPr lang="ja-JP" altLang="en-US" sz="2000" b="1" dirty="0">
                <a:solidFill>
                  <a:srgbClr val="FFFFFF"/>
                </a:solidFill>
                <a:latin typeface="Arial"/>
                <a:ea typeface="ＭＳ Ｐゴシック"/>
              </a:rPr>
              <a:t>４</a:t>
            </a:r>
            <a:r>
              <a:rPr lang="en-US" altLang="ja-JP" sz="2000" b="1" dirty="0">
                <a:solidFill>
                  <a:srgbClr val="FFFFFF"/>
                </a:solidFill>
                <a:latin typeface="Arial"/>
                <a:ea typeface="ＭＳ Ｐゴシック"/>
              </a:rPr>
              <a:t>0517</a:t>
            </a:r>
            <a:r>
              <a:rPr lang="ja-JP" altLang="en-US" sz="2000" b="1" dirty="0">
                <a:solidFill>
                  <a:srgbClr val="FFFFFF"/>
                </a:solidFill>
                <a:latin typeface="Arial"/>
                <a:ea typeface="ＭＳ Ｐゴシック"/>
              </a:rPr>
              <a:t>　更新</a:t>
            </a:r>
          </a:p>
        </p:txBody>
      </p:sp>
      <p:sp>
        <p:nvSpPr>
          <p:cNvPr id="7" name="スライド番号プレースホルダー 6">
            <a:extLst>
              <a:ext uri="{FF2B5EF4-FFF2-40B4-BE49-F238E27FC236}">
                <a16:creationId xmlns:a16="http://schemas.microsoft.com/office/drawing/2014/main" id="{B2F54202-C835-6402-DF90-6E20709E43E1}"/>
              </a:ext>
            </a:extLst>
          </p:cNvPr>
          <p:cNvSpPr>
            <a:spLocks noGrp="1"/>
          </p:cNvSpPr>
          <p:nvPr>
            <p:ph type="sldNum" sz="quarter" idx="10"/>
          </p:nvPr>
        </p:nvSpPr>
        <p:spPr>
          <a:xfrm>
            <a:off x="7593383" y="7336234"/>
            <a:ext cx="2311030" cy="423468"/>
          </a:xfrm>
        </p:spPr>
        <p:txBody>
          <a:bodyPr/>
          <a:lstStyle/>
          <a:p>
            <a:pPr algn="r">
              <a:defRPr/>
            </a:pPr>
            <a:fld id="{B91C2A86-9902-4D4F-ABA7-1FCD82674808}" type="slidenum">
              <a:rPr lang="en-US" altLang="ja-JP" sz="1290" smtClean="0"/>
              <a:pPr algn="r">
                <a:defRPr/>
              </a:pPr>
              <a:t>59</a:t>
            </a:fld>
            <a:endParaRPr lang="en-US" altLang="ja-JP" sz="1290" dirty="0"/>
          </a:p>
        </p:txBody>
      </p:sp>
    </p:spTree>
    <p:extLst>
      <p:ext uri="{BB962C8B-B14F-4D97-AF65-F5344CB8AC3E}">
        <p14:creationId xmlns:p14="http://schemas.microsoft.com/office/powerpoint/2010/main" val="1743979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81" name="テキスト ボックス 7"/>
          <p:cNvSpPr txBox="1">
            <a:spLocks noChangeArrowheads="1"/>
          </p:cNvSpPr>
          <p:nvPr/>
        </p:nvSpPr>
        <p:spPr bwMode="auto">
          <a:xfrm>
            <a:off x="8259714" y="2083803"/>
            <a:ext cx="129543" cy="341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4113" tIns="32057" rIns="64113" bIns="32057">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endParaRPr lang="ja-JP" altLang="en-US"/>
          </a:p>
        </p:txBody>
      </p:sp>
      <p:sp>
        <p:nvSpPr>
          <p:cNvPr id="9" name="Rectangle 19"/>
          <p:cNvSpPr>
            <a:spLocks noChangeArrowheads="1"/>
          </p:cNvSpPr>
          <p:nvPr/>
        </p:nvSpPr>
        <p:spPr bwMode="auto">
          <a:xfrm>
            <a:off x="0" y="0"/>
            <a:ext cx="8100000" cy="438316"/>
          </a:xfrm>
          <a:prstGeom prst="rect">
            <a:avLst/>
          </a:prstGeom>
          <a:noFill/>
          <a:ln w="9525">
            <a:noFill/>
            <a:miter lim="800000"/>
            <a:headEnd/>
            <a:tailEnd/>
          </a:ln>
          <a:effectLst/>
        </p:spPr>
        <p:txBody>
          <a:bodyPr wrap="none" anchor="ctr"/>
          <a:lstStyle/>
          <a:p>
            <a:pPr>
              <a:defRPr/>
            </a:pPr>
            <a:r>
              <a:rPr lang="ja-JP" altLang="en-US" sz="2400" dirty="0">
                <a:solidFill>
                  <a:schemeClr val="accent6"/>
                </a:solidFill>
                <a:latin typeface="ＤＦ特太ゴシック体" panose="020B0509000000000000" pitchFamily="49" charset="-128"/>
                <a:ea typeface="ＤＦ特太ゴシック体" panose="020B0509000000000000" pitchFamily="49" charset="-128"/>
              </a:rPr>
              <a:t>これまでの国土計画（国土計画の変遷）</a:t>
            </a:r>
          </a:p>
        </p:txBody>
      </p:sp>
      <p:sp>
        <p:nvSpPr>
          <p:cNvPr id="2" name="テキスト ボックス 7">
            <a:extLst>
              <a:ext uri="{FF2B5EF4-FFF2-40B4-BE49-F238E27FC236}">
                <a16:creationId xmlns:a16="http://schemas.microsoft.com/office/drawing/2014/main" id="{662ED055-0F32-3316-51AB-34DC8750E3FE}"/>
              </a:ext>
            </a:extLst>
          </p:cNvPr>
          <p:cNvSpPr txBox="1">
            <a:spLocks noChangeArrowheads="1"/>
          </p:cNvSpPr>
          <p:nvPr/>
        </p:nvSpPr>
        <p:spPr>
          <a:xfrm>
            <a:off x="7610488" y="2414910"/>
            <a:ext cx="101920" cy="248803"/>
          </a:xfrm>
          <a:prstGeom prst="rect">
            <a:avLst/>
          </a:prstGeom>
          <a:noFill/>
          <a:ln>
            <a:noFill/>
          </a:ln>
        </p:spPr>
        <p:txBody>
          <a:bodyPr wrap="none" lIns="50435" tIns="25218" rIns="50435" bIns="25218">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653156"/>
            <a:endParaRPr lang="ja-JP" altLang="en-US" sz="1286">
              <a:solidFill>
                <a:srgbClr val="000000"/>
              </a:solidFill>
            </a:endParaRPr>
          </a:p>
        </p:txBody>
      </p:sp>
      <p:graphicFrame>
        <p:nvGraphicFramePr>
          <p:cNvPr id="4" name="Group 2">
            <a:extLst>
              <a:ext uri="{FF2B5EF4-FFF2-40B4-BE49-F238E27FC236}">
                <a16:creationId xmlns:a16="http://schemas.microsoft.com/office/drawing/2014/main" id="{99E2DCFA-B01F-1041-A7C7-673D8A39EA3C}"/>
              </a:ext>
            </a:extLst>
          </p:cNvPr>
          <p:cNvGraphicFramePr>
            <a:graphicFrameLocks noGrp="1"/>
          </p:cNvGraphicFramePr>
          <p:nvPr>
            <p:extLst>
              <p:ext uri="{D42A27DB-BD31-4B8C-83A1-F6EECF244321}">
                <p14:modId xmlns:p14="http://schemas.microsoft.com/office/powerpoint/2010/main" val="921004445"/>
              </p:ext>
            </p:extLst>
          </p:nvPr>
        </p:nvGraphicFramePr>
        <p:xfrm>
          <a:off x="560718" y="820194"/>
          <a:ext cx="9000000" cy="6104694"/>
        </p:xfrm>
        <a:graphic>
          <a:graphicData uri="http://schemas.openxmlformats.org/drawingml/2006/table">
            <a:tbl>
              <a:tblPr/>
              <a:tblGrid>
                <a:gridCol w="468000">
                  <a:extLst>
                    <a:ext uri="{9D8B030D-6E8A-4147-A177-3AD203B41FA5}">
                      <a16:colId xmlns:a16="http://schemas.microsoft.com/office/drawing/2014/main" val="20000"/>
                    </a:ext>
                  </a:extLst>
                </a:gridCol>
                <a:gridCol w="1008000">
                  <a:extLst>
                    <a:ext uri="{9D8B030D-6E8A-4147-A177-3AD203B41FA5}">
                      <a16:colId xmlns:a16="http://schemas.microsoft.com/office/drawing/2014/main" val="20001"/>
                    </a:ext>
                  </a:extLst>
                </a:gridCol>
                <a:gridCol w="1008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gridCol w="1008000">
                  <a:extLst>
                    <a:ext uri="{9D8B030D-6E8A-4147-A177-3AD203B41FA5}">
                      <a16:colId xmlns:a16="http://schemas.microsoft.com/office/drawing/2014/main" val="2174871710"/>
                    </a:ext>
                  </a:extLst>
                </a:gridCol>
                <a:gridCol w="1152000">
                  <a:extLst>
                    <a:ext uri="{9D8B030D-6E8A-4147-A177-3AD203B41FA5}">
                      <a16:colId xmlns:a16="http://schemas.microsoft.com/office/drawing/2014/main" val="395065256"/>
                    </a:ext>
                  </a:extLst>
                </a:gridCol>
                <a:gridCol w="1152000">
                  <a:extLst>
                    <a:ext uri="{9D8B030D-6E8A-4147-A177-3AD203B41FA5}">
                      <a16:colId xmlns:a16="http://schemas.microsoft.com/office/drawing/2014/main" val="636897266"/>
                    </a:ext>
                  </a:extLst>
                </a:gridCol>
                <a:gridCol w="1188000">
                  <a:extLst>
                    <a:ext uri="{9D8B030D-6E8A-4147-A177-3AD203B41FA5}">
                      <a16:colId xmlns:a16="http://schemas.microsoft.com/office/drawing/2014/main" val="3104695015"/>
                    </a:ext>
                  </a:extLst>
                </a:gridCol>
              </a:tblGrid>
              <a:tr h="540000">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dist" defTabSz="914400" rtl="0" eaLnBrk="1" fontAlgn="base" latinLnBrk="0" hangingPunct="1">
                        <a:lnSpc>
                          <a:spcPct val="100000"/>
                        </a:lnSpc>
                        <a:spcBef>
                          <a:spcPct val="20000"/>
                        </a:spcBef>
                        <a:spcAft>
                          <a:spcPct val="0"/>
                        </a:spcAft>
                        <a:buClrTx/>
                        <a:buSzTx/>
                        <a:buFontTx/>
                        <a:buNone/>
                        <a:tabLst/>
                      </a:pPr>
                      <a:endParaRPr kumimoji="1" lang="ja-JP"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endParaRPr>
                    </a:p>
                  </a:txBody>
                  <a:tcPr marL="68826" marR="68826" marT="31767" marB="31767"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全国総合</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開発計画</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一全総）</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新全国総合</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開発計画</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新全総）</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第三次全国総合</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開発計画</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三全総）</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第四次全国総合</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開発計画</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四全総）</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21</a:t>
                      </a: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世紀の</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国土の</a:t>
                      </a: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グランドデザイン</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国土形成計画</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全国計画）</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第二次</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国土形成計画</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全国計画）</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1"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第三次</a:t>
                      </a:r>
                      <a:endParaRPr kumimoji="1" lang="en-US" altLang="ja-JP" sz="900" b="1"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1"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国土形成計画</a:t>
                      </a:r>
                      <a:endParaRPr kumimoji="1" lang="en-US" altLang="ja-JP" sz="900" b="1"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1"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全国計画）</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1800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根拠法</a:t>
                      </a:r>
                    </a:p>
                  </a:txBody>
                  <a:tcPr marL="25714" marR="25714" marT="31767" marB="31767"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国土総合開発法</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国土形成計画法</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0" marR="0"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39641" marR="39641"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12655255"/>
                  </a:ext>
                </a:extLst>
              </a:tr>
              <a:tr h="2880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内閣</a:t>
                      </a:r>
                    </a:p>
                  </a:txBody>
                  <a:tcPr marL="68826" marR="68826" marT="0" marB="31767"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池田勇人（２次）</a:t>
                      </a:r>
                    </a:p>
                  </a:txBody>
                  <a:tcPr marL="28315" marR="28315" marT="0" marB="30675"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佐藤榮作（２次）</a:t>
                      </a:r>
                    </a:p>
                  </a:txBody>
                  <a:tcPr marL="28315" marR="28315" marT="0" marB="30675"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福田赳夫</a:t>
                      </a:r>
                    </a:p>
                  </a:txBody>
                  <a:tcPr marL="28315" marR="28315" marT="0" marB="30675"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中曽根康弘（</a:t>
                      </a:r>
                      <a:r>
                        <a:rPr kumimoji="1" lang="ja-JP" altLang="en-US" sz="800" b="0" i="0" u="none" strike="noStrike" kern="1200"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itchFamily="18" charset="0"/>
                        </a:rPr>
                        <a:t>３次）</a:t>
                      </a:r>
                      <a:endPar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0" marR="0" marT="0" marB="30675"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zh-TW"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橋本龍太郎</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２次）</a:t>
                      </a:r>
                    </a:p>
                  </a:txBody>
                  <a:tcPr marL="28315" marR="28315" marT="0" marB="30675"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福田康夫</a:t>
                      </a:r>
                    </a:p>
                  </a:txBody>
                  <a:tcPr marL="28315" marR="28315" marT="0" marB="30675"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安倍晋三（３次）</a:t>
                      </a:r>
                    </a:p>
                  </a:txBody>
                  <a:tcPr marL="28315" marR="28315" marT="0" marB="30675"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岸田文雄（２次）</a:t>
                      </a:r>
                    </a:p>
                  </a:txBody>
                  <a:tcPr marL="28315" marR="28315" marT="0" marB="30675"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501998064"/>
                  </a:ext>
                </a:extLst>
              </a:tr>
              <a:tr h="360000">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閣議</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決定</a:t>
                      </a:r>
                    </a:p>
                  </a:txBody>
                  <a:tcPr marL="68826" marR="68826" marT="31767" marB="31767"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昭和</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37</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月</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5</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日</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962</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昭和</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44</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5</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月</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3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日</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969</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昭和</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52</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1</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月</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4</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日</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977</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昭和</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62</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6</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月</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3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日</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987</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平成</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3</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月</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31</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日</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998</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平成</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7</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月</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4</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日</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008</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平成</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7</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8</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月</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4</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日</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015</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0" marR="0"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令和</a:t>
                      </a:r>
                      <a:r>
                        <a:rPr kumimoji="1" lang="en-US" altLang="ja-JP" sz="800" b="0" i="0" u="none" strike="noStrike" cap="none" normalizeH="0" baseline="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5</a:t>
                      </a:r>
                      <a:r>
                        <a:rPr kumimoji="1" lang="ja-JP" altLang="en-US" sz="800" b="0" i="0" u="none" strike="noStrike" cap="none" normalizeH="0" baseline="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7</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月</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8</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日</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023</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0" marR="0"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60000">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目標</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年次</a:t>
                      </a:r>
                    </a:p>
                  </a:txBody>
                  <a:tcPr marL="68826" marR="68826" marT="31767" marB="31767"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昭和</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45</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昭和</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6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概ね</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間）</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概ね平成</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2</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00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平成</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2</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から</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7</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010-2015</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概ね</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間）</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概ね</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間）</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概ね</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0</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年間）</a:t>
                      </a:r>
                    </a:p>
                  </a:txBody>
                  <a:tcPr marL="28315"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1728000">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背景</a:t>
                      </a:r>
                    </a:p>
                  </a:txBody>
                  <a:tcPr marL="24589" marR="24589" marT="22698" marB="22698"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marL="90488" indent="-90488">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93663" marR="0" lvl="0" indent="-93663"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１ 高度成長経済への移行</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２ 過大都市問題、 所得格差の拡大</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３ 所得倍増計画</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太平洋ベルト</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地帯構想）</a:t>
                      </a:r>
                    </a:p>
                  </a:txBody>
                  <a:tcPr marL="46012" marR="46012" marT="30675"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marL="90488" indent="-90488">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90488" marR="0" lvl="0" indent="-90488"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１ 高度成長経済</a:t>
                      </a: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２ 人口</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産業の</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大都市集中</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３ 情報化</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国際化</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 </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技術革新の進展</a:t>
                      </a:r>
                    </a:p>
                  </a:txBody>
                  <a:tcPr marL="46012" marR="46012" marT="30675"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marL="90488" indent="-90488">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174625" marR="0" lvl="0" indent="-174625"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１ 安定成長経済</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２ 人口</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産業の</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地方分散の兆し</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３ 国土資源、</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エネルギー等の</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有限性の顕在化</a:t>
                      </a:r>
                    </a:p>
                  </a:txBody>
                  <a:tcPr marL="46012" marR="46012" marT="30675"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marL="90488" indent="-90488">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93663" marR="0" lvl="0" indent="-93663"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１ 人口、諸機能の</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東京一極集中</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２ 産業構造の急速な変化等により、地方圏での雇用問題の深刻化</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３ 本格的国際化の進展</a:t>
                      </a:r>
                    </a:p>
                  </a:txBody>
                  <a:tcPr marL="46012" marR="46012" marT="30675"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93663" marR="0" lvl="0" indent="-93663"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１ 地球時代</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地球環境問題</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大競争</a:t>
                      </a: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アジア諸国との交流）</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２ 人口減少・</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高齢化時代</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1" fontAlgn="base" latinLnBrk="0" hangingPunct="1">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３ 高度情報化</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時代</a:t>
                      </a:r>
                    </a:p>
                  </a:txBody>
                  <a:tcPr marL="46012" marR="46012" marT="30675"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１ 経済社会情勢の大転換（人口減少・高齢化、グローバル化、情報通信技術の発達）</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２ 国民の価値観の</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変化・多様化</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３ 国土をめぐる状況</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一極一軸型国土</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構造等）</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46012" marR="46012" marT="30675"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１ 国土を取り巻く時代の潮流と課題（急激な人口減少・少子化、異次元の高齢化、巨大災害切迫、インフラの老朽化等）</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２ 国民の価値観の変化</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ライフスタイルの多様化、安全・安心に対する国民意識の高まり）</a:t>
                      </a:r>
                      <a:endParaRPr kumimoji="1" lang="en-US" altLang="ja-JP"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３ 国土空間の変化</a:t>
                      </a:r>
                      <a:b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低・未利用地、空き家の増加等）</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46012" marR="46012" marT="30675"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93663" marR="0" lvl="0" indent="-93663" algn="l" defTabSz="914400" rtl="0" eaLnBrk="0" fontAlgn="base" latinLnBrk="0" hangingPunct="0">
                        <a:lnSpc>
                          <a:spcPct val="100000"/>
                        </a:lnSpc>
                        <a:spcBef>
                          <a:spcPct val="0"/>
                        </a:spcBef>
                        <a:spcAft>
                          <a:spcPts val="300"/>
                        </a:spcAft>
                        <a:buClrTx/>
                        <a:buSzTx/>
                        <a:buFontTx/>
                        <a:buNone/>
                        <a:tabLst/>
                      </a:pP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時代の重大な岐路に</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ts val="700"/>
                        </a:lnSpc>
                        <a:spcBef>
                          <a:spcPct val="0"/>
                        </a:spcBef>
                        <a:spcAft>
                          <a:spcPts val="300"/>
                        </a:spcAft>
                        <a:buClrTx/>
                        <a:buSzTx/>
                        <a:buFontTx/>
                        <a:buNone/>
                        <a:tabLst/>
                      </a:pP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 </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立つ国土」</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1 </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地域の持続性、安全・安心を脅かすリスクの高まり（未曽有の人口減少、少子高齢化、巨大災害リスク、気候危機）</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2 </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コロナ禍を経た暮らし方・働き方の変化（新たな地方・田園回帰の動き）</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ts val="300"/>
                        </a:spcAft>
                        <a:buClrTx/>
                        <a:buSzTx/>
                        <a:buFontTx/>
                        <a:buNone/>
                        <a:tabLst/>
                      </a:pPr>
                      <a:r>
                        <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3 </a:t>
                      </a:r>
                      <a:r>
                        <a:rPr kumimoji="1" lang="ja-JP" altLang="en-US"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激動する世界の中での日本の立ち位置の変化</a:t>
                      </a:r>
                      <a:endParaRPr kumimoji="1" lang="en-US" altLang="ja-JP" sz="8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46012" marR="46012" marT="30675"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648000">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基本</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目標</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txBody>
                  <a:tcPr marL="68826" marR="68826" marT="31767" marB="31767"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地域間の</a:t>
                      </a:r>
                      <a:endParaRPr kumimoji="1" lang="en-US" altLang="ja-JP"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均衡ある発展</a:t>
                      </a:r>
                    </a:p>
                  </a:txBody>
                  <a:tcPr marL="61350" marR="0"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豊かな環境の</a:t>
                      </a:r>
                      <a:endParaRPr kumimoji="1" lang="en-US" altLang="ja-JP"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創造</a:t>
                      </a:r>
                    </a:p>
                  </a:txBody>
                  <a:tcPr marL="61350" marR="0"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人間居住の</a:t>
                      </a:r>
                      <a:endParaRPr kumimoji="1" lang="en-US" altLang="ja-JP"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総合的環境の</a:t>
                      </a:r>
                      <a:endParaRPr kumimoji="1" lang="en-US" altLang="ja-JP"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整備</a:t>
                      </a:r>
                    </a:p>
                  </a:txBody>
                  <a:tcPr marL="61350" marR="0"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多極分散型国土</a:t>
                      </a:r>
                      <a:endParaRPr kumimoji="1" lang="en-US" altLang="ja-JP"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の構築</a:t>
                      </a:r>
                    </a:p>
                  </a:txBody>
                  <a:tcPr marL="61350" marR="0"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多軸型国土構造</a:t>
                      </a:r>
                      <a:endParaRPr kumimoji="1" lang="en-US" altLang="ja-JP"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形成の基礎づくり</a:t>
                      </a:r>
                    </a:p>
                  </a:txBody>
                  <a:tcPr marL="46012" marR="0"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8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多様な広域ブロックが自立的に発展する国土を構築</a:t>
                      </a:r>
                      <a:r>
                        <a:rPr kumimoji="1" lang="en-US" altLang="ja-JP" sz="8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a:t>
                      </a:r>
                      <a:r>
                        <a:rPr kumimoji="1" lang="ja-JP" altLang="en-US" sz="8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美しく暮らしやすい国土の形成</a:t>
                      </a:r>
                    </a:p>
                  </a:txBody>
                  <a:tcPr marL="61350" marR="3067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対流促進型国土の</a:t>
                      </a:r>
                      <a:endParaRPr kumimoji="1" lang="en-US" altLang="ja-JP"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形成</a:t>
                      </a:r>
                      <a:endParaRPr kumimoji="1" lang="en-US" altLang="ja-JP" sz="9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txBody>
                  <a:tcPr marL="61350"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新時代に</a:t>
                      </a:r>
                      <a:endParaRPr kumimoji="1" lang="en-US" altLang="ja-JP" sz="900" b="1"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900" b="1"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地域力をつなぐ国土</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7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列島を支える新たな</a:t>
                      </a:r>
                      <a:endParaRPr kumimoji="1" lang="en-US" altLang="ja-JP" sz="7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700" b="0" i="0" u="none" strike="noStrike" cap="none" normalizeH="0" baseline="0" dirty="0">
                          <a:ln>
                            <a:noFill/>
                          </a:ln>
                          <a:solidFill>
                            <a:srgbClr val="FF0000"/>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地域マネジメントの構築～</a:t>
                      </a:r>
                    </a:p>
                  </a:txBody>
                  <a:tcPr marL="61350" marR="28315" marT="0" marB="0"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980000">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開発</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方式等</a:t>
                      </a:r>
                    </a:p>
                  </a:txBody>
                  <a:tcPr marL="68826" marR="68826" marT="31767" marB="31767" anchor="ctr"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ts val="60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拠点開発方式</a:t>
                      </a:r>
                    </a:p>
                    <a:p>
                      <a:pPr marL="0" marR="0" lvl="0" indent="0" algn="just"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目標達成のため工業分散を図ることが必要であり、東京等の既成大集積と関連させつつ開発拠点を配置し、交通通信施設によりこれを有機的に連絡させ相互に影響させると同時に、周辺地域の特性を生かしながら連鎖反応的に開発をすすめ、地域間の均衡ある発展を実現する。</a:t>
                      </a:r>
                      <a:endParaRPr kumimoji="1" lang="en-US" altLang="ja-JP" sz="10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txBody>
                  <a:tcPr marL="30675" marR="30675" marT="61350"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大規模開発</a:t>
                      </a:r>
                      <a:endParaRPr kumimoji="1" lang="en-US" altLang="ja-JP"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1" fontAlgn="base" latinLnBrk="0" hangingPunct="1">
                        <a:lnSpc>
                          <a:spcPct val="100000"/>
                        </a:lnSpc>
                        <a:spcBef>
                          <a:spcPct val="0"/>
                        </a:spcBef>
                        <a:spcAft>
                          <a:spcPts val="60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プロジェクト構想</a:t>
                      </a:r>
                    </a:p>
                    <a:p>
                      <a:pPr marL="0" marR="0" lvl="0" indent="0" algn="just"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新幹線、高速道路等のネットワークを整備し、大規模プロジェクトを推進することにより、国土利用の偏在を是正し、過密過疎、地域格差を解消する。</a:t>
                      </a:r>
                      <a:endParaRPr kumimoji="1" lang="en-US" altLang="ja-JP"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46012" marR="46012" marT="61350"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ts val="60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定住構想</a:t>
                      </a:r>
                    </a:p>
                    <a:p>
                      <a:pPr marL="0" marR="0" lvl="0" indent="0" algn="just"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大都市への人口と産業の集中を抑制する一方、地方を振興し、過密過疎問題に対処しながら、全国土の利用の均衡を図りつつ人間居住の総合的環境の形成を図る。</a:t>
                      </a:r>
                      <a:endParaRPr kumimoji="1" lang="en-US" altLang="ja-JP"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46012" marR="46012" marT="61350"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kumimoji="1" sz="28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defRPr kumimoji="1" sz="24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defRPr kumimoji="1" sz="20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defRPr kumimoji="1">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交流ネットワーク</a:t>
                      </a:r>
                    </a:p>
                    <a:p>
                      <a:pPr marL="0" marR="0" lvl="0" indent="0" algn="ctr" defTabSz="914400" rtl="0" eaLnBrk="1" fontAlgn="base" latinLnBrk="0" hangingPunct="1">
                        <a:lnSpc>
                          <a:spcPct val="100000"/>
                        </a:lnSpc>
                        <a:spcBef>
                          <a:spcPct val="0"/>
                        </a:spcBef>
                        <a:spcAft>
                          <a:spcPts val="60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構想</a:t>
                      </a:r>
                    </a:p>
                    <a:p>
                      <a:pPr marL="0" marR="0" lvl="0" indent="0" algn="just"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多極分散型国土を構築するため、①地域の特性を生かしつつ、創意と工夫により地域整備を推進、②基幹的交通、情報・通信体系の整備を国自らあるいは国の先導的な指針に基づき全国にわたって推進、③多様な交流の機会を国、地方、民間諸団体の連携により 形成。</a:t>
                      </a:r>
                      <a:endParaRPr kumimoji="1" lang="en-US" altLang="ja-JP"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46012" marR="46012" marT="61350"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ts val="20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参加と連携</a:t>
                      </a:r>
                      <a:endParaRPr kumimoji="1" lang="ja-JP" altLang="en-US" sz="900" b="0" i="0" u="none"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1" lang="ja-JP" altLang="en-US" sz="6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多様な主体の参加と</a:t>
                      </a:r>
                      <a:endParaRPr kumimoji="1" lang="en-US" altLang="ja-JP" sz="6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ctr" defTabSz="914400" rtl="0" eaLnBrk="0" fontAlgn="base" latinLnBrk="0" hangingPunct="0">
                        <a:lnSpc>
                          <a:spcPct val="100000"/>
                        </a:lnSpc>
                        <a:spcBef>
                          <a:spcPct val="0"/>
                        </a:spcBef>
                        <a:spcAft>
                          <a:spcPts val="300"/>
                        </a:spcAft>
                        <a:buClrTx/>
                        <a:buSzTx/>
                        <a:buFontTx/>
                        <a:buNone/>
                        <a:tabLst/>
                      </a:pPr>
                      <a:r>
                        <a:rPr kumimoji="1" lang="ja-JP" altLang="en-US" sz="6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地域連携による国土づくり～</a:t>
                      </a:r>
                      <a:endParaRPr kumimoji="1" lang="en-US" altLang="ja-JP" sz="6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ts val="30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４つの戦略）</a:t>
                      </a:r>
                      <a:endParaRPr kumimoji="1" lang="en-US" altLang="ja-JP"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0488" marR="0" lvl="0" indent="-90488" algn="just"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１ 多自然居住地域（小都市、農山漁村、中山間地域等）の創造</a:t>
                      </a:r>
                      <a:endParaRPr kumimoji="1" lang="en-US" altLang="ja-JP"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0488" marR="0" lvl="0" indent="-90488" algn="just"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２ 大都市のリノベーション（大都市空間の修復、更新、有効活用）</a:t>
                      </a:r>
                      <a:endParaRPr kumimoji="1" lang="en-US" altLang="ja-JP"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0488" marR="0" lvl="0" indent="-90488" algn="just"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３ 地域連携軸（軸状に連なる地域連携のまとまり）の展開</a:t>
                      </a:r>
                      <a:endParaRPr kumimoji="1" lang="en-US" altLang="ja-JP"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0488" marR="0" lvl="0" indent="-90488" algn="just"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４ 広域国際交流圏（世界的な交流機能を有する圏域の設定）</a:t>
                      </a:r>
                      <a:endParaRPr kumimoji="1" lang="en-US" altLang="ja-JP"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46012" marR="46012" marT="61350"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ts val="600"/>
                        </a:spcAft>
                        <a:buClrTx/>
                        <a:buSzTx/>
                        <a:buFontTx/>
                        <a:buNone/>
                        <a:tabLst/>
                      </a:pPr>
                      <a:r>
                        <a:rPr kumimoji="1" lang="ja-JP" altLang="en-US"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５つの戦略的目標）</a:t>
                      </a:r>
                      <a:endParaRPr kumimoji="1" lang="en-US" altLang="ja-JP" sz="9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tx1"/>
                          </a:solidFill>
                          <a:effectLst/>
                          <a:latin typeface="HGP明朝B" panose="02020800000000000000" pitchFamily="18" charset="-128"/>
                          <a:ea typeface="HGP明朝B" panose="02020800000000000000" pitchFamily="18" charset="-128"/>
                          <a:cs typeface="Times New Roman" panose="02020603050405020304" pitchFamily="18" charset="0"/>
                        </a:rPr>
                        <a:t>１</a:t>
                      </a:r>
                      <a:r>
                        <a:rPr kumimoji="1" lang="ja-JP" altLang="en-US"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rPr>
                        <a:t> 東アジアとの交流・連携</a:t>
                      </a:r>
                      <a:endParaRPr kumimoji="1" lang="en-US" altLang="ja-JP"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rPr>
                        <a:t>２ 持続可能な地域の形成</a:t>
                      </a:r>
                      <a:endParaRPr kumimoji="1" lang="en-US" altLang="ja-JP"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rPr>
                        <a:t>３ 災害に強いしなやかな</a:t>
                      </a:r>
                      <a:br>
                        <a:rPr kumimoji="1" lang="en-US" altLang="ja-JP"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rPr>
                      </a:br>
                      <a:r>
                        <a:rPr kumimoji="1" lang="ja-JP" altLang="en-US"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rPr>
                        <a:t>国土の形成</a:t>
                      </a:r>
                      <a:endParaRPr kumimoji="1" lang="en-US" altLang="ja-JP"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rPr>
                        <a:t>４ 美しい国土の管理と継承</a:t>
                      </a:r>
                      <a:endParaRPr kumimoji="1" lang="en-US" altLang="ja-JP"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endParaRPr>
                    </a:p>
                    <a:p>
                      <a:pPr marL="93663" marR="0" lvl="0" indent="-93663" algn="l" defTabSz="914400" rtl="0" eaLnBrk="0" fontAlgn="base" latinLnBrk="0" hangingPunct="0">
                        <a:lnSpc>
                          <a:spcPct val="100000"/>
                        </a:lnSpc>
                        <a:spcBef>
                          <a:spcPct val="0"/>
                        </a:spcBef>
                        <a:spcAft>
                          <a:spcPct val="0"/>
                        </a:spcAft>
                        <a:buClrTx/>
                        <a:buSzTx/>
                        <a:buFontTx/>
                        <a:buNone/>
                        <a:tabLst/>
                      </a:pPr>
                      <a:r>
                        <a:rPr kumimoji="1" lang="ja-JP" altLang="en-US"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rPr>
                        <a:t>５ 「新たな公」を基軸とする地域づくり</a:t>
                      </a:r>
                      <a:endParaRPr kumimoji="1" lang="en-US" altLang="ja-JP" sz="700" b="0" i="0" u="none" strike="noStrike" cap="none" normalizeH="0" baseline="0" dirty="0">
                        <a:ln>
                          <a:noFill/>
                        </a:ln>
                        <a:solidFill>
                          <a:schemeClr val="accent2"/>
                        </a:solidFill>
                        <a:effectLst/>
                        <a:latin typeface="HGP明朝B" panose="02020800000000000000" pitchFamily="18" charset="-128"/>
                        <a:ea typeface="HGP明朝B" panose="02020800000000000000" pitchFamily="18" charset="-128"/>
                        <a:cs typeface="Times New Roman" panose="02020603050405020304" pitchFamily="18" charset="0"/>
                      </a:endParaRPr>
                    </a:p>
                  </a:txBody>
                  <a:tcPr marL="46012" marR="30675" marT="61350"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重層的かつ強靱な</a:t>
                      </a:r>
                      <a:endParaRPr kumimoji="1" lang="en-US" altLang="ja-JP"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コンパクト＋</a:t>
                      </a:r>
                      <a:endParaRPr kumimoji="1" lang="en-US" altLang="ja-JP"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ネットワーク」</a:t>
                      </a:r>
                      <a:endParaRPr kumimoji="1" lang="en-US" altLang="ja-JP" sz="900" b="0"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txBody>
                  <a:tcPr marL="14157" marR="14157" marT="61350"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1"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シームレスな</a:t>
                      </a:r>
                      <a:endParaRPr kumimoji="1" lang="en-US" altLang="ja-JP" sz="900" b="1"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1" lang="ja-JP" altLang="en-US" sz="900" b="1"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拠点連結型国土</a:t>
                      </a:r>
                      <a:endParaRPr kumimoji="1" lang="en-US" altLang="ja-JP" sz="900" b="1" i="0" u="sng" strike="noStrike" cap="none" normalizeH="0" baseline="0" dirty="0">
                        <a:ln>
                          <a:noFill/>
                        </a:ln>
                        <a:solidFill>
                          <a:schemeClr val="accent2"/>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1" lang="ja-JP" altLang="en-US"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国土の刷新に向けた重点テーマ）</a:t>
                      </a:r>
                      <a:endPar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85725" marR="0" lvl="0" indent="-85725" algn="l" defTabSz="914400" rtl="0" eaLnBrk="0" fontAlgn="base" latinLnBrk="0" hangingPunct="0">
                        <a:lnSpc>
                          <a:spcPct val="100000"/>
                        </a:lnSpc>
                        <a:spcBef>
                          <a:spcPct val="0"/>
                        </a:spcBef>
                        <a:spcAft>
                          <a:spcPct val="0"/>
                        </a:spcAft>
                        <a:buClrTx/>
                        <a:buSzTx/>
                        <a:buFontTx/>
                        <a:buNone/>
                        <a:tabLst/>
                      </a:pPr>
                      <a:r>
                        <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1 </a:t>
                      </a:r>
                      <a:r>
                        <a:rPr kumimoji="1" lang="ja-JP" altLang="en-US"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デジタルとリアルが融合した地域生活圏の形成</a:t>
                      </a:r>
                      <a:endPar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85725" marR="0" lvl="0" indent="-85725" algn="l" defTabSz="914400" rtl="0" eaLnBrk="0" fontAlgn="base" latinLnBrk="0" hangingPunct="0">
                        <a:lnSpc>
                          <a:spcPct val="100000"/>
                        </a:lnSpc>
                        <a:spcBef>
                          <a:spcPct val="0"/>
                        </a:spcBef>
                        <a:spcAft>
                          <a:spcPct val="0"/>
                        </a:spcAft>
                        <a:buClrTx/>
                        <a:buSzTx/>
                        <a:buFontTx/>
                        <a:buNone/>
                        <a:tabLst/>
                      </a:pPr>
                      <a:r>
                        <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2 </a:t>
                      </a:r>
                      <a:r>
                        <a:rPr kumimoji="1" lang="ja-JP" altLang="en-US"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持続可能な産業への構造転換</a:t>
                      </a:r>
                      <a:endPar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85725" marR="0" lvl="0" indent="-85725" algn="l" defTabSz="914400" rtl="0" eaLnBrk="0" fontAlgn="base" latinLnBrk="0" hangingPunct="0">
                        <a:lnSpc>
                          <a:spcPct val="100000"/>
                        </a:lnSpc>
                        <a:spcBef>
                          <a:spcPct val="0"/>
                        </a:spcBef>
                        <a:spcAft>
                          <a:spcPct val="0"/>
                        </a:spcAft>
                        <a:buClrTx/>
                        <a:buSzTx/>
                        <a:buFontTx/>
                        <a:buNone/>
                        <a:tabLst/>
                      </a:pPr>
                      <a:r>
                        <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3 </a:t>
                      </a:r>
                      <a:r>
                        <a:rPr kumimoji="1" lang="ja-JP" altLang="en-US"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グリーン国土の創造</a:t>
                      </a:r>
                      <a:endPar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85725" marR="0" lvl="0" indent="-85725" algn="l" defTabSz="914400" rtl="0" eaLnBrk="0" fontAlgn="base" latinLnBrk="0" hangingPunct="0">
                        <a:lnSpc>
                          <a:spcPct val="100000"/>
                        </a:lnSpc>
                        <a:spcBef>
                          <a:spcPct val="0"/>
                        </a:spcBef>
                        <a:spcAft>
                          <a:spcPct val="0"/>
                        </a:spcAft>
                        <a:buClrTx/>
                        <a:buSzTx/>
                        <a:buFontTx/>
                        <a:buNone/>
                        <a:tabLst/>
                      </a:pPr>
                      <a:r>
                        <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4 </a:t>
                      </a:r>
                      <a:r>
                        <a:rPr kumimoji="1" lang="ja-JP" altLang="en-US"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人口減少下の国土利用・管理</a:t>
                      </a:r>
                      <a:endPar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5 </a:t>
                      </a:r>
                      <a:r>
                        <a:rPr kumimoji="1" lang="ja-JP" altLang="en-US"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国土基盤の高質化</a:t>
                      </a:r>
                      <a:endPar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p>
                      <a:pPr marL="85725" marR="0" lvl="0" indent="-85725" algn="l" defTabSz="914400" rtl="0" eaLnBrk="0" fontAlgn="base" latinLnBrk="0" hangingPunct="0">
                        <a:lnSpc>
                          <a:spcPct val="100000"/>
                        </a:lnSpc>
                        <a:spcBef>
                          <a:spcPct val="0"/>
                        </a:spcBef>
                        <a:spcAft>
                          <a:spcPct val="0"/>
                        </a:spcAft>
                        <a:buClrTx/>
                        <a:buSzTx/>
                        <a:buFontTx/>
                        <a:buNone/>
                        <a:tabLst/>
                      </a:pPr>
                      <a:r>
                        <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6 </a:t>
                      </a:r>
                      <a:r>
                        <a:rPr kumimoji="1" lang="ja-JP" altLang="en-US"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rPr>
                        <a:t>地域を支える人材の確保・育成</a:t>
                      </a:r>
                      <a:endParaRPr kumimoji="1" lang="en-US" altLang="ja-JP" sz="800" b="0" i="0" u="none" strike="noStrike" cap="none" normalizeH="0" baseline="0" dirty="0">
                        <a:ln>
                          <a:noFill/>
                        </a:ln>
                        <a:solidFill>
                          <a:schemeClr val="tx1"/>
                        </a:solidFill>
                        <a:effectLst/>
                        <a:latin typeface="HGPｺﾞｼｯｸM" panose="020B0600000000000000" pitchFamily="50" charset="-128"/>
                        <a:ea typeface="HGPｺﾞｼｯｸM" panose="020B0600000000000000" pitchFamily="50" charset="-128"/>
                        <a:cs typeface="Times New Roman" panose="02020603050405020304" pitchFamily="18" charset="0"/>
                      </a:endParaRPr>
                    </a:p>
                  </a:txBody>
                  <a:tcPr marL="14157" marR="14157" marT="61350" marB="0" horzOverflow="overflow">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bl>
          </a:graphicData>
        </a:graphic>
      </p:graphicFrame>
      <p:sp>
        <p:nvSpPr>
          <p:cNvPr id="6" name="テキスト ボックス 5">
            <a:extLst>
              <a:ext uri="{FF2B5EF4-FFF2-40B4-BE49-F238E27FC236}">
                <a16:creationId xmlns:a16="http://schemas.microsoft.com/office/drawing/2014/main" id="{17F895EF-4547-8984-00FB-50C507AC2F91}"/>
              </a:ext>
            </a:extLst>
          </p:cNvPr>
          <p:cNvSpPr txBox="1"/>
          <p:nvPr/>
        </p:nvSpPr>
        <p:spPr>
          <a:xfrm>
            <a:off x="3044718" y="6112194"/>
            <a:ext cx="1008000" cy="864000"/>
          </a:xfrm>
          <a:prstGeom prst="rect">
            <a:avLst/>
          </a:prstGeom>
          <a:solidFill>
            <a:schemeClr val="bg1"/>
          </a:solidFill>
          <a:ln>
            <a:solidFill>
              <a:schemeClr val="tx1"/>
            </a:solidFill>
          </a:ln>
        </p:spPr>
        <p:txBody>
          <a:bodyPr wrap="square" rtlCol="0">
            <a:spAutoFit/>
          </a:bodyPr>
          <a:lstStyle/>
          <a:p>
            <a:pPr algn="ctr" defTabSz="653156"/>
            <a:r>
              <a:rPr lang="ja-JP" altLang="en-US" sz="800" u="sng" dirty="0">
                <a:solidFill>
                  <a:srgbClr val="000000"/>
                </a:solidFill>
                <a:latin typeface="ＭＳ Ｐゴシック"/>
                <a:ea typeface="ＭＳ Ｐゴシック"/>
              </a:rPr>
              <a:t>田園都市国家構想</a:t>
            </a:r>
            <a:endParaRPr lang="en-US" altLang="ja-JP" sz="800" u="sng" dirty="0">
              <a:solidFill>
                <a:srgbClr val="000000"/>
              </a:solidFill>
              <a:latin typeface="ＭＳ Ｐゴシック"/>
              <a:ea typeface="ＭＳ Ｐゴシック"/>
            </a:endParaRPr>
          </a:p>
          <a:p>
            <a:pPr algn="ctr" defTabSz="653156"/>
            <a:r>
              <a:rPr lang="ja-JP" altLang="en-US" sz="700" u="sng" dirty="0">
                <a:solidFill>
                  <a:srgbClr val="000000"/>
                </a:solidFill>
                <a:latin typeface="ＭＳ Ｐゴシック"/>
                <a:ea typeface="ＭＳ Ｐゴシック"/>
              </a:rPr>
              <a:t>（昭和</a:t>
            </a:r>
            <a:r>
              <a:rPr lang="en-US" altLang="ja-JP" sz="700" u="sng" dirty="0">
                <a:solidFill>
                  <a:srgbClr val="000000"/>
                </a:solidFill>
                <a:latin typeface="ＭＳ Ｐゴシック"/>
                <a:ea typeface="ＭＳ Ｐゴシック"/>
              </a:rPr>
              <a:t>54</a:t>
            </a:r>
            <a:r>
              <a:rPr lang="ja-JP" altLang="en-US" sz="700" u="sng" dirty="0">
                <a:solidFill>
                  <a:srgbClr val="000000"/>
                </a:solidFill>
                <a:latin typeface="ＭＳ Ｐゴシック"/>
                <a:ea typeface="ＭＳ Ｐゴシック"/>
              </a:rPr>
              <a:t>年（</a:t>
            </a:r>
            <a:r>
              <a:rPr lang="en-US" altLang="ja-JP" sz="700" u="sng" dirty="0">
                <a:solidFill>
                  <a:srgbClr val="000000"/>
                </a:solidFill>
                <a:latin typeface="ＭＳ Ｐゴシック"/>
                <a:ea typeface="ＭＳ Ｐゴシック"/>
              </a:rPr>
              <a:t>1979</a:t>
            </a:r>
            <a:r>
              <a:rPr lang="ja-JP" altLang="en-US" sz="700" u="sng" dirty="0">
                <a:solidFill>
                  <a:srgbClr val="000000"/>
                </a:solidFill>
                <a:latin typeface="ＭＳ Ｐゴシック"/>
                <a:ea typeface="ＭＳ Ｐゴシック"/>
              </a:rPr>
              <a:t>年））</a:t>
            </a:r>
            <a:endParaRPr lang="en-US" altLang="ja-JP" sz="700" u="sng" dirty="0">
              <a:solidFill>
                <a:srgbClr val="000000"/>
              </a:solidFill>
              <a:latin typeface="ＭＳ Ｐゴシック"/>
              <a:ea typeface="ＭＳ Ｐゴシック"/>
            </a:endParaRPr>
          </a:p>
          <a:p>
            <a:pPr algn="ctr" defTabSz="653156"/>
            <a:r>
              <a:rPr lang="ja-JP" altLang="en-US" sz="700" u="sng" dirty="0">
                <a:solidFill>
                  <a:srgbClr val="000000"/>
                </a:solidFill>
                <a:latin typeface="ＭＳ Ｐゴシック"/>
                <a:ea typeface="ＭＳ Ｐゴシック"/>
              </a:rPr>
              <a:t>（大平正芳内閣）</a:t>
            </a:r>
            <a:endParaRPr lang="en-US" altLang="ja-JP" sz="700" u="sng" dirty="0">
              <a:solidFill>
                <a:srgbClr val="000000"/>
              </a:solidFill>
              <a:latin typeface="ＭＳ Ｐゴシック"/>
              <a:ea typeface="ＭＳ Ｐゴシック"/>
            </a:endParaRPr>
          </a:p>
          <a:p>
            <a:pPr algn="ctr" defTabSz="653156"/>
            <a:endParaRPr lang="en-US" altLang="ja-JP" sz="600" dirty="0">
              <a:solidFill>
                <a:srgbClr val="000000"/>
              </a:solidFill>
              <a:latin typeface="HGP明朝B" panose="02020800000000000000" pitchFamily="18" charset="-128"/>
              <a:ea typeface="HGP明朝B" panose="02020800000000000000" pitchFamily="18" charset="-128"/>
            </a:endParaRPr>
          </a:p>
          <a:p>
            <a:pPr defTabSz="653156"/>
            <a:r>
              <a:rPr lang="ja-JP" altLang="ja-JP" sz="600" dirty="0">
                <a:solidFill>
                  <a:srgbClr val="000000"/>
                </a:solidFill>
                <a:latin typeface="HGP明朝B" panose="02020800000000000000" pitchFamily="18" charset="-128"/>
                <a:ea typeface="HGP明朝B" panose="02020800000000000000" pitchFamily="18" charset="-128"/>
              </a:rPr>
              <a:t>定住構想</a:t>
            </a:r>
            <a:r>
              <a:rPr lang="ja-JP" altLang="en-US" sz="600" dirty="0">
                <a:solidFill>
                  <a:srgbClr val="000000"/>
                </a:solidFill>
                <a:latin typeface="HGP明朝B" panose="02020800000000000000" pitchFamily="18" charset="-128"/>
                <a:ea typeface="HGP明朝B" panose="02020800000000000000" pitchFamily="18" charset="-128"/>
              </a:rPr>
              <a:t>について、</a:t>
            </a:r>
            <a:r>
              <a:rPr lang="ja-JP" altLang="ja-JP" sz="600" dirty="0">
                <a:solidFill>
                  <a:srgbClr val="000000"/>
                </a:solidFill>
                <a:latin typeface="HGP明朝B" panose="02020800000000000000" pitchFamily="18" charset="-128"/>
                <a:ea typeface="HGP明朝B" panose="02020800000000000000" pitchFamily="18" charset="-128"/>
              </a:rPr>
              <a:t>都市と農山村</a:t>
            </a:r>
            <a:r>
              <a:rPr lang="ja-JP" altLang="en-US" sz="600" dirty="0">
                <a:solidFill>
                  <a:srgbClr val="000000"/>
                </a:solidFill>
                <a:latin typeface="HGP明朝B" panose="02020800000000000000" pitchFamily="18" charset="-128"/>
                <a:ea typeface="HGP明朝B" panose="02020800000000000000" pitchFamily="18" charset="-128"/>
              </a:rPr>
              <a:t>の</a:t>
            </a:r>
            <a:r>
              <a:rPr lang="ja-JP" altLang="ja-JP" sz="600" dirty="0">
                <a:solidFill>
                  <a:srgbClr val="000000"/>
                </a:solidFill>
                <a:latin typeface="HGP明朝B" panose="02020800000000000000" pitchFamily="18" charset="-128"/>
                <a:ea typeface="HGP明朝B" panose="02020800000000000000" pitchFamily="18" charset="-128"/>
              </a:rPr>
              <a:t>新たな共存と調和、相互依存の姿に</a:t>
            </a:r>
            <a:r>
              <a:rPr lang="ja-JP" altLang="en-US" sz="600" dirty="0">
                <a:solidFill>
                  <a:srgbClr val="000000"/>
                </a:solidFill>
                <a:latin typeface="HGP明朝B" panose="02020800000000000000" pitchFamily="18" charset="-128"/>
                <a:ea typeface="HGP明朝B" panose="02020800000000000000" pitchFamily="18" charset="-128"/>
              </a:rPr>
              <a:t>進化</a:t>
            </a:r>
            <a:r>
              <a:rPr lang="ja-JP" altLang="ja-JP" sz="600" dirty="0">
                <a:solidFill>
                  <a:srgbClr val="000000"/>
                </a:solidFill>
                <a:latin typeface="HGP明朝B" panose="02020800000000000000" pitchFamily="18" charset="-128"/>
                <a:ea typeface="HGP明朝B" panose="02020800000000000000" pitchFamily="18" charset="-128"/>
              </a:rPr>
              <a:t>させるもの</a:t>
            </a:r>
            <a:endParaRPr lang="ja-JP" altLang="en-US" sz="600" u="sng" dirty="0">
              <a:solidFill>
                <a:srgbClr val="000000"/>
              </a:solidFill>
              <a:latin typeface="HGP明朝B" panose="02020800000000000000" pitchFamily="18" charset="-128"/>
              <a:ea typeface="HGP明朝B" panose="02020800000000000000" pitchFamily="18" charset="-128"/>
            </a:endParaRPr>
          </a:p>
        </p:txBody>
      </p:sp>
      <p:sp>
        <p:nvSpPr>
          <p:cNvPr id="7" name="下矢印 3">
            <a:extLst>
              <a:ext uri="{FF2B5EF4-FFF2-40B4-BE49-F238E27FC236}">
                <a16:creationId xmlns:a16="http://schemas.microsoft.com/office/drawing/2014/main" id="{39641A3C-A541-4ABD-EBE0-DB3261507DF0}"/>
              </a:ext>
            </a:extLst>
          </p:cNvPr>
          <p:cNvSpPr/>
          <p:nvPr/>
        </p:nvSpPr>
        <p:spPr>
          <a:xfrm>
            <a:off x="3404718" y="6004194"/>
            <a:ext cx="288000" cy="144000"/>
          </a:xfrm>
          <a:prstGeom prst="downArrow">
            <a:avLst>
              <a:gd name="adj1" fmla="val 32363"/>
              <a:gd name="adj2" fmla="val 50000"/>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endParaRPr lang="ja-JP" altLang="en-US" sz="1286">
              <a:solidFill>
                <a:srgbClr val="FFFFFF"/>
              </a:solidFill>
              <a:latin typeface="Arial"/>
              <a:ea typeface="ＭＳ Ｐゴシック"/>
            </a:endParaRPr>
          </a:p>
        </p:txBody>
      </p:sp>
      <p:sp>
        <p:nvSpPr>
          <p:cNvPr id="8" name="正方形/長方形 7">
            <a:extLst>
              <a:ext uri="{FF2B5EF4-FFF2-40B4-BE49-F238E27FC236}">
                <a16:creationId xmlns:a16="http://schemas.microsoft.com/office/drawing/2014/main" id="{8C273831-100D-3518-C6A6-794DAA5C540E}"/>
              </a:ext>
            </a:extLst>
          </p:cNvPr>
          <p:cNvSpPr/>
          <p:nvPr/>
        </p:nvSpPr>
        <p:spPr>
          <a:xfrm>
            <a:off x="8372718" y="820194"/>
            <a:ext cx="1188000" cy="608400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156"/>
            <a:endParaRPr lang="ja-JP" altLang="en-US" sz="1286">
              <a:solidFill>
                <a:srgbClr val="FFFFFF"/>
              </a:solidFill>
              <a:latin typeface="Arial"/>
              <a:ea typeface="ＭＳ Ｐゴシック"/>
            </a:endParaRPr>
          </a:p>
        </p:txBody>
      </p:sp>
      <p:sp>
        <p:nvSpPr>
          <p:cNvPr id="3" name="フッター プレースホルダー 2">
            <a:extLst>
              <a:ext uri="{FF2B5EF4-FFF2-40B4-BE49-F238E27FC236}">
                <a16:creationId xmlns:a16="http://schemas.microsoft.com/office/drawing/2014/main" id="{0D314299-D49A-9C3D-56A9-B3F07BD51F22}"/>
              </a:ext>
            </a:extLst>
          </p:cNvPr>
          <p:cNvSpPr>
            <a:spLocks noGrp="1"/>
          </p:cNvSpPr>
          <p:nvPr>
            <p:ph type="ftr" sz="quarter" idx="11"/>
          </p:nvPr>
        </p:nvSpPr>
        <p:spPr/>
        <p:txBody>
          <a:bodyPr/>
          <a:lstStyle/>
          <a:p>
            <a:pPr>
              <a:defRPr/>
            </a:pPr>
            <a:endParaRPr lang="en-US" altLang="ja-JP"/>
          </a:p>
        </p:txBody>
      </p:sp>
      <p:sp>
        <p:nvSpPr>
          <p:cNvPr id="5" name="スライド番号プレースホルダー 4">
            <a:extLst>
              <a:ext uri="{FF2B5EF4-FFF2-40B4-BE49-F238E27FC236}">
                <a16:creationId xmlns:a16="http://schemas.microsoft.com/office/drawing/2014/main" id="{6A1B07E2-0C56-D756-74F6-F225716EA201}"/>
              </a:ext>
            </a:extLst>
          </p:cNvPr>
          <p:cNvSpPr>
            <a:spLocks noGrp="1"/>
          </p:cNvSpPr>
          <p:nvPr>
            <p:ph type="sldNum" sz="quarter" idx="12"/>
          </p:nvPr>
        </p:nvSpPr>
        <p:spPr/>
        <p:txBody>
          <a:bodyPr/>
          <a:lstStyle/>
          <a:p>
            <a:pPr>
              <a:defRPr/>
            </a:pPr>
            <a:fld id="{26C9DB26-FC5E-4D09-9C70-7D8B4C324BFC}" type="slidenum">
              <a:rPr lang="en-US" altLang="ja-JP" smtClean="0"/>
              <a:pPr>
                <a:defRPr/>
              </a:pPr>
              <a:t>6</a:t>
            </a:fld>
            <a:endParaRPr lang="en-US" altLang="ja-JP"/>
          </a:p>
        </p:txBody>
      </p:sp>
    </p:spTree>
    <p:extLst>
      <p:ext uri="{BB962C8B-B14F-4D97-AF65-F5344CB8AC3E}">
        <p14:creationId xmlns:p14="http://schemas.microsoft.com/office/powerpoint/2010/main" val="13330614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グラフ 51"/>
          <p:cNvGraphicFramePr>
            <a:graphicFrameLocks/>
          </p:cNvGraphicFramePr>
          <p:nvPr>
            <p:extLst>
              <p:ext uri="{D42A27DB-BD31-4B8C-83A1-F6EECF244321}">
                <p14:modId xmlns:p14="http://schemas.microsoft.com/office/powerpoint/2010/main" val="3543860433"/>
              </p:ext>
            </p:extLst>
          </p:nvPr>
        </p:nvGraphicFramePr>
        <p:xfrm>
          <a:off x="525378" y="1009986"/>
          <a:ext cx="8026651" cy="4954375"/>
        </p:xfrm>
        <a:graphic>
          <a:graphicData uri="http://schemas.openxmlformats.org/drawingml/2006/chart">
            <c:chart xmlns:c="http://schemas.openxmlformats.org/drawingml/2006/chart" xmlns:r="http://schemas.openxmlformats.org/officeDocument/2006/relationships" r:id="rId3"/>
          </a:graphicData>
        </a:graphic>
      </p:graphicFrame>
      <p:sp>
        <p:nvSpPr>
          <p:cNvPr id="3076" name="AutoShape 3"/>
          <p:cNvSpPr>
            <a:spLocks noChangeAspect="1" noChangeArrowheads="1" noTextEdit="1"/>
          </p:cNvSpPr>
          <p:nvPr/>
        </p:nvSpPr>
        <p:spPr bwMode="auto">
          <a:xfrm>
            <a:off x="849178" y="1169320"/>
            <a:ext cx="7418786" cy="5001410"/>
          </a:xfrm>
          <a:prstGeom prst="rect">
            <a:avLst/>
          </a:prstGeom>
          <a:noFill/>
          <a:ln w="9525">
            <a:noFill/>
            <a:miter lim="800000"/>
            <a:headEnd/>
            <a:tailEnd/>
          </a:ln>
        </p:spPr>
        <p:txBody>
          <a:bodyPr/>
          <a:lstStyle/>
          <a:p>
            <a:pPr defTabSz="914235"/>
            <a:endParaRPr lang="ja-JP" altLang="en-US">
              <a:solidFill>
                <a:srgbClr val="000000"/>
              </a:solidFill>
            </a:endParaRPr>
          </a:p>
        </p:txBody>
      </p:sp>
      <p:sp>
        <p:nvSpPr>
          <p:cNvPr id="3082" name="Text Box 4"/>
          <p:cNvSpPr txBox="1">
            <a:spLocks noChangeArrowheads="1"/>
          </p:cNvSpPr>
          <p:nvPr/>
        </p:nvSpPr>
        <p:spPr bwMode="auto">
          <a:xfrm>
            <a:off x="525380" y="6111232"/>
            <a:ext cx="8890162" cy="546163"/>
          </a:xfrm>
          <a:prstGeom prst="rect">
            <a:avLst/>
          </a:prstGeom>
          <a:noFill/>
          <a:ln w="9525">
            <a:noFill/>
            <a:miter lim="800000"/>
            <a:headEnd/>
            <a:tailEnd/>
          </a:ln>
        </p:spPr>
        <p:txBody>
          <a:bodyPr lIns="83755" tIns="41877" rIns="83755" bIns="41877">
            <a:spAutoFit/>
          </a:bodyPr>
          <a:lstStyle/>
          <a:p>
            <a:pPr defTabSz="838049"/>
            <a:r>
              <a:rPr lang="ja-JP" altLang="en-US" sz="1000" dirty="0">
                <a:solidFill>
                  <a:srgbClr val="000000"/>
                </a:solidFill>
                <a:latin typeface="ＭＳ ゴシック" pitchFamily="49" charset="-128"/>
              </a:rPr>
              <a:t>（出典）国土庁「日本列島における人口分布の長期時系列分析」（</a:t>
            </a:r>
            <a:r>
              <a:rPr lang="en-US" altLang="ja-JP" sz="1000" dirty="0">
                <a:solidFill>
                  <a:srgbClr val="000000"/>
                </a:solidFill>
                <a:latin typeface="ＭＳ ゴシック" pitchFamily="49" charset="-128"/>
              </a:rPr>
              <a:t>1974</a:t>
            </a:r>
            <a:r>
              <a:rPr lang="ja-JP" altLang="en-US" sz="1000" dirty="0">
                <a:solidFill>
                  <a:srgbClr val="000000"/>
                </a:solidFill>
                <a:latin typeface="ＭＳ ゴシック" pitchFamily="49" charset="-128"/>
              </a:rPr>
              <a:t>年）。</a:t>
            </a:r>
            <a:endParaRPr lang="en-US" altLang="ja-JP" sz="1000" dirty="0">
              <a:solidFill>
                <a:srgbClr val="000000"/>
              </a:solidFill>
              <a:latin typeface="ＭＳ ゴシック" pitchFamily="49" charset="-128"/>
            </a:endParaRPr>
          </a:p>
          <a:p>
            <a:pPr defTabSz="838049"/>
            <a:r>
              <a:rPr lang="ja-JP" altLang="en-US" sz="1000" dirty="0">
                <a:solidFill>
                  <a:srgbClr val="000000"/>
                </a:solidFill>
                <a:latin typeface="ＭＳ ゴシック" pitchFamily="49" charset="-128"/>
              </a:rPr>
              <a:t>（注）ただし、</a:t>
            </a:r>
            <a:r>
              <a:rPr lang="en-US" altLang="ja-JP" sz="1000" dirty="0">
                <a:solidFill>
                  <a:srgbClr val="000000"/>
                </a:solidFill>
                <a:latin typeface="ＭＳ ゴシック" pitchFamily="49" charset="-128"/>
              </a:rPr>
              <a:t>1920</a:t>
            </a:r>
            <a:r>
              <a:rPr lang="ja-JP" altLang="en-US" sz="1000" dirty="0">
                <a:solidFill>
                  <a:srgbClr val="000000"/>
                </a:solidFill>
                <a:latin typeface="ＭＳ ゴシック" pitchFamily="49" charset="-128"/>
              </a:rPr>
              <a:t>年からは、総務省「国勢調査」、「人口推計年報」、「平成</a:t>
            </a:r>
            <a:r>
              <a:rPr lang="en-US" altLang="ja-JP" sz="1000" dirty="0">
                <a:solidFill>
                  <a:srgbClr val="000000"/>
                </a:solidFill>
                <a:latin typeface="ＭＳ ゴシック" pitchFamily="49" charset="-128"/>
              </a:rPr>
              <a:t>17</a:t>
            </a:r>
            <a:r>
              <a:rPr lang="ja-JP" altLang="en-US" sz="1000" dirty="0">
                <a:solidFill>
                  <a:srgbClr val="000000"/>
                </a:solidFill>
                <a:latin typeface="ＭＳ ゴシック" pitchFamily="49" charset="-128"/>
              </a:rPr>
              <a:t>年及び</a:t>
            </a:r>
            <a:r>
              <a:rPr lang="en-US" altLang="ja-JP" sz="1000" dirty="0">
                <a:solidFill>
                  <a:srgbClr val="000000"/>
                </a:solidFill>
                <a:latin typeface="ＭＳ ゴシック" pitchFamily="49" charset="-128"/>
              </a:rPr>
              <a:t>22</a:t>
            </a:r>
            <a:r>
              <a:rPr lang="ja-JP" altLang="en-US" sz="1000" dirty="0">
                <a:solidFill>
                  <a:srgbClr val="000000"/>
                </a:solidFill>
                <a:latin typeface="ＭＳ ゴシック" pitchFamily="49" charset="-128"/>
              </a:rPr>
              <a:t>年国勢調査結果による補間補正人口」、</a:t>
            </a:r>
            <a:endParaRPr lang="en-US" altLang="ja-JP" sz="1000" dirty="0">
              <a:solidFill>
                <a:srgbClr val="000000"/>
              </a:solidFill>
              <a:latin typeface="ＭＳ ゴシック" pitchFamily="49" charset="-128"/>
            </a:endParaRPr>
          </a:p>
          <a:p>
            <a:pPr defTabSz="838049"/>
            <a:r>
              <a:rPr lang="en-US" altLang="ja-JP" sz="1000" dirty="0">
                <a:solidFill>
                  <a:srgbClr val="000000"/>
                </a:solidFill>
                <a:latin typeface="ＭＳ ゴシック" pitchFamily="49" charset="-128"/>
              </a:rPr>
              <a:t> </a:t>
            </a:r>
            <a:r>
              <a:rPr lang="ja-JP" altLang="en-US" sz="1000" dirty="0">
                <a:solidFill>
                  <a:srgbClr val="000000"/>
                </a:solidFill>
                <a:latin typeface="ＭＳ ゴシック" pitchFamily="49" charset="-128"/>
              </a:rPr>
              <a:t>　　国立社会保障・人口問題研究所「日本の将来推計人口（令和５年推計）」により追加。値は日本の総人口（外国人含む）。</a:t>
            </a:r>
            <a:endParaRPr lang="en-US" altLang="ja-JP" sz="1000" dirty="0">
              <a:solidFill>
                <a:srgbClr val="000000"/>
              </a:solidFill>
              <a:latin typeface="ＭＳ ゴシック" pitchFamily="49" charset="-128"/>
            </a:endParaRPr>
          </a:p>
        </p:txBody>
      </p:sp>
      <p:sp>
        <p:nvSpPr>
          <p:cNvPr id="58" name="タイトル 57"/>
          <p:cNvSpPr>
            <a:spLocks noGrp="1"/>
          </p:cNvSpPr>
          <p:nvPr>
            <p:ph type="title"/>
          </p:nvPr>
        </p:nvSpPr>
        <p:spPr>
          <a:xfrm>
            <a:off x="165457" y="91308"/>
            <a:ext cx="7955101" cy="476174"/>
          </a:xfrm>
        </p:spPr>
        <p:txBody>
          <a:bodyPr/>
          <a:lstStyle/>
          <a:p>
            <a:r>
              <a:rPr lang="ja-JP" altLang="en-US" sz="2400" dirty="0"/>
              <a:t>我が国の総人口の長期的推移</a:t>
            </a:r>
          </a:p>
        </p:txBody>
      </p:sp>
      <p:sp>
        <p:nvSpPr>
          <p:cNvPr id="8" name="正方形/長方形 7"/>
          <p:cNvSpPr/>
          <p:nvPr/>
        </p:nvSpPr>
        <p:spPr>
          <a:xfrm>
            <a:off x="513623" y="711498"/>
            <a:ext cx="935954" cy="45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5"/>
            <a:r>
              <a:rPr lang="ja-JP" altLang="en-US" sz="1100" dirty="0">
                <a:solidFill>
                  <a:srgbClr val="000000"/>
                </a:solidFill>
                <a:latin typeface="ＭＳ Ｐゴシック"/>
                <a:ea typeface="ＭＳ Ｐゴシック"/>
              </a:rPr>
              <a:t>（万人）</a:t>
            </a:r>
          </a:p>
        </p:txBody>
      </p:sp>
      <p:sp>
        <p:nvSpPr>
          <p:cNvPr id="59" name="正方形/長方形 58"/>
          <p:cNvSpPr/>
          <p:nvPr/>
        </p:nvSpPr>
        <p:spPr>
          <a:xfrm>
            <a:off x="8209681" y="5550483"/>
            <a:ext cx="935954" cy="4578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5"/>
            <a:r>
              <a:rPr lang="ja-JP" altLang="en-US" sz="1100" dirty="0">
                <a:solidFill>
                  <a:srgbClr val="000000"/>
                </a:solidFill>
                <a:latin typeface="Arial"/>
                <a:ea typeface="ＭＳ Ｐゴシック"/>
              </a:rPr>
              <a:t>（年）</a:t>
            </a:r>
          </a:p>
        </p:txBody>
      </p:sp>
      <p:sp>
        <p:nvSpPr>
          <p:cNvPr id="60" name="Rectangle 253"/>
          <p:cNvSpPr>
            <a:spLocks noChangeArrowheads="1"/>
          </p:cNvSpPr>
          <p:nvPr/>
        </p:nvSpPr>
        <p:spPr bwMode="auto">
          <a:xfrm>
            <a:off x="1582992" y="5105989"/>
            <a:ext cx="705208" cy="153863"/>
          </a:xfrm>
          <a:prstGeom prst="rect">
            <a:avLst/>
          </a:prstGeom>
          <a:noFill/>
          <a:ln w="9525">
            <a:noFill/>
            <a:miter lim="800000"/>
            <a:headEnd/>
            <a:tailEnd/>
          </a:ln>
        </p:spPr>
        <p:txBody>
          <a:bodyPr wrap="none" lIns="0" tIns="0" rIns="0" bIns="0">
            <a:spAutoFit/>
          </a:bodyPr>
          <a:lstStyle/>
          <a:p>
            <a:pPr defTabSz="914235"/>
            <a:r>
              <a:rPr lang="en-US" altLang="ja-JP" sz="1000" dirty="0">
                <a:solidFill>
                  <a:srgbClr val="000000"/>
                </a:solidFill>
                <a:latin typeface="ＭＳ ゴシック" pitchFamily="49" charset="-128"/>
                <a:ea typeface="ＭＳ ゴシック" pitchFamily="49" charset="-128"/>
                <a:cs typeface="ＭＳ Ｐゴシック" charset="-128"/>
              </a:rPr>
              <a:t>750</a:t>
            </a:r>
            <a:r>
              <a:rPr lang="ja-JP" altLang="en-US" sz="1000" dirty="0">
                <a:solidFill>
                  <a:srgbClr val="000000"/>
                </a:solidFill>
                <a:latin typeface="ＭＳ ゴシック" pitchFamily="49" charset="-128"/>
                <a:ea typeface="ＭＳ ゴシック" pitchFamily="49" charset="-128"/>
                <a:cs typeface="ＭＳ Ｐゴシック" charset="-128"/>
              </a:rPr>
              <a:t>万人程度</a:t>
            </a:r>
            <a:endParaRPr lang="ja-JP" altLang="en-US" dirty="0">
              <a:solidFill>
                <a:srgbClr val="000000"/>
              </a:solidFill>
              <a:ea typeface="ＭＳ ゴシック" pitchFamily="49" charset="-128"/>
              <a:cs typeface="ＭＳ Ｐゴシック" charset="-128"/>
            </a:endParaRPr>
          </a:p>
        </p:txBody>
      </p:sp>
      <p:sp>
        <p:nvSpPr>
          <p:cNvPr id="61" name="Line 290"/>
          <p:cNvSpPr>
            <a:spLocks noChangeShapeType="1"/>
          </p:cNvSpPr>
          <p:nvPr/>
        </p:nvSpPr>
        <p:spPr bwMode="auto">
          <a:xfrm>
            <a:off x="2142728" y="5312183"/>
            <a:ext cx="1588" cy="182556"/>
          </a:xfrm>
          <a:prstGeom prst="line">
            <a:avLst/>
          </a:prstGeom>
          <a:noFill/>
          <a:ln w="25400">
            <a:solidFill>
              <a:srgbClr val="000000"/>
            </a:solidFill>
            <a:round/>
            <a:headEnd/>
            <a:tailEnd/>
          </a:ln>
        </p:spPr>
        <p:txBody>
          <a:bodyPr/>
          <a:lstStyle/>
          <a:p>
            <a:pPr defTabSz="914235"/>
            <a:endParaRPr lang="ja-JP" altLang="en-US">
              <a:solidFill>
                <a:srgbClr val="000000"/>
              </a:solidFill>
            </a:endParaRPr>
          </a:p>
        </p:txBody>
      </p:sp>
      <p:sp>
        <p:nvSpPr>
          <p:cNvPr id="62" name="テキスト ボックス 344"/>
          <p:cNvSpPr txBox="1">
            <a:spLocks noChangeArrowheads="1"/>
          </p:cNvSpPr>
          <p:nvPr/>
        </p:nvSpPr>
        <p:spPr bwMode="auto">
          <a:xfrm>
            <a:off x="1784346" y="4024938"/>
            <a:ext cx="353943" cy="1081052"/>
          </a:xfrm>
          <a:prstGeom prst="rect">
            <a:avLst/>
          </a:prstGeom>
          <a:noFill/>
          <a:ln w="9525">
            <a:noFill/>
            <a:miter lim="800000"/>
            <a:headEnd/>
            <a:tailEnd/>
          </a:ln>
        </p:spPr>
        <p:txBody>
          <a:bodyPr vert="eaVert">
            <a:spAutoFit/>
          </a:bodyPr>
          <a:lstStyle/>
          <a:p>
            <a:pPr defTabSz="914235"/>
            <a:r>
              <a:rPr lang="ja-JP" altLang="en-US" sz="1100">
                <a:solidFill>
                  <a:srgbClr val="000000"/>
                </a:solidFill>
              </a:rPr>
              <a:t>鎌倉幕府成立</a:t>
            </a:r>
          </a:p>
        </p:txBody>
      </p:sp>
      <p:sp>
        <p:nvSpPr>
          <p:cNvPr id="63" name="Rectangle 249"/>
          <p:cNvSpPr>
            <a:spLocks noChangeArrowheads="1"/>
          </p:cNvSpPr>
          <p:nvPr/>
        </p:nvSpPr>
        <p:spPr bwMode="auto">
          <a:xfrm>
            <a:off x="1647101" y="4919907"/>
            <a:ext cx="641098" cy="153863"/>
          </a:xfrm>
          <a:prstGeom prst="rect">
            <a:avLst/>
          </a:prstGeom>
          <a:noFill/>
          <a:ln w="9525">
            <a:noFill/>
            <a:miter lim="800000"/>
            <a:headEnd/>
            <a:tailEnd/>
          </a:ln>
        </p:spPr>
        <p:txBody>
          <a:bodyPr wrap="none" lIns="0" tIns="0" rIns="0" bIns="0">
            <a:spAutoFit/>
          </a:bodyPr>
          <a:lstStyle/>
          <a:p>
            <a:pPr defTabSz="914235"/>
            <a:r>
              <a:rPr lang="ja-JP" altLang="en-US" sz="1000" dirty="0">
                <a:solidFill>
                  <a:srgbClr val="000000"/>
                </a:solidFill>
                <a:latin typeface="ＭＳ ゴシック" pitchFamily="49" charset="-128"/>
                <a:ea typeface="ＭＳ ゴシック" pitchFamily="49" charset="-128"/>
                <a:cs typeface="ＭＳ Ｐゴシック" charset="-128"/>
              </a:rPr>
              <a:t>（</a:t>
            </a:r>
            <a:r>
              <a:rPr lang="en-US" altLang="ja-JP" sz="1000" dirty="0">
                <a:solidFill>
                  <a:srgbClr val="000000"/>
                </a:solidFill>
                <a:latin typeface="ＭＳ ゴシック" pitchFamily="49" charset="-128"/>
                <a:ea typeface="ＭＳ ゴシック" pitchFamily="49" charset="-128"/>
                <a:cs typeface="ＭＳ Ｐゴシック" charset="-128"/>
              </a:rPr>
              <a:t>1185</a:t>
            </a:r>
            <a:r>
              <a:rPr lang="ja-JP" altLang="en-US" sz="1000" dirty="0">
                <a:solidFill>
                  <a:srgbClr val="000000"/>
                </a:solidFill>
                <a:latin typeface="ＭＳ ゴシック" pitchFamily="49" charset="-128"/>
                <a:ea typeface="ＭＳ ゴシック" pitchFamily="49" charset="-128"/>
                <a:cs typeface="ＭＳ Ｐゴシック" charset="-128"/>
              </a:rPr>
              <a:t>年）</a:t>
            </a:r>
            <a:endParaRPr lang="ja-JP" altLang="en-US" dirty="0">
              <a:solidFill>
                <a:srgbClr val="000000"/>
              </a:solidFill>
              <a:ea typeface="ＭＳ ゴシック" pitchFamily="49" charset="-128"/>
              <a:cs typeface="ＭＳ Ｐゴシック" charset="-128"/>
            </a:endParaRPr>
          </a:p>
        </p:txBody>
      </p:sp>
      <p:sp>
        <p:nvSpPr>
          <p:cNvPr id="64" name="Rectangle 254"/>
          <p:cNvSpPr>
            <a:spLocks noChangeArrowheads="1"/>
          </p:cNvSpPr>
          <p:nvPr/>
        </p:nvSpPr>
        <p:spPr bwMode="auto">
          <a:xfrm>
            <a:off x="2370911" y="4825099"/>
            <a:ext cx="641098" cy="153863"/>
          </a:xfrm>
          <a:prstGeom prst="rect">
            <a:avLst/>
          </a:prstGeom>
          <a:noFill/>
          <a:ln w="9525">
            <a:noFill/>
            <a:miter lim="800000"/>
            <a:headEnd/>
            <a:tailEnd/>
          </a:ln>
        </p:spPr>
        <p:txBody>
          <a:bodyPr wrap="none" lIns="0" tIns="0" rIns="0" bIns="0">
            <a:spAutoFit/>
          </a:bodyPr>
          <a:lstStyle/>
          <a:p>
            <a:pPr defTabSz="914235"/>
            <a:r>
              <a:rPr lang="ja-JP" altLang="en-US" sz="1000">
                <a:solidFill>
                  <a:srgbClr val="000000"/>
                </a:solidFill>
                <a:latin typeface="ＭＳ ゴシック" pitchFamily="49" charset="-128"/>
                <a:ea typeface="ＭＳ ゴシック" pitchFamily="49" charset="-128"/>
                <a:cs typeface="ＭＳ Ｐゴシック" charset="-128"/>
              </a:rPr>
              <a:t>（</a:t>
            </a:r>
            <a:r>
              <a:rPr lang="en-US" altLang="ja-JP" sz="1000">
                <a:solidFill>
                  <a:srgbClr val="000000"/>
                </a:solidFill>
                <a:latin typeface="ＭＳ ゴシック" pitchFamily="49" charset="-128"/>
                <a:ea typeface="ＭＳ ゴシック" pitchFamily="49" charset="-128"/>
                <a:cs typeface="ＭＳ Ｐゴシック" charset="-128"/>
              </a:rPr>
              <a:t>1338</a:t>
            </a:r>
            <a:r>
              <a:rPr lang="ja-JP" altLang="en-US" sz="1000">
                <a:solidFill>
                  <a:srgbClr val="000000"/>
                </a:solidFill>
                <a:latin typeface="ＭＳ ゴシック" pitchFamily="49" charset="-128"/>
                <a:ea typeface="ＭＳ ゴシック" pitchFamily="49" charset="-128"/>
                <a:cs typeface="ＭＳ Ｐゴシック" charset="-128"/>
              </a:rPr>
              <a:t>年）</a:t>
            </a:r>
            <a:endParaRPr lang="ja-JP" altLang="en-US">
              <a:solidFill>
                <a:srgbClr val="000000"/>
              </a:solidFill>
              <a:ea typeface="ＭＳ ゴシック" pitchFamily="49" charset="-128"/>
              <a:cs typeface="ＭＳ Ｐゴシック" charset="-128"/>
            </a:endParaRPr>
          </a:p>
        </p:txBody>
      </p:sp>
      <p:sp>
        <p:nvSpPr>
          <p:cNvPr id="65" name="Rectangle 258"/>
          <p:cNvSpPr>
            <a:spLocks noChangeArrowheads="1"/>
          </p:cNvSpPr>
          <p:nvPr/>
        </p:nvSpPr>
        <p:spPr bwMode="auto">
          <a:xfrm>
            <a:off x="2471515" y="4988830"/>
            <a:ext cx="192329" cy="153863"/>
          </a:xfrm>
          <a:prstGeom prst="rect">
            <a:avLst/>
          </a:prstGeom>
          <a:noFill/>
          <a:ln w="9525">
            <a:noFill/>
            <a:miter lim="800000"/>
            <a:headEnd/>
            <a:tailEnd/>
          </a:ln>
        </p:spPr>
        <p:txBody>
          <a:bodyPr wrap="none" lIns="0" tIns="0" rIns="0" bIns="0">
            <a:spAutoFit/>
          </a:bodyPr>
          <a:lstStyle/>
          <a:p>
            <a:pPr defTabSz="914235"/>
            <a:r>
              <a:rPr lang="ja-JP" altLang="ja-JP" sz="1000" dirty="0">
                <a:solidFill>
                  <a:srgbClr val="000000"/>
                </a:solidFill>
                <a:latin typeface="ＭＳ ゴシック" pitchFamily="49" charset="-128"/>
                <a:ea typeface="ＭＳ ゴシック" pitchFamily="49" charset="-128"/>
                <a:cs typeface="ＭＳ Ｐゴシック" charset="-128"/>
              </a:rPr>
              <a:t>8</a:t>
            </a:r>
            <a:r>
              <a:rPr lang="en-US" altLang="ja-JP" sz="1000" dirty="0">
                <a:solidFill>
                  <a:srgbClr val="000000"/>
                </a:solidFill>
                <a:latin typeface="ＭＳ ゴシック" pitchFamily="49" charset="-128"/>
                <a:ea typeface="ＭＳ ゴシック" pitchFamily="49" charset="-128"/>
                <a:cs typeface="ＭＳ Ｐゴシック" charset="-128"/>
              </a:rPr>
              <a:t>18</a:t>
            </a:r>
            <a:endParaRPr lang="ja-JP" altLang="ja-JP" dirty="0">
              <a:solidFill>
                <a:srgbClr val="000000"/>
              </a:solidFill>
              <a:ea typeface="ＭＳ ゴシック" pitchFamily="49" charset="-128"/>
              <a:cs typeface="ＭＳ Ｐゴシック" charset="-128"/>
            </a:endParaRPr>
          </a:p>
        </p:txBody>
      </p:sp>
      <p:sp>
        <p:nvSpPr>
          <p:cNvPr id="66" name="Rectangle 259"/>
          <p:cNvSpPr>
            <a:spLocks noChangeArrowheads="1"/>
          </p:cNvSpPr>
          <p:nvPr/>
        </p:nvSpPr>
        <p:spPr bwMode="auto">
          <a:xfrm>
            <a:off x="2654127" y="4983443"/>
            <a:ext cx="256439" cy="153863"/>
          </a:xfrm>
          <a:prstGeom prst="rect">
            <a:avLst/>
          </a:prstGeom>
          <a:noFill/>
          <a:ln w="9525">
            <a:noFill/>
            <a:miter lim="800000"/>
            <a:headEnd/>
            <a:tailEnd/>
          </a:ln>
        </p:spPr>
        <p:txBody>
          <a:bodyPr wrap="none" lIns="0" tIns="0" rIns="0" bIns="0">
            <a:spAutoFit/>
          </a:bodyPr>
          <a:lstStyle/>
          <a:p>
            <a:pPr defTabSz="914235"/>
            <a:r>
              <a:rPr lang="ja-JP" altLang="en-US" sz="1000" dirty="0">
                <a:solidFill>
                  <a:srgbClr val="000000"/>
                </a:solidFill>
                <a:latin typeface="ＭＳ ゴシック" pitchFamily="49" charset="-128"/>
                <a:ea typeface="ＭＳ ゴシック" pitchFamily="49" charset="-128"/>
                <a:cs typeface="ＭＳ Ｐゴシック" charset="-128"/>
              </a:rPr>
              <a:t>万人</a:t>
            </a:r>
            <a:endParaRPr lang="en-US" altLang="ja-JP" sz="1000" dirty="0">
              <a:solidFill>
                <a:srgbClr val="000000"/>
              </a:solidFill>
              <a:latin typeface="ＭＳ ゴシック" pitchFamily="49" charset="-128"/>
              <a:ea typeface="ＭＳ ゴシック" pitchFamily="49" charset="-128"/>
              <a:cs typeface="ＭＳ Ｐゴシック" charset="-128"/>
            </a:endParaRPr>
          </a:p>
        </p:txBody>
      </p:sp>
      <p:sp>
        <p:nvSpPr>
          <p:cNvPr id="67" name="Line 291"/>
          <p:cNvSpPr>
            <a:spLocks noChangeShapeType="1"/>
          </p:cNvSpPr>
          <p:nvPr/>
        </p:nvSpPr>
        <p:spPr bwMode="auto">
          <a:xfrm>
            <a:off x="2600070" y="5271395"/>
            <a:ext cx="1588" cy="188906"/>
          </a:xfrm>
          <a:prstGeom prst="line">
            <a:avLst/>
          </a:prstGeom>
          <a:noFill/>
          <a:ln w="25400">
            <a:solidFill>
              <a:srgbClr val="000000"/>
            </a:solidFill>
            <a:round/>
            <a:headEnd/>
            <a:tailEnd/>
          </a:ln>
        </p:spPr>
        <p:txBody>
          <a:bodyPr/>
          <a:lstStyle/>
          <a:p>
            <a:pPr defTabSz="914235"/>
            <a:endParaRPr lang="ja-JP" altLang="en-US">
              <a:solidFill>
                <a:srgbClr val="000000"/>
              </a:solidFill>
            </a:endParaRPr>
          </a:p>
        </p:txBody>
      </p:sp>
      <p:sp>
        <p:nvSpPr>
          <p:cNvPr id="68" name="テキスト ボックス 347"/>
          <p:cNvSpPr txBox="1">
            <a:spLocks noChangeArrowheads="1"/>
          </p:cNvSpPr>
          <p:nvPr/>
        </p:nvSpPr>
        <p:spPr bwMode="auto">
          <a:xfrm>
            <a:off x="2462001" y="3922045"/>
            <a:ext cx="353943" cy="992228"/>
          </a:xfrm>
          <a:prstGeom prst="rect">
            <a:avLst/>
          </a:prstGeom>
          <a:noFill/>
          <a:ln w="9525">
            <a:noFill/>
            <a:miter lim="800000"/>
            <a:headEnd/>
            <a:tailEnd/>
          </a:ln>
        </p:spPr>
        <p:txBody>
          <a:bodyPr vert="eaVert">
            <a:spAutoFit/>
          </a:bodyPr>
          <a:lstStyle/>
          <a:p>
            <a:pPr defTabSz="914235"/>
            <a:r>
              <a:rPr lang="ja-JP" altLang="en-US" sz="1100">
                <a:solidFill>
                  <a:srgbClr val="000000"/>
                </a:solidFill>
              </a:rPr>
              <a:t>室町幕府成立</a:t>
            </a:r>
          </a:p>
        </p:txBody>
      </p:sp>
      <p:sp>
        <p:nvSpPr>
          <p:cNvPr id="69" name="Rectangle 260"/>
          <p:cNvSpPr>
            <a:spLocks noChangeArrowheads="1"/>
          </p:cNvSpPr>
          <p:nvPr/>
        </p:nvSpPr>
        <p:spPr bwMode="auto">
          <a:xfrm>
            <a:off x="2945940" y="4630620"/>
            <a:ext cx="641098" cy="153863"/>
          </a:xfrm>
          <a:prstGeom prst="rect">
            <a:avLst/>
          </a:prstGeom>
          <a:noFill/>
          <a:ln w="9525">
            <a:noFill/>
            <a:miter lim="800000"/>
            <a:headEnd/>
            <a:tailEnd/>
          </a:ln>
        </p:spPr>
        <p:txBody>
          <a:bodyPr wrap="none" lIns="0" tIns="0" rIns="0" bIns="0">
            <a:spAutoFit/>
          </a:bodyPr>
          <a:lstStyle/>
          <a:p>
            <a:pPr defTabSz="914235"/>
            <a:r>
              <a:rPr lang="ja-JP" altLang="en-US" sz="1000" dirty="0">
                <a:solidFill>
                  <a:srgbClr val="000000"/>
                </a:solidFill>
                <a:latin typeface="ＭＳ ゴシック" pitchFamily="49" charset="-128"/>
                <a:ea typeface="ＭＳ ゴシック" pitchFamily="49" charset="-128"/>
                <a:cs typeface="ＭＳ Ｐゴシック" charset="-128"/>
              </a:rPr>
              <a:t>（</a:t>
            </a:r>
            <a:r>
              <a:rPr lang="en-US" altLang="ja-JP" sz="1000" dirty="0">
                <a:solidFill>
                  <a:srgbClr val="000000"/>
                </a:solidFill>
                <a:latin typeface="ＭＳ ゴシック" pitchFamily="49" charset="-128"/>
                <a:ea typeface="ＭＳ ゴシック" pitchFamily="49" charset="-128"/>
                <a:cs typeface="ＭＳ Ｐゴシック" charset="-128"/>
              </a:rPr>
              <a:t>1603</a:t>
            </a:r>
            <a:r>
              <a:rPr lang="ja-JP" altLang="en-US" sz="1000" dirty="0">
                <a:solidFill>
                  <a:srgbClr val="000000"/>
                </a:solidFill>
                <a:latin typeface="ＭＳ ゴシック" pitchFamily="49" charset="-128"/>
                <a:ea typeface="ＭＳ ゴシック" pitchFamily="49" charset="-128"/>
                <a:cs typeface="ＭＳ Ｐゴシック" charset="-128"/>
              </a:rPr>
              <a:t>年）</a:t>
            </a:r>
            <a:endParaRPr lang="ja-JP" altLang="en-US" dirty="0">
              <a:solidFill>
                <a:srgbClr val="000000"/>
              </a:solidFill>
              <a:ea typeface="ＭＳ ゴシック" pitchFamily="49" charset="-128"/>
              <a:cs typeface="ＭＳ Ｐゴシック" charset="-128"/>
            </a:endParaRPr>
          </a:p>
        </p:txBody>
      </p:sp>
      <p:sp>
        <p:nvSpPr>
          <p:cNvPr id="70" name="Rectangle 264"/>
          <p:cNvSpPr>
            <a:spLocks noChangeArrowheads="1"/>
          </p:cNvSpPr>
          <p:nvPr/>
        </p:nvSpPr>
        <p:spPr bwMode="auto">
          <a:xfrm>
            <a:off x="2963251" y="4774631"/>
            <a:ext cx="320550" cy="153863"/>
          </a:xfrm>
          <a:prstGeom prst="rect">
            <a:avLst/>
          </a:prstGeom>
          <a:noFill/>
          <a:ln w="9525">
            <a:noFill/>
            <a:miter lim="800000"/>
            <a:headEnd/>
            <a:tailEnd/>
          </a:ln>
        </p:spPr>
        <p:txBody>
          <a:bodyPr wrap="none" lIns="0" tIns="0" rIns="0" bIns="0">
            <a:spAutoFit/>
          </a:bodyPr>
          <a:lstStyle/>
          <a:p>
            <a:pPr defTabSz="914235"/>
            <a:r>
              <a:rPr lang="ja-JP" altLang="ja-JP" sz="1000" dirty="0">
                <a:solidFill>
                  <a:srgbClr val="000000"/>
                </a:solidFill>
                <a:latin typeface="ＭＳ ゴシック" pitchFamily="49" charset="-128"/>
                <a:ea typeface="ＭＳ ゴシック" pitchFamily="49" charset="-128"/>
                <a:cs typeface="ＭＳ Ｐゴシック" charset="-128"/>
              </a:rPr>
              <a:t>1,2</a:t>
            </a:r>
            <a:r>
              <a:rPr lang="en-US" altLang="ja-JP" sz="1000" dirty="0">
                <a:solidFill>
                  <a:srgbClr val="000000"/>
                </a:solidFill>
                <a:latin typeface="ＭＳ ゴシック" pitchFamily="49" charset="-128"/>
                <a:ea typeface="ＭＳ ゴシック" pitchFamily="49" charset="-128"/>
                <a:cs typeface="ＭＳ Ｐゴシック" charset="-128"/>
              </a:rPr>
              <a:t>27</a:t>
            </a:r>
            <a:endParaRPr lang="ja-JP" altLang="ja-JP" dirty="0">
              <a:solidFill>
                <a:srgbClr val="000000"/>
              </a:solidFill>
              <a:ea typeface="ＭＳ ゴシック" pitchFamily="49" charset="-128"/>
              <a:cs typeface="ＭＳ Ｐゴシック" charset="-128"/>
            </a:endParaRPr>
          </a:p>
        </p:txBody>
      </p:sp>
      <p:sp>
        <p:nvSpPr>
          <p:cNvPr id="71" name="Rectangle 265"/>
          <p:cNvSpPr>
            <a:spLocks noChangeArrowheads="1"/>
          </p:cNvSpPr>
          <p:nvPr/>
        </p:nvSpPr>
        <p:spPr bwMode="auto">
          <a:xfrm>
            <a:off x="3277285" y="4763433"/>
            <a:ext cx="256439" cy="153863"/>
          </a:xfrm>
          <a:prstGeom prst="rect">
            <a:avLst/>
          </a:prstGeom>
          <a:noFill/>
          <a:ln w="9525">
            <a:noFill/>
            <a:miter lim="800000"/>
            <a:headEnd/>
            <a:tailEnd/>
          </a:ln>
        </p:spPr>
        <p:txBody>
          <a:bodyPr wrap="none" lIns="0" tIns="0" rIns="0" bIns="0">
            <a:spAutoFit/>
          </a:bodyPr>
          <a:lstStyle/>
          <a:p>
            <a:pPr defTabSz="914235"/>
            <a:r>
              <a:rPr lang="ja-JP" altLang="en-US" sz="1000" dirty="0">
                <a:solidFill>
                  <a:srgbClr val="000000"/>
                </a:solidFill>
                <a:latin typeface="ＭＳ ゴシック" pitchFamily="49" charset="-128"/>
                <a:ea typeface="ＭＳ ゴシック" pitchFamily="49" charset="-128"/>
                <a:cs typeface="ＭＳ Ｐゴシック" charset="-128"/>
              </a:rPr>
              <a:t>万人</a:t>
            </a:r>
            <a:endParaRPr lang="en-US" altLang="ja-JP" sz="1000" dirty="0">
              <a:solidFill>
                <a:srgbClr val="000000"/>
              </a:solidFill>
              <a:latin typeface="ＭＳ ゴシック" pitchFamily="49" charset="-128"/>
              <a:ea typeface="ＭＳ ゴシック" pitchFamily="49" charset="-128"/>
              <a:cs typeface="ＭＳ Ｐゴシック" charset="-128"/>
            </a:endParaRPr>
          </a:p>
        </p:txBody>
      </p:sp>
      <p:sp>
        <p:nvSpPr>
          <p:cNvPr id="72" name="Line 292"/>
          <p:cNvSpPr>
            <a:spLocks noChangeShapeType="1"/>
          </p:cNvSpPr>
          <p:nvPr/>
        </p:nvSpPr>
        <p:spPr bwMode="auto">
          <a:xfrm>
            <a:off x="3209460" y="5078353"/>
            <a:ext cx="1588" cy="190493"/>
          </a:xfrm>
          <a:prstGeom prst="line">
            <a:avLst/>
          </a:prstGeom>
          <a:noFill/>
          <a:ln w="25400">
            <a:solidFill>
              <a:srgbClr val="000000"/>
            </a:solidFill>
            <a:round/>
            <a:headEnd/>
            <a:tailEnd/>
          </a:ln>
        </p:spPr>
        <p:txBody>
          <a:bodyPr/>
          <a:lstStyle/>
          <a:p>
            <a:pPr defTabSz="914235"/>
            <a:endParaRPr lang="ja-JP" altLang="en-US">
              <a:solidFill>
                <a:srgbClr val="000000"/>
              </a:solidFill>
            </a:endParaRPr>
          </a:p>
        </p:txBody>
      </p:sp>
      <p:sp>
        <p:nvSpPr>
          <p:cNvPr id="73" name="テキスト ボックス 348"/>
          <p:cNvSpPr txBox="1">
            <a:spLocks noChangeArrowheads="1"/>
          </p:cNvSpPr>
          <p:nvPr/>
        </p:nvSpPr>
        <p:spPr bwMode="auto">
          <a:xfrm>
            <a:off x="3023941" y="3690925"/>
            <a:ext cx="353943" cy="977370"/>
          </a:xfrm>
          <a:prstGeom prst="rect">
            <a:avLst/>
          </a:prstGeom>
          <a:noFill/>
          <a:ln w="9525">
            <a:noFill/>
            <a:miter lim="800000"/>
            <a:headEnd/>
            <a:tailEnd/>
          </a:ln>
        </p:spPr>
        <p:txBody>
          <a:bodyPr vert="eaVert">
            <a:spAutoFit/>
          </a:bodyPr>
          <a:lstStyle/>
          <a:p>
            <a:pPr defTabSz="914235"/>
            <a:r>
              <a:rPr lang="ja-JP" altLang="en-US" sz="1100" dirty="0">
                <a:solidFill>
                  <a:srgbClr val="000000"/>
                </a:solidFill>
              </a:rPr>
              <a:t>江戸幕府成立</a:t>
            </a:r>
          </a:p>
        </p:txBody>
      </p:sp>
      <p:sp>
        <p:nvSpPr>
          <p:cNvPr id="74" name="Rectangle 266"/>
          <p:cNvSpPr>
            <a:spLocks noChangeArrowheads="1"/>
          </p:cNvSpPr>
          <p:nvPr/>
        </p:nvSpPr>
        <p:spPr bwMode="auto">
          <a:xfrm>
            <a:off x="3920644" y="4041833"/>
            <a:ext cx="897538" cy="153863"/>
          </a:xfrm>
          <a:prstGeom prst="rect">
            <a:avLst/>
          </a:prstGeom>
          <a:noFill/>
          <a:ln w="9525">
            <a:noFill/>
            <a:miter lim="800000"/>
            <a:headEnd/>
            <a:tailEnd/>
          </a:ln>
        </p:spPr>
        <p:txBody>
          <a:bodyPr wrap="none" lIns="0" tIns="0" rIns="0" bIns="0">
            <a:spAutoFit/>
          </a:bodyPr>
          <a:lstStyle/>
          <a:p>
            <a:pPr defTabSz="914235"/>
            <a:r>
              <a:rPr lang="ja-JP" altLang="en-US" sz="1000">
                <a:solidFill>
                  <a:srgbClr val="000000"/>
                </a:solidFill>
                <a:latin typeface="ＭＳ ゴシック" pitchFamily="49" charset="-128"/>
                <a:ea typeface="ＭＳ ゴシック" pitchFamily="49" charset="-128"/>
                <a:cs typeface="ＭＳ Ｐゴシック" charset="-128"/>
              </a:rPr>
              <a:t>（</a:t>
            </a:r>
            <a:r>
              <a:rPr lang="en-US" altLang="ja-JP" sz="1000">
                <a:solidFill>
                  <a:srgbClr val="000000"/>
                </a:solidFill>
                <a:latin typeface="ＭＳ ゴシック" pitchFamily="49" charset="-128"/>
                <a:ea typeface="ＭＳ ゴシック" pitchFamily="49" charset="-128"/>
                <a:cs typeface="ＭＳ Ｐゴシック" charset="-128"/>
              </a:rPr>
              <a:t>1716</a:t>
            </a:r>
            <a:r>
              <a:rPr lang="ja-JP" altLang="en-US" sz="1000">
                <a:solidFill>
                  <a:srgbClr val="000000"/>
                </a:solidFill>
                <a:latin typeface="ＭＳ ゴシック" pitchFamily="49" charset="-128"/>
                <a:ea typeface="ＭＳ ゴシック" pitchFamily="49" charset="-128"/>
                <a:cs typeface="ＭＳ Ｐゴシック" charset="-128"/>
              </a:rPr>
              <a:t>～</a:t>
            </a:r>
            <a:r>
              <a:rPr lang="en-US" altLang="ja-JP" sz="1000">
                <a:solidFill>
                  <a:srgbClr val="000000"/>
                </a:solidFill>
                <a:latin typeface="ＭＳ ゴシック" pitchFamily="49" charset="-128"/>
                <a:ea typeface="ＭＳ ゴシック" pitchFamily="49" charset="-128"/>
                <a:cs typeface="ＭＳ Ｐゴシック" charset="-128"/>
              </a:rPr>
              <a:t>45</a:t>
            </a:r>
            <a:r>
              <a:rPr lang="ja-JP" altLang="en-US" sz="1000">
                <a:solidFill>
                  <a:srgbClr val="000000"/>
                </a:solidFill>
                <a:latin typeface="ＭＳ ゴシック" pitchFamily="49" charset="-128"/>
                <a:ea typeface="ＭＳ ゴシック" pitchFamily="49" charset="-128"/>
                <a:cs typeface="ＭＳ Ｐゴシック" charset="-128"/>
              </a:rPr>
              <a:t>年）</a:t>
            </a:r>
            <a:endParaRPr lang="ja-JP" altLang="en-US">
              <a:solidFill>
                <a:srgbClr val="000000"/>
              </a:solidFill>
              <a:ea typeface="ＭＳ ゴシック" pitchFamily="49" charset="-128"/>
              <a:cs typeface="ＭＳ Ｐゴシック" charset="-128"/>
            </a:endParaRPr>
          </a:p>
        </p:txBody>
      </p:sp>
      <p:sp>
        <p:nvSpPr>
          <p:cNvPr id="75" name="Rectangle 271"/>
          <p:cNvSpPr>
            <a:spLocks noChangeArrowheads="1"/>
          </p:cNvSpPr>
          <p:nvPr/>
        </p:nvSpPr>
        <p:spPr bwMode="auto">
          <a:xfrm>
            <a:off x="4080518" y="4235530"/>
            <a:ext cx="320550" cy="153863"/>
          </a:xfrm>
          <a:prstGeom prst="rect">
            <a:avLst/>
          </a:prstGeom>
          <a:noFill/>
          <a:ln w="9525">
            <a:noFill/>
            <a:miter lim="800000"/>
            <a:headEnd/>
            <a:tailEnd/>
          </a:ln>
        </p:spPr>
        <p:txBody>
          <a:bodyPr wrap="none" lIns="0" tIns="0" rIns="0" bIns="0">
            <a:spAutoFit/>
          </a:bodyPr>
          <a:lstStyle/>
          <a:p>
            <a:pPr defTabSz="914235"/>
            <a:r>
              <a:rPr lang="ja-JP" altLang="ja-JP" sz="1000">
                <a:solidFill>
                  <a:srgbClr val="000000"/>
                </a:solidFill>
                <a:latin typeface="ＭＳ ゴシック" pitchFamily="49" charset="-128"/>
                <a:ea typeface="ＭＳ ゴシック" pitchFamily="49" charset="-128"/>
                <a:cs typeface="ＭＳ Ｐゴシック" charset="-128"/>
              </a:rPr>
              <a:t>3,128</a:t>
            </a:r>
            <a:endParaRPr lang="ja-JP" altLang="ja-JP">
              <a:solidFill>
                <a:srgbClr val="000000"/>
              </a:solidFill>
              <a:ea typeface="ＭＳ ゴシック" pitchFamily="49" charset="-128"/>
              <a:cs typeface="ＭＳ Ｐゴシック" charset="-128"/>
            </a:endParaRPr>
          </a:p>
        </p:txBody>
      </p:sp>
      <p:sp>
        <p:nvSpPr>
          <p:cNvPr id="76" name="Rectangle 272"/>
          <p:cNvSpPr>
            <a:spLocks noChangeArrowheads="1"/>
          </p:cNvSpPr>
          <p:nvPr/>
        </p:nvSpPr>
        <p:spPr bwMode="auto">
          <a:xfrm>
            <a:off x="4385243" y="4235530"/>
            <a:ext cx="256439" cy="153863"/>
          </a:xfrm>
          <a:prstGeom prst="rect">
            <a:avLst/>
          </a:prstGeom>
          <a:noFill/>
          <a:ln w="9525">
            <a:noFill/>
            <a:miter lim="800000"/>
            <a:headEnd/>
            <a:tailEnd/>
          </a:ln>
        </p:spPr>
        <p:txBody>
          <a:bodyPr wrap="none" lIns="0" tIns="0" rIns="0" bIns="0">
            <a:spAutoFit/>
          </a:bodyPr>
          <a:lstStyle/>
          <a:p>
            <a:pPr defTabSz="914235"/>
            <a:r>
              <a:rPr lang="ja-JP" altLang="en-US" sz="1000">
                <a:solidFill>
                  <a:srgbClr val="000000"/>
                </a:solidFill>
                <a:latin typeface="ＭＳ ゴシック" pitchFamily="49" charset="-128"/>
                <a:ea typeface="ＭＳ ゴシック" pitchFamily="49" charset="-128"/>
                <a:cs typeface="ＭＳ Ｐゴシック" charset="-128"/>
              </a:rPr>
              <a:t>万人</a:t>
            </a:r>
            <a:endParaRPr lang="ja-JP" altLang="en-US">
              <a:solidFill>
                <a:srgbClr val="000000"/>
              </a:solidFill>
              <a:ea typeface="ＭＳ ゴシック" pitchFamily="49" charset="-128"/>
              <a:cs typeface="ＭＳ Ｐゴシック" charset="-128"/>
            </a:endParaRPr>
          </a:p>
        </p:txBody>
      </p:sp>
      <p:sp>
        <p:nvSpPr>
          <p:cNvPr id="77" name="Line 293"/>
          <p:cNvSpPr>
            <a:spLocks noChangeShapeType="1"/>
          </p:cNvSpPr>
          <p:nvPr/>
        </p:nvSpPr>
        <p:spPr bwMode="auto">
          <a:xfrm>
            <a:off x="4355089" y="4429395"/>
            <a:ext cx="1588" cy="188906"/>
          </a:xfrm>
          <a:prstGeom prst="line">
            <a:avLst/>
          </a:prstGeom>
          <a:noFill/>
          <a:ln w="25400">
            <a:solidFill>
              <a:srgbClr val="000000"/>
            </a:solidFill>
            <a:round/>
            <a:headEnd/>
            <a:tailEnd/>
          </a:ln>
        </p:spPr>
        <p:txBody>
          <a:bodyPr/>
          <a:lstStyle/>
          <a:p>
            <a:pPr defTabSz="914235"/>
            <a:endParaRPr lang="ja-JP" altLang="en-US">
              <a:solidFill>
                <a:srgbClr val="000000"/>
              </a:solidFill>
            </a:endParaRPr>
          </a:p>
        </p:txBody>
      </p:sp>
      <p:sp>
        <p:nvSpPr>
          <p:cNvPr id="78" name="テキスト ボックス 346"/>
          <p:cNvSpPr txBox="1">
            <a:spLocks noChangeArrowheads="1"/>
          </p:cNvSpPr>
          <p:nvPr/>
        </p:nvSpPr>
        <p:spPr bwMode="auto">
          <a:xfrm>
            <a:off x="4196360" y="3456540"/>
            <a:ext cx="353943" cy="792136"/>
          </a:xfrm>
          <a:prstGeom prst="rect">
            <a:avLst/>
          </a:prstGeom>
          <a:noFill/>
          <a:ln w="9525">
            <a:noFill/>
            <a:miter lim="800000"/>
            <a:headEnd/>
            <a:tailEnd/>
          </a:ln>
        </p:spPr>
        <p:txBody>
          <a:bodyPr vert="eaVert">
            <a:spAutoFit/>
          </a:bodyPr>
          <a:lstStyle/>
          <a:p>
            <a:pPr defTabSz="914235"/>
            <a:r>
              <a:rPr lang="ja-JP" altLang="en-US" sz="1100">
                <a:solidFill>
                  <a:srgbClr val="000000"/>
                </a:solidFill>
              </a:rPr>
              <a:t>享保改革</a:t>
            </a:r>
          </a:p>
        </p:txBody>
      </p:sp>
      <p:sp>
        <p:nvSpPr>
          <p:cNvPr id="79" name="Rectangle 273"/>
          <p:cNvSpPr>
            <a:spLocks noChangeArrowheads="1"/>
          </p:cNvSpPr>
          <p:nvPr/>
        </p:nvSpPr>
        <p:spPr bwMode="auto">
          <a:xfrm>
            <a:off x="5287000" y="3927964"/>
            <a:ext cx="641098" cy="153863"/>
          </a:xfrm>
          <a:prstGeom prst="rect">
            <a:avLst/>
          </a:prstGeom>
          <a:noFill/>
          <a:ln w="9525">
            <a:noFill/>
            <a:miter lim="800000"/>
            <a:headEnd/>
            <a:tailEnd/>
          </a:ln>
        </p:spPr>
        <p:txBody>
          <a:bodyPr wrap="none" lIns="0" tIns="0" rIns="0" bIns="0">
            <a:spAutoFit/>
          </a:bodyPr>
          <a:lstStyle/>
          <a:p>
            <a:pPr defTabSz="914235"/>
            <a:r>
              <a:rPr lang="ja-JP" altLang="en-US" sz="1000">
                <a:solidFill>
                  <a:srgbClr val="000000"/>
                </a:solidFill>
                <a:latin typeface="ＭＳ ゴシック" pitchFamily="49" charset="-128"/>
                <a:ea typeface="ＭＳ ゴシック" pitchFamily="49" charset="-128"/>
                <a:cs typeface="ＭＳ Ｐゴシック" charset="-128"/>
              </a:rPr>
              <a:t>（</a:t>
            </a:r>
            <a:r>
              <a:rPr lang="en-US" altLang="ja-JP" sz="1000">
                <a:solidFill>
                  <a:srgbClr val="000000"/>
                </a:solidFill>
                <a:latin typeface="ＭＳ ゴシック" pitchFamily="49" charset="-128"/>
                <a:ea typeface="ＭＳ ゴシック" pitchFamily="49" charset="-128"/>
                <a:cs typeface="ＭＳ Ｐゴシック" charset="-128"/>
              </a:rPr>
              <a:t>1868</a:t>
            </a:r>
            <a:r>
              <a:rPr lang="ja-JP" altLang="en-US" sz="1000">
                <a:solidFill>
                  <a:srgbClr val="000000"/>
                </a:solidFill>
                <a:latin typeface="ＭＳ ゴシック" pitchFamily="49" charset="-128"/>
                <a:ea typeface="ＭＳ ゴシック" pitchFamily="49" charset="-128"/>
                <a:cs typeface="ＭＳ Ｐゴシック" charset="-128"/>
              </a:rPr>
              <a:t>年）</a:t>
            </a:r>
            <a:endParaRPr lang="ja-JP" altLang="en-US">
              <a:solidFill>
                <a:srgbClr val="000000"/>
              </a:solidFill>
              <a:ea typeface="ＭＳ ゴシック" pitchFamily="49" charset="-128"/>
              <a:cs typeface="ＭＳ Ｐゴシック" charset="-128"/>
            </a:endParaRPr>
          </a:p>
        </p:txBody>
      </p:sp>
      <p:sp>
        <p:nvSpPr>
          <p:cNvPr id="80" name="Rectangle 277"/>
          <p:cNvSpPr>
            <a:spLocks noChangeArrowheads="1"/>
          </p:cNvSpPr>
          <p:nvPr/>
        </p:nvSpPr>
        <p:spPr bwMode="auto">
          <a:xfrm>
            <a:off x="5324666" y="4091695"/>
            <a:ext cx="320550" cy="153863"/>
          </a:xfrm>
          <a:prstGeom prst="rect">
            <a:avLst/>
          </a:prstGeom>
          <a:noFill/>
          <a:ln w="9525">
            <a:noFill/>
            <a:miter lim="800000"/>
            <a:headEnd/>
            <a:tailEnd/>
          </a:ln>
        </p:spPr>
        <p:txBody>
          <a:bodyPr wrap="none" lIns="0" tIns="0" rIns="0" bIns="0">
            <a:spAutoFit/>
          </a:bodyPr>
          <a:lstStyle/>
          <a:p>
            <a:pPr defTabSz="914235"/>
            <a:r>
              <a:rPr lang="ja-JP" altLang="ja-JP" sz="1000" dirty="0">
                <a:solidFill>
                  <a:srgbClr val="000000"/>
                </a:solidFill>
                <a:latin typeface="ＭＳ ゴシック" pitchFamily="49" charset="-128"/>
                <a:ea typeface="ＭＳ ゴシック" pitchFamily="49" charset="-128"/>
                <a:cs typeface="ＭＳ Ｐゴシック" charset="-128"/>
              </a:rPr>
              <a:t>3,3</a:t>
            </a:r>
            <a:r>
              <a:rPr lang="en-US" altLang="ja-JP" sz="1000" dirty="0">
                <a:solidFill>
                  <a:srgbClr val="000000"/>
                </a:solidFill>
                <a:latin typeface="ＭＳ ゴシック" pitchFamily="49" charset="-128"/>
                <a:ea typeface="ＭＳ ゴシック" pitchFamily="49" charset="-128"/>
                <a:cs typeface="ＭＳ Ｐゴシック" charset="-128"/>
              </a:rPr>
              <a:t>30</a:t>
            </a:r>
            <a:endParaRPr lang="ja-JP" altLang="ja-JP" dirty="0">
              <a:solidFill>
                <a:srgbClr val="000000"/>
              </a:solidFill>
              <a:ea typeface="ＭＳ ゴシック" pitchFamily="49" charset="-128"/>
              <a:cs typeface="ＭＳ Ｐゴシック" charset="-128"/>
            </a:endParaRPr>
          </a:p>
        </p:txBody>
      </p:sp>
      <p:sp>
        <p:nvSpPr>
          <p:cNvPr id="81" name="Rectangle 278"/>
          <p:cNvSpPr>
            <a:spLocks noChangeArrowheads="1"/>
          </p:cNvSpPr>
          <p:nvPr/>
        </p:nvSpPr>
        <p:spPr bwMode="auto">
          <a:xfrm>
            <a:off x="5646991" y="4072267"/>
            <a:ext cx="256439" cy="153863"/>
          </a:xfrm>
          <a:prstGeom prst="rect">
            <a:avLst/>
          </a:prstGeom>
          <a:noFill/>
          <a:ln w="9525">
            <a:noFill/>
            <a:miter lim="800000"/>
            <a:headEnd/>
            <a:tailEnd/>
          </a:ln>
        </p:spPr>
        <p:txBody>
          <a:bodyPr wrap="none" lIns="0" tIns="0" rIns="0" bIns="0">
            <a:spAutoFit/>
          </a:bodyPr>
          <a:lstStyle/>
          <a:p>
            <a:pPr defTabSz="914235"/>
            <a:r>
              <a:rPr lang="ja-JP" altLang="en-US" sz="1000" dirty="0">
                <a:solidFill>
                  <a:srgbClr val="000000"/>
                </a:solidFill>
                <a:latin typeface="ＭＳ ゴシック" pitchFamily="49" charset="-128"/>
                <a:ea typeface="ＭＳ ゴシック" pitchFamily="49" charset="-128"/>
                <a:cs typeface="ＭＳ Ｐゴシック" charset="-128"/>
              </a:rPr>
              <a:t>万人</a:t>
            </a:r>
            <a:endParaRPr lang="en-US" altLang="ja-JP" sz="1000" dirty="0">
              <a:solidFill>
                <a:srgbClr val="000000"/>
              </a:solidFill>
              <a:latin typeface="ＭＳ ゴシック" pitchFamily="49" charset="-128"/>
              <a:ea typeface="ＭＳ ゴシック" pitchFamily="49" charset="-128"/>
              <a:cs typeface="ＭＳ Ｐゴシック" charset="-128"/>
            </a:endParaRPr>
          </a:p>
        </p:txBody>
      </p:sp>
      <p:sp>
        <p:nvSpPr>
          <p:cNvPr id="82" name="Line 294"/>
          <p:cNvSpPr>
            <a:spLocks noChangeShapeType="1"/>
          </p:cNvSpPr>
          <p:nvPr/>
        </p:nvSpPr>
        <p:spPr bwMode="auto">
          <a:xfrm>
            <a:off x="5753972" y="4386630"/>
            <a:ext cx="1588" cy="182556"/>
          </a:xfrm>
          <a:prstGeom prst="line">
            <a:avLst/>
          </a:prstGeom>
          <a:noFill/>
          <a:ln w="25400">
            <a:solidFill>
              <a:srgbClr val="000000"/>
            </a:solidFill>
            <a:round/>
            <a:headEnd/>
            <a:tailEnd/>
          </a:ln>
        </p:spPr>
        <p:txBody>
          <a:bodyPr/>
          <a:lstStyle/>
          <a:p>
            <a:pPr defTabSz="914235"/>
            <a:endParaRPr lang="ja-JP" altLang="en-US">
              <a:solidFill>
                <a:srgbClr val="000000"/>
              </a:solidFill>
            </a:endParaRPr>
          </a:p>
        </p:txBody>
      </p:sp>
      <p:sp>
        <p:nvSpPr>
          <p:cNvPr id="83" name="テキスト ボックス 345"/>
          <p:cNvSpPr txBox="1">
            <a:spLocks noChangeArrowheads="1"/>
          </p:cNvSpPr>
          <p:nvPr/>
        </p:nvSpPr>
        <p:spPr bwMode="auto">
          <a:xfrm>
            <a:off x="5397580" y="3288649"/>
            <a:ext cx="353943" cy="790548"/>
          </a:xfrm>
          <a:prstGeom prst="rect">
            <a:avLst/>
          </a:prstGeom>
          <a:noFill/>
          <a:ln w="9525">
            <a:noFill/>
            <a:miter lim="800000"/>
            <a:headEnd/>
            <a:tailEnd/>
          </a:ln>
        </p:spPr>
        <p:txBody>
          <a:bodyPr vert="eaVert">
            <a:spAutoFit/>
          </a:bodyPr>
          <a:lstStyle/>
          <a:p>
            <a:pPr defTabSz="914235"/>
            <a:r>
              <a:rPr lang="ja-JP" altLang="en-US" sz="1100">
                <a:solidFill>
                  <a:srgbClr val="000000"/>
                </a:solidFill>
              </a:rPr>
              <a:t>明治維新</a:t>
            </a:r>
          </a:p>
        </p:txBody>
      </p:sp>
      <p:sp>
        <p:nvSpPr>
          <p:cNvPr id="84" name="Rectangle 281"/>
          <p:cNvSpPr>
            <a:spLocks noChangeArrowheads="1"/>
          </p:cNvSpPr>
          <p:nvPr/>
        </p:nvSpPr>
        <p:spPr bwMode="auto">
          <a:xfrm>
            <a:off x="6023211" y="2779545"/>
            <a:ext cx="512879" cy="153863"/>
          </a:xfrm>
          <a:prstGeom prst="rect">
            <a:avLst/>
          </a:prstGeom>
          <a:noFill/>
          <a:ln w="9525">
            <a:noFill/>
            <a:miter lim="800000"/>
            <a:headEnd/>
            <a:tailEnd/>
          </a:ln>
        </p:spPr>
        <p:txBody>
          <a:bodyPr wrap="none" lIns="0" tIns="0" rIns="0" bIns="0">
            <a:spAutoFit/>
          </a:bodyPr>
          <a:lstStyle/>
          <a:p>
            <a:pPr defTabSz="914235"/>
            <a:r>
              <a:rPr lang="en-US" altLang="ja-JP" sz="1000">
                <a:solidFill>
                  <a:srgbClr val="000000"/>
                </a:solidFill>
                <a:latin typeface="ＭＳ ゴシック" pitchFamily="49" charset="-128"/>
                <a:ea typeface="ＭＳ ゴシック" pitchFamily="49" charset="-128"/>
                <a:cs typeface="ＭＳ Ｐゴシック" charset="-128"/>
              </a:rPr>
              <a:t>(1</a:t>
            </a:r>
            <a:r>
              <a:rPr lang="ja-JP" altLang="ja-JP" sz="1000">
                <a:solidFill>
                  <a:srgbClr val="000000"/>
                </a:solidFill>
                <a:latin typeface="ＭＳ ゴシック" pitchFamily="49" charset="-128"/>
                <a:ea typeface="ＭＳ ゴシック" pitchFamily="49" charset="-128"/>
                <a:cs typeface="ＭＳ Ｐゴシック" charset="-128"/>
              </a:rPr>
              <a:t>945</a:t>
            </a:r>
            <a:r>
              <a:rPr lang="ja-JP" altLang="en-US" sz="1000">
                <a:solidFill>
                  <a:srgbClr val="000000"/>
                </a:solidFill>
                <a:latin typeface="ＭＳ ゴシック" pitchFamily="49" charset="-128"/>
                <a:ea typeface="ＭＳ ゴシック" pitchFamily="49" charset="-128"/>
                <a:cs typeface="ＭＳ Ｐゴシック" charset="-128"/>
              </a:rPr>
              <a:t>年</a:t>
            </a:r>
            <a:r>
              <a:rPr lang="en-US" altLang="ja-JP" sz="1000">
                <a:solidFill>
                  <a:srgbClr val="000000"/>
                </a:solidFill>
                <a:latin typeface="ＭＳ ゴシック" pitchFamily="49" charset="-128"/>
                <a:ea typeface="ＭＳ ゴシック" pitchFamily="49" charset="-128"/>
                <a:cs typeface="ＭＳ Ｐゴシック" charset="-128"/>
              </a:rPr>
              <a:t>)</a:t>
            </a:r>
            <a:endParaRPr lang="ja-JP" altLang="ja-JP">
              <a:solidFill>
                <a:srgbClr val="000000"/>
              </a:solidFill>
              <a:ea typeface="ＭＳ ゴシック" pitchFamily="49" charset="-128"/>
              <a:cs typeface="ＭＳ Ｐゴシック" charset="-128"/>
            </a:endParaRPr>
          </a:p>
        </p:txBody>
      </p:sp>
      <p:sp>
        <p:nvSpPr>
          <p:cNvPr id="85" name="Rectangle 283"/>
          <p:cNvSpPr>
            <a:spLocks noChangeArrowheads="1"/>
          </p:cNvSpPr>
          <p:nvPr/>
        </p:nvSpPr>
        <p:spPr bwMode="auto">
          <a:xfrm>
            <a:off x="5985121" y="2939430"/>
            <a:ext cx="320550" cy="153863"/>
          </a:xfrm>
          <a:prstGeom prst="rect">
            <a:avLst/>
          </a:prstGeom>
          <a:noFill/>
          <a:ln w="9525">
            <a:noFill/>
            <a:miter lim="800000"/>
            <a:headEnd/>
            <a:tailEnd/>
          </a:ln>
        </p:spPr>
        <p:txBody>
          <a:bodyPr wrap="none" lIns="0" tIns="0" rIns="0" bIns="0">
            <a:spAutoFit/>
          </a:bodyPr>
          <a:lstStyle/>
          <a:p>
            <a:pPr defTabSz="914235"/>
            <a:r>
              <a:rPr lang="ja-JP" altLang="ja-JP" sz="1000" dirty="0">
                <a:solidFill>
                  <a:srgbClr val="000000"/>
                </a:solidFill>
                <a:latin typeface="ＭＳ ゴシック" pitchFamily="49" charset="-128"/>
                <a:ea typeface="ＭＳ ゴシック" pitchFamily="49" charset="-128"/>
                <a:cs typeface="ＭＳ Ｐゴシック" charset="-128"/>
              </a:rPr>
              <a:t>7,199</a:t>
            </a:r>
            <a:endParaRPr lang="ja-JP" altLang="ja-JP" dirty="0">
              <a:solidFill>
                <a:srgbClr val="000000"/>
              </a:solidFill>
              <a:ea typeface="ＭＳ ゴシック" pitchFamily="49" charset="-128"/>
              <a:cs typeface="ＭＳ Ｐゴシック" charset="-128"/>
            </a:endParaRPr>
          </a:p>
        </p:txBody>
      </p:sp>
      <p:sp>
        <p:nvSpPr>
          <p:cNvPr id="86" name="Rectangle 284"/>
          <p:cNvSpPr>
            <a:spLocks noChangeArrowheads="1"/>
          </p:cNvSpPr>
          <p:nvPr/>
        </p:nvSpPr>
        <p:spPr bwMode="auto">
          <a:xfrm>
            <a:off x="6298924" y="2939430"/>
            <a:ext cx="256439" cy="153863"/>
          </a:xfrm>
          <a:prstGeom prst="rect">
            <a:avLst/>
          </a:prstGeom>
          <a:noFill/>
          <a:ln w="9525">
            <a:noFill/>
            <a:miter lim="800000"/>
            <a:headEnd/>
            <a:tailEnd/>
          </a:ln>
        </p:spPr>
        <p:txBody>
          <a:bodyPr wrap="none" lIns="0" tIns="0" rIns="0" bIns="0">
            <a:spAutoFit/>
          </a:bodyPr>
          <a:lstStyle/>
          <a:p>
            <a:pPr defTabSz="914235"/>
            <a:r>
              <a:rPr lang="ja-JP" altLang="en-US" sz="1000">
                <a:solidFill>
                  <a:srgbClr val="000000"/>
                </a:solidFill>
                <a:latin typeface="ＭＳ ゴシック" pitchFamily="49" charset="-128"/>
                <a:ea typeface="ＭＳ ゴシック" pitchFamily="49" charset="-128"/>
                <a:cs typeface="ＭＳ Ｐゴシック" charset="-128"/>
              </a:rPr>
              <a:t>万人</a:t>
            </a:r>
            <a:endParaRPr lang="ja-JP" altLang="en-US">
              <a:solidFill>
                <a:srgbClr val="000000"/>
              </a:solidFill>
              <a:ea typeface="ＭＳ ゴシック" pitchFamily="49" charset="-128"/>
              <a:cs typeface="ＭＳ Ｐゴシック" charset="-128"/>
            </a:endParaRPr>
          </a:p>
        </p:txBody>
      </p:sp>
      <p:sp>
        <p:nvSpPr>
          <p:cNvPr id="87" name="Line 295"/>
          <p:cNvSpPr>
            <a:spLocks noChangeShapeType="1"/>
          </p:cNvSpPr>
          <p:nvPr/>
        </p:nvSpPr>
        <p:spPr bwMode="auto">
          <a:xfrm>
            <a:off x="6483735" y="3067551"/>
            <a:ext cx="1588" cy="182556"/>
          </a:xfrm>
          <a:prstGeom prst="line">
            <a:avLst/>
          </a:prstGeom>
          <a:noFill/>
          <a:ln w="25400">
            <a:solidFill>
              <a:srgbClr val="000000"/>
            </a:solidFill>
            <a:round/>
            <a:headEnd/>
            <a:tailEnd/>
          </a:ln>
        </p:spPr>
        <p:txBody>
          <a:bodyPr/>
          <a:lstStyle/>
          <a:p>
            <a:pPr defTabSz="914235"/>
            <a:endParaRPr lang="ja-JP" altLang="en-US">
              <a:solidFill>
                <a:srgbClr val="000000"/>
              </a:solidFill>
            </a:endParaRPr>
          </a:p>
        </p:txBody>
      </p:sp>
      <p:sp>
        <p:nvSpPr>
          <p:cNvPr id="88" name="テキスト ボックス 349"/>
          <p:cNvSpPr txBox="1">
            <a:spLocks noChangeArrowheads="1"/>
          </p:cNvSpPr>
          <p:nvPr/>
        </p:nvSpPr>
        <p:spPr bwMode="auto">
          <a:xfrm>
            <a:off x="6094526" y="2422371"/>
            <a:ext cx="369332" cy="504808"/>
          </a:xfrm>
          <a:prstGeom prst="rect">
            <a:avLst/>
          </a:prstGeom>
          <a:noFill/>
          <a:ln w="9525">
            <a:noFill/>
            <a:miter lim="800000"/>
            <a:headEnd/>
            <a:tailEnd/>
          </a:ln>
        </p:spPr>
        <p:txBody>
          <a:bodyPr vert="eaVert">
            <a:spAutoFit/>
          </a:bodyPr>
          <a:lstStyle/>
          <a:p>
            <a:pPr defTabSz="914235"/>
            <a:r>
              <a:rPr lang="ja-JP" altLang="en-US" sz="1200">
                <a:solidFill>
                  <a:srgbClr val="000000"/>
                </a:solidFill>
              </a:rPr>
              <a:t>終戦</a:t>
            </a:r>
          </a:p>
        </p:txBody>
      </p:sp>
      <p:sp>
        <p:nvSpPr>
          <p:cNvPr id="90" name="AutoShape 6"/>
          <p:cNvSpPr>
            <a:spLocks noChangeArrowheads="1"/>
          </p:cNvSpPr>
          <p:nvPr/>
        </p:nvSpPr>
        <p:spPr bwMode="auto">
          <a:xfrm>
            <a:off x="8267963" y="1536359"/>
            <a:ext cx="1208569" cy="576244"/>
          </a:xfrm>
          <a:prstGeom prst="wedgeRectCallout">
            <a:avLst>
              <a:gd name="adj1" fmla="val -103495"/>
              <a:gd name="adj2" fmla="val 43169"/>
            </a:avLst>
          </a:prstGeom>
          <a:solidFill>
            <a:schemeClr val="bg1"/>
          </a:solidFill>
          <a:ln w="9525">
            <a:solidFill>
              <a:schemeClr val="tx1"/>
            </a:solidFill>
            <a:miter lim="800000"/>
            <a:headEnd/>
            <a:tailEnd/>
          </a:ln>
        </p:spPr>
        <p:txBody>
          <a:bodyPr lIns="91396" tIns="45699" rIns="91396" bIns="45699"/>
          <a:lstStyle/>
          <a:p>
            <a:pPr algn="ctr" defTabSz="914235"/>
            <a:r>
              <a:rPr lang="en-US" altLang="ja-JP" sz="1100" dirty="0">
                <a:solidFill>
                  <a:srgbClr val="000000"/>
                </a:solidFill>
                <a:latin typeface="ＭＳ ゴシック" pitchFamily="49" charset="-128"/>
              </a:rPr>
              <a:t>2050</a:t>
            </a:r>
            <a:r>
              <a:rPr lang="ja-JP" altLang="en-US" sz="1100" dirty="0">
                <a:solidFill>
                  <a:srgbClr val="000000"/>
                </a:solidFill>
                <a:latin typeface="ＭＳ ゴシック" pitchFamily="49" charset="-128"/>
              </a:rPr>
              <a:t>年</a:t>
            </a:r>
          </a:p>
          <a:p>
            <a:pPr algn="ctr" defTabSz="914235"/>
            <a:r>
              <a:rPr lang="en-US" altLang="ja-JP" sz="1100" dirty="0">
                <a:solidFill>
                  <a:srgbClr val="000000"/>
                </a:solidFill>
                <a:latin typeface="ＭＳ ゴシック" pitchFamily="49" charset="-128"/>
              </a:rPr>
              <a:t>10,469</a:t>
            </a:r>
            <a:r>
              <a:rPr lang="ja-JP" altLang="en-US" sz="1100" dirty="0">
                <a:solidFill>
                  <a:srgbClr val="000000"/>
                </a:solidFill>
                <a:latin typeface="ＭＳ ゴシック" pitchFamily="49" charset="-128"/>
              </a:rPr>
              <a:t>万人</a:t>
            </a:r>
          </a:p>
          <a:p>
            <a:pPr algn="ctr" defTabSz="914235"/>
            <a:r>
              <a:rPr lang="ja-JP" altLang="en-US" sz="1100" dirty="0">
                <a:solidFill>
                  <a:srgbClr val="FF0000"/>
                </a:solidFill>
                <a:latin typeface="ＭＳ ゴシック" pitchFamily="49" charset="-128"/>
              </a:rPr>
              <a:t>高齢化率 </a:t>
            </a:r>
            <a:r>
              <a:rPr lang="en-US" altLang="ja-JP" sz="1100" dirty="0">
                <a:solidFill>
                  <a:srgbClr val="FF0000"/>
                </a:solidFill>
                <a:latin typeface="ＭＳ ゴシック" pitchFamily="49" charset="-128"/>
              </a:rPr>
              <a:t>37.1%</a:t>
            </a:r>
          </a:p>
        </p:txBody>
      </p:sp>
      <p:sp>
        <p:nvSpPr>
          <p:cNvPr id="91" name="AutoShape 7"/>
          <p:cNvSpPr>
            <a:spLocks noChangeArrowheads="1"/>
          </p:cNvSpPr>
          <p:nvPr/>
        </p:nvSpPr>
        <p:spPr bwMode="auto">
          <a:xfrm>
            <a:off x="8267963" y="2234392"/>
            <a:ext cx="1208569" cy="576244"/>
          </a:xfrm>
          <a:prstGeom prst="wedgeRectCallout">
            <a:avLst>
              <a:gd name="adj1" fmla="val -83477"/>
              <a:gd name="adj2" fmla="val 21554"/>
            </a:avLst>
          </a:prstGeom>
          <a:solidFill>
            <a:srgbClr val="FFFF99"/>
          </a:solidFill>
          <a:ln w="31750">
            <a:solidFill>
              <a:schemeClr val="tx1"/>
            </a:solidFill>
            <a:miter lim="800000"/>
            <a:headEnd/>
            <a:tailEnd/>
          </a:ln>
        </p:spPr>
        <p:txBody>
          <a:bodyPr lIns="91396" tIns="45699" rIns="91396" bIns="45699"/>
          <a:lstStyle/>
          <a:p>
            <a:pPr algn="ctr" defTabSz="914235"/>
            <a:r>
              <a:rPr lang="en-US" altLang="ja-JP" sz="1100" dirty="0">
                <a:solidFill>
                  <a:srgbClr val="000000"/>
                </a:solidFill>
                <a:latin typeface="ＭＳ ゴシック" pitchFamily="49" charset="-128"/>
              </a:rPr>
              <a:t>2070</a:t>
            </a:r>
            <a:r>
              <a:rPr lang="ja-JP" altLang="en-US" sz="1100" dirty="0">
                <a:solidFill>
                  <a:srgbClr val="000000"/>
                </a:solidFill>
                <a:latin typeface="ＭＳ ゴシック" pitchFamily="49" charset="-128"/>
              </a:rPr>
              <a:t>年</a:t>
            </a:r>
          </a:p>
          <a:p>
            <a:pPr algn="ctr" defTabSz="914235"/>
            <a:r>
              <a:rPr lang="en-US" altLang="ja-JP" sz="1100" dirty="0">
                <a:solidFill>
                  <a:srgbClr val="000000"/>
                </a:solidFill>
                <a:latin typeface="ＭＳ ゴシック" pitchFamily="49" charset="-128"/>
              </a:rPr>
              <a:t>8,700</a:t>
            </a:r>
            <a:r>
              <a:rPr lang="ja-JP" altLang="en-US" sz="1100" dirty="0">
                <a:solidFill>
                  <a:srgbClr val="000000"/>
                </a:solidFill>
                <a:latin typeface="ＭＳ ゴシック" pitchFamily="49" charset="-128"/>
              </a:rPr>
              <a:t>万人</a:t>
            </a:r>
          </a:p>
          <a:p>
            <a:pPr algn="ctr" defTabSz="914235"/>
            <a:r>
              <a:rPr lang="ja-JP" altLang="en-US" sz="1100" dirty="0">
                <a:solidFill>
                  <a:srgbClr val="FF0000"/>
                </a:solidFill>
                <a:latin typeface="ＭＳ ゴシック" pitchFamily="49" charset="-128"/>
              </a:rPr>
              <a:t>高齢化率 </a:t>
            </a:r>
            <a:r>
              <a:rPr lang="en-US" altLang="ja-JP" sz="1100" dirty="0">
                <a:solidFill>
                  <a:srgbClr val="FF0000"/>
                </a:solidFill>
                <a:latin typeface="ＭＳ ゴシック" pitchFamily="49" charset="-128"/>
              </a:rPr>
              <a:t>38.7%</a:t>
            </a:r>
          </a:p>
        </p:txBody>
      </p:sp>
      <p:sp>
        <p:nvSpPr>
          <p:cNvPr id="92" name="Rectangle 9"/>
          <p:cNvSpPr>
            <a:spLocks noChangeArrowheads="1"/>
          </p:cNvSpPr>
          <p:nvPr/>
        </p:nvSpPr>
        <p:spPr bwMode="auto">
          <a:xfrm>
            <a:off x="8299063" y="3572846"/>
            <a:ext cx="1208569" cy="576244"/>
          </a:xfrm>
          <a:prstGeom prst="rect">
            <a:avLst/>
          </a:prstGeom>
          <a:noFill/>
          <a:ln w="9525">
            <a:solidFill>
              <a:srgbClr val="000000"/>
            </a:solidFill>
            <a:prstDash val="sysDash"/>
            <a:miter lim="800000"/>
            <a:headEnd/>
            <a:tailEnd/>
          </a:ln>
        </p:spPr>
        <p:txBody>
          <a:bodyPr wrap="none" lIns="91396" tIns="45699" rIns="91396" bIns="45699" anchor="ctr"/>
          <a:lstStyle/>
          <a:p>
            <a:pPr algn="ctr" defTabSz="914235"/>
            <a:r>
              <a:rPr lang="en-US" altLang="ja-JP" sz="1100" dirty="0">
                <a:solidFill>
                  <a:srgbClr val="000000"/>
                </a:solidFill>
                <a:latin typeface="ＭＳ ゴシック" pitchFamily="49" charset="-128"/>
              </a:rPr>
              <a:t>2120</a:t>
            </a:r>
            <a:r>
              <a:rPr lang="ja-JP" altLang="en-US" sz="1100" dirty="0">
                <a:solidFill>
                  <a:srgbClr val="000000"/>
                </a:solidFill>
                <a:latin typeface="ＭＳ ゴシック" pitchFamily="49" charset="-128"/>
              </a:rPr>
              <a:t>年（中位推計）</a:t>
            </a:r>
          </a:p>
          <a:p>
            <a:pPr algn="ctr" defTabSz="914235"/>
            <a:r>
              <a:rPr lang="en-US" altLang="ja-JP" sz="1100" dirty="0">
                <a:solidFill>
                  <a:srgbClr val="000000"/>
                </a:solidFill>
                <a:latin typeface="ＭＳ ゴシック" pitchFamily="49" charset="-128"/>
              </a:rPr>
              <a:t>4,973</a:t>
            </a:r>
            <a:r>
              <a:rPr lang="ja-JP" altLang="en-US" sz="1100" dirty="0">
                <a:solidFill>
                  <a:srgbClr val="000000"/>
                </a:solidFill>
                <a:latin typeface="ＭＳ ゴシック" pitchFamily="49" charset="-128"/>
              </a:rPr>
              <a:t>万人</a:t>
            </a:r>
          </a:p>
          <a:p>
            <a:pPr algn="ctr" defTabSz="914235"/>
            <a:r>
              <a:rPr lang="ja-JP" altLang="en-US" sz="1100" dirty="0">
                <a:solidFill>
                  <a:srgbClr val="FF0000"/>
                </a:solidFill>
                <a:latin typeface="ＭＳ ゴシック" pitchFamily="49" charset="-128"/>
              </a:rPr>
              <a:t>高齢化率 </a:t>
            </a:r>
            <a:r>
              <a:rPr lang="en-US" altLang="ja-JP" sz="1100" dirty="0">
                <a:solidFill>
                  <a:srgbClr val="FF0000"/>
                </a:solidFill>
                <a:latin typeface="ＭＳ ゴシック" pitchFamily="49" charset="-128"/>
              </a:rPr>
              <a:t>40.4%</a:t>
            </a:r>
          </a:p>
        </p:txBody>
      </p:sp>
      <p:sp>
        <p:nvSpPr>
          <p:cNvPr id="93" name="Rectangle 8"/>
          <p:cNvSpPr>
            <a:spLocks noChangeArrowheads="1"/>
          </p:cNvSpPr>
          <p:nvPr/>
        </p:nvSpPr>
        <p:spPr bwMode="auto">
          <a:xfrm>
            <a:off x="8334943" y="3028017"/>
            <a:ext cx="1061780" cy="406386"/>
          </a:xfrm>
          <a:prstGeom prst="rect">
            <a:avLst/>
          </a:prstGeom>
          <a:noFill/>
          <a:ln w="9525">
            <a:noFill/>
            <a:miter lim="800000"/>
            <a:headEnd/>
            <a:tailEnd/>
          </a:ln>
        </p:spPr>
        <p:txBody>
          <a:bodyPr wrap="none" lIns="91396" tIns="45699" rIns="91396" bIns="45699" anchor="ctr"/>
          <a:lstStyle/>
          <a:p>
            <a:pPr algn="ctr" defTabSz="914235"/>
            <a:r>
              <a:rPr lang="en-US" altLang="ja-JP" sz="1100" dirty="0">
                <a:solidFill>
                  <a:srgbClr val="000000"/>
                </a:solidFill>
                <a:latin typeface="ＭＳ ゴシック" pitchFamily="49" charset="-128"/>
              </a:rPr>
              <a:t>2120</a:t>
            </a:r>
            <a:r>
              <a:rPr lang="ja-JP" altLang="en-US" sz="1100" dirty="0">
                <a:solidFill>
                  <a:srgbClr val="000000"/>
                </a:solidFill>
                <a:latin typeface="ＭＳ ゴシック" pitchFamily="49" charset="-128"/>
              </a:rPr>
              <a:t>年（高位推計）</a:t>
            </a:r>
          </a:p>
          <a:p>
            <a:pPr algn="ctr" defTabSz="914235"/>
            <a:r>
              <a:rPr lang="en-US" altLang="ja-JP" sz="1100" dirty="0">
                <a:solidFill>
                  <a:srgbClr val="000000"/>
                </a:solidFill>
                <a:latin typeface="ＭＳ ゴシック" pitchFamily="49" charset="-128"/>
              </a:rPr>
              <a:t>7,062</a:t>
            </a:r>
            <a:r>
              <a:rPr lang="ja-JP" altLang="en-US" sz="1100" dirty="0">
                <a:solidFill>
                  <a:srgbClr val="000000"/>
                </a:solidFill>
                <a:latin typeface="ＭＳ ゴシック" pitchFamily="49" charset="-128"/>
              </a:rPr>
              <a:t>万人</a:t>
            </a:r>
          </a:p>
        </p:txBody>
      </p:sp>
      <p:sp>
        <p:nvSpPr>
          <p:cNvPr id="94" name="Rectangle 10"/>
          <p:cNvSpPr>
            <a:spLocks noChangeArrowheads="1"/>
          </p:cNvSpPr>
          <p:nvPr/>
        </p:nvSpPr>
        <p:spPr bwMode="auto">
          <a:xfrm>
            <a:off x="8373422" y="4302951"/>
            <a:ext cx="1063368" cy="406386"/>
          </a:xfrm>
          <a:prstGeom prst="rect">
            <a:avLst/>
          </a:prstGeom>
          <a:noFill/>
          <a:ln w="9525">
            <a:noFill/>
            <a:miter lim="800000"/>
            <a:headEnd/>
            <a:tailEnd/>
          </a:ln>
        </p:spPr>
        <p:txBody>
          <a:bodyPr wrap="none" lIns="91396" tIns="45699" rIns="91396" bIns="45699" anchor="ctr"/>
          <a:lstStyle/>
          <a:p>
            <a:pPr algn="ctr" defTabSz="914235"/>
            <a:r>
              <a:rPr lang="en-US" altLang="ja-JP" sz="1100" dirty="0">
                <a:solidFill>
                  <a:srgbClr val="000000"/>
                </a:solidFill>
                <a:latin typeface="ＭＳ ゴシック" pitchFamily="49" charset="-128"/>
              </a:rPr>
              <a:t>2120</a:t>
            </a:r>
            <a:r>
              <a:rPr lang="ja-JP" altLang="en-US" sz="1100" dirty="0">
                <a:solidFill>
                  <a:srgbClr val="000000"/>
                </a:solidFill>
                <a:latin typeface="ＭＳ ゴシック" pitchFamily="49" charset="-128"/>
              </a:rPr>
              <a:t>年（低位推計）</a:t>
            </a:r>
          </a:p>
          <a:p>
            <a:pPr algn="ctr" defTabSz="914235"/>
            <a:r>
              <a:rPr lang="en-US" altLang="ja-JP" sz="1100" dirty="0">
                <a:solidFill>
                  <a:srgbClr val="000000"/>
                </a:solidFill>
                <a:latin typeface="ＭＳ ゴシック" pitchFamily="49" charset="-128"/>
              </a:rPr>
              <a:t>3,587</a:t>
            </a:r>
            <a:r>
              <a:rPr lang="ja-JP" altLang="en-US" sz="1100" dirty="0">
                <a:solidFill>
                  <a:srgbClr val="000000"/>
                </a:solidFill>
                <a:latin typeface="ＭＳ ゴシック" pitchFamily="49" charset="-128"/>
              </a:rPr>
              <a:t>万人</a:t>
            </a:r>
          </a:p>
        </p:txBody>
      </p:sp>
      <p:sp>
        <p:nvSpPr>
          <p:cNvPr id="95" name="Line 299"/>
          <p:cNvSpPr>
            <a:spLocks noChangeShapeType="1"/>
          </p:cNvSpPr>
          <p:nvPr/>
        </p:nvSpPr>
        <p:spPr bwMode="auto">
          <a:xfrm>
            <a:off x="7542491" y="1968198"/>
            <a:ext cx="1588" cy="190493"/>
          </a:xfrm>
          <a:prstGeom prst="line">
            <a:avLst/>
          </a:prstGeom>
          <a:noFill/>
          <a:ln w="25400">
            <a:solidFill>
              <a:srgbClr val="000000"/>
            </a:solidFill>
            <a:round/>
            <a:headEnd/>
            <a:tailEnd/>
          </a:ln>
        </p:spPr>
        <p:txBody>
          <a:bodyPr/>
          <a:lstStyle/>
          <a:p>
            <a:pPr defTabSz="914235"/>
            <a:endParaRPr lang="ja-JP" altLang="en-US">
              <a:solidFill>
                <a:srgbClr val="000000"/>
              </a:solidFill>
            </a:endParaRPr>
          </a:p>
        </p:txBody>
      </p:sp>
      <p:sp>
        <p:nvSpPr>
          <p:cNvPr id="96" name="Line 298"/>
          <p:cNvSpPr>
            <a:spLocks noChangeShapeType="1"/>
          </p:cNvSpPr>
          <p:nvPr/>
        </p:nvSpPr>
        <p:spPr bwMode="auto">
          <a:xfrm>
            <a:off x="7747465" y="2529989"/>
            <a:ext cx="1588" cy="188907"/>
          </a:xfrm>
          <a:prstGeom prst="line">
            <a:avLst/>
          </a:prstGeom>
          <a:noFill/>
          <a:ln w="50800">
            <a:solidFill>
              <a:srgbClr val="FF0000"/>
            </a:solidFill>
            <a:round/>
            <a:headEnd/>
            <a:tailEnd/>
          </a:ln>
        </p:spPr>
        <p:txBody>
          <a:bodyPr/>
          <a:lstStyle/>
          <a:p>
            <a:pPr defTabSz="914235"/>
            <a:endParaRPr lang="ja-JP" altLang="en-US">
              <a:solidFill>
                <a:srgbClr val="000000"/>
              </a:solidFill>
            </a:endParaRPr>
          </a:p>
        </p:txBody>
      </p:sp>
      <p:sp>
        <p:nvSpPr>
          <p:cNvPr id="97" name="Line 294"/>
          <p:cNvSpPr>
            <a:spLocks noChangeShapeType="1"/>
          </p:cNvSpPr>
          <p:nvPr/>
        </p:nvSpPr>
        <p:spPr bwMode="auto">
          <a:xfrm>
            <a:off x="7188844" y="1132170"/>
            <a:ext cx="1588" cy="182534"/>
          </a:xfrm>
          <a:prstGeom prst="line">
            <a:avLst/>
          </a:prstGeom>
          <a:noFill/>
          <a:ln w="25400">
            <a:solidFill>
              <a:srgbClr val="000000"/>
            </a:solidFill>
            <a:round/>
            <a:headEnd/>
            <a:tailEnd/>
          </a:ln>
        </p:spPr>
        <p:txBody>
          <a:bodyPr/>
          <a:lstStyle/>
          <a:p>
            <a:pPr defTabSz="914235"/>
            <a:endParaRPr lang="ja-JP" altLang="en-US">
              <a:solidFill>
                <a:srgbClr val="000000"/>
              </a:solidFill>
            </a:endParaRPr>
          </a:p>
        </p:txBody>
      </p:sp>
      <p:sp>
        <p:nvSpPr>
          <p:cNvPr id="98" name="Rectangle 266"/>
          <p:cNvSpPr>
            <a:spLocks noChangeArrowheads="1"/>
          </p:cNvSpPr>
          <p:nvPr/>
        </p:nvSpPr>
        <p:spPr bwMode="auto">
          <a:xfrm>
            <a:off x="7329353" y="875961"/>
            <a:ext cx="641098" cy="153863"/>
          </a:xfrm>
          <a:prstGeom prst="rect">
            <a:avLst/>
          </a:prstGeom>
          <a:noFill/>
          <a:ln w="9525">
            <a:noFill/>
            <a:miter lim="800000"/>
            <a:headEnd/>
            <a:tailEnd/>
          </a:ln>
        </p:spPr>
        <p:txBody>
          <a:bodyPr wrap="none" lIns="0" tIns="0" rIns="0" bIns="0">
            <a:spAutoFit/>
          </a:bodyPr>
          <a:lstStyle/>
          <a:p>
            <a:pPr defTabSz="914235"/>
            <a:r>
              <a:rPr lang="ja-JP" altLang="en-US" sz="1000" dirty="0">
                <a:solidFill>
                  <a:srgbClr val="000000"/>
                </a:solidFill>
                <a:latin typeface="ＭＳ ゴシック" pitchFamily="49" charset="-128"/>
                <a:ea typeface="ＭＳ ゴシック" pitchFamily="49" charset="-128"/>
                <a:cs typeface="ＭＳ Ｐゴシック" charset="-128"/>
              </a:rPr>
              <a:t>（</a:t>
            </a:r>
            <a:r>
              <a:rPr lang="en-US" altLang="ja-JP" sz="1000" dirty="0">
                <a:solidFill>
                  <a:srgbClr val="000000"/>
                </a:solidFill>
                <a:latin typeface="ＭＳ ゴシック" pitchFamily="49" charset="-128"/>
                <a:ea typeface="ＭＳ ゴシック" pitchFamily="49" charset="-128"/>
                <a:cs typeface="ＭＳ Ｐゴシック" charset="-128"/>
              </a:rPr>
              <a:t>2010</a:t>
            </a:r>
            <a:r>
              <a:rPr lang="ja-JP" altLang="en-US" sz="1000" dirty="0">
                <a:solidFill>
                  <a:srgbClr val="000000"/>
                </a:solidFill>
                <a:latin typeface="ＭＳ ゴシック" pitchFamily="49" charset="-128"/>
                <a:ea typeface="ＭＳ ゴシック" pitchFamily="49" charset="-128"/>
                <a:cs typeface="ＭＳ Ｐゴシック" charset="-128"/>
              </a:rPr>
              <a:t>年）</a:t>
            </a:r>
            <a:endParaRPr lang="ja-JP" altLang="en-US" dirty="0">
              <a:solidFill>
                <a:srgbClr val="000000"/>
              </a:solidFill>
              <a:ea typeface="ＭＳ ゴシック" pitchFamily="49" charset="-128"/>
              <a:cs typeface="ＭＳ Ｐゴシック" charset="-128"/>
            </a:endParaRPr>
          </a:p>
        </p:txBody>
      </p:sp>
      <p:sp>
        <p:nvSpPr>
          <p:cNvPr id="99" name="Rectangle 271"/>
          <p:cNvSpPr>
            <a:spLocks noChangeArrowheads="1"/>
          </p:cNvSpPr>
          <p:nvPr/>
        </p:nvSpPr>
        <p:spPr bwMode="auto">
          <a:xfrm>
            <a:off x="7401350" y="1009984"/>
            <a:ext cx="384659" cy="153863"/>
          </a:xfrm>
          <a:prstGeom prst="rect">
            <a:avLst/>
          </a:prstGeom>
          <a:noFill/>
          <a:ln w="9525">
            <a:noFill/>
            <a:miter lim="800000"/>
            <a:headEnd/>
            <a:tailEnd/>
          </a:ln>
        </p:spPr>
        <p:txBody>
          <a:bodyPr wrap="none" lIns="0" tIns="0" rIns="0" bIns="0">
            <a:spAutoFit/>
          </a:bodyPr>
          <a:lstStyle/>
          <a:p>
            <a:pPr defTabSz="914235"/>
            <a:r>
              <a:rPr lang="en-US" altLang="ja-JP" sz="1000" dirty="0">
                <a:solidFill>
                  <a:srgbClr val="000000"/>
                </a:solidFill>
                <a:latin typeface="ＭＳ ゴシック" pitchFamily="49" charset="-128"/>
                <a:ea typeface="ＭＳ ゴシック" pitchFamily="49" charset="-128"/>
                <a:cs typeface="ＭＳ Ｐゴシック" charset="-128"/>
              </a:rPr>
              <a:t>12,806</a:t>
            </a:r>
            <a:endParaRPr lang="ja-JP" altLang="ja-JP" sz="1000" dirty="0">
              <a:solidFill>
                <a:srgbClr val="000000"/>
              </a:solidFill>
              <a:latin typeface="ＭＳ ゴシック" pitchFamily="49" charset="-128"/>
              <a:ea typeface="ＭＳ ゴシック" pitchFamily="49" charset="-128"/>
              <a:cs typeface="ＭＳ Ｐゴシック" charset="-128"/>
            </a:endParaRPr>
          </a:p>
        </p:txBody>
      </p:sp>
      <p:sp>
        <p:nvSpPr>
          <p:cNvPr id="100" name="Rectangle 272"/>
          <p:cNvSpPr>
            <a:spLocks noChangeArrowheads="1"/>
          </p:cNvSpPr>
          <p:nvPr/>
        </p:nvSpPr>
        <p:spPr bwMode="auto">
          <a:xfrm>
            <a:off x="7785876" y="1013259"/>
            <a:ext cx="256439" cy="153863"/>
          </a:xfrm>
          <a:prstGeom prst="rect">
            <a:avLst/>
          </a:prstGeom>
          <a:noFill/>
          <a:ln w="9525">
            <a:noFill/>
            <a:miter lim="800000"/>
            <a:headEnd/>
            <a:tailEnd/>
          </a:ln>
        </p:spPr>
        <p:txBody>
          <a:bodyPr wrap="none" lIns="0" tIns="0" rIns="0" bIns="0">
            <a:spAutoFit/>
          </a:bodyPr>
          <a:lstStyle/>
          <a:p>
            <a:pPr defTabSz="914235"/>
            <a:r>
              <a:rPr lang="ja-JP" altLang="en-US" sz="1000" dirty="0">
                <a:solidFill>
                  <a:srgbClr val="000000"/>
                </a:solidFill>
                <a:latin typeface="ＭＳ ゴシック" pitchFamily="49" charset="-128"/>
                <a:ea typeface="ＭＳ ゴシック" pitchFamily="49" charset="-128"/>
                <a:cs typeface="ＭＳ Ｐゴシック" charset="-128"/>
              </a:rPr>
              <a:t>万人</a:t>
            </a:r>
            <a:endParaRPr lang="ja-JP" altLang="en-US" dirty="0">
              <a:solidFill>
                <a:srgbClr val="000000"/>
              </a:solidFill>
              <a:ea typeface="ＭＳ ゴシック" pitchFamily="49" charset="-128"/>
              <a:cs typeface="ＭＳ Ｐゴシック" charset="-128"/>
            </a:endParaRPr>
          </a:p>
        </p:txBody>
      </p:sp>
      <p:sp>
        <p:nvSpPr>
          <p:cNvPr id="101" name="Line 298"/>
          <p:cNvSpPr>
            <a:spLocks noChangeShapeType="1"/>
          </p:cNvSpPr>
          <p:nvPr/>
        </p:nvSpPr>
        <p:spPr bwMode="auto">
          <a:xfrm>
            <a:off x="7143612" y="1128635"/>
            <a:ext cx="1588" cy="188907"/>
          </a:xfrm>
          <a:prstGeom prst="line">
            <a:avLst/>
          </a:prstGeom>
          <a:noFill/>
          <a:ln w="50800">
            <a:solidFill>
              <a:srgbClr val="FF0000"/>
            </a:solidFill>
            <a:round/>
            <a:headEnd/>
            <a:tailEnd/>
          </a:ln>
        </p:spPr>
        <p:txBody>
          <a:bodyPr/>
          <a:lstStyle/>
          <a:p>
            <a:pPr defTabSz="914235"/>
            <a:endParaRPr lang="ja-JP" altLang="en-US">
              <a:solidFill>
                <a:srgbClr val="000000"/>
              </a:solidFill>
            </a:endParaRPr>
          </a:p>
        </p:txBody>
      </p:sp>
      <p:sp>
        <p:nvSpPr>
          <p:cNvPr id="102" name="AutoShape 6"/>
          <p:cNvSpPr>
            <a:spLocks noChangeArrowheads="1"/>
          </p:cNvSpPr>
          <p:nvPr/>
        </p:nvSpPr>
        <p:spPr bwMode="auto">
          <a:xfrm>
            <a:off x="4906279" y="966040"/>
            <a:ext cx="1439785" cy="647968"/>
          </a:xfrm>
          <a:prstGeom prst="wedgeRectCallout">
            <a:avLst>
              <a:gd name="adj1" fmla="val 89449"/>
              <a:gd name="adj2" fmla="val -14825"/>
            </a:avLst>
          </a:prstGeom>
          <a:solidFill>
            <a:srgbClr val="FFFF00"/>
          </a:solidFill>
          <a:ln w="28575">
            <a:solidFill>
              <a:schemeClr val="tx1"/>
            </a:solidFill>
            <a:miter lim="800000"/>
            <a:headEnd/>
            <a:tailEnd/>
          </a:ln>
        </p:spPr>
        <p:txBody>
          <a:bodyPr lIns="91396" tIns="45699" rIns="91396" bIns="45699"/>
          <a:lstStyle/>
          <a:p>
            <a:pPr algn="ctr" defTabSz="914235"/>
            <a:r>
              <a:rPr lang="en-US" altLang="ja-JP" sz="1100" dirty="0">
                <a:solidFill>
                  <a:srgbClr val="000000"/>
                </a:solidFill>
                <a:latin typeface="ＭＳ ゴシック" pitchFamily="49" charset="-128"/>
              </a:rPr>
              <a:t>2008</a:t>
            </a:r>
            <a:r>
              <a:rPr lang="ja-JP" altLang="en-US" sz="1100" dirty="0">
                <a:solidFill>
                  <a:srgbClr val="000000"/>
                </a:solidFill>
                <a:latin typeface="ＭＳ ゴシック" pitchFamily="49" charset="-128"/>
              </a:rPr>
              <a:t>年にピーク</a:t>
            </a:r>
          </a:p>
          <a:p>
            <a:pPr algn="ctr" defTabSz="914235"/>
            <a:r>
              <a:rPr lang="en-US" altLang="ja-JP" sz="1100" dirty="0">
                <a:solidFill>
                  <a:srgbClr val="000000"/>
                </a:solidFill>
                <a:latin typeface="ＭＳ ゴシック" pitchFamily="49" charset="-128"/>
              </a:rPr>
              <a:t>12,808</a:t>
            </a:r>
            <a:r>
              <a:rPr lang="ja-JP" altLang="en-US" sz="1100" dirty="0">
                <a:solidFill>
                  <a:srgbClr val="000000"/>
                </a:solidFill>
                <a:latin typeface="ＭＳ ゴシック" pitchFamily="49" charset="-128"/>
              </a:rPr>
              <a:t>万人</a:t>
            </a:r>
          </a:p>
          <a:p>
            <a:pPr algn="ctr" defTabSz="914235"/>
            <a:r>
              <a:rPr lang="ja-JP" altLang="en-US" sz="1100" dirty="0">
                <a:solidFill>
                  <a:srgbClr val="FF0000"/>
                </a:solidFill>
                <a:latin typeface="ＭＳ ゴシック" pitchFamily="49" charset="-128"/>
              </a:rPr>
              <a:t>高齢化率</a:t>
            </a:r>
            <a:r>
              <a:rPr lang="en-US" altLang="ja-JP" sz="1100" dirty="0">
                <a:solidFill>
                  <a:srgbClr val="FF0000"/>
                </a:solidFill>
                <a:latin typeface="ＭＳ ゴシック" pitchFamily="49" charset="-128"/>
              </a:rPr>
              <a:t>22.1%</a:t>
            </a:r>
          </a:p>
        </p:txBody>
      </p:sp>
      <p:sp>
        <p:nvSpPr>
          <p:cNvPr id="103" name="Line 299"/>
          <p:cNvSpPr>
            <a:spLocks noChangeShapeType="1"/>
          </p:cNvSpPr>
          <p:nvPr/>
        </p:nvSpPr>
        <p:spPr bwMode="auto">
          <a:xfrm flipH="1">
            <a:off x="7326266" y="1264314"/>
            <a:ext cx="3086" cy="313271"/>
          </a:xfrm>
          <a:prstGeom prst="line">
            <a:avLst/>
          </a:prstGeom>
          <a:noFill/>
          <a:ln w="25400">
            <a:solidFill>
              <a:srgbClr val="000000"/>
            </a:solidFill>
            <a:round/>
            <a:headEnd/>
            <a:tailEnd/>
          </a:ln>
        </p:spPr>
        <p:txBody>
          <a:bodyPr/>
          <a:lstStyle/>
          <a:p>
            <a:pPr defTabSz="914235"/>
            <a:endParaRPr lang="ja-JP" altLang="en-US">
              <a:solidFill>
                <a:srgbClr val="000000"/>
              </a:solidFill>
            </a:endParaRPr>
          </a:p>
        </p:txBody>
      </p:sp>
      <p:sp>
        <p:nvSpPr>
          <p:cNvPr id="104" name="Rectangle 266"/>
          <p:cNvSpPr>
            <a:spLocks noChangeArrowheads="1"/>
          </p:cNvSpPr>
          <p:nvPr/>
        </p:nvSpPr>
        <p:spPr bwMode="auto">
          <a:xfrm>
            <a:off x="7426917" y="1239814"/>
            <a:ext cx="641098" cy="307728"/>
          </a:xfrm>
          <a:prstGeom prst="rect">
            <a:avLst/>
          </a:prstGeom>
          <a:noFill/>
          <a:ln w="9525">
            <a:noFill/>
            <a:miter lim="800000"/>
            <a:headEnd/>
            <a:tailEnd/>
          </a:ln>
        </p:spPr>
        <p:txBody>
          <a:bodyPr wrap="none" lIns="0" tIns="0" rIns="0" bIns="0">
            <a:spAutoFit/>
          </a:bodyPr>
          <a:lstStyle/>
          <a:p>
            <a:pPr algn="ctr" defTabSz="914235"/>
            <a:r>
              <a:rPr lang="ja-JP" altLang="en-US" sz="1000" dirty="0">
                <a:solidFill>
                  <a:srgbClr val="000000"/>
                </a:solidFill>
                <a:latin typeface="ＭＳ ゴシック" pitchFamily="49" charset="-128"/>
                <a:ea typeface="ＭＳ ゴシック" pitchFamily="49" charset="-128"/>
                <a:cs typeface="ＭＳ Ｐゴシック" charset="-128"/>
              </a:rPr>
              <a:t>（</a:t>
            </a:r>
            <a:r>
              <a:rPr lang="en-US" altLang="ja-JP" sz="1000" dirty="0">
                <a:solidFill>
                  <a:srgbClr val="000000"/>
                </a:solidFill>
                <a:latin typeface="ＭＳ ゴシック" pitchFamily="49" charset="-128"/>
                <a:ea typeface="ＭＳ ゴシック" pitchFamily="49" charset="-128"/>
                <a:cs typeface="ＭＳ Ｐゴシック" charset="-128"/>
              </a:rPr>
              <a:t>2020</a:t>
            </a:r>
            <a:r>
              <a:rPr lang="ja-JP" altLang="en-US" sz="1000" dirty="0">
                <a:solidFill>
                  <a:srgbClr val="000000"/>
                </a:solidFill>
                <a:latin typeface="ＭＳ ゴシック" pitchFamily="49" charset="-128"/>
                <a:ea typeface="ＭＳ ゴシック" pitchFamily="49" charset="-128"/>
                <a:cs typeface="ＭＳ Ｐゴシック" charset="-128"/>
              </a:rPr>
              <a:t>年）</a:t>
            </a:r>
            <a:endParaRPr lang="en-US" altLang="ja-JP" sz="1000" dirty="0">
              <a:solidFill>
                <a:srgbClr val="000000"/>
              </a:solidFill>
              <a:latin typeface="ＭＳ ゴシック" pitchFamily="49" charset="-128"/>
              <a:ea typeface="ＭＳ ゴシック" pitchFamily="49" charset="-128"/>
              <a:cs typeface="ＭＳ Ｐゴシック" charset="-128"/>
            </a:endParaRPr>
          </a:p>
          <a:p>
            <a:pPr algn="ctr" defTabSz="914235"/>
            <a:r>
              <a:rPr lang="en-US" altLang="ja-JP" sz="1000" dirty="0">
                <a:solidFill>
                  <a:srgbClr val="000000"/>
                </a:solidFill>
                <a:latin typeface="ＭＳ ゴシック" pitchFamily="49" charset="-128"/>
                <a:ea typeface="ＭＳ ゴシック" pitchFamily="49" charset="-128"/>
                <a:cs typeface="ＭＳ Ｐゴシック" charset="-128"/>
              </a:rPr>
              <a:t>12,615</a:t>
            </a:r>
            <a:r>
              <a:rPr lang="ja-JP" altLang="en-US" sz="1000" dirty="0">
                <a:solidFill>
                  <a:srgbClr val="000000"/>
                </a:solidFill>
                <a:latin typeface="ＭＳ ゴシック" pitchFamily="49" charset="-128"/>
                <a:ea typeface="ＭＳ ゴシック" pitchFamily="49" charset="-128"/>
                <a:cs typeface="ＭＳ Ｐゴシック" charset="-128"/>
              </a:rPr>
              <a:t>万人</a:t>
            </a:r>
            <a:endParaRPr lang="ja-JP" altLang="en-US" dirty="0">
              <a:solidFill>
                <a:srgbClr val="000000"/>
              </a:solidFill>
              <a:ea typeface="ＭＳ ゴシック" pitchFamily="49" charset="-128"/>
              <a:cs typeface="ＭＳ Ｐゴシック" charset="-128"/>
            </a:endParaRPr>
          </a:p>
        </p:txBody>
      </p:sp>
      <p:sp>
        <p:nvSpPr>
          <p:cNvPr id="2" name="フッター プレースホルダー 1">
            <a:extLst>
              <a:ext uri="{FF2B5EF4-FFF2-40B4-BE49-F238E27FC236}">
                <a16:creationId xmlns:a16="http://schemas.microsoft.com/office/drawing/2014/main" id="{24033941-3930-2245-D426-A6FAEDAFA910}"/>
              </a:ext>
            </a:extLst>
          </p:cNvPr>
          <p:cNvSpPr>
            <a:spLocks noGrp="1"/>
          </p:cNvSpPr>
          <p:nvPr>
            <p:ph type="ftr" sz="quarter" idx="11"/>
          </p:nvPr>
        </p:nvSpPr>
        <p:spPr/>
        <p:txBody>
          <a:bodyPr/>
          <a:lstStyle/>
          <a:p>
            <a:pPr>
              <a:defRPr/>
            </a:pPr>
            <a:endParaRPr lang="en-US" altLang="ja-JP"/>
          </a:p>
        </p:txBody>
      </p:sp>
      <p:sp>
        <p:nvSpPr>
          <p:cNvPr id="3" name="スライド番号プレースホルダー 2">
            <a:extLst>
              <a:ext uri="{FF2B5EF4-FFF2-40B4-BE49-F238E27FC236}">
                <a16:creationId xmlns:a16="http://schemas.microsoft.com/office/drawing/2014/main" id="{0A706F96-6E5B-9B37-5250-46D66AA033F1}"/>
              </a:ext>
            </a:extLst>
          </p:cNvPr>
          <p:cNvSpPr>
            <a:spLocks noGrp="1"/>
          </p:cNvSpPr>
          <p:nvPr>
            <p:ph type="sldNum" sz="quarter" idx="12"/>
          </p:nvPr>
        </p:nvSpPr>
        <p:spPr/>
        <p:txBody>
          <a:bodyPr/>
          <a:lstStyle/>
          <a:p>
            <a:pPr>
              <a:defRPr/>
            </a:pPr>
            <a:fld id="{9C66F1FC-77AF-4AA3-AB67-8C31B36199A9}" type="slidenum">
              <a:rPr lang="en-US" altLang="ja-JP" smtClean="0"/>
              <a:pPr>
                <a:defRPr/>
              </a:pPr>
              <a:t>7</a:t>
            </a:fld>
            <a:endParaRPr lang="en-US" altLang="ja-JP"/>
          </a:p>
        </p:txBody>
      </p:sp>
    </p:spTree>
    <p:extLst>
      <p:ext uri="{BB962C8B-B14F-4D97-AF65-F5344CB8AC3E}">
        <p14:creationId xmlns:p14="http://schemas.microsoft.com/office/powerpoint/2010/main" val="1276056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3" name="グラフ 40"/>
          <p:cNvGraphicFramePr/>
          <p:nvPr>
            <p:extLst>
              <p:ext uri="{D42A27DB-BD31-4B8C-83A1-F6EECF244321}">
                <p14:modId xmlns:p14="http://schemas.microsoft.com/office/powerpoint/2010/main" val="1289939971"/>
              </p:ext>
            </p:extLst>
          </p:nvPr>
        </p:nvGraphicFramePr>
        <p:xfrm>
          <a:off x="755890" y="2563690"/>
          <a:ext cx="8191051" cy="4137921"/>
        </p:xfrm>
        <a:graphic>
          <a:graphicData uri="http://schemas.openxmlformats.org/drawingml/2006/chart">
            <c:chart xmlns:c="http://schemas.openxmlformats.org/drawingml/2006/chart" xmlns:r="http://schemas.openxmlformats.org/officeDocument/2006/relationships" r:id="rId2"/>
          </a:graphicData>
        </a:graphic>
      </p:graphicFrame>
      <p:sp>
        <p:nvSpPr>
          <p:cNvPr id="1164" name="Text Box 3"/>
          <p:cNvSpPr txBox="1">
            <a:spLocks noChangeArrowheads="1"/>
          </p:cNvSpPr>
          <p:nvPr/>
        </p:nvSpPr>
        <p:spPr>
          <a:xfrm>
            <a:off x="766593" y="6645404"/>
            <a:ext cx="8295755" cy="227749"/>
          </a:xfrm>
          <a:prstGeom prst="rect">
            <a:avLst/>
          </a:prstGeom>
          <a:noFill/>
          <a:ln w="9525">
            <a:noFill/>
            <a:miter lim="800000"/>
            <a:headEnd/>
            <a:tailEnd/>
          </a:ln>
        </p:spPr>
        <p:txBody>
          <a:bodyPr wrap="square" lIns="77871" tIns="38935" rIns="77871" bIns="38935">
            <a:spAutoFit/>
          </a:bodyPr>
          <a:lstStyle/>
          <a:p>
            <a:pPr marL="334052" indent="-334052" defTabSz="653025"/>
            <a:r>
              <a:rPr lang="ja-JP" altLang="en-US" sz="969" dirty="0">
                <a:solidFill>
                  <a:srgbClr val="000000"/>
                </a:solidFill>
                <a:latin typeface="ＭＳ Ｐゴシック"/>
                <a:ea typeface="ＭＳ Ｐゴシック"/>
              </a:rPr>
              <a:t>（出典）総務省「人口推計」、国立社会保障・人口問題研究所「日本の将来推計人口（令和５年推計）」をもとに国土交通省国土政策局作成。</a:t>
            </a:r>
            <a:endParaRPr lang="en-US" altLang="ja-JP" sz="969" dirty="0">
              <a:solidFill>
                <a:srgbClr val="000000"/>
              </a:solidFill>
              <a:latin typeface="ＭＳ Ｐゴシック"/>
              <a:ea typeface="ＭＳ Ｐゴシック"/>
            </a:endParaRPr>
          </a:p>
        </p:txBody>
      </p:sp>
      <p:sp>
        <p:nvSpPr>
          <p:cNvPr id="1165" name="Rectangle 2"/>
          <p:cNvSpPr txBox="1">
            <a:spLocks noChangeArrowheads="1"/>
          </p:cNvSpPr>
          <p:nvPr/>
        </p:nvSpPr>
        <p:spPr>
          <a:xfrm>
            <a:off x="0" y="135434"/>
            <a:ext cx="9142535" cy="462783"/>
          </a:xfrm>
          <a:prstGeom prst="rect">
            <a:avLst/>
          </a:prstGeom>
          <a:noFill/>
          <a:ln w="9525">
            <a:noFill/>
            <a:miter lim="800000"/>
            <a:headEnd/>
            <a:tailEnd/>
          </a:ln>
        </p:spPr>
        <p:txBody>
          <a:bodyPr vert="horz" wrap="square" lIns="84365" tIns="42183" rIns="84365" bIns="42183" numCol="1" anchor="ctr" anchorCtr="0" compatLnSpc="1">
            <a:prstTxWarp prst="textNoShape">
              <a:avLst/>
            </a:prstTxWarp>
          </a:bodyPr>
          <a:lstStyle>
            <a:lvl1pPr algn="l" rtl="0" eaLnBrk="0" fontAlgn="base" hangingPunct="0">
              <a:spcBef>
                <a:spcPct val="0"/>
              </a:spcBef>
              <a:spcAft>
                <a:spcPct val="0"/>
              </a:spcAft>
              <a:defRPr kumimoji="1" sz="2800">
                <a:solidFill>
                  <a:srgbClr val="4087C8"/>
                </a:solidFill>
                <a:latin typeface="+mj-lt"/>
                <a:ea typeface="+mj-ea"/>
                <a:cs typeface="+mj-cs"/>
              </a:defRPr>
            </a:lvl1pPr>
            <a:lvl2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rgbClr val="4087C8"/>
                </a:solidFill>
                <a:latin typeface="HGP創英角ｺﾞｼｯｸUB" pitchFamily="50" charset="-128"/>
                <a:ea typeface="HGP創英角ｺﾞｼｯｸUB" pitchFamily="50" charset="-128"/>
              </a:defRPr>
            </a:lvl5pPr>
            <a:lvl6pPr marL="45705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6pPr>
            <a:lvl7pPr marL="914110"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7pPr>
            <a:lvl8pPr marL="1371167"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8pPr>
            <a:lvl9pPr marL="1828221" algn="l" rtl="0" fontAlgn="base">
              <a:spcBef>
                <a:spcPct val="0"/>
              </a:spcBef>
              <a:spcAft>
                <a:spcPct val="0"/>
              </a:spcAft>
              <a:defRPr kumimoji="1" sz="2800">
                <a:solidFill>
                  <a:srgbClr val="4087C8"/>
                </a:solidFill>
                <a:latin typeface="HGP創英角ｺﾞｼｯｸUB" pitchFamily="50" charset="-128"/>
                <a:ea typeface="HGP創英角ｺﾞｼｯｸUB" pitchFamily="50" charset="-128"/>
              </a:defRPr>
            </a:lvl9pPr>
          </a:lstStyle>
          <a:p>
            <a:pPr defTabSz="779040"/>
            <a:r>
              <a:rPr lang="ja-JP" altLang="en-US" sz="2400" kern="0" dirty="0">
                <a:latin typeface="HGP創英角ｺﾞｼｯｸUB"/>
                <a:ea typeface="HGP創英角ｺﾞｼｯｸUB"/>
              </a:rPr>
              <a:t>総人口及び年齢階層別人口の推移及び将来推計</a:t>
            </a:r>
            <a:endParaRPr lang="ja-JP" altLang="en-US" sz="2400" kern="0" dirty="0">
              <a:latin typeface="ＭＳ Ｐゴシック" charset="-128"/>
              <a:ea typeface="HGP創英角ｺﾞｼｯｸUB"/>
            </a:endParaRPr>
          </a:p>
        </p:txBody>
      </p:sp>
      <p:sp>
        <p:nvSpPr>
          <p:cNvPr id="1166" name="テキスト ボックス 22"/>
          <p:cNvSpPr txBox="1">
            <a:spLocks noChangeArrowheads="1"/>
          </p:cNvSpPr>
          <p:nvPr/>
        </p:nvSpPr>
        <p:spPr>
          <a:xfrm>
            <a:off x="8749634" y="6487662"/>
            <a:ext cx="474708" cy="223423"/>
          </a:xfrm>
          <a:prstGeom prst="rect">
            <a:avLst/>
          </a:prstGeom>
          <a:noFill/>
          <a:ln w="9525">
            <a:noFill/>
            <a:miter lim="800000"/>
            <a:headEnd/>
            <a:tailEnd/>
          </a:ln>
        </p:spPr>
        <p:txBody>
          <a:bodyPr>
            <a:spAutoFit/>
          </a:bodyPr>
          <a:lstStyle/>
          <a:p>
            <a:pPr defTabSz="653025"/>
            <a:r>
              <a:rPr lang="ja-JP" altLang="en-US" sz="852" dirty="0">
                <a:solidFill>
                  <a:srgbClr val="000000"/>
                </a:solidFill>
              </a:rPr>
              <a:t>（年）</a:t>
            </a:r>
          </a:p>
        </p:txBody>
      </p:sp>
      <p:sp>
        <p:nvSpPr>
          <p:cNvPr id="1167" name="テキスト ボックス 8"/>
          <p:cNvSpPr txBox="1"/>
          <p:nvPr/>
        </p:nvSpPr>
        <p:spPr>
          <a:xfrm>
            <a:off x="5194392" y="2451131"/>
            <a:ext cx="914483" cy="248618"/>
          </a:xfrm>
          <a:prstGeom prst="rect">
            <a:avLst/>
          </a:prstGeom>
          <a:noFill/>
        </p:spPr>
        <p:txBody>
          <a:bodyPr wrap="square" rtlCol="0">
            <a:spAutoFit/>
          </a:bodyPr>
          <a:lstStyle/>
          <a:p>
            <a:pPr defTabSz="653025"/>
            <a:r>
              <a:rPr lang="en-US" altLang="ja-JP" sz="1016" dirty="0">
                <a:solidFill>
                  <a:srgbClr val="000000"/>
                </a:solidFill>
                <a:latin typeface="ＭＳ Ｐゴシック"/>
                <a:ea typeface="ＭＳ Ｐゴシック"/>
              </a:rPr>
              <a:t>2020</a:t>
            </a:r>
            <a:r>
              <a:rPr lang="ja-JP" altLang="en-US" sz="1016" dirty="0">
                <a:solidFill>
                  <a:srgbClr val="000000"/>
                </a:solidFill>
                <a:latin typeface="ＭＳ Ｐゴシック"/>
                <a:ea typeface="ＭＳ Ｐゴシック"/>
              </a:rPr>
              <a:t>年</a:t>
            </a:r>
          </a:p>
        </p:txBody>
      </p:sp>
      <p:sp>
        <p:nvSpPr>
          <p:cNvPr id="1169" name="テキスト ボックス 44"/>
          <p:cNvSpPr txBox="1"/>
          <p:nvPr/>
        </p:nvSpPr>
        <p:spPr>
          <a:xfrm>
            <a:off x="179971" y="711498"/>
            <a:ext cx="9538471" cy="1754045"/>
          </a:xfrm>
          <a:prstGeom prst="rect">
            <a:avLst/>
          </a:prstGeom>
          <a:noFill/>
          <a:ln w="19050">
            <a:solidFill>
              <a:schemeClr val="tx1"/>
            </a:solidFill>
          </a:ln>
        </p:spPr>
        <p:txBody>
          <a:bodyPr wrap="square" rtlCol="0">
            <a:spAutoFit/>
          </a:bodyPr>
          <a:lstStyle/>
          <a:p>
            <a:pPr marL="171422" indent="-171422" defTabSz="653025">
              <a:spcAft>
                <a:spcPts val="429"/>
              </a:spcAft>
            </a:pPr>
            <a:r>
              <a:rPr lang="ja-JP" altLang="en-US" sz="1400" dirty="0">
                <a:solidFill>
                  <a:srgbClr val="000000"/>
                </a:solidFill>
                <a:latin typeface="ＭＳ Ｐゴシック"/>
                <a:ea typeface="ＭＳ Ｐゴシック"/>
              </a:rPr>
              <a:t>○総人口は、</a:t>
            </a:r>
            <a:r>
              <a:rPr lang="en-US" altLang="ja-JP" sz="1400" dirty="0">
                <a:solidFill>
                  <a:srgbClr val="000000"/>
                </a:solidFill>
                <a:latin typeface="ＭＳ Ｐゴシック"/>
                <a:ea typeface="ＭＳ Ｐゴシック"/>
              </a:rPr>
              <a:t>2020</a:t>
            </a:r>
            <a:r>
              <a:rPr lang="ja-JP" altLang="en-US" sz="1400" dirty="0">
                <a:solidFill>
                  <a:srgbClr val="000000"/>
                </a:solidFill>
                <a:latin typeface="ＭＳ Ｐゴシック"/>
                <a:ea typeface="ＭＳ Ｐゴシック"/>
              </a:rPr>
              <a:t>年の</a:t>
            </a:r>
            <a:r>
              <a:rPr lang="en-US" altLang="ja-JP" sz="1400" dirty="0">
                <a:solidFill>
                  <a:srgbClr val="000000"/>
                </a:solidFill>
                <a:latin typeface="ＭＳ Ｐゴシック"/>
                <a:ea typeface="ＭＳ Ｐゴシック"/>
              </a:rPr>
              <a:t>12,615</a:t>
            </a:r>
            <a:r>
              <a:rPr lang="ja-JP" altLang="en-US" sz="1400" dirty="0">
                <a:solidFill>
                  <a:srgbClr val="000000"/>
                </a:solidFill>
                <a:latin typeface="ＭＳ Ｐゴシック"/>
                <a:ea typeface="ＭＳ Ｐゴシック"/>
              </a:rPr>
              <a:t>万人から、</a:t>
            </a:r>
            <a:r>
              <a:rPr lang="en-US" altLang="ja-JP" sz="1400" dirty="0">
                <a:solidFill>
                  <a:srgbClr val="000000"/>
                </a:solidFill>
                <a:latin typeface="ＭＳ Ｐゴシック"/>
                <a:ea typeface="ＭＳ Ｐゴシック"/>
              </a:rPr>
              <a:t>2050</a:t>
            </a:r>
            <a:r>
              <a:rPr lang="ja-JP" altLang="en-US" sz="1400" dirty="0">
                <a:solidFill>
                  <a:srgbClr val="000000"/>
                </a:solidFill>
                <a:latin typeface="ＭＳ Ｐゴシック"/>
                <a:ea typeface="ＭＳ Ｐゴシック"/>
              </a:rPr>
              <a:t>年には</a:t>
            </a:r>
            <a:r>
              <a:rPr lang="en-US" altLang="ja-JP" sz="1400" dirty="0">
                <a:solidFill>
                  <a:srgbClr val="000000"/>
                </a:solidFill>
                <a:latin typeface="ＭＳ Ｐゴシック"/>
                <a:ea typeface="ＭＳ Ｐゴシック"/>
              </a:rPr>
              <a:t>10,469</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17</a:t>
            </a:r>
            <a:r>
              <a:rPr lang="ja-JP" altLang="en-US" sz="1400" dirty="0">
                <a:solidFill>
                  <a:srgbClr val="000000"/>
                </a:solidFill>
                <a:latin typeface="ＭＳ Ｐゴシック"/>
                <a:ea typeface="ＭＳ Ｐゴシック"/>
              </a:rPr>
              <a:t>％減）、</a:t>
            </a:r>
            <a:r>
              <a:rPr lang="en-US" altLang="ja-JP" sz="1400" dirty="0">
                <a:solidFill>
                  <a:srgbClr val="000000"/>
                </a:solidFill>
                <a:latin typeface="ＭＳ Ｐゴシック"/>
                <a:ea typeface="ＭＳ Ｐゴシック"/>
              </a:rPr>
              <a:t>2070</a:t>
            </a:r>
            <a:r>
              <a:rPr lang="ja-JP" altLang="en-US" sz="1400" dirty="0">
                <a:solidFill>
                  <a:srgbClr val="000000"/>
                </a:solidFill>
                <a:latin typeface="ＭＳ Ｐゴシック"/>
                <a:ea typeface="ＭＳ Ｐゴシック"/>
              </a:rPr>
              <a:t>年には</a:t>
            </a:r>
            <a:r>
              <a:rPr lang="en-US" altLang="ja-JP" sz="1400" dirty="0">
                <a:solidFill>
                  <a:srgbClr val="000000"/>
                </a:solidFill>
                <a:latin typeface="ＭＳ Ｐゴシック"/>
                <a:ea typeface="ＭＳ Ｐゴシック"/>
              </a:rPr>
              <a:t>8,700</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31</a:t>
            </a:r>
            <a:r>
              <a:rPr lang="ja-JP" altLang="en-US" sz="1400" dirty="0">
                <a:solidFill>
                  <a:srgbClr val="000000"/>
                </a:solidFill>
                <a:latin typeface="ＭＳ Ｐゴシック"/>
                <a:ea typeface="ＭＳ Ｐゴシック"/>
              </a:rPr>
              <a:t>％減）に減少。</a:t>
            </a:r>
            <a:endParaRPr lang="en-US" altLang="ja-JP" sz="1400" dirty="0">
              <a:solidFill>
                <a:srgbClr val="000000"/>
              </a:solidFill>
              <a:latin typeface="ＭＳ Ｐゴシック"/>
              <a:ea typeface="ＭＳ Ｐゴシック"/>
            </a:endParaRPr>
          </a:p>
          <a:p>
            <a:pPr marL="171422" indent="-171422" defTabSz="653025">
              <a:spcAft>
                <a:spcPts val="429"/>
              </a:spcAft>
            </a:pPr>
            <a:r>
              <a:rPr lang="ja-JP" altLang="en-US" sz="1400" dirty="0">
                <a:solidFill>
                  <a:srgbClr val="000000"/>
                </a:solidFill>
                <a:latin typeface="ＭＳ Ｐゴシック"/>
                <a:ea typeface="ＭＳ Ｐゴシック"/>
              </a:rPr>
              <a:t>○高齢人口（総人口比）は、</a:t>
            </a:r>
            <a:r>
              <a:rPr lang="en-US" altLang="ja-JP" sz="1400" dirty="0">
                <a:solidFill>
                  <a:srgbClr val="000000"/>
                </a:solidFill>
                <a:latin typeface="ＭＳ Ｐゴシック"/>
                <a:ea typeface="ＭＳ Ｐゴシック"/>
              </a:rPr>
              <a:t>2020</a:t>
            </a:r>
            <a:r>
              <a:rPr lang="ja-JP" altLang="en-US" sz="1400" dirty="0">
                <a:solidFill>
                  <a:srgbClr val="000000"/>
                </a:solidFill>
                <a:latin typeface="ＭＳ Ｐゴシック"/>
                <a:ea typeface="ＭＳ Ｐゴシック"/>
              </a:rPr>
              <a:t>年</a:t>
            </a:r>
            <a:r>
              <a:rPr lang="en-US" altLang="ja-JP" sz="1400" dirty="0">
                <a:solidFill>
                  <a:srgbClr val="000000"/>
                </a:solidFill>
                <a:latin typeface="ＭＳ Ｐゴシック"/>
                <a:ea typeface="ＭＳ Ｐゴシック"/>
              </a:rPr>
              <a:t>3,603</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28.6</a:t>
            </a:r>
            <a:r>
              <a:rPr lang="ja-JP" altLang="en-US" sz="1400" dirty="0">
                <a:solidFill>
                  <a:srgbClr val="000000"/>
                </a:solidFill>
                <a:latin typeface="ＭＳ Ｐゴシック"/>
                <a:ea typeface="ＭＳ Ｐゴシック"/>
              </a:rPr>
              <a:t>％）から、</a:t>
            </a:r>
            <a:r>
              <a:rPr lang="en-US" altLang="ja-JP" sz="1400" dirty="0">
                <a:solidFill>
                  <a:srgbClr val="000000"/>
                </a:solidFill>
                <a:latin typeface="ＭＳ Ｐゴシック"/>
                <a:ea typeface="ＭＳ Ｐゴシック"/>
              </a:rPr>
              <a:t>2050</a:t>
            </a:r>
            <a:r>
              <a:rPr lang="ja-JP" altLang="en-US" sz="1400" dirty="0">
                <a:solidFill>
                  <a:srgbClr val="000000"/>
                </a:solidFill>
                <a:latin typeface="ＭＳ Ｐゴシック"/>
                <a:ea typeface="ＭＳ Ｐゴシック"/>
              </a:rPr>
              <a:t>年には</a:t>
            </a:r>
            <a:r>
              <a:rPr lang="en-US" altLang="ja-JP" sz="1400" dirty="0">
                <a:solidFill>
                  <a:srgbClr val="000000"/>
                </a:solidFill>
                <a:latin typeface="ＭＳ Ｐゴシック"/>
                <a:ea typeface="ＭＳ Ｐゴシック"/>
              </a:rPr>
              <a:t>3,888</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37.1</a:t>
            </a:r>
            <a:r>
              <a:rPr lang="ja-JP" altLang="en-US" sz="1400" dirty="0">
                <a:solidFill>
                  <a:srgbClr val="000000"/>
                </a:solidFill>
                <a:latin typeface="ＭＳ Ｐゴシック"/>
                <a:ea typeface="ＭＳ Ｐゴシック"/>
              </a:rPr>
              <a:t>％）と</a:t>
            </a:r>
            <a:r>
              <a:rPr lang="en-US" altLang="ja-JP" sz="1400" dirty="0">
                <a:solidFill>
                  <a:srgbClr val="000000"/>
                </a:solidFill>
                <a:latin typeface="ＭＳ Ｐゴシック"/>
                <a:ea typeface="ＭＳ Ｐゴシック"/>
              </a:rPr>
              <a:t>285</a:t>
            </a:r>
            <a:r>
              <a:rPr lang="ja-JP" altLang="en-US" sz="1400" dirty="0">
                <a:solidFill>
                  <a:srgbClr val="000000"/>
                </a:solidFill>
                <a:latin typeface="ＭＳ Ｐゴシック"/>
                <a:ea typeface="ＭＳ Ｐゴシック"/>
              </a:rPr>
              <a:t>万人増（</a:t>
            </a:r>
            <a:r>
              <a:rPr lang="en-US" altLang="ja-JP" sz="1400" dirty="0">
                <a:solidFill>
                  <a:srgbClr val="000000"/>
                </a:solidFill>
                <a:latin typeface="ＭＳ Ｐゴシック"/>
                <a:ea typeface="ＭＳ Ｐゴシック"/>
              </a:rPr>
              <a:t>7.9</a:t>
            </a:r>
            <a:r>
              <a:rPr lang="ja-JP" altLang="en-US" sz="1400" dirty="0">
                <a:solidFill>
                  <a:srgbClr val="000000"/>
                </a:solidFill>
                <a:latin typeface="ＭＳ Ｐゴシック"/>
                <a:ea typeface="ＭＳ Ｐゴシック"/>
              </a:rPr>
              <a:t>％増）、</a:t>
            </a:r>
            <a:r>
              <a:rPr lang="en-US" altLang="ja-JP" sz="1400" dirty="0">
                <a:solidFill>
                  <a:srgbClr val="000000"/>
                </a:solidFill>
                <a:latin typeface="ＭＳ Ｐゴシック"/>
                <a:ea typeface="ＭＳ Ｐゴシック"/>
              </a:rPr>
              <a:t>2070</a:t>
            </a:r>
            <a:r>
              <a:rPr lang="ja-JP" altLang="en-US" sz="1400" dirty="0">
                <a:solidFill>
                  <a:srgbClr val="000000"/>
                </a:solidFill>
                <a:latin typeface="ＭＳ Ｐゴシック"/>
                <a:ea typeface="ＭＳ Ｐゴシック"/>
              </a:rPr>
              <a:t>年には</a:t>
            </a:r>
            <a:r>
              <a:rPr lang="en-US" altLang="ja-JP" sz="1400" dirty="0">
                <a:solidFill>
                  <a:srgbClr val="000000"/>
                </a:solidFill>
                <a:latin typeface="ＭＳ Ｐゴシック"/>
                <a:ea typeface="ＭＳ Ｐゴシック"/>
              </a:rPr>
              <a:t>3,367</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38.7</a:t>
            </a:r>
            <a:r>
              <a:rPr lang="ja-JP" altLang="en-US" sz="1400" dirty="0">
                <a:solidFill>
                  <a:srgbClr val="000000"/>
                </a:solidFill>
                <a:latin typeface="ＭＳ Ｐゴシック"/>
                <a:ea typeface="ＭＳ Ｐゴシック"/>
              </a:rPr>
              <a:t>％）と</a:t>
            </a:r>
            <a:r>
              <a:rPr lang="en-US" altLang="ja-JP" sz="1400" dirty="0">
                <a:solidFill>
                  <a:srgbClr val="000000"/>
                </a:solidFill>
                <a:latin typeface="ＭＳ Ｐゴシック"/>
                <a:ea typeface="ＭＳ Ｐゴシック"/>
              </a:rPr>
              <a:t>236</a:t>
            </a:r>
            <a:r>
              <a:rPr lang="ja-JP" altLang="en-US" sz="1400" dirty="0">
                <a:solidFill>
                  <a:srgbClr val="000000"/>
                </a:solidFill>
                <a:latin typeface="ＭＳ Ｐゴシック"/>
                <a:ea typeface="ＭＳ Ｐゴシック"/>
              </a:rPr>
              <a:t>万人減（</a:t>
            </a:r>
            <a:r>
              <a:rPr lang="en-US" altLang="ja-JP" sz="1400" dirty="0">
                <a:solidFill>
                  <a:srgbClr val="000000"/>
                </a:solidFill>
                <a:latin typeface="ＭＳ Ｐゴシック"/>
                <a:ea typeface="ＭＳ Ｐゴシック"/>
              </a:rPr>
              <a:t>6.6</a:t>
            </a:r>
            <a:r>
              <a:rPr lang="ja-JP" altLang="en-US" sz="1400" dirty="0">
                <a:solidFill>
                  <a:srgbClr val="000000"/>
                </a:solidFill>
                <a:latin typeface="ＭＳ Ｐゴシック"/>
                <a:ea typeface="ＭＳ Ｐゴシック"/>
              </a:rPr>
              <a:t>％減）。（高齢人口のピークは</a:t>
            </a:r>
            <a:r>
              <a:rPr lang="en-US" altLang="ja-JP" sz="1400" dirty="0">
                <a:solidFill>
                  <a:srgbClr val="000000"/>
                </a:solidFill>
                <a:latin typeface="ＭＳ Ｐゴシック"/>
                <a:ea typeface="ＭＳ Ｐゴシック"/>
              </a:rPr>
              <a:t>2043</a:t>
            </a:r>
            <a:r>
              <a:rPr lang="ja-JP" altLang="en-US" sz="1400" dirty="0">
                <a:solidFill>
                  <a:srgbClr val="000000"/>
                </a:solidFill>
                <a:latin typeface="ＭＳ Ｐゴシック"/>
                <a:ea typeface="ＭＳ Ｐゴシック"/>
              </a:rPr>
              <a:t>年</a:t>
            </a:r>
            <a:r>
              <a:rPr lang="en-US" altLang="ja-JP" sz="1400" dirty="0">
                <a:solidFill>
                  <a:srgbClr val="000000"/>
                </a:solidFill>
                <a:latin typeface="ＭＳ Ｐゴシック"/>
                <a:ea typeface="ＭＳ Ｐゴシック"/>
              </a:rPr>
              <a:t>3,953</a:t>
            </a:r>
            <a:r>
              <a:rPr lang="ja-JP" altLang="en-US" sz="1400" dirty="0">
                <a:solidFill>
                  <a:srgbClr val="000000"/>
                </a:solidFill>
                <a:latin typeface="ＭＳ Ｐゴシック"/>
                <a:ea typeface="ＭＳ Ｐゴシック"/>
              </a:rPr>
              <a:t>万人）</a:t>
            </a:r>
            <a:endParaRPr lang="en-US" altLang="ja-JP" sz="1400" dirty="0">
              <a:solidFill>
                <a:srgbClr val="000000"/>
              </a:solidFill>
              <a:latin typeface="ＭＳ Ｐゴシック"/>
              <a:ea typeface="ＭＳ Ｐゴシック"/>
            </a:endParaRPr>
          </a:p>
          <a:p>
            <a:pPr marL="171422" indent="-171422" defTabSz="653025">
              <a:spcAft>
                <a:spcPts val="429"/>
              </a:spcAft>
            </a:pPr>
            <a:r>
              <a:rPr lang="ja-JP" altLang="en-US" sz="1400" dirty="0">
                <a:solidFill>
                  <a:srgbClr val="000000"/>
                </a:solidFill>
                <a:latin typeface="ＭＳ Ｐゴシック"/>
                <a:ea typeface="ＭＳ Ｐゴシック"/>
              </a:rPr>
              <a:t>○生産年齢人口（総人口比）は、</a:t>
            </a:r>
            <a:r>
              <a:rPr lang="en-US" altLang="ja-JP" sz="1400" dirty="0">
                <a:solidFill>
                  <a:srgbClr val="000000"/>
                </a:solidFill>
                <a:latin typeface="ＭＳ Ｐゴシック"/>
                <a:ea typeface="ＭＳ Ｐゴシック"/>
              </a:rPr>
              <a:t> 2020</a:t>
            </a:r>
            <a:r>
              <a:rPr lang="ja-JP" altLang="en-US" sz="1400" dirty="0">
                <a:solidFill>
                  <a:srgbClr val="000000"/>
                </a:solidFill>
                <a:latin typeface="ＭＳ Ｐゴシック"/>
                <a:ea typeface="ＭＳ Ｐゴシック"/>
              </a:rPr>
              <a:t>年</a:t>
            </a:r>
            <a:r>
              <a:rPr lang="en-US" altLang="ja-JP" sz="1400" dirty="0">
                <a:solidFill>
                  <a:srgbClr val="000000"/>
                </a:solidFill>
                <a:latin typeface="ＭＳ Ｐゴシック"/>
                <a:ea typeface="ＭＳ Ｐゴシック"/>
              </a:rPr>
              <a:t>7,509</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59.5</a:t>
            </a:r>
            <a:r>
              <a:rPr lang="ja-JP" altLang="en-US" sz="1400" dirty="0">
                <a:solidFill>
                  <a:srgbClr val="000000"/>
                </a:solidFill>
                <a:latin typeface="ＭＳ Ｐゴシック"/>
                <a:ea typeface="ＭＳ Ｐゴシック"/>
              </a:rPr>
              <a:t>％）から、</a:t>
            </a:r>
            <a:r>
              <a:rPr lang="en-US" altLang="ja-JP" sz="1400" dirty="0">
                <a:solidFill>
                  <a:srgbClr val="000000"/>
                </a:solidFill>
                <a:latin typeface="ＭＳ Ｐゴシック"/>
                <a:ea typeface="ＭＳ Ｐゴシック"/>
              </a:rPr>
              <a:t>2050</a:t>
            </a:r>
            <a:r>
              <a:rPr lang="ja-JP" altLang="en-US" sz="1400" dirty="0">
                <a:solidFill>
                  <a:srgbClr val="000000"/>
                </a:solidFill>
                <a:latin typeface="ＭＳ Ｐゴシック"/>
                <a:ea typeface="ＭＳ Ｐゴシック"/>
              </a:rPr>
              <a:t>年には</a:t>
            </a:r>
            <a:r>
              <a:rPr lang="en-US" altLang="ja-JP" sz="1400" dirty="0">
                <a:solidFill>
                  <a:srgbClr val="000000"/>
                </a:solidFill>
                <a:latin typeface="ＭＳ Ｐゴシック"/>
                <a:ea typeface="ＭＳ Ｐゴシック"/>
              </a:rPr>
              <a:t>5,540</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52.9</a:t>
            </a:r>
            <a:r>
              <a:rPr lang="ja-JP" altLang="en-US" sz="1400" dirty="0">
                <a:solidFill>
                  <a:srgbClr val="000000"/>
                </a:solidFill>
                <a:latin typeface="ＭＳ Ｐゴシック"/>
                <a:ea typeface="ＭＳ Ｐゴシック"/>
              </a:rPr>
              <a:t>％）と</a:t>
            </a:r>
            <a:r>
              <a:rPr lang="en-US" altLang="ja-JP" sz="1400" dirty="0">
                <a:solidFill>
                  <a:srgbClr val="000000"/>
                </a:solidFill>
                <a:latin typeface="ＭＳ Ｐゴシック"/>
                <a:ea typeface="ＭＳ Ｐゴシック"/>
              </a:rPr>
              <a:t>1,969</a:t>
            </a:r>
            <a:r>
              <a:rPr lang="ja-JP" altLang="en-US" sz="1400" dirty="0">
                <a:solidFill>
                  <a:srgbClr val="000000"/>
                </a:solidFill>
                <a:latin typeface="ＭＳ Ｐゴシック"/>
                <a:ea typeface="ＭＳ Ｐゴシック"/>
              </a:rPr>
              <a:t>万人減（</a:t>
            </a:r>
            <a:r>
              <a:rPr lang="en-US" altLang="ja-JP" sz="1400" dirty="0">
                <a:solidFill>
                  <a:srgbClr val="000000"/>
                </a:solidFill>
                <a:latin typeface="ＭＳ Ｐゴシック"/>
                <a:ea typeface="ＭＳ Ｐゴシック"/>
              </a:rPr>
              <a:t>26.2</a:t>
            </a:r>
            <a:r>
              <a:rPr lang="ja-JP" altLang="en-US" sz="1400" dirty="0">
                <a:solidFill>
                  <a:srgbClr val="000000"/>
                </a:solidFill>
                <a:latin typeface="ＭＳ Ｐゴシック"/>
                <a:ea typeface="ＭＳ Ｐゴシック"/>
              </a:rPr>
              <a:t>％減）、</a:t>
            </a:r>
            <a:r>
              <a:rPr lang="en-US" altLang="ja-JP" sz="1400" dirty="0">
                <a:solidFill>
                  <a:srgbClr val="000000"/>
                </a:solidFill>
                <a:latin typeface="ＭＳ Ｐゴシック"/>
                <a:ea typeface="ＭＳ Ｐゴシック"/>
              </a:rPr>
              <a:t>2070</a:t>
            </a:r>
            <a:r>
              <a:rPr lang="ja-JP" altLang="en-US" sz="1400" dirty="0">
                <a:solidFill>
                  <a:srgbClr val="000000"/>
                </a:solidFill>
                <a:latin typeface="ＭＳ Ｐゴシック"/>
                <a:ea typeface="ＭＳ Ｐゴシック"/>
              </a:rPr>
              <a:t>年には</a:t>
            </a:r>
            <a:r>
              <a:rPr lang="en-US" altLang="ja-JP" sz="1400" dirty="0">
                <a:solidFill>
                  <a:srgbClr val="000000"/>
                </a:solidFill>
                <a:latin typeface="ＭＳ Ｐゴシック"/>
                <a:ea typeface="ＭＳ Ｐゴシック"/>
              </a:rPr>
              <a:t>4,535</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52.1</a:t>
            </a:r>
            <a:r>
              <a:rPr lang="ja-JP" altLang="en-US" sz="1400" dirty="0">
                <a:solidFill>
                  <a:srgbClr val="000000"/>
                </a:solidFill>
                <a:latin typeface="ＭＳ Ｐゴシック"/>
                <a:ea typeface="ＭＳ Ｐゴシック"/>
              </a:rPr>
              <a:t>％）と</a:t>
            </a:r>
            <a:r>
              <a:rPr lang="en-US" altLang="ja-JP" sz="1400" dirty="0">
                <a:solidFill>
                  <a:srgbClr val="000000"/>
                </a:solidFill>
                <a:latin typeface="ＭＳ Ｐゴシック"/>
                <a:ea typeface="ＭＳ Ｐゴシック"/>
              </a:rPr>
              <a:t>2,974</a:t>
            </a:r>
            <a:r>
              <a:rPr lang="ja-JP" altLang="en-US" sz="1400" dirty="0">
                <a:solidFill>
                  <a:srgbClr val="000000"/>
                </a:solidFill>
                <a:latin typeface="ＭＳ Ｐゴシック"/>
                <a:ea typeface="ＭＳ Ｐゴシック"/>
              </a:rPr>
              <a:t>万人減（</a:t>
            </a:r>
            <a:r>
              <a:rPr lang="en-US" altLang="ja-JP" sz="1400" dirty="0">
                <a:solidFill>
                  <a:srgbClr val="000000"/>
                </a:solidFill>
                <a:latin typeface="ＭＳ Ｐゴシック"/>
                <a:ea typeface="ＭＳ Ｐゴシック"/>
              </a:rPr>
              <a:t>39.6</a:t>
            </a:r>
            <a:r>
              <a:rPr lang="ja-JP" altLang="en-US" sz="1400" dirty="0">
                <a:solidFill>
                  <a:srgbClr val="000000"/>
                </a:solidFill>
                <a:latin typeface="ＭＳ Ｐゴシック"/>
                <a:ea typeface="ＭＳ Ｐゴシック"/>
              </a:rPr>
              <a:t>％減）。 </a:t>
            </a:r>
            <a:endParaRPr lang="en-US" altLang="ja-JP" sz="1400" dirty="0">
              <a:solidFill>
                <a:srgbClr val="000000"/>
              </a:solidFill>
              <a:latin typeface="ＭＳ Ｐゴシック"/>
              <a:ea typeface="ＭＳ Ｐゴシック"/>
            </a:endParaRPr>
          </a:p>
          <a:p>
            <a:pPr marL="171422" indent="-171422" defTabSz="653025">
              <a:spcAft>
                <a:spcPts val="429"/>
              </a:spcAft>
            </a:pPr>
            <a:r>
              <a:rPr lang="ja-JP" altLang="en-US" sz="1400" dirty="0">
                <a:solidFill>
                  <a:srgbClr val="000000"/>
                </a:solidFill>
                <a:latin typeface="ＭＳ Ｐゴシック"/>
                <a:ea typeface="ＭＳ Ｐゴシック"/>
              </a:rPr>
              <a:t>○若年人口（総人口比）は、</a:t>
            </a:r>
            <a:r>
              <a:rPr lang="en-US" altLang="ja-JP" sz="1400" dirty="0">
                <a:solidFill>
                  <a:srgbClr val="000000"/>
                </a:solidFill>
                <a:latin typeface="ＭＳ Ｐゴシック"/>
                <a:ea typeface="ＭＳ Ｐゴシック"/>
              </a:rPr>
              <a:t> 2020</a:t>
            </a:r>
            <a:r>
              <a:rPr lang="ja-JP" altLang="en-US" sz="1400" dirty="0">
                <a:solidFill>
                  <a:srgbClr val="000000"/>
                </a:solidFill>
                <a:latin typeface="ＭＳ Ｐゴシック"/>
                <a:ea typeface="ＭＳ Ｐゴシック"/>
              </a:rPr>
              <a:t>年</a:t>
            </a:r>
            <a:r>
              <a:rPr lang="en-US" altLang="ja-JP" sz="1400" dirty="0">
                <a:solidFill>
                  <a:srgbClr val="000000"/>
                </a:solidFill>
                <a:latin typeface="ＭＳ Ｐゴシック"/>
                <a:ea typeface="ＭＳ Ｐゴシック"/>
              </a:rPr>
              <a:t>1,503</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11.9</a:t>
            </a:r>
            <a:r>
              <a:rPr lang="ja-JP" altLang="en-US" sz="1400" dirty="0">
                <a:solidFill>
                  <a:srgbClr val="000000"/>
                </a:solidFill>
                <a:latin typeface="ＭＳ Ｐゴシック"/>
                <a:ea typeface="ＭＳ Ｐゴシック"/>
              </a:rPr>
              <a:t>％）から、</a:t>
            </a:r>
            <a:r>
              <a:rPr lang="en-US" altLang="ja-JP" sz="1400" dirty="0">
                <a:solidFill>
                  <a:srgbClr val="000000"/>
                </a:solidFill>
                <a:latin typeface="ＭＳ Ｐゴシック"/>
                <a:ea typeface="ＭＳ Ｐゴシック"/>
              </a:rPr>
              <a:t>2050</a:t>
            </a:r>
            <a:r>
              <a:rPr lang="ja-JP" altLang="en-US" sz="1400" dirty="0">
                <a:solidFill>
                  <a:srgbClr val="000000"/>
                </a:solidFill>
                <a:latin typeface="ＭＳ Ｐゴシック"/>
                <a:ea typeface="ＭＳ Ｐゴシック"/>
              </a:rPr>
              <a:t>年には</a:t>
            </a:r>
            <a:r>
              <a:rPr lang="en-US" altLang="ja-JP" sz="1400" dirty="0">
                <a:solidFill>
                  <a:srgbClr val="000000"/>
                </a:solidFill>
                <a:latin typeface="ＭＳ Ｐゴシック"/>
                <a:ea typeface="ＭＳ Ｐゴシック"/>
              </a:rPr>
              <a:t>1,041</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9.9</a:t>
            </a:r>
            <a:r>
              <a:rPr lang="ja-JP" altLang="en-US" sz="1400" dirty="0">
                <a:solidFill>
                  <a:srgbClr val="000000"/>
                </a:solidFill>
                <a:latin typeface="ＭＳ Ｐゴシック"/>
                <a:ea typeface="ＭＳ Ｐゴシック"/>
              </a:rPr>
              <a:t>％）と</a:t>
            </a:r>
            <a:r>
              <a:rPr lang="en-US" altLang="ja-JP" sz="1400" dirty="0">
                <a:solidFill>
                  <a:srgbClr val="000000"/>
                </a:solidFill>
                <a:latin typeface="ＭＳ Ｐゴシック"/>
                <a:ea typeface="ＭＳ Ｐゴシック"/>
              </a:rPr>
              <a:t>462</a:t>
            </a:r>
            <a:r>
              <a:rPr lang="ja-JP" altLang="en-US" sz="1400" dirty="0">
                <a:solidFill>
                  <a:srgbClr val="000000"/>
                </a:solidFill>
                <a:latin typeface="ＭＳ Ｐゴシック"/>
                <a:ea typeface="ＭＳ Ｐゴシック"/>
              </a:rPr>
              <a:t>万人減（</a:t>
            </a:r>
            <a:r>
              <a:rPr lang="en-US" altLang="ja-JP" sz="1400" dirty="0">
                <a:solidFill>
                  <a:srgbClr val="000000"/>
                </a:solidFill>
                <a:latin typeface="ＭＳ Ｐゴシック"/>
                <a:ea typeface="ＭＳ Ｐゴシック"/>
              </a:rPr>
              <a:t>30.7</a:t>
            </a:r>
            <a:r>
              <a:rPr lang="ja-JP" altLang="en-US" sz="1400" dirty="0">
                <a:solidFill>
                  <a:srgbClr val="000000"/>
                </a:solidFill>
                <a:latin typeface="ＭＳ Ｐゴシック"/>
                <a:ea typeface="ＭＳ Ｐゴシック"/>
              </a:rPr>
              <a:t>％減）、</a:t>
            </a:r>
            <a:r>
              <a:rPr lang="en-US" altLang="ja-JP" sz="1400" dirty="0">
                <a:solidFill>
                  <a:srgbClr val="000000"/>
                </a:solidFill>
                <a:latin typeface="ＭＳ Ｐゴシック"/>
                <a:ea typeface="ＭＳ Ｐゴシック"/>
              </a:rPr>
              <a:t>2070</a:t>
            </a:r>
            <a:r>
              <a:rPr lang="ja-JP" altLang="en-US" sz="1400" dirty="0">
                <a:solidFill>
                  <a:srgbClr val="000000"/>
                </a:solidFill>
                <a:latin typeface="ＭＳ Ｐゴシック"/>
                <a:ea typeface="ＭＳ Ｐゴシック"/>
              </a:rPr>
              <a:t>年には</a:t>
            </a:r>
            <a:r>
              <a:rPr lang="en-US" altLang="ja-JP" sz="1400" dirty="0">
                <a:solidFill>
                  <a:srgbClr val="000000"/>
                </a:solidFill>
                <a:latin typeface="ＭＳ Ｐゴシック"/>
                <a:ea typeface="ＭＳ Ｐゴシック"/>
              </a:rPr>
              <a:t>798</a:t>
            </a:r>
            <a:r>
              <a:rPr lang="ja-JP" altLang="en-US" sz="1400" dirty="0">
                <a:solidFill>
                  <a:srgbClr val="000000"/>
                </a:solidFill>
                <a:latin typeface="ＭＳ Ｐゴシック"/>
                <a:ea typeface="ＭＳ Ｐゴシック"/>
              </a:rPr>
              <a:t>万人（</a:t>
            </a:r>
            <a:r>
              <a:rPr lang="en-US" altLang="ja-JP" sz="1400" dirty="0">
                <a:solidFill>
                  <a:srgbClr val="000000"/>
                </a:solidFill>
                <a:latin typeface="ＭＳ Ｐゴシック"/>
                <a:ea typeface="ＭＳ Ｐゴシック"/>
              </a:rPr>
              <a:t>9.2</a:t>
            </a:r>
            <a:r>
              <a:rPr lang="ja-JP" altLang="en-US" sz="1400" dirty="0">
                <a:solidFill>
                  <a:srgbClr val="000000"/>
                </a:solidFill>
                <a:latin typeface="ＭＳ Ｐゴシック"/>
                <a:ea typeface="ＭＳ Ｐゴシック"/>
              </a:rPr>
              <a:t>％）と</a:t>
            </a:r>
            <a:r>
              <a:rPr lang="en-US" altLang="ja-JP" sz="1400" dirty="0">
                <a:solidFill>
                  <a:srgbClr val="000000"/>
                </a:solidFill>
                <a:latin typeface="ＭＳ Ｐゴシック"/>
                <a:ea typeface="ＭＳ Ｐゴシック"/>
              </a:rPr>
              <a:t>705</a:t>
            </a:r>
            <a:r>
              <a:rPr lang="ja-JP" altLang="en-US" sz="1400" dirty="0">
                <a:solidFill>
                  <a:srgbClr val="000000"/>
                </a:solidFill>
                <a:latin typeface="ＭＳ Ｐゴシック"/>
                <a:ea typeface="ＭＳ Ｐゴシック"/>
              </a:rPr>
              <a:t>万人減（</a:t>
            </a:r>
            <a:r>
              <a:rPr lang="en-US" altLang="ja-JP" sz="1400" dirty="0">
                <a:solidFill>
                  <a:srgbClr val="000000"/>
                </a:solidFill>
                <a:latin typeface="ＭＳ Ｐゴシック"/>
                <a:ea typeface="ＭＳ Ｐゴシック"/>
              </a:rPr>
              <a:t>47.0</a:t>
            </a:r>
            <a:r>
              <a:rPr lang="ja-JP" altLang="en-US" sz="1400" dirty="0">
                <a:solidFill>
                  <a:srgbClr val="000000"/>
                </a:solidFill>
                <a:latin typeface="ＭＳ Ｐゴシック"/>
                <a:ea typeface="ＭＳ Ｐゴシック"/>
              </a:rPr>
              <a:t>％減）。 </a:t>
            </a:r>
            <a:endParaRPr lang="en-US" altLang="ja-JP" sz="1400" dirty="0">
              <a:solidFill>
                <a:srgbClr val="000000"/>
              </a:solidFill>
              <a:latin typeface="ＭＳ Ｐゴシック"/>
              <a:ea typeface="ＭＳ Ｐゴシック"/>
            </a:endParaRPr>
          </a:p>
        </p:txBody>
      </p:sp>
      <p:sp>
        <p:nvSpPr>
          <p:cNvPr id="1171" name="Line 294"/>
          <p:cNvSpPr>
            <a:spLocks noChangeShapeType="1"/>
          </p:cNvSpPr>
          <p:nvPr/>
        </p:nvSpPr>
        <p:spPr>
          <a:xfrm>
            <a:off x="5443244" y="2677169"/>
            <a:ext cx="5251" cy="3705296"/>
          </a:xfrm>
          <a:prstGeom prst="line">
            <a:avLst/>
          </a:prstGeom>
          <a:noFill/>
          <a:ln w="44450">
            <a:solidFill>
              <a:schemeClr val="bg1">
                <a:lumMod val="50000"/>
              </a:schemeClr>
            </a:solidFill>
            <a:prstDash val="sysDash"/>
            <a:round/>
            <a:headEnd/>
            <a:tailEnd/>
          </a:ln>
        </p:spPr>
        <p:txBody>
          <a:bodyPr/>
          <a:lstStyle/>
          <a:p>
            <a:pPr defTabSz="653025"/>
            <a:endParaRPr lang="ja-JP" altLang="en-US" sz="1286">
              <a:solidFill>
                <a:srgbClr val="000000"/>
              </a:solidFill>
            </a:endParaRPr>
          </a:p>
        </p:txBody>
      </p:sp>
      <p:cxnSp>
        <p:nvCxnSpPr>
          <p:cNvPr id="1172" name="直線矢印コネクタ 5"/>
          <p:cNvCxnSpPr/>
          <p:nvPr/>
        </p:nvCxnSpPr>
        <p:spPr>
          <a:xfrm>
            <a:off x="5452827" y="2741271"/>
            <a:ext cx="582972" cy="0"/>
          </a:xfrm>
          <a:prstGeom prst="straightConnector1">
            <a:avLst/>
          </a:prstGeom>
          <a:ln w="254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73" name="テキスト ボックス 6"/>
          <p:cNvSpPr txBox="1"/>
          <p:nvPr/>
        </p:nvSpPr>
        <p:spPr>
          <a:xfrm>
            <a:off x="5492075" y="2799484"/>
            <a:ext cx="825759" cy="248618"/>
          </a:xfrm>
          <a:prstGeom prst="rect">
            <a:avLst/>
          </a:prstGeom>
          <a:noFill/>
        </p:spPr>
        <p:txBody>
          <a:bodyPr wrap="square" rtlCol="0">
            <a:spAutoFit/>
          </a:bodyPr>
          <a:lstStyle/>
          <a:p>
            <a:pPr defTabSz="653025"/>
            <a:r>
              <a:rPr lang="ja-JP" altLang="en-US" sz="1016" dirty="0">
                <a:solidFill>
                  <a:srgbClr val="000000"/>
                </a:solidFill>
              </a:rPr>
              <a:t>（推計）</a:t>
            </a:r>
          </a:p>
        </p:txBody>
      </p:sp>
      <p:sp>
        <p:nvSpPr>
          <p:cNvPr id="1174" name="テキスト ボックス 22"/>
          <p:cNvSpPr txBox="1">
            <a:spLocks noChangeArrowheads="1"/>
          </p:cNvSpPr>
          <p:nvPr/>
        </p:nvSpPr>
        <p:spPr>
          <a:xfrm>
            <a:off x="1030098" y="2443288"/>
            <a:ext cx="1109449" cy="223423"/>
          </a:xfrm>
          <a:prstGeom prst="rect">
            <a:avLst/>
          </a:prstGeom>
          <a:noFill/>
          <a:ln w="9525">
            <a:noFill/>
            <a:miter lim="800000"/>
            <a:headEnd/>
            <a:tailEnd/>
          </a:ln>
        </p:spPr>
        <p:txBody>
          <a:bodyPr wrap="square">
            <a:spAutoFit/>
          </a:bodyPr>
          <a:lstStyle/>
          <a:p>
            <a:pPr defTabSz="653025"/>
            <a:r>
              <a:rPr lang="ja-JP" altLang="en-US" sz="852" dirty="0">
                <a:solidFill>
                  <a:srgbClr val="000000"/>
                </a:solidFill>
              </a:rPr>
              <a:t>（万人）</a:t>
            </a:r>
          </a:p>
        </p:txBody>
      </p:sp>
      <p:cxnSp>
        <p:nvCxnSpPr>
          <p:cNvPr id="1175" name="直線矢印コネクタ 95"/>
          <p:cNvCxnSpPr/>
          <p:nvPr/>
        </p:nvCxnSpPr>
        <p:spPr>
          <a:xfrm flipH="1">
            <a:off x="5446549" y="6027799"/>
            <a:ext cx="13442" cy="411420"/>
          </a:xfrm>
          <a:prstGeom prst="straightConnector1">
            <a:avLst/>
          </a:prstGeom>
          <a:ln w="38100">
            <a:solidFill>
              <a:schemeClr val="accent5">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76" name="直線矢印コネクタ 98"/>
          <p:cNvCxnSpPr/>
          <p:nvPr/>
        </p:nvCxnSpPr>
        <p:spPr>
          <a:xfrm flipH="1">
            <a:off x="5455756" y="4194332"/>
            <a:ext cx="2776" cy="1864122"/>
          </a:xfrm>
          <a:prstGeom prst="straightConnector1">
            <a:avLst/>
          </a:prstGeom>
          <a:ln w="38100">
            <a:solidFill>
              <a:srgbClr val="41631B"/>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77" name="直線矢印コネクタ 110"/>
          <p:cNvCxnSpPr/>
          <p:nvPr/>
        </p:nvCxnSpPr>
        <p:spPr>
          <a:xfrm>
            <a:off x="5446549" y="3290976"/>
            <a:ext cx="6278" cy="919450"/>
          </a:xfrm>
          <a:prstGeom prst="straightConnector1">
            <a:avLst/>
          </a:prstGeom>
          <a:ln w="38100">
            <a:solidFill>
              <a:srgbClr val="FFC00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78" name="直線矢印コネクタ 95"/>
          <p:cNvCxnSpPr/>
          <p:nvPr/>
        </p:nvCxnSpPr>
        <p:spPr>
          <a:xfrm>
            <a:off x="8477724" y="6174783"/>
            <a:ext cx="19423" cy="270446"/>
          </a:xfrm>
          <a:prstGeom prst="straightConnector1">
            <a:avLst/>
          </a:prstGeom>
          <a:ln w="25400">
            <a:solidFill>
              <a:schemeClr val="accent5">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79" name="直線矢印コネクタ 98"/>
          <p:cNvCxnSpPr/>
          <p:nvPr/>
        </p:nvCxnSpPr>
        <p:spPr>
          <a:xfrm flipH="1">
            <a:off x="8482883" y="5112827"/>
            <a:ext cx="16873" cy="1120680"/>
          </a:xfrm>
          <a:prstGeom prst="straightConnector1">
            <a:avLst/>
          </a:prstGeom>
          <a:ln w="38100">
            <a:solidFill>
              <a:srgbClr val="41631B"/>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180" name="直線矢印コネクタ 110"/>
          <p:cNvCxnSpPr/>
          <p:nvPr/>
        </p:nvCxnSpPr>
        <p:spPr>
          <a:xfrm flipH="1">
            <a:off x="8482886" y="4253764"/>
            <a:ext cx="1" cy="872627"/>
          </a:xfrm>
          <a:prstGeom prst="straightConnector1">
            <a:avLst/>
          </a:prstGeom>
          <a:ln w="38100">
            <a:solidFill>
              <a:srgbClr val="FFC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181" name="テキスト ボックス 1"/>
          <p:cNvSpPr txBox="1"/>
          <p:nvPr/>
        </p:nvSpPr>
        <p:spPr>
          <a:xfrm>
            <a:off x="3770279" y="4194332"/>
            <a:ext cx="802443" cy="272709"/>
          </a:xfrm>
          <a:prstGeom prst="rect">
            <a:avLst/>
          </a:prstGeom>
          <a:ln>
            <a:solidFill>
              <a:schemeClr val="tx1"/>
            </a:solid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53025"/>
            <a:r>
              <a:rPr lang="ja-JP" altLang="en-US" sz="739" dirty="0">
                <a:solidFill>
                  <a:srgbClr val="000000"/>
                </a:solidFill>
                <a:latin typeface="Arial"/>
                <a:ea typeface="ＭＳ Ｐゴシック"/>
              </a:rPr>
              <a:t>生産年齢人口</a:t>
            </a:r>
            <a:endParaRPr lang="en-US" altLang="ja-JP" sz="739" dirty="0">
              <a:solidFill>
                <a:srgbClr val="000000"/>
              </a:solidFill>
              <a:latin typeface="Arial"/>
              <a:ea typeface="ＭＳ Ｐゴシック"/>
            </a:endParaRPr>
          </a:p>
          <a:p>
            <a:pPr algn="ctr" defTabSz="653025"/>
            <a:r>
              <a:rPr lang="en-US" altLang="ja-JP" sz="739" dirty="0">
                <a:solidFill>
                  <a:srgbClr val="000000"/>
                </a:solidFill>
                <a:latin typeface="Arial"/>
                <a:ea typeface="ＭＳ Ｐゴシック"/>
              </a:rPr>
              <a:t>(15</a:t>
            </a:r>
            <a:r>
              <a:rPr lang="ja-JP" altLang="en-US" sz="739" dirty="0">
                <a:solidFill>
                  <a:srgbClr val="000000"/>
                </a:solidFill>
                <a:latin typeface="Arial"/>
                <a:ea typeface="ＭＳ Ｐゴシック"/>
              </a:rPr>
              <a:t>～</a:t>
            </a:r>
            <a:r>
              <a:rPr lang="en-US" altLang="ja-JP" sz="739" dirty="0">
                <a:solidFill>
                  <a:srgbClr val="000000"/>
                </a:solidFill>
                <a:latin typeface="Arial"/>
                <a:ea typeface="ＭＳ Ｐゴシック"/>
              </a:rPr>
              <a:t>64</a:t>
            </a:r>
            <a:r>
              <a:rPr lang="ja-JP" altLang="en-US" sz="739" dirty="0">
                <a:solidFill>
                  <a:srgbClr val="000000"/>
                </a:solidFill>
                <a:latin typeface="Arial"/>
                <a:ea typeface="ＭＳ Ｐゴシック"/>
              </a:rPr>
              <a:t>歳</a:t>
            </a:r>
            <a:r>
              <a:rPr lang="en-US" altLang="ja-JP" sz="739" dirty="0">
                <a:solidFill>
                  <a:srgbClr val="000000"/>
                </a:solidFill>
                <a:latin typeface="Arial"/>
                <a:ea typeface="ＭＳ Ｐゴシック"/>
              </a:rPr>
              <a:t>)</a:t>
            </a:r>
          </a:p>
          <a:p>
            <a:pPr algn="ctr" defTabSz="653025"/>
            <a:endParaRPr lang="ja-JP" altLang="en-US" sz="739" dirty="0">
              <a:solidFill>
                <a:srgbClr val="000000"/>
              </a:solidFill>
              <a:latin typeface="Arial"/>
              <a:ea typeface="ＭＳ Ｐゴシック"/>
            </a:endParaRPr>
          </a:p>
        </p:txBody>
      </p:sp>
      <p:cxnSp>
        <p:nvCxnSpPr>
          <p:cNvPr id="1182" name="直線矢印コネクタ 17"/>
          <p:cNvCxnSpPr/>
          <p:nvPr/>
        </p:nvCxnSpPr>
        <p:spPr>
          <a:xfrm>
            <a:off x="2846549" y="4755001"/>
            <a:ext cx="509166" cy="6882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83" name="テキスト ボックス 18"/>
          <p:cNvSpPr txBox="1"/>
          <p:nvPr/>
        </p:nvSpPr>
        <p:spPr>
          <a:xfrm>
            <a:off x="2500015" y="4604479"/>
            <a:ext cx="777776" cy="262787"/>
          </a:xfrm>
          <a:prstGeom prst="rect">
            <a:avLst/>
          </a:prstGeom>
          <a:solidFill>
            <a:sysClr val="window" lastClr="FFFFFF"/>
          </a:solidFill>
          <a:ln>
            <a:solidFill>
              <a:schemeClr val="tx1"/>
            </a:solidFill>
          </a:ln>
        </p:spPr>
        <p:txBody>
          <a:bodyPr wrap="square" rtlCol="0">
            <a:spAutoFit/>
          </a:bodyPr>
          <a:lstStyle/>
          <a:p>
            <a:pPr algn="ctr" defTabSz="653025"/>
            <a:r>
              <a:rPr lang="ja-JP" altLang="en-US" sz="1108" dirty="0">
                <a:solidFill>
                  <a:prstClr val="black"/>
                </a:solidFill>
                <a:latin typeface="ＭＳ Ｐゴシック"/>
                <a:ea typeface="ＭＳ Ｐゴシック"/>
              </a:rPr>
              <a:t>高齢化率</a:t>
            </a:r>
          </a:p>
        </p:txBody>
      </p:sp>
      <p:sp>
        <p:nvSpPr>
          <p:cNvPr id="1184" name="テキスト ボックス 22"/>
          <p:cNvSpPr txBox="1">
            <a:spLocks noChangeArrowheads="1"/>
          </p:cNvSpPr>
          <p:nvPr/>
        </p:nvSpPr>
        <p:spPr>
          <a:xfrm>
            <a:off x="8267437" y="2456063"/>
            <a:ext cx="1109449" cy="223423"/>
          </a:xfrm>
          <a:prstGeom prst="rect">
            <a:avLst/>
          </a:prstGeom>
          <a:noFill/>
          <a:ln w="9525">
            <a:noFill/>
            <a:miter lim="800000"/>
            <a:headEnd/>
            <a:tailEnd/>
          </a:ln>
        </p:spPr>
        <p:txBody>
          <a:bodyPr wrap="square">
            <a:spAutoFit/>
          </a:bodyPr>
          <a:lstStyle/>
          <a:p>
            <a:pPr defTabSz="653025"/>
            <a:r>
              <a:rPr lang="ja-JP" altLang="en-US" sz="852" dirty="0">
                <a:solidFill>
                  <a:srgbClr val="000000"/>
                </a:solidFill>
              </a:rPr>
              <a:t>（総人口比、％）</a:t>
            </a:r>
          </a:p>
        </p:txBody>
      </p:sp>
      <p:sp>
        <p:nvSpPr>
          <p:cNvPr id="1185" name="テキスト ボックス 1"/>
          <p:cNvSpPr txBox="1"/>
          <p:nvPr/>
        </p:nvSpPr>
        <p:spPr>
          <a:xfrm>
            <a:off x="3772649" y="3387111"/>
            <a:ext cx="802443" cy="272709"/>
          </a:xfrm>
          <a:prstGeom prst="rect">
            <a:avLst/>
          </a:prstGeom>
          <a:ln>
            <a:solidFill>
              <a:schemeClr val="tx1"/>
            </a:solid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53025"/>
            <a:r>
              <a:rPr lang="ja-JP" altLang="en-US" sz="739" dirty="0">
                <a:solidFill>
                  <a:srgbClr val="000000"/>
                </a:solidFill>
                <a:latin typeface="Arial"/>
                <a:ea typeface="ＭＳ Ｐゴシック"/>
              </a:rPr>
              <a:t>高齢人口</a:t>
            </a:r>
            <a:endParaRPr lang="en-US" altLang="ja-JP" sz="739" dirty="0">
              <a:solidFill>
                <a:srgbClr val="000000"/>
              </a:solidFill>
              <a:latin typeface="Arial"/>
              <a:ea typeface="ＭＳ Ｐゴシック"/>
            </a:endParaRPr>
          </a:p>
          <a:p>
            <a:pPr algn="ctr" defTabSz="653025"/>
            <a:r>
              <a:rPr lang="en-US" altLang="ja-JP" sz="739" dirty="0">
                <a:solidFill>
                  <a:srgbClr val="000000"/>
                </a:solidFill>
                <a:latin typeface="Arial"/>
                <a:ea typeface="ＭＳ Ｐゴシック"/>
              </a:rPr>
              <a:t>(65</a:t>
            </a:r>
            <a:r>
              <a:rPr lang="ja-JP" altLang="en-US" sz="739" dirty="0">
                <a:solidFill>
                  <a:srgbClr val="000000"/>
                </a:solidFill>
                <a:latin typeface="Arial"/>
                <a:ea typeface="ＭＳ Ｐゴシック"/>
              </a:rPr>
              <a:t>歳以上</a:t>
            </a:r>
            <a:r>
              <a:rPr lang="en-US" altLang="ja-JP" sz="739" dirty="0">
                <a:solidFill>
                  <a:srgbClr val="000000"/>
                </a:solidFill>
                <a:latin typeface="Arial"/>
                <a:ea typeface="ＭＳ Ｐゴシック"/>
              </a:rPr>
              <a:t>)</a:t>
            </a:r>
          </a:p>
          <a:p>
            <a:pPr algn="ctr" defTabSz="653025"/>
            <a:endParaRPr lang="ja-JP" altLang="en-US" sz="739" dirty="0">
              <a:solidFill>
                <a:srgbClr val="000000"/>
              </a:solidFill>
              <a:latin typeface="Arial"/>
              <a:ea typeface="ＭＳ Ｐゴシック"/>
            </a:endParaRPr>
          </a:p>
        </p:txBody>
      </p:sp>
      <p:sp>
        <p:nvSpPr>
          <p:cNvPr id="1186" name="テキスト ボックス 1"/>
          <p:cNvSpPr txBox="1"/>
          <p:nvPr/>
        </p:nvSpPr>
        <p:spPr>
          <a:xfrm>
            <a:off x="3763660" y="6052014"/>
            <a:ext cx="802443" cy="272709"/>
          </a:xfrm>
          <a:prstGeom prst="rect">
            <a:avLst/>
          </a:prstGeom>
          <a:ln>
            <a:solidFill>
              <a:schemeClr val="tx1"/>
            </a:solid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53025"/>
            <a:r>
              <a:rPr lang="ja-JP" altLang="en-US" sz="739" dirty="0">
                <a:solidFill>
                  <a:srgbClr val="000000"/>
                </a:solidFill>
                <a:latin typeface="Arial"/>
                <a:ea typeface="ＭＳ Ｐゴシック"/>
              </a:rPr>
              <a:t>若年人口</a:t>
            </a:r>
            <a:endParaRPr lang="en-US" altLang="ja-JP" sz="739" dirty="0">
              <a:solidFill>
                <a:srgbClr val="000000"/>
              </a:solidFill>
              <a:latin typeface="Arial"/>
              <a:ea typeface="ＭＳ Ｐゴシック"/>
            </a:endParaRPr>
          </a:p>
          <a:p>
            <a:pPr algn="ctr" defTabSz="653025"/>
            <a:r>
              <a:rPr lang="en-US" altLang="ja-JP" sz="739" dirty="0">
                <a:solidFill>
                  <a:srgbClr val="000000"/>
                </a:solidFill>
                <a:latin typeface="Arial"/>
                <a:ea typeface="ＭＳ Ｐゴシック"/>
              </a:rPr>
              <a:t>(</a:t>
            </a:r>
            <a:r>
              <a:rPr lang="ja-JP" altLang="en-US" sz="739" dirty="0">
                <a:solidFill>
                  <a:srgbClr val="000000"/>
                </a:solidFill>
                <a:latin typeface="Arial"/>
                <a:ea typeface="ＭＳ Ｐゴシック"/>
              </a:rPr>
              <a:t>０～</a:t>
            </a:r>
            <a:r>
              <a:rPr lang="en-US" altLang="ja-JP" sz="739" dirty="0">
                <a:solidFill>
                  <a:srgbClr val="000000"/>
                </a:solidFill>
                <a:latin typeface="Arial"/>
                <a:ea typeface="ＭＳ Ｐゴシック"/>
              </a:rPr>
              <a:t>14</a:t>
            </a:r>
            <a:r>
              <a:rPr lang="ja-JP" altLang="en-US" sz="739" dirty="0">
                <a:solidFill>
                  <a:srgbClr val="000000"/>
                </a:solidFill>
                <a:latin typeface="Arial"/>
                <a:ea typeface="ＭＳ Ｐゴシック"/>
              </a:rPr>
              <a:t>歳</a:t>
            </a:r>
            <a:r>
              <a:rPr lang="en-US" altLang="ja-JP" sz="739" dirty="0">
                <a:solidFill>
                  <a:srgbClr val="000000"/>
                </a:solidFill>
                <a:latin typeface="Arial"/>
                <a:ea typeface="ＭＳ Ｐゴシック"/>
              </a:rPr>
              <a:t>)</a:t>
            </a:r>
          </a:p>
          <a:p>
            <a:pPr algn="ctr" defTabSz="653025"/>
            <a:endParaRPr lang="ja-JP" altLang="en-US" sz="739" dirty="0">
              <a:solidFill>
                <a:srgbClr val="000000"/>
              </a:solidFill>
              <a:latin typeface="Arial"/>
              <a:ea typeface="ＭＳ Ｐゴシック"/>
            </a:endParaRPr>
          </a:p>
        </p:txBody>
      </p:sp>
      <p:sp>
        <p:nvSpPr>
          <p:cNvPr id="1187" name="テキスト ボックス 8"/>
          <p:cNvSpPr txBox="1"/>
          <p:nvPr/>
        </p:nvSpPr>
        <p:spPr>
          <a:xfrm>
            <a:off x="4702123" y="6063538"/>
            <a:ext cx="641691" cy="319780"/>
          </a:xfrm>
          <a:prstGeom prst="rect">
            <a:avLst/>
          </a:prstGeom>
          <a:solidFill>
            <a:schemeClr val="bg1"/>
          </a:solidFill>
          <a:ln>
            <a:solidFill>
              <a:schemeClr val="accent5">
                <a:lumMod val="75000"/>
              </a:schemeClr>
            </a:solidFill>
          </a:ln>
        </p:spPr>
        <p:txBody>
          <a:bodyPr wrap="square" rtlCol="0">
            <a:spAutoFit/>
          </a:bodyPr>
          <a:lstStyle/>
          <a:p>
            <a:pPr defTabSz="653025"/>
            <a:r>
              <a:rPr lang="en-US" altLang="ja-JP" sz="739" dirty="0">
                <a:solidFill>
                  <a:prstClr val="black"/>
                </a:solidFill>
                <a:latin typeface="ＭＳ Ｐゴシック"/>
                <a:ea typeface="ＭＳ Ｐゴシック"/>
              </a:rPr>
              <a:t>1,503</a:t>
            </a:r>
            <a:r>
              <a:rPr lang="ja-JP" altLang="en-US" sz="739" dirty="0">
                <a:solidFill>
                  <a:prstClr val="black"/>
                </a:solidFill>
                <a:latin typeface="ＭＳ Ｐゴシック"/>
                <a:ea typeface="ＭＳ Ｐゴシック"/>
              </a:rPr>
              <a:t>万人</a:t>
            </a:r>
          </a:p>
          <a:p>
            <a:pPr defTabSz="653025"/>
            <a:r>
              <a:rPr lang="ja-JP" altLang="en-US" sz="739" dirty="0">
                <a:solidFill>
                  <a:prstClr val="black"/>
                </a:solidFill>
                <a:latin typeface="ＭＳ Ｐゴシック"/>
                <a:ea typeface="ＭＳ Ｐゴシック"/>
              </a:rPr>
              <a:t>（</a:t>
            </a:r>
            <a:r>
              <a:rPr lang="en-US" altLang="ja-JP" sz="739" dirty="0">
                <a:solidFill>
                  <a:prstClr val="black"/>
                </a:solidFill>
                <a:latin typeface="ＭＳ Ｐゴシック"/>
                <a:ea typeface="ＭＳ Ｐゴシック"/>
              </a:rPr>
              <a:t>11.9%</a:t>
            </a:r>
            <a:r>
              <a:rPr lang="ja-JP" altLang="en-US" sz="739" dirty="0">
                <a:solidFill>
                  <a:prstClr val="black"/>
                </a:solidFill>
                <a:latin typeface="ＭＳ Ｐゴシック"/>
                <a:ea typeface="ＭＳ Ｐゴシック"/>
              </a:rPr>
              <a:t>）</a:t>
            </a:r>
          </a:p>
        </p:txBody>
      </p:sp>
      <p:sp>
        <p:nvSpPr>
          <p:cNvPr id="1188" name="テキスト ボックス 49"/>
          <p:cNvSpPr txBox="1"/>
          <p:nvPr/>
        </p:nvSpPr>
        <p:spPr>
          <a:xfrm>
            <a:off x="4716631" y="4846495"/>
            <a:ext cx="615003" cy="319780"/>
          </a:xfrm>
          <a:prstGeom prst="rect">
            <a:avLst/>
          </a:prstGeom>
          <a:solidFill>
            <a:schemeClr val="bg1"/>
          </a:solidFill>
          <a:ln>
            <a:solidFill>
              <a:srgbClr val="00B050"/>
            </a:solidFill>
          </a:ln>
        </p:spPr>
        <p:txBody>
          <a:bodyPr wrap="square" rtlCol="0">
            <a:spAutoFit/>
          </a:bodyPr>
          <a:lstStyle/>
          <a:p>
            <a:pPr defTabSz="653025"/>
            <a:r>
              <a:rPr lang="en-US" altLang="ja-JP" sz="739" dirty="0">
                <a:solidFill>
                  <a:prstClr val="black"/>
                </a:solidFill>
                <a:latin typeface="ＭＳ Ｐゴシック"/>
                <a:ea typeface="ＭＳ Ｐゴシック"/>
              </a:rPr>
              <a:t>7,509</a:t>
            </a:r>
            <a:r>
              <a:rPr lang="ja-JP" altLang="en-US" sz="739" dirty="0">
                <a:solidFill>
                  <a:prstClr val="black"/>
                </a:solidFill>
                <a:latin typeface="ＭＳ Ｐゴシック"/>
                <a:ea typeface="ＭＳ Ｐゴシック"/>
              </a:rPr>
              <a:t>万人</a:t>
            </a:r>
          </a:p>
          <a:p>
            <a:pPr defTabSz="653025"/>
            <a:r>
              <a:rPr lang="ja-JP" altLang="en-US" sz="739" dirty="0">
                <a:solidFill>
                  <a:prstClr val="black"/>
                </a:solidFill>
                <a:latin typeface="ＭＳ Ｐゴシック"/>
                <a:ea typeface="ＭＳ Ｐゴシック"/>
              </a:rPr>
              <a:t>（</a:t>
            </a:r>
            <a:r>
              <a:rPr lang="en-US" altLang="ja-JP" sz="739" dirty="0">
                <a:solidFill>
                  <a:prstClr val="black"/>
                </a:solidFill>
                <a:latin typeface="ＭＳ Ｐゴシック"/>
                <a:ea typeface="ＭＳ Ｐゴシック"/>
              </a:rPr>
              <a:t>59.5</a:t>
            </a:r>
            <a:r>
              <a:rPr lang="ja-JP" altLang="en-US" sz="739" dirty="0">
                <a:solidFill>
                  <a:prstClr val="black"/>
                </a:solidFill>
                <a:latin typeface="ＭＳ Ｐゴシック"/>
                <a:ea typeface="ＭＳ Ｐゴシック"/>
              </a:rPr>
              <a:t>％）</a:t>
            </a:r>
          </a:p>
        </p:txBody>
      </p:sp>
      <p:sp>
        <p:nvSpPr>
          <p:cNvPr id="1189" name="テキスト ボックス 50"/>
          <p:cNvSpPr txBox="1"/>
          <p:nvPr/>
        </p:nvSpPr>
        <p:spPr>
          <a:xfrm>
            <a:off x="4709475" y="3428987"/>
            <a:ext cx="619335" cy="319780"/>
          </a:xfrm>
          <a:prstGeom prst="rect">
            <a:avLst/>
          </a:prstGeom>
          <a:solidFill>
            <a:schemeClr val="bg1"/>
          </a:solidFill>
          <a:ln>
            <a:solidFill>
              <a:srgbClr val="FFC000"/>
            </a:solidFill>
          </a:ln>
        </p:spPr>
        <p:txBody>
          <a:bodyPr wrap="square" rtlCol="0">
            <a:spAutoFit/>
          </a:bodyPr>
          <a:lstStyle/>
          <a:p>
            <a:pPr defTabSz="653025"/>
            <a:r>
              <a:rPr lang="en-US" altLang="ja-JP" sz="739" dirty="0">
                <a:solidFill>
                  <a:prstClr val="black"/>
                </a:solidFill>
                <a:latin typeface="ＭＳ Ｐゴシック"/>
                <a:ea typeface="ＭＳ Ｐゴシック"/>
              </a:rPr>
              <a:t>3,603</a:t>
            </a:r>
            <a:r>
              <a:rPr lang="ja-JP" altLang="en-US" sz="739" dirty="0">
                <a:solidFill>
                  <a:prstClr val="black"/>
                </a:solidFill>
                <a:latin typeface="ＭＳ Ｐゴシック"/>
                <a:ea typeface="ＭＳ Ｐゴシック"/>
              </a:rPr>
              <a:t>万人</a:t>
            </a:r>
          </a:p>
          <a:p>
            <a:pPr defTabSz="653025"/>
            <a:r>
              <a:rPr lang="ja-JP" altLang="en-US" sz="739" dirty="0">
                <a:solidFill>
                  <a:prstClr val="black"/>
                </a:solidFill>
                <a:latin typeface="ＭＳ Ｐゴシック"/>
                <a:ea typeface="ＭＳ Ｐゴシック"/>
              </a:rPr>
              <a:t>（</a:t>
            </a:r>
            <a:r>
              <a:rPr lang="en-US" altLang="ja-JP" sz="739" dirty="0">
                <a:solidFill>
                  <a:prstClr val="black"/>
                </a:solidFill>
                <a:latin typeface="ＭＳ Ｐゴシック"/>
                <a:ea typeface="ＭＳ Ｐゴシック"/>
              </a:rPr>
              <a:t>28.6</a:t>
            </a:r>
            <a:r>
              <a:rPr lang="ja-JP" altLang="en-US" sz="739" dirty="0">
                <a:solidFill>
                  <a:prstClr val="black"/>
                </a:solidFill>
                <a:latin typeface="ＭＳ Ｐゴシック"/>
                <a:ea typeface="ＭＳ Ｐゴシック"/>
              </a:rPr>
              <a:t>％）</a:t>
            </a:r>
          </a:p>
        </p:txBody>
      </p:sp>
      <p:sp>
        <p:nvSpPr>
          <p:cNvPr id="1190" name="テキスト ボックス 51"/>
          <p:cNvSpPr txBox="1"/>
          <p:nvPr/>
        </p:nvSpPr>
        <p:spPr>
          <a:xfrm>
            <a:off x="7714510" y="6071305"/>
            <a:ext cx="641691" cy="319780"/>
          </a:xfrm>
          <a:prstGeom prst="rect">
            <a:avLst/>
          </a:prstGeom>
          <a:solidFill>
            <a:schemeClr val="bg1"/>
          </a:solidFill>
          <a:ln>
            <a:solidFill>
              <a:schemeClr val="accent5">
                <a:lumMod val="75000"/>
              </a:schemeClr>
            </a:solidFill>
          </a:ln>
        </p:spPr>
        <p:txBody>
          <a:bodyPr wrap="square" rtlCol="0">
            <a:spAutoFit/>
          </a:bodyPr>
          <a:lstStyle/>
          <a:p>
            <a:pPr defTabSz="653025"/>
            <a:r>
              <a:rPr lang="en-US" altLang="ja-JP" sz="739" dirty="0">
                <a:solidFill>
                  <a:prstClr val="black"/>
                </a:solidFill>
                <a:latin typeface="ＭＳ Ｐゴシック"/>
                <a:ea typeface="ＭＳ Ｐゴシック"/>
              </a:rPr>
              <a:t>798</a:t>
            </a:r>
            <a:r>
              <a:rPr lang="ja-JP" altLang="en-US" sz="739" dirty="0">
                <a:solidFill>
                  <a:prstClr val="black"/>
                </a:solidFill>
                <a:latin typeface="ＭＳ Ｐゴシック"/>
                <a:ea typeface="ＭＳ Ｐゴシック"/>
              </a:rPr>
              <a:t>万人</a:t>
            </a:r>
          </a:p>
          <a:p>
            <a:pPr defTabSz="653025"/>
            <a:r>
              <a:rPr lang="ja-JP" altLang="en-US" sz="739" dirty="0">
                <a:solidFill>
                  <a:prstClr val="black"/>
                </a:solidFill>
                <a:latin typeface="ＭＳ Ｐゴシック"/>
                <a:ea typeface="ＭＳ Ｐゴシック"/>
              </a:rPr>
              <a:t>（</a:t>
            </a:r>
            <a:r>
              <a:rPr lang="en-US" altLang="ja-JP" sz="739" dirty="0">
                <a:solidFill>
                  <a:prstClr val="black"/>
                </a:solidFill>
                <a:latin typeface="ＭＳ Ｐゴシック"/>
                <a:ea typeface="ＭＳ Ｐゴシック"/>
              </a:rPr>
              <a:t>9.2</a:t>
            </a:r>
            <a:r>
              <a:rPr lang="ja-JP" altLang="en-US" sz="739" dirty="0">
                <a:solidFill>
                  <a:prstClr val="black"/>
                </a:solidFill>
                <a:latin typeface="ＭＳ Ｐゴシック"/>
                <a:ea typeface="ＭＳ Ｐゴシック"/>
              </a:rPr>
              <a:t>％）</a:t>
            </a:r>
          </a:p>
        </p:txBody>
      </p:sp>
      <p:sp>
        <p:nvSpPr>
          <p:cNvPr id="1191" name="テキスト ボックス 52"/>
          <p:cNvSpPr txBox="1"/>
          <p:nvPr/>
        </p:nvSpPr>
        <p:spPr>
          <a:xfrm>
            <a:off x="7714510" y="5402029"/>
            <a:ext cx="641691" cy="319780"/>
          </a:xfrm>
          <a:prstGeom prst="rect">
            <a:avLst/>
          </a:prstGeom>
          <a:solidFill>
            <a:schemeClr val="bg1"/>
          </a:solidFill>
          <a:ln>
            <a:solidFill>
              <a:srgbClr val="00B050"/>
            </a:solidFill>
          </a:ln>
        </p:spPr>
        <p:txBody>
          <a:bodyPr wrap="square" rtlCol="0">
            <a:spAutoFit/>
          </a:bodyPr>
          <a:lstStyle/>
          <a:p>
            <a:pPr defTabSz="653025"/>
            <a:r>
              <a:rPr lang="en-US" altLang="ja-JP" sz="739" dirty="0">
                <a:solidFill>
                  <a:prstClr val="black"/>
                </a:solidFill>
                <a:latin typeface="ＭＳ Ｐゴシック"/>
                <a:ea typeface="ＭＳ Ｐゴシック"/>
              </a:rPr>
              <a:t>4,535</a:t>
            </a:r>
            <a:r>
              <a:rPr lang="ja-JP" altLang="en-US" sz="739" dirty="0">
                <a:solidFill>
                  <a:prstClr val="black"/>
                </a:solidFill>
                <a:latin typeface="ＭＳ Ｐゴシック"/>
                <a:ea typeface="ＭＳ Ｐゴシック"/>
              </a:rPr>
              <a:t>万人</a:t>
            </a:r>
          </a:p>
          <a:p>
            <a:pPr defTabSz="653025"/>
            <a:r>
              <a:rPr lang="ja-JP" altLang="en-US" sz="739" dirty="0">
                <a:solidFill>
                  <a:prstClr val="black"/>
                </a:solidFill>
                <a:latin typeface="ＭＳ Ｐゴシック"/>
                <a:ea typeface="ＭＳ Ｐゴシック"/>
              </a:rPr>
              <a:t>（</a:t>
            </a:r>
            <a:r>
              <a:rPr lang="en-US" altLang="ja-JP" sz="739" dirty="0">
                <a:solidFill>
                  <a:prstClr val="black"/>
                </a:solidFill>
                <a:latin typeface="ＭＳ Ｐゴシック"/>
                <a:ea typeface="ＭＳ Ｐゴシック"/>
              </a:rPr>
              <a:t>52.1</a:t>
            </a:r>
            <a:r>
              <a:rPr lang="ja-JP" altLang="en-US" sz="739" dirty="0">
                <a:solidFill>
                  <a:prstClr val="black"/>
                </a:solidFill>
                <a:latin typeface="ＭＳ Ｐゴシック"/>
                <a:ea typeface="ＭＳ Ｐゴシック"/>
              </a:rPr>
              <a:t>％）</a:t>
            </a:r>
          </a:p>
        </p:txBody>
      </p:sp>
      <p:sp>
        <p:nvSpPr>
          <p:cNvPr id="1192" name="テキスト ボックス 53"/>
          <p:cNvSpPr txBox="1"/>
          <p:nvPr/>
        </p:nvSpPr>
        <p:spPr>
          <a:xfrm>
            <a:off x="7730175" y="4487960"/>
            <a:ext cx="619335" cy="319780"/>
          </a:xfrm>
          <a:prstGeom prst="rect">
            <a:avLst/>
          </a:prstGeom>
          <a:solidFill>
            <a:schemeClr val="bg1"/>
          </a:solidFill>
          <a:ln>
            <a:solidFill>
              <a:srgbClr val="FFC000"/>
            </a:solidFill>
          </a:ln>
        </p:spPr>
        <p:txBody>
          <a:bodyPr wrap="square" rtlCol="0">
            <a:spAutoFit/>
          </a:bodyPr>
          <a:lstStyle/>
          <a:p>
            <a:pPr defTabSz="653025"/>
            <a:r>
              <a:rPr lang="en-US" altLang="ja-JP" sz="739" dirty="0">
                <a:solidFill>
                  <a:prstClr val="black"/>
                </a:solidFill>
                <a:latin typeface="ＭＳ Ｐゴシック"/>
                <a:ea typeface="ＭＳ Ｐゴシック"/>
              </a:rPr>
              <a:t>3,367</a:t>
            </a:r>
            <a:r>
              <a:rPr lang="ja-JP" altLang="en-US" sz="739" dirty="0">
                <a:solidFill>
                  <a:prstClr val="black"/>
                </a:solidFill>
                <a:latin typeface="ＭＳ Ｐゴシック"/>
                <a:ea typeface="ＭＳ Ｐゴシック"/>
              </a:rPr>
              <a:t>万人</a:t>
            </a:r>
          </a:p>
          <a:p>
            <a:pPr defTabSz="653025"/>
            <a:r>
              <a:rPr lang="ja-JP" altLang="en-US" sz="739" dirty="0">
                <a:solidFill>
                  <a:prstClr val="black"/>
                </a:solidFill>
                <a:latin typeface="ＭＳ Ｐゴシック"/>
                <a:ea typeface="ＭＳ Ｐゴシック"/>
              </a:rPr>
              <a:t>（</a:t>
            </a:r>
            <a:r>
              <a:rPr lang="en-US" altLang="ja-JP" sz="739" dirty="0">
                <a:solidFill>
                  <a:prstClr val="black"/>
                </a:solidFill>
                <a:latin typeface="ＭＳ Ｐゴシック"/>
                <a:ea typeface="ＭＳ Ｐゴシック"/>
              </a:rPr>
              <a:t>38.7</a:t>
            </a:r>
            <a:r>
              <a:rPr lang="ja-JP" altLang="en-US" sz="739" dirty="0">
                <a:solidFill>
                  <a:prstClr val="black"/>
                </a:solidFill>
                <a:latin typeface="ＭＳ Ｐゴシック"/>
                <a:ea typeface="ＭＳ Ｐゴシック"/>
              </a:rPr>
              <a:t>％）</a:t>
            </a:r>
          </a:p>
        </p:txBody>
      </p:sp>
      <p:sp>
        <p:nvSpPr>
          <p:cNvPr id="1193" name="テキスト ボックス 54"/>
          <p:cNvSpPr txBox="1"/>
          <p:nvPr/>
        </p:nvSpPr>
        <p:spPr>
          <a:xfrm>
            <a:off x="7742726" y="3581723"/>
            <a:ext cx="619335" cy="319780"/>
          </a:xfrm>
          <a:prstGeom prst="rect">
            <a:avLst/>
          </a:prstGeom>
          <a:solidFill>
            <a:schemeClr val="bg1"/>
          </a:solidFill>
          <a:ln>
            <a:solidFill>
              <a:schemeClr val="tx1"/>
            </a:solidFill>
          </a:ln>
        </p:spPr>
        <p:txBody>
          <a:bodyPr wrap="square" rtlCol="0">
            <a:spAutoFit/>
          </a:bodyPr>
          <a:lstStyle/>
          <a:p>
            <a:pPr defTabSz="653025"/>
            <a:r>
              <a:rPr lang="ja-JP" altLang="en-US" sz="739" dirty="0">
                <a:solidFill>
                  <a:prstClr val="black"/>
                </a:solidFill>
                <a:latin typeface="ＭＳ Ｐゴシック"/>
                <a:ea typeface="ＭＳ Ｐゴシック"/>
              </a:rPr>
              <a:t>総人口</a:t>
            </a:r>
          </a:p>
          <a:p>
            <a:pPr defTabSz="653025"/>
            <a:r>
              <a:rPr lang="en-US" altLang="ja-JP" sz="739" dirty="0">
                <a:solidFill>
                  <a:prstClr val="black"/>
                </a:solidFill>
                <a:latin typeface="ＭＳ Ｐゴシック"/>
                <a:ea typeface="ＭＳ Ｐゴシック"/>
              </a:rPr>
              <a:t>8,700</a:t>
            </a:r>
            <a:r>
              <a:rPr lang="ja-JP" altLang="en-US" sz="739" dirty="0">
                <a:solidFill>
                  <a:prstClr val="black"/>
                </a:solidFill>
                <a:latin typeface="ＭＳ Ｐゴシック"/>
                <a:ea typeface="ＭＳ Ｐゴシック"/>
              </a:rPr>
              <a:t>万人</a:t>
            </a:r>
          </a:p>
        </p:txBody>
      </p:sp>
      <p:sp>
        <p:nvSpPr>
          <p:cNvPr id="1194" name="テキスト ボックス 55"/>
          <p:cNvSpPr txBox="1"/>
          <p:nvPr/>
        </p:nvSpPr>
        <p:spPr>
          <a:xfrm>
            <a:off x="4713959" y="2741272"/>
            <a:ext cx="619335" cy="433511"/>
          </a:xfrm>
          <a:prstGeom prst="rect">
            <a:avLst/>
          </a:prstGeom>
          <a:solidFill>
            <a:schemeClr val="bg1"/>
          </a:solidFill>
          <a:ln>
            <a:solidFill>
              <a:schemeClr val="tx1"/>
            </a:solidFill>
          </a:ln>
        </p:spPr>
        <p:txBody>
          <a:bodyPr wrap="square" rtlCol="0">
            <a:spAutoFit/>
          </a:bodyPr>
          <a:lstStyle/>
          <a:p>
            <a:pPr defTabSz="653025"/>
            <a:r>
              <a:rPr lang="ja-JP" altLang="en-US" sz="739" dirty="0">
                <a:solidFill>
                  <a:prstClr val="black"/>
                </a:solidFill>
                <a:latin typeface="ＭＳ Ｐゴシック"/>
                <a:ea typeface="ＭＳ Ｐゴシック"/>
              </a:rPr>
              <a:t>総人口</a:t>
            </a:r>
          </a:p>
          <a:p>
            <a:pPr defTabSz="653025"/>
            <a:r>
              <a:rPr lang="en-US" altLang="ja-JP" sz="739" dirty="0">
                <a:solidFill>
                  <a:prstClr val="black"/>
                </a:solidFill>
                <a:latin typeface="ＭＳ Ｐゴシック"/>
                <a:ea typeface="ＭＳ Ｐゴシック"/>
              </a:rPr>
              <a:t>12,615</a:t>
            </a:r>
            <a:r>
              <a:rPr lang="ja-JP" altLang="en-US" sz="739" dirty="0">
                <a:solidFill>
                  <a:prstClr val="black"/>
                </a:solidFill>
                <a:latin typeface="ＭＳ Ｐゴシック"/>
                <a:ea typeface="ＭＳ Ｐゴシック"/>
              </a:rPr>
              <a:t>万人</a:t>
            </a:r>
          </a:p>
        </p:txBody>
      </p:sp>
      <p:cxnSp>
        <p:nvCxnSpPr>
          <p:cNvPr id="1195" name="直線矢印コネクタ 13"/>
          <p:cNvCxnSpPr/>
          <p:nvPr/>
        </p:nvCxnSpPr>
        <p:spPr>
          <a:xfrm>
            <a:off x="8264991" y="3896950"/>
            <a:ext cx="212732" cy="3121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96" name="直線矢印コネクタ 57"/>
          <p:cNvCxnSpPr/>
          <p:nvPr/>
        </p:nvCxnSpPr>
        <p:spPr>
          <a:xfrm>
            <a:off x="5213968" y="3068332"/>
            <a:ext cx="173766" cy="1587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Line 294"/>
          <p:cNvSpPr>
            <a:spLocks noChangeShapeType="1"/>
          </p:cNvSpPr>
          <p:nvPr/>
        </p:nvSpPr>
        <p:spPr>
          <a:xfrm flipH="1">
            <a:off x="7235839" y="2685495"/>
            <a:ext cx="37670" cy="3677951"/>
          </a:xfrm>
          <a:prstGeom prst="line">
            <a:avLst/>
          </a:prstGeom>
          <a:noFill/>
          <a:ln w="12700" cmpd="sng">
            <a:solidFill>
              <a:schemeClr val="bg1">
                <a:lumMod val="50000"/>
              </a:schemeClr>
            </a:solidFill>
            <a:prstDash val="sysDash"/>
            <a:round/>
            <a:headEnd/>
            <a:tailEnd/>
          </a:ln>
        </p:spPr>
        <p:txBody>
          <a:bodyPr/>
          <a:lstStyle/>
          <a:p>
            <a:pPr defTabSz="653025"/>
            <a:endParaRPr lang="ja-JP" altLang="en-US" sz="1286">
              <a:solidFill>
                <a:srgbClr val="000000"/>
              </a:solidFill>
            </a:endParaRPr>
          </a:p>
        </p:txBody>
      </p:sp>
      <p:cxnSp>
        <p:nvCxnSpPr>
          <p:cNvPr id="76" name="直線矢印コネクタ 110"/>
          <p:cNvCxnSpPr/>
          <p:nvPr/>
        </p:nvCxnSpPr>
        <p:spPr>
          <a:xfrm flipH="1">
            <a:off x="7249429" y="3816292"/>
            <a:ext cx="5328" cy="944743"/>
          </a:xfrm>
          <a:prstGeom prst="straightConnector1">
            <a:avLst/>
          </a:prstGeom>
          <a:ln w="38100">
            <a:solidFill>
              <a:srgbClr val="FFC00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8" name="直線矢印コネクタ 98"/>
          <p:cNvCxnSpPr/>
          <p:nvPr/>
        </p:nvCxnSpPr>
        <p:spPr>
          <a:xfrm>
            <a:off x="7244088" y="4797461"/>
            <a:ext cx="5341" cy="1363414"/>
          </a:xfrm>
          <a:prstGeom prst="straightConnector1">
            <a:avLst/>
          </a:prstGeom>
          <a:ln w="38100">
            <a:solidFill>
              <a:srgbClr val="41631B"/>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80" name="直線矢印コネクタ 95"/>
          <p:cNvCxnSpPr/>
          <p:nvPr/>
        </p:nvCxnSpPr>
        <p:spPr>
          <a:xfrm>
            <a:off x="7249429" y="6167091"/>
            <a:ext cx="2491" cy="278137"/>
          </a:xfrm>
          <a:prstGeom prst="straightConnector1">
            <a:avLst/>
          </a:prstGeom>
          <a:ln w="25400">
            <a:solidFill>
              <a:schemeClr val="accent5">
                <a:lumMod val="75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84" name="テキスト ボックス 54"/>
          <p:cNvSpPr txBox="1"/>
          <p:nvPr/>
        </p:nvSpPr>
        <p:spPr>
          <a:xfrm>
            <a:off x="6606769" y="3211005"/>
            <a:ext cx="619335" cy="433511"/>
          </a:xfrm>
          <a:prstGeom prst="rect">
            <a:avLst/>
          </a:prstGeom>
          <a:solidFill>
            <a:schemeClr val="bg1"/>
          </a:solidFill>
          <a:ln>
            <a:solidFill>
              <a:schemeClr val="tx1"/>
            </a:solidFill>
          </a:ln>
        </p:spPr>
        <p:txBody>
          <a:bodyPr wrap="square" rtlCol="0">
            <a:spAutoFit/>
          </a:bodyPr>
          <a:lstStyle/>
          <a:p>
            <a:pPr defTabSz="653025"/>
            <a:r>
              <a:rPr lang="ja-JP" altLang="en-US" sz="739" dirty="0">
                <a:solidFill>
                  <a:prstClr val="black"/>
                </a:solidFill>
                <a:latin typeface="ＭＳ Ｐゴシック"/>
                <a:ea typeface="ＭＳ Ｐゴシック"/>
              </a:rPr>
              <a:t>総人口</a:t>
            </a:r>
          </a:p>
          <a:p>
            <a:pPr defTabSz="653025"/>
            <a:r>
              <a:rPr lang="en-US" altLang="ja-JP" sz="739" dirty="0">
                <a:solidFill>
                  <a:prstClr val="black"/>
                </a:solidFill>
                <a:latin typeface="ＭＳ Ｐゴシック"/>
                <a:ea typeface="ＭＳ Ｐゴシック"/>
              </a:rPr>
              <a:t>10,469</a:t>
            </a:r>
            <a:r>
              <a:rPr lang="ja-JP" altLang="en-US" sz="739" dirty="0">
                <a:solidFill>
                  <a:prstClr val="black"/>
                </a:solidFill>
                <a:latin typeface="ＭＳ Ｐゴシック"/>
                <a:ea typeface="ＭＳ Ｐゴシック"/>
              </a:rPr>
              <a:t>万人</a:t>
            </a:r>
          </a:p>
        </p:txBody>
      </p:sp>
      <p:cxnSp>
        <p:nvCxnSpPr>
          <p:cNvPr id="85" name="直線矢印コネクタ 13"/>
          <p:cNvCxnSpPr/>
          <p:nvPr/>
        </p:nvCxnSpPr>
        <p:spPr>
          <a:xfrm>
            <a:off x="7054879" y="3517881"/>
            <a:ext cx="159560" cy="20232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テキスト ボックス 53"/>
          <p:cNvSpPr txBox="1"/>
          <p:nvPr/>
        </p:nvSpPr>
        <p:spPr>
          <a:xfrm>
            <a:off x="6552093" y="4077364"/>
            <a:ext cx="619335" cy="319780"/>
          </a:xfrm>
          <a:prstGeom prst="rect">
            <a:avLst/>
          </a:prstGeom>
          <a:solidFill>
            <a:schemeClr val="bg1"/>
          </a:solidFill>
          <a:ln>
            <a:solidFill>
              <a:srgbClr val="FFC000"/>
            </a:solidFill>
          </a:ln>
        </p:spPr>
        <p:txBody>
          <a:bodyPr wrap="square" rtlCol="0">
            <a:spAutoFit/>
          </a:bodyPr>
          <a:lstStyle/>
          <a:p>
            <a:pPr defTabSz="653025"/>
            <a:r>
              <a:rPr lang="en-US" altLang="ja-JP" sz="739" dirty="0">
                <a:solidFill>
                  <a:prstClr val="black"/>
                </a:solidFill>
                <a:latin typeface="ＭＳ Ｐゴシック"/>
                <a:ea typeface="ＭＳ Ｐゴシック"/>
              </a:rPr>
              <a:t>3,888</a:t>
            </a:r>
            <a:r>
              <a:rPr lang="ja-JP" altLang="en-US" sz="739" dirty="0">
                <a:solidFill>
                  <a:prstClr val="black"/>
                </a:solidFill>
                <a:latin typeface="ＭＳ Ｐゴシック"/>
                <a:ea typeface="ＭＳ Ｐゴシック"/>
              </a:rPr>
              <a:t>万人</a:t>
            </a:r>
          </a:p>
          <a:p>
            <a:pPr defTabSz="653025"/>
            <a:r>
              <a:rPr lang="ja-JP" altLang="en-US" sz="739" dirty="0">
                <a:solidFill>
                  <a:prstClr val="black"/>
                </a:solidFill>
                <a:latin typeface="ＭＳ Ｐゴシック"/>
                <a:ea typeface="ＭＳ Ｐゴシック"/>
              </a:rPr>
              <a:t>（</a:t>
            </a:r>
            <a:r>
              <a:rPr lang="en-US" altLang="ja-JP" sz="739" dirty="0">
                <a:solidFill>
                  <a:prstClr val="black"/>
                </a:solidFill>
                <a:latin typeface="ＭＳ Ｐゴシック"/>
                <a:ea typeface="ＭＳ Ｐゴシック"/>
              </a:rPr>
              <a:t>37.1</a:t>
            </a:r>
            <a:r>
              <a:rPr lang="ja-JP" altLang="en-US" sz="739" dirty="0">
                <a:solidFill>
                  <a:prstClr val="black"/>
                </a:solidFill>
                <a:latin typeface="ＭＳ Ｐゴシック"/>
                <a:ea typeface="ＭＳ Ｐゴシック"/>
              </a:rPr>
              <a:t>％）</a:t>
            </a:r>
          </a:p>
        </p:txBody>
      </p:sp>
      <p:sp>
        <p:nvSpPr>
          <p:cNvPr id="88" name="テキスト ボックス 52"/>
          <p:cNvSpPr txBox="1"/>
          <p:nvPr/>
        </p:nvSpPr>
        <p:spPr>
          <a:xfrm>
            <a:off x="6535701" y="5373104"/>
            <a:ext cx="641691" cy="319780"/>
          </a:xfrm>
          <a:prstGeom prst="rect">
            <a:avLst/>
          </a:prstGeom>
          <a:solidFill>
            <a:schemeClr val="bg1"/>
          </a:solidFill>
          <a:ln>
            <a:solidFill>
              <a:srgbClr val="00B050"/>
            </a:solidFill>
          </a:ln>
        </p:spPr>
        <p:txBody>
          <a:bodyPr wrap="square" rtlCol="0">
            <a:spAutoFit/>
          </a:bodyPr>
          <a:lstStyle/>
          <a:p>
            <a:pPr defTabSz="653025"/>
            <a:r>
              <a:rPr lang="en-US" altLang="ja-JP" sz="739" dirty="0">
                <a:solidFill>
                  <a:prstClr val="black"/>
                </a:solidFill>
                <a:latin typeface="ＭＳ Ｐゴシック"/>
                <a:ea typeface="ＭＳ Ｐゴシック"/>
              </a:rPr>
              <a:t>5,540</a:t>
            </a:r>
            <a:r>
              <a:rPr lang="ja-JP" altLang="en-US" sz="739" dirty="0">
                <a:solidFill>
                  <a:prstClr val="black"/>
                </a:solidFill>
                <a:latin typeface="ＭＳ Ｐゴシック"/>
                <a:ea typeface="ＭＳ Ｐゴシック"/>
              </a:rPr>
              <a:t>万人</a:t>
            </a:r>
          </a:p>
          <a:p>
            <a:pPr defTabSz="653025"/>
            <a:r>
              <a:rPr lang="ja-JP" altLang="en-US" sz="739" dirty="0">
                <a:solidFill>
                  <a:prstClr val="black"/>
                </a:solidFill>
                <a:latin typeface="ＭＳ Ｐゴシック"/>
                <a:ea typeface="ＭＳ Ｐゴシック"/>
              </a:rPr>
              <a:t>（</a:t>
            </a:r>
            <a:r>
              <a:rPr lang="en-US" altLang="ja-JP" sz="739" dirty="0">
                <a:solidFill>
                  <a:prstClr val="black"/>
                </a:solidFill>
                <a:latin typeface="ＭＳ Ｐゴシック"/>
                <a:ea typeface="ＭＳ Ｐゴシック"/>
              </a:rPr>
              <a:t>52.9</a:t>
            </a:r>
            <a:r>
              <a:rPr lang="ja-JP" altLang="en-US" sz="739" dirty="0">
                <a:solidFill>
                  <a:prstClr val="black"/>
                </a:solidFill>
                <a:latin typeface="ＭＳ Ｐゴシック"/>
                <a:ea typeface="ＭＳ Ｐゴシック"/>
              </a:rPr>
              <a:t>％）</a:t>
            </a:r>
          </a:p>
        </p:txBody>
      </p:sp>
      <p:sp>
        <p:nvSpPr>
          <p:cNvPr id="89" name="テキスト ボックス 51"/>
          <p:cNvSpPr txBox="1"/>
          <p:nvPr/>
        </p:nvSpPr>
        <p:spPr>
          <a:xfrm>
            <a:off x="6552094" y="6071306"/>
            <a:ext cx="641691" cy="319780"/>
          </a:xfrm>
          <a:prstGeom prst="rect">
            <a:avLst/>
          </a:prstGeom>
          <a:solidFill>
            <a:schemeClr val="bg1"/>
          </a:solidFill>
          <a:ln>
            <a:solidFill>
              <a:schemeClr val="accent5">
                <a:lumMod val="75000"/>
              </a:schemeClr>
            </a:solidFill>
          </a:ln>
        </p:spPr>
        <p:txBody>
          <a:bodyPr wrap="square" rtlCol="0">
            <a:spAutoFit/>
          </a:bodyPr>
          <a:lstStyle/>
          <a:p>
            <a:pPr defTabSz="653025"/>
            <a:r>
              <a:rPr lang="en-US" altLang="ja-JP" sz="739" dirty="0">
                <a:solidFill>
                  <a:prstClr val="black"/>
                </a:solidFill>
                <a:latin typeface="ＭＳ Ｐゴシック"/>
                <a:ea typeface="ＭＳ Ｐゴシック"/>
              </a:rPr>
              <a:t>1,041</a:t>
            </a:r>
            <a:r>
              <a:rPr lang="ja-JP" altLang="en-US" sz="739" dirty="0">
                <a:solidFill>
                  <a:prstClr val="black"/>
                </a:solidFill>
                <a:latin typeface="ＭＳ Ｐゴシック"/>
                <a:ea typeface="ＭＳ Ｐゴシック"/>
              </a:rPr>
              <a:t>万人</a:t>
            </a:r>
          </a:p>
          <a:p>
            <a:pPr defTabSz="653025"/>
            <a:r>
              <a:rPr lang="ja-JP" altLang="en-US" sz="739" dirty="0">
                <a:solidFill>
                  <a:prstClr val="black"/>
                </a:solidFill>
                <a:latin typeface="ＭＳ Ｐゴシック"/>
                <a:ea typeface="ＭＳ Ｐゴシック"/>
              </a:rPr>
              <a:t>（</a:t>
            </a:r>
            <a:r>
              <a:rPr lang="en-US" altLang="ja-JP" sz="739" dirty="0">
                <a:solidFill>
                  <a:prstClr val="black"/>
                </a:solidFill>
                <a:latin typeface="ＭＳ Ｐゴシック"/>
                <a:ea typeface="ＭＳ Ｐゴシック"/>
              </a:rPr>
              <a:t>9.9</a:t>
            </a:r>
            <a:r>
              <a:rPr lang="ja-JP" altLang="en-US" sz="739" dirty="0">
                <a:solidFill>
                  <a:prstClr val="black"/>
                </a:solidFill>
                <a:latin typeface="ＭＳ Ｐゴシック"/>
                <a:ea typeface="ＭＳ Ｐゴシック"/>
              </a:rPr>
              <a:t>％）</a:t>
            </a:r>
          </a:p>
        </p:txBody>
      </p:sp>
      <p:sp>
        <p:nvSpPr>
          <p:cNvPr id="91" name="テキスト ボックス 8"/>
          <p:cNvSpPr txBox="1"/>
          <p:nvPr/>
        </p:nvSpPr>
        <p:spPr>
          <a:xfrm>
            <a:off x="7025120" y="2454414"/>
            <a:ext cx="914483" cy="248618"/>
          </a:xfrm>
          <a:prstGeom prst="rect">
            <a:avLst/>
          </a:prstGeom>
          <a:noFill/>
        </p:spPr>
        <p:txBody>
          <a:bodyPr wrap="square" rtlCol="0">
            <a:spAutoFit/>
          </a:bodyPr>
          <a:lstStyle/>
          <a:p>
            <a:pPr defTabSz="653025"/>
            <a:r>
              <a:rPr lang="en-US" altLang="ja-JP" sz="1016" dirty="0">
                <a:solidFill>
                  <a:srgbClr val="000000"/>
                </a:solidFill>
                <a:latin typeface="ＭＳ Ｐゴシック"/>
                <a:ea typeface="ＭＳ Ｐゴシック"/>
              </a:rPr>
              <a:t>2050</a:t>
            </a:r>
            <a:r>
              <a:rPr lang="ja-JP" altLang="en-US" sz="1016" dirty="0">
                <a:solidFill>
                  <a:srgbClr val="000000"/>
                </a:solidFill>
                <a:latin typeface="ＭＳ Ｐゴシック"/>
                <a:ea typeface="ＭＳ Ｐゴシック"/>
              </a:rPr>
              <a:t>年</a:t>
            </a:r>
          </a:p>
        </p:txBody>
      </p:sp>
      <p:sp>
        <p:nvSpPr>
          <p:cNvPr id="2" name="フッター プレースホルダー 1">
            <a:extLst>
              <a:ext uri="{FF2B5EF4-FFF2-40B4-BE49-F238E27FC236}">
                <a16:creationId xmlns:a16="http://schemas.microsoft.com/office/drawing/2014/main" id="{31206E7F-555B-055C-B783-C399A5A38A3F}"/>
              </a:ext>
            </a:extLst>
          </p:cNvPr>
          <p:cNvSpPr>
            <a:spLocks noGrp="1"/>
          </p:cNvSpPr>
          <p:nvPr>
            <p:ph type="ftr" sz="quarter" idx="11"/>
          </p:nvPr>
        </p:nvSpPr>
        <p:spPr/>
        <p:txBody>
          <a:bodyPr/>
          <a:lstStyle/>
          <a:p>
            <a:pPr>
              <a:defRPr/>
            </a:pPr>
            <a:endParaRPr lang="en-US" altLang="ja-JP"/>
          </a:p>
        </p:txBody>
      </p:sp>
      <p:sp>
        <p:nvSpPr>
          <p:cNvPr id="3" name="スライド番号プレースホルダー 2">
            <a:extLst>
              <a:ext uri="{FF2B5EF4-FFF2-40B4-BE49-F238E27FC236}">
                <a16:creationId xmlns:a16="http://schemas.microsoft.com/office/drawing/2014/main" id="{D494B06F-94C2-1F6B-829F-AAF59F32D6E4}"/>
              </a:ext>
            </a:extLst>
          </p:cNvPr>
          <p:cNvSpPr>
            <a:spLocks noGrp="1"/>
          </p:cNvSpPr>
          <p:nvPr>
            <p:ph type="sldNum" sz="quarter" idx="12"/>
          </p:nvPr>
        </p:nvSpPr>
        <p:spPr/>
        <p:txBody>
          <a:bodyPr/>
          <a:lstStyle/>
          <a:p>
            <a:pPr>
              <a:defRPr/>
            </a:pPr>
            <a:fld id="{9C66F1FC-77AF-4AA3-AB67-8C31B36199A9}" type="slidenum">
              <a:rPr lang="en-US" altLang="ja-JP" smtClean="0"/>
              <a:pPr>
                <a:defRPr/>
              </a:pPr>
              <a:t>8</a:t>
            </a:fld>
            <a:endParaRPr lang="en-US" altLang="ja-JP"/>
          </a:p>
        </p:txBody>
      </p:sp>
    </p:spTree>
    <p:extLst>
      <p:ext uri="{BB962C8B-B14F-4D97-AF65-F5344CB8AC3E}">
        <p14:creationId xmlns:p14="http://schemas.microsoft.com/office/powerpoint/2010/main" val="3340178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11.xml><?xml version="1.0" encoding="utf-8"?>
<a:theme xmlns:a="http://schemas.openxmlformats.org/drawingml/2006/main" name="8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38100">
          <a:solidFill>
            <a:srgbClr val="F3AA4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5154908F-1419-4CAC-B4AE-9298353669D5}" vid="{E00009AC-6EF1-4080-B073-2679ADBAC504}"/>
    </a:ext>
  </a:extLst>
</a:theme>
</file>

<file path=ppt/theme/theme12.xml><?xml version="1.0" encoding="utf-8"?>
<a:theme xmlns:a="http://schemas.openxmlformats.org/drawingml/2006/main" name="9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13.xml><?xml version="1.0" encoding="utf-8"?>
<a:theme xmlns:a="http://schemas.openxmlformats.org/drawingml/2006/main" name="10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14.xml><?xml version="1.0" encoding="utf-8"?>
<a:theme xmlns:a="http://schemas.openxmlformats.org/drawingml/2006/main" name="11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1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kumimoji="1" sz="1200" dirty="0" smtClean="0"/>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4.xml><?xml version="1.0" encoding="utf-8"?>
<a:theme xmlns:a="http://schemas.openxmlformats.org/drawingml/2006/main" name="3_標準デザイン">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5402">
          <a:solidFill>
            <a:srgbClr val="9ED3D7"/>
          </a:solidFill>
          <a:prstDash val="solid"/>
        </a:ln>
      </a:spPr>
      <a:bodyPr vert="horz" wrap="square" lIns="91440" tIns="45720" rIns="91440" bIns="45720" anchor="t" anchorCtr="0" compatLnSpc="1"/>
      <a:lstStyle>
        <a:defPPr marL="182563" indent="-182563">
          <a:defRPr sz="1400" dirty="0" smtClean="0"/>
        </a:defPPr>
      </a:lstStyle>
    </a:sp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7.xml><?xml version="1.0" encoding="utf-8"?>
<a:theme xmlns:a="http://schemas.openxmlformats.org/drawingml/2006/main" name="6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kumimoji="1" sz="1200" dirty="0" smtClean="0"/>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9.xml><?xml version="1.0" encoding="utf-8"?>
<a:theme xmlns:a="http://schemas.openxmlformats.org/drawingml/2006/main" name="15_標準デザイン">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0262</TotalTime>
  <Words>23493</Words>
  <Application>Microsoft Office PowerPoint</Application>
  <PresentationFormat>ユーザー設定</PresentationFormat>
  <Paragraphs>2183</Paragraphs>
  <Slides>60</Slides>
  <Notes>49</Notes>
  <HiddenSlides>0</HiddenSlides>
  <MMClips>0</MMClips>
  <ScaleCrop>false</ScaleCrop>
  <HeadingPairs>
    <vt:vector size="8" baseType="variant">
      <vt:variant>
        <vt:lpstr>使用されているフォント</vt:lpstr>
      </vt:variant>
      <vt:variant>
        <vt:i4>24</vt:i4>
      </vt:variant>
      <vt:variant>
        <vt:lpstr>テーマ</vt:lpstr>
      </vt:variant>
      <vt:variant>
        <vt:i4>14</vt:i4>
      </vt:variant>
      <vt:variant>
        <vt:lpstr>埋め込まれた OLE サーバー</vt:lpstr>
      </vt:variant>
      <vt:variant>
        <vt:i4>1</vt:i4>
      </vt:variant>
      <vt:variant>
        <vt:lpstr>スライド タイトル</vt:lpstr>
      </vt:variant>
      <vt:variant>
        <vt:i4>60</vt:i4>
      </vt:variant>
    </vt:vector>
  </HeadingPairs>
  <TitlesOfParts>
    <vt:vector size="99" baseType="lpstr">
      <vt:lpstr>AR P丸ゴシック体M</vt:lpstr>
      <vt:lpstr>BIZ UDPゴシック</vt:lpstr>
      <vt:lpstr>ＤＦ特太ゴシック体</vt:lpstr>
      <vt:lpstr>ＤＨＰ特太ゴシック体</vt:lpstr>
      <vt:lpstr>HGPｺﾞｼｯｸE</vt:lpstr>
      <vt:lpstr>HGPｺﾞｼｯｸM</vt:lpstr>
      <vt:lpstr>HGP創英角ｺﾞｼｯｸUB</vt:lpstr>
      <vt:lpstr>HGP明朝B</vt:lpstr>
      <vt:lpstr>HG丸ｺﾞｼｯｸM-PRO</vt:lpstr>
      <vt:lpstr>HG創英角ｺﾞｼｯｸUB</vt:lpstr>
      <vt:lpstr>Meiryo UI</vt:lpstr>
      <vt:lpstr>ＭＳ Ｐゴシック</vt:lpstr>
      <vt:lpstr>ＭＳ Ｐ明朝</vt:lpstr>
      <vt:lpstr>ＭＳ ゴシック</vt:lpstr>
      <vt:lpstr>ＭＳ 明朝</vt:lpstr>
      <vt:lpstr>ＭＳＰゴシック</vt:lpstr>
      <vt:lpstr>Yu Gothic UI</vt:lpstr>
      <vt:lpstr>メイリオ</vt:lpstr>
      <vt:lpstr>游ゴシック</vt:lpstr>
      <vt:lpstr>Arial</vt:lpstr>
      <vt:lpstr>Calibri</vt:lpstr>
      <vt:lpstr>Century</vt:lpstr>
      <vt:lpstr>Times New Roman</vt:lpstr>
      <vt:lpstr>Wingdings</vt:lpstr>
      <vt:lpstr>標準デザイン</vt:lpstr>
      <vt:lpstr>2_標準デザイン</vt:lpstr>
      <vt:lpstr>1_標準デザイン</vt:lpstr>
      <vt:lpstr>3_標準デザイン</vt:lpstr>
      <vt:lpstr>4_標準デザイン</vt:lpstr>
      <vt:lpstr>5_標準デザイン</vt:lpstr>
      <vt:lpstr>6_標準デザイン</vt:lpstr>
      <vt:lpstr>7_標準デザイン</vt:lpstr>
      <vt:lpstr>15_標準デザイン</vt:lpstr>
      <vt:lpstr>12_標準デザイン</vt:lpstr>
      <vt:lpstr>8_標準デザイン</vt:lpstr>
      <vt:lpstr>9_標準デザイン</vt:lpstr>
      <vt:lpstr>10_標準デザイン</vt:lpstr>
      <vt:lpstr>11_標準デザイン</vt:lpstr>
      <vt:lpstr>think-cell スライド</vt:lpstr>
      <vt:lpstr>国土交通省における  　山村振興関連施策について</vt:lpstr>
      <vt:lpstr>PowerPoint プレゼンテーション</vt:lpstr>
      <vt:lpstr>１．国土交通省における山村振興関係予算</vt:lpstr>
      <vt:lpstr>国土交通省における山村振興関係予算</vt:lpstr>
      <vt:lpstr>２．国土形成計画（全国計画）について</vt:lpstr>
      <vt:lpstr>PowerPoint プレゼンテーション</vt:lpstr>
      <vt:lpstr>PowerPoint プレゼンテーション</vt:lpstr>
      <vt:lpstr>我が国の総人口の長期的推移</vt:lpstr>
      <vt:lpstr>PowerPoint プレゼンテーション</vt:lpstr>
      <vt:lpstr>総人口の将来推計（日本人・外国人別内訳）</vt:lpstr>
      <vt:lpstr>山間地域の人口1000人集落の趨勢将来推計人口と移住を見込んだ推計人口</vt:lpstr>
      <vt:lpstr>国土形成計画（全国計画）　概要</vt:lpstr>
      <vt:lpstr>国土形成計画（全国計画）　　目指す国土の姿</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分野別施策の基本的方向</vt:lpstr>
      <vt:lpstr>国土形成計画における山村振興に関する記載</vt:lpstr>
      <vt:lpstr>第六次国土利用計画（全国計画）概要</vt:lpstr>
      <vt:lpstr>地域類型別、利用区分別の国土利用の基本方向（主な記載事項）</vt:lpstr>
      <vt:lpstr>３．小さな拠点の取組について</vt:lpstr>
      <vt:lpstr>集落での問題の発生状況</vt:lpstr>
      <vt:lpstr>「小さな拠点」とは</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小さな拠点づくりに関する実態調査</vt:lpstr>
      <vt:lpstr>「小さな拠点」に関するこれまでの取組（その１）</vt:lpstr>
      <vt:lpstr>「小さな拠点」に関するこれまでの取組（その２）</vt:lpstr>
      <vt:lpstr>「小さな拠点」に関するこれまでの取組（その３）</vt:lpstr>
      <vt:lpstr>「小さな拠点」の取組事例①　（高知県 四万十市 西土佐地域 大宮地区）</vt:lpstr>
      <vt:lpstr>PowerPoint プレゼンテーション</vt:lpstr>
      <vt:lpstr>「小さな拠点」の取組事例③　（岡山県 新見市 哲西地域）</vt:lpstr>
      <vt:lpstr>「小さな拠点」の取組事例④ （秋田県 由利本荘市 鳥海町笹子地区）</vt:lpstr>
      <vt:lpstr>PowerPoint プレゼンテーション</vt:lpstr>
      <vt:lpstr>　</vt:lpstr>
      <vt:lpstr>移住・二地域居住等への関心</vt:lpstr>
      <vt:lpstr>国土形成計画における移住・二地域居住等に関する記載</vt:lpstr>
      <vt:lpstr>PowerPoint プレゼンテーション</vt:lpstr>
      <vt:lpstr>PowerPoint プレゼンテーション</vt:lpstr>
      <vt:lpstr>具体的な取組事項</vt:lpstr>
      <vt:lpstr>二地域居住の具体的イメージ　</vt:lpstr>
      <vt:lpstr>二地域居住の促進に向けた取組イメージ</vt:lpstr>
      <vt:lpstr>地方への人の流れの創出・拡大に向けた二地域居住の促進</vt:lpstr>
      <vt:lpstr>今回の法改正による主な連携予算</vt:lpstr>
      <vt:lpstr>PowerPoint プレゼンテーション</vt:lpstr>
      <vt:lpstr>広域的地域活性化のための基盤整備に関する法律の一部を改正する法律　　　　　　　　　　　　　　　　　　</vt:lpstr>
      <vt:lpstr>地方公共団体向け二地域居住等施策推進ガイドライン</vt:lpstr>
      <vt:lpstr>PowerPoint プレゼンテーション</vt:lpstr>
      <vt:lpstr>令和５年度　新しい生活様式に沿った二地域居住の推進実証調査（国土交通省）</vt:lpstr>
      <vt:lpstr>PowerPoint プレゼンテーション</vt:lpstr>
      <vt:lpstr>PowerPoint プレゼンテーション</vt:lpstr>
      <vt:lpstr>５．その他の山村振興関連施策について</vt:lpstr>
      <vt:lpstr>豪雪地帯の現状（雪害による死者数の推移）</vt:lpstr>
      <vt:lpstr>PowerPoint プレゼンテーション</vt:lpstr>
      <vt:lpstr>PowerPoint プレゼンテーション</vt:lpstr>
    </vt:vector>
  </TitlesOfParts>
  <Company>国土交通省</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ライド 1</dc:title>
  <dc:creator>行政情報システム室</dc:creator>
  <cp:lastModifiedBy>saneshige-sanson@crest.ocn.ne.jp</cp:lastModifiedBy>
  <cp:revision>733</cp:revision>
  <cp:lastPrinted>2024-06-03T00:38:21Z</cp:lastPrinted>
  <dcterms:created xsi:type="dcterms:W3CDTF">2007-11-06T12:19:33Z</dcterms:created>
  <dcterms:modified xsi:type="dcterms:W3CDTF">2024-06-27T05:09:18Z</dcterms:modified>
</cp:coreProperties>
</file>